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xlsx" ContentType="application/vnd.openxmlformats-officedocument.spreadsheetml.sheet"/>
  <Default Extension="vml" ContentType="application/vnd.openxmlformats-officedocument.vmlDrawing"/>
  <Default Extension="gif" ContentType="image/gif"/>
  <Default Extension="rels" ContentType="application/vnd.openxmlformats-package.relationships+xm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embeddings/oleObject1.bin" ContentType="application/vnd.openxmlformats-officedocument.oleObject"/>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83"/>
  </p:notesMasterIdLst>
  <p:handoutMasterIdLst>
    <p:handoutMasterId r:id="rId84"/>
  </p:handoutMasterIdLst>
  <p:sldIdLst>
    <p:sldId id="460" r:id="rId2"/>
    <p:sldId id="771" r:id="rId3"/>
    <p:sldId id="925" r:id="rId4"/>
    <p:sldId id="927" r:id="rId5"/>
    <p:sldId id="884" r:id="rId6"/>
    <p:sldId id="852" r:id="rId7"/>
    <p:sldId id="853" r:id="rId8"/>
    <p:sldId id="854" r:id="rId9"/>
    <p:sldId id="855" r:id="rId10"/>
    <p:sldId id="856" r:id="rId11"/>
    <p:sldId id="857" r:id="rId12"/>
    <p:sldId id="858" r:id="rId13"/>
    <p:sldId id="859" r:id="rId14"/>
    <p:sldId id="862" r:id="rId15"/>
    <p:sldId id="863" r:id="rId16"/>
    <p:sldId id="864" r:id="rId17"/>
    <p:sldId id="865" r:id="rId18"/>
    <p:sldId id="866" r:id="rId19"/>
    <p:sldId id="932" r:id="rId20"/>
    <p:sldId id="870" r:id="rId21"/>
    <p:sldId id="871" r:id="rId22"/>
    <p:sldId id="872" r:id="rId23"/>
    <p:sldId id="873" r:id="rId24"/>
    <p:sldId id="874" r:id="rId25"/>
    <p:sldId id="875" r:id="rId26"/>
    <p:sldId id="876" r:id="rId27"/>
    <p:sldId id="877" r:id="rId28"/>
    <p:sldId id="878" r:id="rId29"/>
    <p:sldId id="879" r:id="rId30"/>
    <p:sldId id="881" r:id="rId31"/>
    <p:sldId id="882" r:id="rId32"/>
    <p:sldId id="838" r:id="rId33"/>
    <p:sldId id="510" r:id="rId34"/>
    <p:sldId id="577" r:id="rId35"/>
    <p:sldId id="834" r:id="rId36"/>
    <p:sldId id="578" r:id="rId37"/>
    <p:sldId id="579" r:id="rId38"/>
    <p:sldId id="580" r:id="rId39"/>
    <p:sldId id="517" r:id="rId40"/>
    <p:sldId id="563" r:id="rId41"/>
    <p:sldId id="516" r:id="rId42"/>
    <p:sldId id="514" r:id="rId43"/>
    <p:sldId id="515" r:id="rId44"/>
    <p:sldId id="528" r:id="rId45"/>
    <p:sldId id="586" r:id="rId46"/>
    <p:sldId id="587" r:id="rId47"/>
    <p:sldId id="591" r:id="rId48"/>
    <p:sldId id="542" r:id="rId49"/>
    <p:sldId id="583" r:id="rId50"/>
    <p:sldId id="548" r:id="rId51"/>
    <p:sldId id="885" r:id="rId52"/>
    <p:sldId id="539" r:id="rId53"/>
    <p:sldId id="582" r:id="rId54"/>
    <p:sldId id="850" r:id="rId55"/>
    <p:sldId id="556" r:id="rId56"/>
    <p:sldId id="883" r:id="rId57"/>
    <p:sldId id="845" r:id="rId58"/>
    <p:sldId id="889" r:id="rId59"/>
    <p:sldId id="888" r:id="rId60"/>
    <p:sldId id="902" r:id="rId61"/>
    <p:sldId id="934" r:id="rId62"/>
    <p:sldId id="935" r:id="rId63"/>
    <p:sldId id="891" r:id="rId64"/>
    <p:sldId id="894" r:id="rId65"/>
    <p:sldId id="793" r:id="rId66"/>
    <p:sldId id="795" r:id="rId67"/>
    <p:sldId id="796" r:id="rId68"/>
    <p:sldId id="798" r:id="rId69"/>
    <p:sldId id="799" r:id="rId70"/>
    <p:sldId id="904" r:id="rId71"/>
    <p:sldId id="849" r:id="rId72"/>
    <p:sldId id="907" r:id="rId73"/>
    <p:sldId id="908" r:id="rId74"/>
    <p:sldId id="909" r:id="rId75"/>
    <p:sldId id="910" r:id="rId76"/>
    <p:sldId id="911" r:id="rId77"/>
    <p:sldId id="912" r:id="rId78"/>
    <p:sldId id="913" r:id="rId79"/>
    <p:sldId id="922" r:id="rId80"/>
    <p:sldId id="914" r:id="rId81"/>
    <p:sldId id="924" r:id="rId82"/>
  </p:sldIdLst>
  <p:sldSz cx="9144000" cy="5143500" type="screen16x9"/>
  <p:notesSz cx="7077075" cy="9363075"/>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 xmlns:p15="http://schemas.microsoft.com/office/powerpoint/2012/main">
        <p15:guide id="1" orient="horz" pos="307">
          <p15:clr>
            <a:srgbClr val="A4A3A4"/>
          </p15:clr>
        </p15:guide>
        <p15:guide id="2" orient="horz" pos="3053">
          <p15:clr>
            <a:srgbClr val="A4A3A4"/>
          </p15:clr>
        </p15:guide>
        <p15:guide id="3" pos="2741">
          <p15:clr>
            <a:srgbClr val="A4A3A4"/>
          </p15:clr>
        </p15:guide>
        <p15:guide id="4" pos="2453">
          <p15:clr>
            <a:srgbClr val="A4A3A4"/>
          </p15:clr>
        </p15:guide>
        <p15:guide id="5" pos="5558">
          <p15:clr>
            <a:srgbClr val="A4A3A4"/>
          </p15:clr>
        </p15:guide>
        <p15:guide id="6" pos="399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0810"/>
    <a:srgbClr val="759CB5"/>
    <a:srgbClr val="FA661C"/>
    <a:srgbClr val="FDBE24"/>
    <a:srgbClr val="90BDDB"/>
    <a:srgbClr val="335FFA"/>
    <a:srgbClr val="349A97"/>
    <a:srgbClr val="2C92B6"/>
    <a:srgbClr val="489542"/>
    <a:srgbClr val="545454"/>
  </p:clrMru>
  <p:extLst>
    <p:ext uri="{E76CE94A-603C-4142-B9EB-6D1370010A27}">
      <p14:discardImageEditData xmlns:p14="http://schemas.microsoft.com/office/powerpoint/2010/main" val="1"/>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35" autoAdjust="0"/>
    <p:restoredTop sz="77424" autoAdjust="0"/>
  </p:normalViewPr>
  <p:slideViewPr>
    <p:cSldViewPr snapToGrid="0" snapToObjects="1" showGuides="1">
      <p:cViewPr>
        <p:scale>
          <a:sx n="90" d="100"/>
          <a:sy n="90" d="100"/>
        </p:scale>
        <p:origin x="-1032" y="-488"/>
      </p:cViewPr>
      <p:guideLst>
        <p:guide orient="horz" pos="307"/>
        <p:guide orient="horz" pos="3053"/>
        <p:guide pos="2741"/>
        <p:guide pos="2453"/>
        <p:guide pos="5558"/>
        <p:guide pos="3998"/>
      </p:guideLst>
    </p:cSldViewPr>
  </p:slideViewPr>
  <p:outlineViewPr>
    <p:cViewPr>
      <p:scale>
        <a:sx n="33" d="100"/>
        <a:sy n="33" d="100"/>
      </p:scale>
      <p:origin x="0" y="14280"/>
    </p:cViewPr>
  </p:outlineViewPr>
  <p:notesTextViewPr>
    <p:cViewPr>
      <p:scale>
        <a:sx n="100" d="100"/>
        <a:sy n="100" d="100"/>
      </p:scale>
      <p:origin x="0" y="0"/>
    </p:cViewPr>
  </p:notesTextViewPr>
  <p:sorterViewPr>
    <p:cViewPr>
      <p:scale>
        <a:sx n="206" d="100"/>
        <a:sy n="206" d="100"/>
      </p:scale>
      <p:origin x="0" y="0"/>
    </p:cViewPr>
  </p:sorterViewPr>
  <p:gridSpacing cx="76200" cy="76200"/>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slide" Target="slides/slide78.xml"/><Relationship Id="rId90"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80" Type="http://schemas.openxmlformats.org/officeDocument/2006/relationships/slide" Target="slides/slide79.xml"/><Relationship Id="rId81" Type="http://schemas.openxmlformats.org/officeDocument/2006/relationships/slide" Target="slides/slide80.xml"/><Relationship Id="rId82" Type="http://schemas.openxmlformats.org/officeDocument/2006/relationships/slide" Target="slides/slide81.xml"/><Relationship Id="rId83" Type="http://schemas.openxmlformats.org/officeDocument/2006/relationships/notesMaster" Target="notesMasters/notesMaster1.xml"/><Relationship Id="rId84" Type="http://schemas.openxmlformats.org/officeDocument/2006/relationships/handoutMaster" Target="handoutMasters/handoutMaster1.xml"/><Relationship Id="rId85" Type="http://schemas.openxmlformats.org/officeDocument/2006/relationships/printerSettings" Target="printerSettings/printerSettings1.bin"/><Relationship Id="rId86" Type="http://schemas.openxmlformats.org/officeDocument/2006/relationships/commentAuthors" Target="commentAuthors.xml"/><Relationship Id="rId87" Type="http://schemas.openxmlformats.org/officeDocument/2006/relationships/presProps" Target="presProps.xml"/><Relationship Id="rId88" Type="http://schemas.openxmlformats.org/officeDocument/2006/relationships/viewProps" Target="viewProps.xml"/><Relationship Id="rId89"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cap="all" spc="150" baseline="0">
                <a:solidFill>
                  <a:schemeClr val="tx1">
                    <a:lumMod val="50000"/>
                    <a:lumOff val="50000"/>
                  </a:schemeClr>
                </a:solidFill>
                <a:latin typeface="+mn-lt"/>
                <a:ea typeface="+mn-ea"/>
                <a:cs typeface="+mn-cs"/>
              </a:defRPr>
            </a:pPr>
            <a:r>
              <a:rPr lang="en-US" baseline="0" dirty="0" smtClean="0">
                <a:solidFill>
                  <a:srgbClr val="00B0F0"/>
                </a:solidFill>
              </a:rPr>
              <a:t>S690 </a:t>
            </a:r>
            <a:r>
              <a:rPr lang="en-US" dirty="0" smtClean="0">
                <a:solidFill>
                  <a:srgbClr val="00B0F0"/>
                </a:solidFill>
              </a:rPr>
              <a:t>Vs S680</a:t>
            </a:r>
            <a:endParaRPr lang="en-US" dirty="0">
              <a:solidFill>
                <a:srgbClr val="00B0F0"/>
              </a:solidFill>
            </a:endParaRPr>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S690 with v9.1</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B$2:$B$5</c:f>
              <c:numCache>
                <c:formatCode>General</c:formatCode>
                <c:ptCount val="4"/>
                <c:pt idx="0">
                  <c:v>1800.0</c:v>
                </c:pt>
                <c:pt idx="1">
                  <c:v>1700.0</c:v>
                </c:pt>
                <c:pt idx="2">
                  <c:v>1600.0</c:v>
                </c:pt>
                <c:pt idx="3">
                  <c:v>1550.0</c:v>
                </c:pt>
              </c:numCache>
            </c:numRef>
          </c:val>
          <c:extLst xmlns:c16r2="http://schemas.microsoft.com/office/drawing/2015/06/chart">
            <c:ext xmlns:c16="http://schemas.microsoft.com/office/drawing/2014/chart" uri="{C3380CC4-5D6E-409C-BE32-E72D297353CC}">
              <c16:uniqueId val="{00000000-2844-4302-9F57-612842E49C51}"/>
            </c:ext>
          </c:extLst>
        </c:ser>
        <c:ser>
          <c:idx val="1"/>
          <c:order val="1"/>
          <c:tx>
            <c:strRef>
              <c:f>Sheet1!$C$1</c:f>
              <c:strCache>
                <c:ptCount val="1"/>
                <c:pt idx="0">
                  <c:v>S680 with v8.5</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C$2:$C$5</c:f>
              <c:numCache>
                <c:formatCode>General</c:formatCode>
                <c:ptCount val="4"/>
                <c:pt idx="0">
                  <c:v>850.0</c:v>
                </c:pt>
                <c:pt idx="1">
                  <c:v>850.0</c:v>
                </c:pt>
                <c:pt idx="2">
                  <c:v>850.0</c:v>
                </c:pt>
                <c:pt idx="3">
                  <c:v>700.0</c:v>
                </c:pt>
              </c:numCache>
            </c:numRef>
          </c:val>
          <c:extLst xmlns:c16r2="http://schemas.microsoft.com/office/drawing/2015/06/chart">
            <c:ext xmlns:c16="http://schemas.microsoft.com/office/drawing/2014/chart" uri="{C3380CC4-5D6E-409C-BE32-E72D297353CC}">
              <c16:uniqueId val="{00000001-2844-4302-9F57-612842E49C51}"/>
            </c:ext>
          </c:extLst>
        </c:ser>
        <c:ser>
          <c:idx val="2"/>
          <c:order val="2"/>
          <c:tx>
            <c:strRef>
              <c:f>Sheet1!#REF!</c:f>
              <c:strCache>
                <c:ptCount val="1"/>
                <c:pt idx="0">
                  <c:v>#REF!</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delete val="1"/>
          </c:dLbls>
          <c:cat>
            <c:strRef>
              <c:f>Sheet1!$A$2:$A$5</c:f>
              <c:strCache>
                <c:ptCount val="4"/>
                <c:pt idx="0">
                  <c:v>WSE</c:v>
                </c:pt>
                <c:pt idx="1">
                  <c:v>WSM(S+W)</c:v>
                </c:pt>
                <c:pt idx="2">
                  <c:v>WSP (S+W)</c:v>
                </c:pt>
                <c:pt idx="3">
                  <c:v>WSP (M+W)</c:v>
                </c:pt>
              </c:strCache>
            </c:strRef>
          </c:cat>
          <c:val>
            <c:numRef>
              <c:f>Sheet1!#REF!</c:f>
              <c:numCache>
                <c:formatCode>General</c:formatCode>
                <c:ptCount val="1"/>
                <c:pt idx="0">
                  <c:v>1.0</c:v>
                </c:pt>
              </c:numCache>
            </c:numRef>
          </c:val>
          <c:extLst xmlns:c16r2="http://schemas.microsoft.com/office/drawing/2015/06/chart">
            <c:ext xmlns:c16="http://schemas.microsoft.com/office/drawing/2014/chart" uri="{C3380CC4-5D6E-409C-BE32-E72D297353CC}">
              <c16:uniqueId val="{00000002-2844-4302-9F57-612842E49C51}"/>
            </c:ext>
          </c:extLst>
        </c:ser>
        <c:dLbls>
          <c:dLblPos val="outEnd"/>
          <c:showLegendKey val="0"/>
          <c:showVal val="1"/>
          <c:showCatName val="0"/>
          <c:showSerName val="0"/>
          <c:showPercent val="0"/>
          <c:showBubbleSize val="0"/>
        </c:dLbls>
        <c:gapWidth val="164"/>
        <c:overlap val="-22"/>
        <c:axId val="2110875448"/>
        <c:axId val="2111488280"/>
      </c:barChart>
      <c:catAx>
        <c:axId val="2110875448"/>
        <c:scaling>
          <c:orientation val="minMax"/>
        </c:scaling>
        <c:delete val="0"/>
        <c:axPos val="b"/>
        <c:numFmt formatCode="General" sourceLinked="0"/>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111488280"/>
        <c:crosses val="autoZero"/>
        <c:auto val="1"/>
        <c:lblAlgn val="ctr"/>
        <c:lblOffset val="100"/>
        <c:noMultiLvlLbl val="0"/>
      </c:catAx>
      <c:valAx>
        <c:axId val="21114882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10875448"/>
        <c:crosses val="autoZero"/>
        <c:crossBetween val="between"/>
      </c:valAx>
      <c:spPr>
        <a:noFill/>
        <a:ln>
          <a:noFill/>
        </a:ln>
        <a:effectLst/>
      </c:spPr>
    </c:plotArea>
    <c:legend>
      <c:legendPos val="t"/>
      <c:legendEntry>
        <c:idx val="2"/>
        <c:delete val="1"/>
      </c:legendEntry>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cap="all" spc="150" baseline="0">
                <a:solidFill>
                  <a:schemeClr val="tx1">
                    <a:lumMod val="50000"/>
                    <a:lumOff val="50000"/>
                  </a:schemeClr>
                </a:solidFill>
                <a:latin typeface="+mn-lt"/>
                <a:ea typeface="+mn-ea"/>
                <a:cs typeface="+mn-cs"/>
              </a:defRPr>
            </a:pPr>
            <a:r>
              <a:rPr lang="en-US" dirty="0" smtClean="0">
                <a:solidFill>
                  <a:srgbClr val="00B0F0"/>
                </a:solidFill>
              </a:rPr>
              <a:t>S390</a:t>
            </a:r>
            <a:r>
              <a:rPr lang="en-US" baseline="0" dirty="0" smtClean="0">
                <a:solidFill>
                  <a:srgbClr val="00B0F0"/>
                </a:solidFill>
              </a:rPr>
              <a:t> </a:t>
            </a:r>
            <a:r>
              <a:rPr lang="en-US" dirty="0" smtClean="0">
                <a:solidFill>
                  <a:srgbClr val="00B0F0"/>
                </a:solidFill>
              </a:rPr>
              <a:t>Vs S380</a:t>
            </a:r>
            <a:endParaRPr lang="en-US" dirty="0">
              <a:solidFill>
                <a:srgbClr val="00B0F0"/>
              </a:solidFill>
            </a:endParaRPr>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S390 with v9.1</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B$2:$B$5</c:f>
              <c:numCache>
                <c:formatCode>General</c:formatCode>
                <c:ptCount val="4"/>
                <c:pt idx="0">
                  <c:v>1000.0</c:v>
                </c:pt>
                <c:pt idx="1">
                  <c:v>950.0</c:v>
                </c:pt>
                <c:pt idx="2">
                  <c:v>800.0</c:v>
                </c:pt>
                <c:pt idx="3">
                  <c:v>650.0</c:v>
                </c:pt>
              </c:numCache>
            </c:numRef>
          </c:val>
          <c:extLst xmlns:c16r2="http://schemas.microsoft.com/office/drawing/2015/06/chart">
            <c:ext xmlns:c16="http://schemas.microsoft.com/office/drawing/2014/chart" uri="{C3380CC4-5D6E-409C-BE32-E72D297353CC}">
              <c16:uniqueId val="{00000000-9A12-4C45-8FFB-60DC08C62C7B}"/>
            </c:ext>
          </c:extLst>
        </c:ser>
        <c:ser>
          <c:idx val="1"/>
          <c:order val="1"/>
          <c:tx>
            <c:strRef>
              <c:f>Sheet1!$C$1</c:f>
              <c:strCache>
                <c:ptCount val="1"/>
                <c:pt idx="0">
                  <c:v>S380 with v8.5</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C$2:$C$5</c:f>
              <c:numCache>
                <c:formatCode>General</c:formatCode>
                <c:ptCount val="4"/>
                <c:pt idx="0">
                  <c:v>480.0</c:v>
                </c:pt>
                <c:pt idx="1">
                  <c:v>480.0</c:v>
                </c:pt>
                <c:pt idx="2">
                  <c:v>480.0</c:v>
                </c:pt>
                <c:pt idx="3">
                  <c:v>250.0</c:v>
                </c:pt>
              </c:numCache>
            </c:numRef>
          </c:val>
          <c:extLst xmlns:c16r2="http://schemas.microsoft.com/office/drawing/2015/06/chart">
            <c:ext xmlns:c16="http://schemas.microsoft.com/office/drawing/2014/chart" uri="{C3380CC4-5D6E-409C-BE32-E72D297353CC}">
              <c16:uniqueId val="{00000001-9A12-4C45-8FFB-60DC08C62C7B}"/>
            </c:ext>
          </c:extLst>
        </c:ser>
        <c:ser>
          <c:idx val="2"/>
          <c:order val="2"/>
          <c:tx>
            <c:strRef>
              <c:f>Sheet1!$D$1</c:f>
              <c:strCache>
                <c:ptCount val="1"/>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D$2:$D$5</c:f>
              <c:numCache>
                <c:formatCode>General</c:formatCode>
                <c:ptCount val="4"/>
              </c:numCache>
            </c:numRef>
          </c:val>
          <c:extLst xmlns:c16r2="http://schemas.microsoft.com/office/drawing/2015/06/chart">
            <c:ext xmlns:c16="http://schemas.microsoft.com/office/drawing/2014/chart" uri="{C3380CC4-5D6E-409C-BE32-E72D297353CC}">
              <c16:uniqueId val="{00000002-9A12-4C45-8FFB-60DC08C62C7B}"/>
            </c:ext>
          </c:extLst>
        </c:ser>
        <c:dLbls>
          <c:dLblPos val="outEnd"/>
          <c:showLegendKey val="0"/>
          <c:showVal val="1"/>
          <c:showCatName val="0"/>
          <c:showSerName val="0"/>
          <c:showPercent val="0"/>
          <c:showBubbleSize val="0"/>
        </c:dLbls>
        <c:gapWidth val="164"/>
        <c:overlap val="-22"/>
        <c:axId val="-2134379288"/>
        <c:axId val="-2134083448"/>
      </c:barChart>
      <c:catAx>
        <c:axId val="-2134379288"/>
        <c:scaling>
          <c:orientation val="minMax"/>
        </c:scaling>
        <c:delete val="0"/>
        <c:axPos val="b"/>
        <c:numFmt formatCode="General" sourceLinked="0"/>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134083448"/>
        <c:crosses val="autoZero"/>
        <c:auto val="1"/>
        <c:lblAlgn val="ctr"/>
        <c:lblOffset val="100"/>
        <c:noMultiLvlLbl val="0"/>
      </c:catAx>
      <c:valAx>
        <c:axId val="-2134083448"/>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34379288"/>
        <c:crosses val="autoZero"/>
        <c:crossBetween val="between"/>
      </c:valAx>
      <c:spPr>
        <a:noFill/>
        <a:ln>
          <a:noFill/>
        </a:ln>
        <a:effectLst/>
      </c:spPr>
    </c:plotArea>
    <c:legend>
      <c:legendPos val="t"/>
      <c:legendEntry>
        <c:idx val="2"/>
        <c:delete val="1"/>
      </c:legendEntry>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cap="all" spc="150" baseline="0">
                <a:solidFill>
                  <a:schemeClr val="tx1">
                    <a:lumMod val="50000"/>
                    <a:lumOff val="50000"/>
                  </a:schemeClr>
                </a:solidFill>
                <a:latin typeface="+mn-lt"/>
                <a:ea typeface="+mn-ea"/>
                <a:cs typeface="+mn-cs"/>
              </a:defRPr>
            </a:pPr>
            <a:r>
              <a:rPr lang="en-US" baseline="0" dirty="0" smtClean="0">
                <a:solidFill>
                  <a:srgbClr val="00B0F0"/>
                </a:solidFill>
              </a:rPr>
              <a:t>S190 </a:t>
            </a:r>
            <a:r>
              <a:rPr lang="en-US" dirty="0" smtClean="0">
                <a:solidFill>
                  <a:srgbClr val="00B0F0"/>
                </a:solidFill>
              </a:rPr>
              <a:t>Vs S170</a:t>
            </a:r>
            <a:endParaRPr lang="en-US" dirty="0">
              <a:solidFill>
                <a:srgbClr val="00B0F0"/>
              </a:solidFill>
            </a:endParaRPr>
          </a:p>
        </c:rich>
      </c:tx>
      <c:layout/>
      <c:overlay val="0"/>
      <c:spPr>
        <a:noFill/>
        <a:ln>
          <a:noFill/>
        </a:ln>
        <a:effectLst/>
      </c:spPr>
    </c:title>
    <c:autoTitleDeleted val="0"/>
    <c:plotArea>
      <c:layout/>
      <c:barChart>
        <c:barDir val="col"/>
        <c:grouping val="clustered"/>
        <c:varyColors val="0"/>
        <c:ser>
          <c:idx val="0"/>
          <c:order val="0"/>
          <c:tx>
            <c:strRef>
              <c:f>Sheet1!$B$1</c:f>
              <c:strCache>
                <c:ptCount val="1"/>
                <c:pt idx="0">
                  <c:v>S190 with v9.1</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B$2:$B$5</c:f>
              <c:numCache>
                <c:formatCode>General</c:formatCode>
                <c:ptCount val="4"/>
                <c:pt idx="0">
                  <c:v>450.0</c:v>
                </c:pt>
                <c:pt idx="1">
                  <c:v>400.0</c:v>
                </c:pt>
                <c:pt idx="2">
                  <c:v>350.0</c:v>
                </c:pt>
                <c:pt idx="3">
                  <c:v>300.0</c:v>
                </c:pt>
              </c:numCache>
            </c:numRef>
          </c:val>
          <c:extLst xmlns:c16r2="http://schemas.microsoft.com/office/drawing/2015/06/chart">
            <c:ext xmlns:c16="http://schemas.microsoft.com/office/drawing/2014/chart" uri="{C3380CC4-5D6E-409C-BE32-E72D297353CC}">
              <c16:uniqueId val="{00000000-4B30-45A7-9109-4E86026425C4}"/>
            </c:ext>
          </c:extLst>
        </c:ser>
        <c:ser>
          <c:idx val="1"/>
          <c:order val="1"/>
          <c:tx>
            <c:strRef>
              <c:f>Sheet1!$C$1</c:f>
              <c:strCache>
                <c:ptCount val="1"/>
                <c:pt idx="0">
                  <c:v>S170 with v8.5</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4"/>
                <c:pt idx="0">
                  <c:v>WSE</c:v>
                </c:pt>
                <c:pt idx="1">
                  <c:v>WSM(S+W)</c:v>
                </c:pt>
                <c:pt idx="2">
                  <c:v>WSP (S+W)</c:v>
                </c:pt>
                <c:pt idx="3">
                  <c:v>WSP (M+W)</c:v>
                </c:pt>
              </c:strCache>
            </c:strRef>
          </c:cat>
          <c:val>
            <c:numRef>
              <c:f>Sheet1!$C$2:$C$5</c:f>
              <c:numCache>
                <c:formatCode>General</c:formatCode>
                <c:ptCount val="4"/>
                <c:pt idx="0">
                  <c:v>225.0</c:v>
                </c:pt>
                <c:pt idx="1">
                  <c:v>165.0</c:v>
                </c:pt>
                <c:pt idx="2">
                  <c:v>120.0</c:v>
                </c:pt>
                <c:pt idx="3">
                  <c:v>120.0</c:v>
                </c:pt>
              </c:numCache>
            </c:numRef>
          </c:val>
          <c:extLst xmlns:c16r2="http://schemas.microsoft.com/office/drawing/2015/06/chart">
            <c:ext xmlns:c16="http://schemas.microsoft.com/office/drawing/2014/chart" uri="{C3380CC4-5D6E-409C-BE32-E72D297353CC}">
              <c16:uniqueId val="{00000001-4B30-45A7-9109-4E86026425C4}"/>
            </c:ext>
          </c:extLst>
        </c:ser>
        <c:ser>
          <c:idx val="2"/>
          <c:order val="2"/>
          <c:tx>
            <c:strRef>
              <c:f>Sheet1!#REF!</c:f>
              <c:strCache>
                <c:ptCount val="1"/>
                <c:pt idx="0">
                  <c:v>#REF!</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delete val="1"/>
          </c:dLbls>
          <c:cat>
            <c:strRef>
              <c:f>Sheet1!$A$2:$A$5</c:f>
              <c:strCache>
                <c:ptCount val="4"/>
                <c:pt idx="0">
                  <c:v>WSE</c:v>
                </c:pt>
                <c:pt idx="1">
                  <c:v>WSM(S+W)</c:v>
                </c:pt>
                <c:pt idx="2">
                  <c:v>WSP (S+W)</c:v>
                </c:pt>
                <c:pt idx="3">
                  <c:v>WSP (M+W)</c:v>
                </c:pt>
              </c:strCache>
            </c:strRef>
          </c:cat>
          <c:val>
            <c:numRef>
              <c:f>Sheet1!#REF!</c:f>
              <c:numCache>
                <c:formatCode>General</c:formatCode>
                <c:ptCount val="1"/>
                <c:pt idx="0">
                  <c:v>1.0</c:v>
                </c:pt>
              </c:numCache>
            </c:numRef>
          </c:val>
          <c:extLst xmlns:c16r2="http://schemas.microsoft.com/office/drawing/2015/06/chart">
            <c:ext xmlns:c16="http://schemas.microsoft.com/office/drawing/2014/chart" uri="{C3380CC4-5D6E-409C-BE32-E72D297353CC}">
              <c16:uniqueId val="{00000002-4B30-45A7-9109-4E86026425C4}"/>
            </c:ext>
          </c:extLst>
        </c:ser>
        <c:dLbls>
          <c:dLblPos val="outEnd"/>
          <c:showLegendKey val="0"/>
          <c:showVal val="1"/>
          <c:showCatName val="0"/>
          <c:showSerName val="0"/>
          <c:showPercent val="0"/>
          <c:showBubbleSize val="0"/>
        </c:dLbls>
        <c:gapWidth val="164"/>
        <c:overlap val="-22"/>
        <c:axId val="2146033640"/>
        <c:axId val="2145745304"/>
      </c:barChart>
      <c:catAx>
        <c:axId val="2146033640"/>
        <c:scaling>
          <c:orientation val="minMax"/>
        </c:scaling>
        <c:delete val="0"/>
        <c:axPos val="b"/>
        <c:numFmt formatCode="General" sourceLinked="0"/>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145745304"/>
        <c:crosses val="autoZero"/>
        <c:auto val="1"/>
        <c:lblAlgn val="ctr"/>
        <c:lblOffset val="100"/>
        <c:noMultiLvlLbl val="0"/>
      </c:catAx>
      <c:valAx>
        <c:axId val="2145745304"/>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6033640"/>
        <c:crosses val="autoZero"/>
        <c:crossBetween val="between"/>
      </c:valAx>
      <c:spPr>
        <a:noFill/>
        <a:ln>
          <a:noFill/>
        </a:ln>
        <a:effectLst/>
      </c:spPr>
    </c:plotArea>
    <c:legend>
      <c:legendPos val="t"/>
      <c:legendEntry>
        <c:idx val="2"/>
        <c:delete val="1"/>
      </c:legendEntry>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690 with v9.1</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7</c:f>
              <c:strCache>
                <c:ptCount val="6"/>
                <c:pt idx="0">
                  <c:v>WSE</c:v>
                </c:pt>
                <c:pt idx="1">
                  <c:v>WSM (W+S)</c:v>
                </c:pt>
                <c:pt idx="2">
                  <c:v>WSP(S+W)</c:v>
                </c:pt>
                <c:pt idx="3">
                  <c:v>WSP(M+W)</c:v>
                </c:pt>
                <c:pt idx="4">
                  <c:v>WSP(S+W+AMP)</c:v>
                </c:pt>
                <c:pt idx="5">
                  <c:v>WSP(M+W+AMP)</c:v>
                </c:pt>
              </c:strCache>
            </c:strRef>
          </c:cat>
          <c:val>
            <c:numRef>
              <c:f>Sheet1!$B$2:$B$7</c:f>
              <c:numCache>
                <c:formatCode>General</c:formatCode>
                <c:ptCount val="6"/>
                <c:pt idx="0">
                  <c:v>1800.0</c:v>
                </c:pt>
                <c:pt idx="1">
                  <c:v>1700.0</c:v>
                </c:pt>
                <c:pt idx="2">
                  <c:v>1600.0</c:v>
                </c:pt>
                <c:pt idx="3">
                  <c:v>1550.0</c:v>
                </c:pt>
                <c:pt idx="4">
                  <c:v>1400.0</c:v>
                </c:pt>
                <c:pt idx="5">
                  <c:v>1390.0</c:v>
                </c:pt>
              </c:numCache>
            </c:numRef>
          </c:val>
          <c:extLst xmlns:c16r2="http://schemas.microsoft.com/office/drawing/2015/06/chart">
            <c:ext xmlns:c16="http://schemas.microsoft.com/office/drawing/2014/chart" uri="{C3380CC4-5D6E-409C-BE32-E72D297353CC}">
              <c16:uniqueId val="{00000000-928F-477C-8087-1EFEF7BFDECF}"/>
            </c:ext>
          </c:extLst>
        </c:ser>
        <c:ser>
          <c:idx val="1"/>
          <c:order val="1"/>
          <c:tx>
            <c:strRef>
              <c:f>Sheet1!$C$1</c:f>
              <c:strCache>
                <c:ptCount val="1"/>
                <c:pt idx="0">
                  <c:v>S680 with v9.0</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7</c:f>
              <c:strCache>
                <c:ptCount val="6"/>
                <c:pt idx="0">
                  <c:v>WSE</c:v>
                </c:pt>
                <c:pt idx="1">
                  <c:v>WSM (W+S)</c:v>
                </c:pt>
                <c:pt idx="2">
                  <c:v>WSP(S+W)</c:v>
                </c:pt>
                <c:pt idx="3">
                  <c:v>WSP(M+W)</c:v>
                </c:pt>
                <c:pt idx="4">
                  <c:v>WSP(S+W+AMP)</c:v>
                </c:pt>
                <c:pt idx="5">
                  <c:v>WSP(M+W+AMP)</c:v>
                </c:pt>
              </c:strCache>
            </c:strRef>
          </c:cat>
          <c:val>
            <c:numRef>
              <c:f>Sheet1!$C$2:$C$7</c:f>
              <c:numCache>
                <c:formatCode>General</c:formatCode>
                <c:ptCount val="6"/>
                <c:pt idx="0">
                  <c:v>1650.0</c:v>
                </c:pt>
                <c:pt idx="1">
                  <c:v>1600.0</c:v>
                </c:pt>
                <c:pt idx="2">
                  <c:v>1300.0</c:v>
                </c:pt>
                <c:pt idx="3">
                  <c:v>1100.0</c:v>
                </c:pt>
                <c:pt idx="4">
                  <c:v>1000.0</c:v>
                </c:pt>
                <c:pt idx="5">
                  <c:v>950.0</c:v>
                </c:pt>
              </c:numCache>
            </c:numRef>
          </c:val>
          <c:extLst xmlns:c16r2="http://schemas.microsoft.com/office/drawing/2015/06/chart">
            <c:ext xmlns:c16="http://schemas.microsoft.com/office/drawing/2014/chart" uri="{C3380CC4-5D6E-409C-BE32-E72D297353CC}">
              <c16:uniqueId val="{00000001-928F-477C-8087-1EFEF7BFDECF}"/>
            </c:ext>
          </c:extLst>
        </c:ser>
        <c:ser>
          <c:idx val="2"/>
          <c:order val="2"/>
          <c:tx>
            <c:strRef>
              <c:f>Sheet1!$D$1</c:f>
              <c:strCache>
                <c:ptCount val="1"/>
                <c:pt idx="0">
                  <c:v>S680 with v8.5</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7</c:f>
              <c:strCache>
                <c:ptCount val="6"/>
                <c:pt idx="0">
                  <c:v>WSE</c:v>
                </c:pt>
                <c:pt idx="1">
                  <c:v>WSM (W+S)</c:v>
                </c:pt>
                <c:pt idx="2">
                  <c:v>WSP(S+W)</c:v>
                </c:pt>
                <c:pt idx="3">
                  <c:v>WSP(M+W)</c:v>
                </c:pt>
                <c:pt idx="4">
                  <c:v>WSP(S+W+AMP)</c:v>
                </c:pt>
                <c:pt idx="5">
                  <c:v>WSP(M+W+AMP)</c:v>
                </c:pt>
              </c:strCache>
            </c:strRef>
          </c:cat>
          <c:val>
            <c:numRef>
              <c:f>Sheet1!$D$2:$D$7</c:f>
              <c:numCache>
                <c:formatCode>General</c:formatCode>
                <c:ptCount val="6"/>
                <c:pt idx="0">
                  <c:v>850.0</c:v>
                </c:pt>
                <c:pt idx="1">
                  <c:v>850.0</c:v>
                </c:pt>
                <c:pt idx="2">
                  <c:v>850.0</c:v>
                </c:pt>
                <c:pt idx="3">
                  <c:v>700.0</c:v>
                </c:pt>
                <c:pt idx="4">
                  <c:v>800.0</c:v>
                </c:pt>
                <c:pt idx="5">
                  <c:v>700.0</c:v>
                </c:pt>
              </c:numCache>
            </c:numRef>
          </c:val>
          <c:extLst xmlns:c16r2="http://schemas.microsoft.com/office/drawing/2015/06/chart">
            <c:ext xmlns:c16="http://schemas.microsoft.com/office/drawing/2014/chart" uri="{C3380CC4-5D6E-409C-BE32-E72D297353CC}">
              <c16:uniqueId val="{00000002-928F-477C-8087-1EFEF7BFDECF}"/>
            </c:ext>
          </c:extLst>
        </c:ser>
        <c:dLbls>
          <c:dLblPos val="outEnd"/>
          <c:showLegendKey val="0"/>
          <c:showVal val="1"/>
          <c:showCatName val="0"/>
          <c:showSerName val="0"/>
          <c:showPercent val="0"/>
          <c:showBubbleSize val="0"/>
        </c:dLbls>
        <c:gapWidth val="164"/>
        <c:overlap val="-22"/>
        <c:axId val="2145853016"/>
        <c:axId val="-2050945944"/>
      </c:barChart>
      <c:catAx>
        <c:axId val="2145853016"/>
        <c:scaling>
          <c:orientation val="minMax"/>
        </c:scaling>
        <c:delete val="0"/>
        <c:axPos val="b"/>
        <c:numFmt formatCode="General" sourceLinked="0"/>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050945944"/>
        <c:crosses val="autoZero"/>
        <c:auto val="1"/>
        <c:lblAlgn val="ctr"/>
        <c:lblOffset val="100"/>
        <c:noMultiLvlLbl val="0"/>
      </c:catAx>
      <c:valAx>
        <c:axId val="-2050945944"/>
        <c:scaling>
          <c:orientation val="minMax"/>
        </c:scaling>
        <c:delete val="0"/>
        <c:axPos val="l"/>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145853016"/>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iagrams/_rels/data3.xml.rels><?xml version="1.0" encoding="UTF-8" standalone="yes"?>
<Relationships xmlns="http://schemas.openxmlformats.org/package/2006/relationships"><Relationship Id="rId3" Type="http://schemas.openxmlformats.org/officeDocument/2006/relationships/hyperlink" Target="http://ecm-link.cisco.com/ecm/view/objectId/090dcae1869151dc/versionLabel/CURRENT" TargetMode="External"/><Relationship Id="rId4" Type="http://schemas.openxmlformats.org/officeDocument/2006/relationships/hyperlink" Target="https://cisco.jiveon.com/docs/DOC-232665" TargetMode="External"/><Relationship Id="rId5" Type="http://schemas.openxmlformats.org/officeDocument/2006/relationships/hyperlink" Target="http://ecm-link.cisco.com/ecm/view/objectId/090dcae1869b000c/versionLabel/CURRENT" TargetMode="External"/><Relationship Id="rId6" Type="http://schemas.openxmlformats.org/officeDocument/2006/relationships/hyperlink" Target="NULL" TargetMode="External"/><Relationship Id="rId1" Type="http://schemas.openxmlformats.org/officeDocument/2006/relationships/hyperlink" Target="http://www.cisco.com/c/en/us/products/collateral/security/cloud-web-security/guide-c07-736675.html" TargetMode="External"/><Relationship Id="rId2" Type="http://schemas.openxmlformats.org/officeDocument/2006/relationships/hyperlink" Target="https://cognitive.cisco.com/preview/l%23requestEvaluation" TargetMode="External"/></Relationships>
</file>

<file path=ppt/diagrams/_rels/drawing3.xml.rels><?xml version="1.0" encoding="UTF-8" standalone="yes"?>
<Relationships xmlns="http://schemas.openxmlformats.org/package/2006/relationships"><Relationship Id="rId3" Type="http://schemas.openxmlformats.org/officeDocument/2006/relationships/hyperlink" Target="http://ecm-link.cisco.com/ecm/view/objectId/090dcae1869b000c/versionLabel/CURRENT" TargetMode="External"/><Relationship Id="rId4" Type="http://schemas.openxmlformats.org/officeDocument/2006/relationships/hyperlink" Target="http://ecm-link.cisco.com/ecm/view/objectId/090dcae1869151dc/versionLabel/CURRENT" TargetMode="External"/><Relationship Id="rId5" Type="http://schemas.openxmlformats.org/officeDocument/2006/relationships/hyperlink" Target="https://cisco.jiveon.com/docs/DOC-232665" TargetMode="External"/><Relationship Id="rId6" Type="http://schemas.openxmlformats.org/officeDocument/2006/relationships/hyperlink" Target="NULL" TargetMode="External"/><Relationship Id="rId1" Type="http://schemas.openxmlformats.org/officeDocument/2006/relationships/hyperlink" Target="http://www.cisco.com/c/en/us/products/collateral/security/cloud-web-security/guide-c07-736675.html" TargetMode="External"/><Relationship Id="rId2" Type="http://schemas.openxmlformats.org/officeDocument/2006/relationships/hyperlink" Target="https://cognitive.cisco.com/preview/l%23requestEvaluation"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C734C7-B123-FD44-A369-0DD85382E602}" type="doc">
      <dgm:prSet loTypeId="urn:microsoft.com/office/officeart/2005/8/layout/default#1" loCatId="" qsTypeId="urn:microsoft.com/office/officeart/2005/8/quickstyle/simple3" qsCatId="simple" csTypeId="urn:microsoft.com/office/officeart/2005/8/colors/accent1_2" csCatId="accent1" phldr="1"/>
      <dgm:spPr/>
    </dgm:pt>
    <dgm:pt modelId="{A4AE29EC-F2ED-E346-869F-508B8002AF38}">
      <dgm:prSet phldrT="[Text]"/>
      <dgm:spPr/>
      <dgm:t>
        <a:bodyPr/>
        <a:lstStyle/>
        <a:p>
          <a:r>
            <a:rPr lang="en-US" dirty="0" smtClean="0"/>
            <a:t>WSA S690X</a:t>
          </a:r>
          <a:endParaRPr lang="en-US" dirty="0"/>
        </a:p>
      </dgm:t>
    </dgm:pt>
    <dgm:pt modelId="{EEB7578F-48A0-1E48-8112-E78B6CEE609C}" type="parTrans" cxnId="{4D24394F-6447-0E4C-AFE3-5B166B9FEDBA}">
      <dgm:prSet/>
      <dgm:spPr/>
      <dgm:t>
        <a:bodyPr/>
        <a:lstStyle/>
        <a:p>
          <a:endParaRPr lang="en-US"/>
        </a:p>
      </dgm:t>
    </dgm:pt>
    <dgm:pt modelId="{C1B251DB-5EB0-4843-9866-00388B9963D8}" type="sibTrans" cxnId="{4D24394F-6447-0E4C-AFE3-5B166B9FEDBA}">
      <dgm:prSet/>
      <dgm:spPr/>
      <dgm:t>
        <a:bodyPr/>
        <a:lstStyle/>
        <a:p>
          <a:endParaRPr lang="en-US"/>
        </a:p>
      </dgm:t>
    </dgm:pt>
    <dgm:pt modelId="{B89DF1DB-9BBD-A04A-89AB-FFBA79AB9874}">
      <dgm:prSet phldrT="[Text]"/>
      <dgm:spPr/>
      <dgm:t>
        <a:bodyPr/>
        <a:lstStyle/>
        <a:p>
          <a:r>
            <a:rPr lang="en-US" dirty="0" smtClean="0"/>
            <a:t>WSA S690-1G</a:t>
          </a:r>
          <a:endParaRPr lang="en-US" dirty="0"/>
        </a:p>
      </dgm:t>
    </dgm:pt>
    <dgm:pt modelId="{9FEB9A0B-A21C-ED44-BB33-72103916893D}" type="parTrans" cxnId="{60EAB53E-0FEC-5A4B-978E-814D8A4495D0}">
      <dgm:prSet/>
      <dgm:spPr/>
      <dgm:t>
        <a:bodyPr/>
        <a:lstStyle/>
        <a:p>
          <a:endParaRPr lang="en-US"/>
        </a:p>
      </dgm:t>
    </dgm:pt>
    <dgm:pt modelId="{51F131EF-DB54-9243-BB15-3D569922A620}" type="sibTrans" cxnId="{60EAB53E-0FEC-5A4B-978E-814D8A4495D0}">
      <dgm:prSet/>
      <dgm:spPr/>
      <dgm:t>
        <a:bodyPr/>
        <a:lstStyle/>
        <a:p>
          <a:endParaRPr lang="en-US"/>
        </a:p>
      </dgm:t>
    </dgm:pt>
    <dgm:pt modelId="{0913EBD3-BDB2-7F4E-81FB-7102EE6A3811}">
      <dgm:prSet phldrT="[Text]"/>
      <dgm:spPr/>
      <dgm:t>
        <a:bodyPr/>
        <a:lstStyle/>
        <a:p>
          <a:r>
            <a:rPr lang="en-US" dirty="0" smtClean="0"/>
            <a:t>WSA S690-10G</a:t>
          </a:r>
          <a:endParaRPr lang="en-US" dirty="0"/>
        </a:p>
      </dgm:t>
    </dgm:pt>
    <dgm:pt modelId="{DD28A4F9-9ACF-194B-BFBD-BE3844396EB5}" type="parTrans" cxnId="{A25BC75A-1CD4-094A-A46A-72A7330B32B1}">
      <dgm:prSet/>
      <dgm:spPr/>
      <dgm:t>
        <a:bodyPr/>
        <a:lstStyle/>
        <a:p>
          <a:endParaRPr lang="en-US"/>
        </a:p>
      </dgm:t>
    </dgm:pt>
    <dgm:pt modelId="{AB35B5F6-D323-FB4A-B047-AA61666B3002}" type="sibTrans" cxnId="{A25BC75A-1CD4-094A-A46A-72A7330B32B1}">
      <dgm:prSet/>
      <dgm:spPr/>
      <dgm:t>
        <a:bodyPr/>
        <a:lstStyle/>
        <a:p>
          <a:endParaRPr lang="en-US"/>
        </a:p>
      </dgm:t>
    </dgm:pt>
    <dgm:pt modelId="{08705062-17FD-8744-A992-2B357B9220E0}" type="pres">
      <dgm:prSet presAssocID="{74C734C7-B123-FD44-A369-0DD85382E602}" presName="diagram" presStyleCnt="0">
        <dgm:presLayoutVars>
          <dgm:dir/>
          <dgm:resizeHandles val="exact"/>
        </dgm:presLayoutVars>
      </dgm:prSet>
      <dgm:spPr/>
    </dgm:pt>
    <dgm:pt modelId="{81B65745-656C-7941-8E06-60DA9A27841E}" type="pres">
      <dgm:prSet presAssocID="{A4AE29EC-F2ED-E346-869F-508B8002AF38}" presName="node" presStyleLbl="node1" presStyleIdx="0" presStyleCnt="3">
        <dgm:presLayoutVars>
          <dgm:bulletEnabled val="1"/>
        </dgm:presLayoutVars>
      </dgm:prSet>
      <dgm:spPr/>
      <dgm:t>
        <a:bodyPr/>
        <a:lstStyle/>
        <a:p>
          <a:endParaRPr lang="en-US"/>
        </a:p>
      </dgm:t>
    </dgm:pt>
    <dgm:pt modelId="{C6ECBDF4-504D-6A4E-B1E2-B71E4BC3D8A6}" type="pres">
      <dgm:prSet presAssocID="{C1B251DB-5EB0-4843-9866-00388B9963D8}" presName="sibTrans" presStyleCnt="0"/>
      <dgm:spPr/>
    </dgm:pt>
    <dgm:pt modelId="{18DC860A-F356-8B44-A6B9-D8A88A435066}" type="pres">
      <dgm:prSet presAssocID="{B89DF1DB-9BBD-A04A-89AB-FFBA79AB9874}" presName="node" presStyleLbl="node1" presStyleIdx="1" presStyleCnt="3">
        <dgm:presLayoutVars>
          <dgm:bulletEnabled val="1"/>
        </dgm:presLayoutVars>
      </dgm:prSet>
      <dgm:spPr/>
      <dgm:t>
        <a:bodyPr/>
        <a:lstStyle/>
        <a:p>
          <a:endParaRPr lang="en-US"/>
        </a:p>
      </dgm:t>
    </dgm:pt>
    <dgm:pt modelId="{3661EE13-32F0-5A44-975A-BEA93CDBC98D}" type="pres">
      <dgm:prSet presAssocID="{51F131EF-DB54-9243-BB15-3D569922A620}" presName="sibTrans" presStyleCnt="0"/>
      <dgm:spPr/>
    </dgm:pt>
    <dgm:pt modelId="{5D2F81B3-2C0F-1440-A0E9-E061500DFBFB}" type="pres">
      <dgm:prSet presAssocID="{0913EBD3-BDB2-7F4E-81FB-7102EE6A3811}" presName="node" presStyleLbl="node1" presStyleIdx="2" presStyleCnt="3">
        <dgm:presLayoutVars>
          <dgm:bulletEnabled val="1"/>
        </dgm:presLayoutVars>
      </dgm:prSet>
      <dgm:spPr/>
      <dgm:t>
        <a:bodyPr/>
        <a:lstStyle/>
        <a:p>
          <a:endParaRPr lang="en-US"/>
        </a:p>
      </dgm:t>
    </dgm:pt>
  </dgm:ptLst>
  <dgm:cxnLst>
    <dgm:cxn modelId="{E0550A77-F702-6B45-83E9-083B3E1BC62B}" type="presOf" srcId="{B89DF1DB-9BBD-A04A-89AB-FFBA79AB9874}" destId="{18DC860A-F356-8B44-A6B9-D8A88A435066}" srcOrd="0" destOrd="0" presId="urn:microsoft.com/office/officeart/2005/8/layout/default#1"/>
    <dgm:cxn modelId="{4D24394F-6447-0E4C-AFE3-5B166B9FEDBA}" srcId="{74C734C7-B123-FD44-A369-0DD85382E602}" destId="{A4AE29EC-F2ED-E346-869F-508B8002AF38}" srcOrd="0" destOrd="0" parTransId="{EEB7578F-48A0-1E48-8112-E78B6CEE609C}" sibTransId="{C1B251DB-5EB0-4843-9866-00388B9963D8}"/>
    <dgm:cxn modelId="{1DFF6AED-E292-BD4A-8FC9-5E8804E0E060}" type="presOf" srcId="{A4AE29EC-F2ED-E346-869F-508B8002AF38}" destId="{81B65745-656C-7941-8E06-60DA9A27841E}" srcOrd="0" destOrd="0" presId="urn:microsoft.com/office/officeart/2005/8/layout/default#1"/>
    <dgm:cxn modelId="{FC6CAF05-E8C9-0546-817F-C76DD7189FBA}" type="presOf" srcId="{74C734C7-B123-FD44-A369-0DD85382E602}" destId="{08705062-17FD-8744-A992-2B357B9220E0}" srcOrd="0" destOrd="0" presId="urn:microsoft.com/office/officeart/2005/8/layout/default#1"/>
    <dgm:cxn modelId="{6830F4C1-F91B-8043-8364-D3801E65818F}" type="presOf" srcId="{0913EBD3-BDB2-7F4E-81FB-7102EE6A3811}" destId="{5D2F81B3-2C0F-1440-A0E9-E061500DFBFB}" srcOrd="0" destOrd="0" presId="urn:microsoft.com/office/officeart/2005/8/layout/default#1"/>
    <dgm:cxn modelId="{A25BC75A-1CD4-094A-A46A-72A7330B32B1}" srcId="{74C734C7-B123-FD44-A369-0DD85382E602}" destId="{0913EBD3-BDB2-7F4E-81FB-7102EE6A3811}" srcOrd="2" destOrd="0" parTransId="{DD28A4F9-9ACF-194B-BFBD-BE3844396EB5}" sibTransId="{AB35B5F6-D323-FB4A-B047-AA61666B3002}"/>
    <dgm:cxn modelId="{60EAB53E-0FEC-5A4B-978E-814D8A4495D0}" srcId="{74C734C7-B123-FD44-A369-0DD85382E602}" destId="{B89DF1DB-9BBD-A04A-89AB-FFBA79AB9874}" srcOrd="1" destOrd="0" parTransId="{9FEB9A0B-A21C-ED44-BB33-72103916893D}" sibTransId="{51F131EF-DB54-9243-BB15-3D569922A620}"/>
    <dgm:cxn modelId="{CEEE268F-8633-9948-99CC-8348236840CA}" type="presParOf" srcId="{08705062-17FD-8744-A992-2B357B9220E0}" destId="{81B65745-656C-7941-8E06-60DA9A27841E}" srcOrd="0" destOrd="0" presId="urn:microsoft.com/office/officeart/2005/8/layout/default#1"/>
    <dgm:cxn modelId="{F1FBC142-6F8C-624C-8719-326CEF4834DE}" type="presParOf" srcId="{08705062-17FD-8744-A992-2B357B9220E0}" destId="{C6ECBDF4-504D-6A4E-B1E2-B71E4BC3D8A6}" srcOrd="1" destOrd="0" presId="urn:microsoft.com/office/officeart/2005/8/layout/default#1"/>
    <dgm:cxn modelId="{087606A1-9A7D-CC48-8B7D-AD76223F2208}" type="presParOf" srcId="{08705062-17FD-8744-A992-2B357B9220E0}" destId="{18DC860A-F356-8B44-A6B9-D8A88A435066}" srcOrd="2" destOrd="0" presId="urn:microsoft.com/office/officeart/2005/8/layout/default#1"/>
    <dgm:cxn modelId="{66918449-7693-E446-ABCB-588E6EBF50E4}" type="presParOf" srcId="{08705062-17FD-8744-A992-2B357B9220E0}" destId="{3661EE13-32F0-5A44-975A-BEA93CDBC98D}" srcOrd="3" destOrd="0" presId="urn:microsoft.com/office/officeart/2005/8/layout/default#1"/>
    <dgm:cxn modelId="{CD84A220-B4C9-D24A-AEB1-75B65FDFD44A}" type="presParOf" srcId="{08705062-17FD-8744-A992-2B357B9220E0}" destId="{5D2F81B3-2C0F-1440-A0E9-E061500DFBFB}" srcOrd="4" destOrd="0" presId="urn:microsoft.com/office/officeart/2005/8/layout/defaul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FDC272-8F7D-7C49-9CA5-C0B27902D438}" type="doc">
      <dgm:prSet loTypeId="urn:microsoft.com/office/officeart/2008/layout/AlternatingHexagons" loCatId="" qsTypeId="urn:microsoft.com/office/officeart/2005/8/quickstyle/simple1" qsCatId="simple" csTypeId="urn:microsoft.com/office/officeart/2005/8/colors/colorful4" csCatId="colorful" phldr="1"/>
      <dgm:spPr/>
      <dgm:t>
        <a:bodyPr/>
        <a:lstStyle/>
        <a:p>
          <a:endParaRPr lang="en-US"/>
        </a:p>
      </dgm:t>
    </dgm:pt>
    <dgm:pt modelId="{1287E9C3-2791-6242-A6CB-DCBE31D78445}">
      <dgm:prSet phldrT="[Text]"/>
      <dgm:spPr/>
      <dgm:t>
        <a:bodyPr/>
        <a:lstStyle/>
        <a:p>
          <a:r>
            <a:rPr lang="en-US" dirty="0" smtClean="0"/>
            <a:t>Commercial Market</a:t>
          </a:r>
          <a:endParaRPr lang="en-US" dirty="0"/>
        </a:p>
      </dgm:t>
    </dgm:pt>
    <dgm:pt modelId="{041AD005-26E9-4D48-9C50-A70CEDB24E11}" type="parTrans" cxnId="{55BDCD24-0285-F84C-B6C0-5BC06E2451D6}">
      <dgm:prSet/>
      <dgm:spPr/>
      <dgm:t>
        <a:bodyPr/>
        <a:lstStyle/>
        <a:p>
          <a:endParaRPr lang="en-US"/>
        </a:p>
      </dgm:t>
    </dgm:pt>
    <dgm:pt modelId="{FD7206DB-3C4D-054B-9A6D-02FA6EA7A6EC}" type="sibTrans" cxnId="{55BDCD24-0285-F84C-B6C0-5BC06E2451D6}">
      <dgm:prSet/>
      <dgm:spPr/>
      <dgm:t>
        <a:bodyPr/>
        <a:lstStyle/>
        <a:p>
          <a:endParaRPr lang="en-US"/>
        </a:p>
      </dgm:t>
    </dgm:pt>
    <dgm:pt modelId="{2905FA7B-E5F2-7542-849F-5EA71666FFC1}">
      <dgm:prSet phldrT="[Text]"/>
      <dgm:spPr/>
      <dgm:t>
        <a:bodyPr/>
        <a:lstStyle/>
        <a:p>
          <a:r>
            <a:rPr lang="en-US" dirty="0" smtClean="0"/>
            <a:t>Virtual WSA Appliances</a:t>
          </a:r>
          <a:endParaRPr lang="en-US" dirty="0"/>
        </a:p>
      </dgm:t>
    </dgm:pt>
    <dgm:pt modelId="{DB84F4B8-5577-2F4B-A867-66CFE2A0F3B1}" type="parTrans" cxnId="{744D859F-8914-9749-A5E0-17CFF1AA3214}">
      <dgm:prSet/>
      <dgm:spPr/>
      <dgm:t>
        <a:bodyPr/>
        <a:lstStyle/>
        <a:p>
          <a:endParaRPr lang="en-US"/>
        </a:p>
      </dgm:t>
    </dgm:pt>
    <dgm:pt modelId="{64822E3D-17C4-164E-8ABB-4121E2E252F5}" type="sibTrans" cxnId="{744D859F-8914-9749-A5E0-17CFF1AA3214}">
      <dgm:prSet/>
      <dgm:spPr/>
      <dgm:t>
        <a:bodyPr/>
        <a:lstStyle/>
        <a:p>
          <a:endParaRPr lang="en-US"/>
        </a:p>
      </dgm:t>
    </dgm:pt>
    <dgm:pt modelId="{25282B5C-676B-B745-81DE-CF74A643433D}">
      <dgm:prSet phldrT="[Text]"/>
      <dgm:spPr/>
      <dgm:t>
        <a:bodyPr/>
        <a:lstStyle/>
        <a:p>
          <a:r>
            <a:rPr lang="en-US" dirty="0" smtClean="0"/>
            <a:t>Can be Deployed in Explicit</a:t>
          </a:r>
          <a:r>
            <a:rPr lang="en-US" baseline="0" dirty="0" smtClean="0"/>
            <a:t> &amp; Transparent Mode</a:t>
          </a:r>
          <a:endParaRPr lang="en-US" dirty="0"/>
        </a:p>
      </dgm:t>
    </dgm:pt>
    <dgm:pt modelId="{489D1C57-F0D9-3641-8C86-25E931A8C2F7}" type="parTrans" cxnId="{8E92A5CA-52E4-454E-83BD-755FE0411CBC}">
      <dgm:prSet/>
      <dgm:spPr/>
      <dgm:t>
        <a:bodyPr/>
        <a:lstStyle/>
        <a:p>
          <a:endParaRPr lang="en-US"/>
        </a:p>
      </dgm:t>
    </dgm:pt>
    <dgm:pt modelId="{7C1B5E30-D43E-9846-A38C-D31898B83F56}" type="sibTrans" cxnId="{8E92A5CA-52E4-454E-83BD-755FE0411CBC}">
      <dgm:prSet/>
      <dgm:spPr/>
      <dgm:t>
        <a:bodyPr/>
        <a:lstStyle/>
        <a:p>
          <a:endParaRPr lang="en-US"/>
        </a:p>
      </dgm:t>
    </dgm:pt>
    <dgm:pt modelId="{BD9DEFAA-CF6A-664C-ABE4-FFA47C70A462}" type="pres">
      <dgm:prSet presAssocID="{E5FDC272-8F7D-7C49-9CA5-C0B27902D438}" presName="Name0" presStyleCnt="0">
        <dgm:presLayoutVars>
          <dgm:chMax/>
          <dgm:chPref/>
          <dgm:dir/>
          <dgm:animLvl val="lvl"/>
        </dgm:presLayoutVars>
      </dgm:prSet>
      <dgm:spPr/>
      <dgm:t>
        <a:bodyPr/>
        <a:lstStyle/>
        <a:p>
          <a:endParaRPr lang="en-US"/>
        </a:p>
      </dgm:t>
    </dgm:pt>
    <dgm:pt modelId="{F25BBEAD-7A4E-104D-B811-AD3D06635E69}" type="pres">
      <dgm:prSet presAssocID="{1287E9C3-2791-6242-A6CB-DCBE31D78445}" presName="composite" presStyleCnt="0"/>
      <dgm:spPr/>
    </dgm:pt>
    <dgm:pt modelId="{65CC2A3A-2898-EA47-A67D-EFECB92D5E25}" type="pres">
      <dgm:prSet presAssocID="{1287E9C3-2791-6242-A6CB-DCBE31D78445}" presName="Parent1" presStyleLbl="node1" presStyleIdx="0" presStyleCnt="6">
        <dgm:presLayoutVars>
          <dgm:chMax val="1"/>
          <dgm:chPref val="1"/>
          <dgm:bulletEnabled val="1"/>
        </dgm:presLayoutVars>
      </dgm:prSet>
      <dgm:spPr/>
      <dgm:t>
        <a:bodyPr/>
        <a:lstStyle/>
        <a:p>
          <a:endParaRPr lang="en-US"/>
        </a:p>
      </dgm:t>
    </dgm:pt>
    <dgm:pt modelId="{28F50D85-DE80-AA4E-B8AC-1A9969D2CD98}" type="pres">
      <dgm:prSet presAssocID="{1287E9C3-2791-6242-A6CB-DCBE31D78445}" presName="Childtext1" presStyleLbl="revTx" presStyleIdx="0" presStyleCnt="3">
        <dgm:presLayoutVars>
          <dgm:chMax val="0"/>
          <dgm:chPref val="0"/>
          <dgm:bulletEnabled val="1"/>
        </dgm:presLayoutVars>
      </dgm:prSet>
      <dgm:spPr/>
      <dgm:t>
        <a:bodyPr/>
        <a:lstStyle/>
        <a:p>
          <a:endParaRPr lang="en-US"/>
        </a:p>
      </dgm:t>
    </dgm:pt>
    <dgm:pt modelId="{8055711E-33EF-9F4E-B60D-9EFB0F66A8CF}" type="pres">
      <dgm:prSet presAssocID="{1287E9C3-2791-6242-A6CB-DCBE31D78445}" presName="BalanceSpacing" presStyleCnt="0"/>
      <dgm:spPr/>
    </dgm:pt>
    <dgm:pt modelId="{8A95038D-276D-0647-BBFE-72048B1BF9C9}" type="pres">
      <dgm:prSet presAssocID="{1287E9C3-2791-6242-A6CB-DCBE31D78445}" presName="BalanceSpacing1" presStyleCnt="0"/>
      <dgm:spPr/>
    </dgm:pt>
    <dgm:pt modelId="{385DE372-742D-FC47-BE5C-C552B99076DC}" type="pres">
      <dgm:prSet presAssocID="{FD7206DB-3C4D-054B-9A6D-02FA6EA7A6EC}" presName="Accent1Text" presStyleLbl="node1" presStyleIdx="1" presStyleCnt="6"/>
      <dgm:spPr/>
      <dgm:t>
        <a:bodyPr/>
        <a:lstStyle/>
        <a:p>
          <a:endParaRPr lang="en-US"/>
        </a:p>
      </dgm:t>
    </dgm:pt>
    <dgm:pt modelId="{BAE4AE8C-66F5-9449-91CD-79F306300E4B}" type="pres">
      <dgm:prSet presAssocID="{FD7206DB-3C4D-054B-9A6D-02FA6EA7A6EC}" presName="spaceBetweenRectangles" presStyleCnt="0"/>
      <dgm:spPr/>
    </dgm:pt>
    <dgm:pt modelId="{6CBEC8DD-A97F-5340-92F7-C300EFEB5EAB}" type="pres">
      <dgm:prSet presAssocID="{2905FA7B-E5F2-7542-849F-5EA71666FFC1}" presName="composite" presStyleCnt="0"/>
      <dgm:spPr/>
    </dgm:pt>
    <dgm:pt modelId="{86F46D5E-2931-5140-AAF5-31E87E58393F}" type="pres">
      <dgm:prSet presAssocID="{2905FA7B-E5F2-7542-849F-5EA71666FFC1}" presName="Parent1" presStyleLbl="node1" presStyleIdx="2" presStyleCnt="6">
        <dgm:presLayoutVars>
          <dgm:chMax val="1"/>
          <dgm:chPref val="1"/>
          <dgm:bulletEnabled val="1"/>
        </dgm:presLayoutVars>
      </dgm:prSet>
      <dgm:spPr/>
      <dgm:t>
        <a:bodyPr/>
        <a:lstStyle/>
        <a:p>
          <a:endParaRPr lang="en-US"/>
        </a:p>
      </dgm:t>
    </dgm:pt>
    <dgm:pt modelId="{632C77A2-7512-7543-9BD0-49D24113A56A}" type="pres">
      <dgm:prSet presAssocID="{2905FA7B-E5F2-7542-849F-5EA71666FFC1}" presName="Childtext1" presStyleLbl="revTx" presStyleIdx="1" presStyleCnt="3">
        <dgm:presLayoutVars>
          <dgm:chMax val="0"/>
          <dgm:chPref val="0"/>
          <dgm:bulletEnabled val="1"/>
        </dgm:presLayoutVars>
      </dgm:prSet>
      <dgm:spPr/>
      <dgm:t>
        <a:bodyPr/>
        <a:lstStyle/>
        <a:p>
          <a:endParaRPr lang="en-US"/>
        </a:p>
      </dgm:t>
    </dgm:pt>
    <dgm:pt modelId="{43922321-4498-D546-9B6A-75608764AD85}" type="pres">
      <dgm:prSet presAssocID="{2905FA7B-E5F2-7542-849F-5EA71666FFC1}" presName="BalanceSpacing" presStyleCnt="0"/>
      <dgm:spPr/>
    </dgm:pt>
    <dgm:pt modelId="{CC6CC8AC-AB69-A346-B50D-B20B4F885283}" type="pres">
      <dgm:prSet presAssocID="{2905FA7B-E5F2-7542-849F-5EA71666FFC1}" presName="BalanceSpacing1" presStyleCnt="0"/>
      <dgm:spPr/>
    </dgm:pt>
    <dgm:pt modelId="{DBD9615D-0996-7142-8393-E5D5078412BA}" type="pres">
      <dgm:prSet presAssocID="{64822E3D-17C4-164E-8ABB-4121E2E252F5}" presName="Accent1Text" presStyleLbl="node1" presStyleIdx="3" presStyleCnt="6"/>
      <dgm:spPr/>
      <dgm:t>
        <a:bodyPr/>
        <a:lstStyle/>
        <a:p>
          <a:endParaRPr lang="en-US"/>
        </a:p>
      </dgm:t>
    </dgm:pt>
    <dgm:pt modelId="{97537C35-ED57-A047-A151-01CC2AFCF7B5}" type="pres">
      <dgm:prSet presAssocID="{64822E3D-17C4-164E-8ABB-4121E2E252F5}" presName="spaceBetweenRectangles" presStyleCnt="0"/>
      <dgm:spPr/>
    </dgm:pt>
    <dgm:pt modelId="{23438BB7-FE42-D248-A525-588E9B1FC442}" type="pres">
      <dgm:prSet presAssocID="{25282B5C-676B-B745-81DE-CF74A643433D}" presName="composite" presStyleCnt="0"/>
      <dgm:spPr/>
    </dgm:pt>
    <dgm:pt modelId="{4ED0EB09-4556-DC4A-B7AD-A5908A359475}" type="pres">
      <dgm:prSet presAssocID="{25282B5C-676B-B745-81DE-CF74A643433D}" presName="Parent1" presStyleLbl="node1" presStyleIdx="4" presStyleCnt="6">
        <dgm:presLayoutVars>
          <dgm:chMax val="1"/>
          <dgm:chPref val="1"/>
          <dgm:bulletEnabled val="1"/>
        </dgm:presLayoutVars>
      </dgm:prSet>
      <dgm:spPr/>
      <dgm:t>
        <a:bodyPr/>
        <a:lstStyle/>
        <a:p>
          <a:endParaRPr lang="en-US"/>
        </a:p>
      </dgm:t>
    </dgm:pt>
    <dgm:pt modelId="{ED016F58-6733-4E46-95DB-BF2168EC8B6C}" type="pres">
      <dgm:prSet presAssocID="{25282B5C-676B-B745-81DE-CF74A643433D}" presName="Childtext1" presStyleLbl="revTx" presStyleIdx="2" presStyleCnt="3">
        <dgm:presLayoutVars>
          <dgm:chMax val="0"/>
          <dgm:chPref val="0"/>
          <dgm:bulletEnabled val="1"/>
        </dgm:presLayoutVars>
      </dgm:prSet>
      <dgm:spPr/>
      <dgm:t>
        <a:bodyPr/>
        <a:lstStyle/>
        <a:p>
          <a:endParaRPr lang="en-US"/>
        </a:p>
      </dgm:t>
    </dgm:pt>
    <dgm:pt modelId="{982FA8D9-C7FF-374B-8BF3-0E45E053A8F3}" type="pres">
      <dgm:prSet presAssocID="{25282B5C-676B-B745-81DE-CF74A643433D}" presName="BalanceSpacing" presStyleCnt="0"/>
      <dgm:spPr/>
    </dgm:pt>
    <dgm:pt modelId="{2CEDF74E-66A0-094F-ADEF-9ACFEC76BCA0}" type="pres">
      <dgm:prSet presAssocID="{25282B5C-676B-B745-81DE-CF74A643433D}" presName="BalanceSpacing1" presStyleCnt="0"/>
      <dgm:spPr/>
    </dgm:pt>
    <dgm:pt modelId="{873A7C3B-593F-5843-844A-75547BF69BE2}" type="pres">
      <dgm:prSet presAssocID="{7C1B5E30-D43E-9846-A38C-D31898B83F56}" presName="Accent1Text" presStyleLbl="node1" presStyleIdx="5" presStyleCnt="6"/>
      <dgm:spPr/>
      <dgm:t>
        <a:bodyPr/>
        <a:lstStyle/>
        <a:p>
          <a:endParaRPr lang="en-US"/>
        </a:p>
      </dgm:t>
    </dgm:pt>
  </dgm:ptLst>
  <dgm:cxnLst>
    <dgm:cxn modelId="{6DAE6ABD-4AB5-F24A-8A3E-A812CD94B62C}" type="presOf" srcId="{2905FA7B-E5F2-7542-849F-5EA71666FFC1}" destId="{86F46D5E-2931-5140-AAF5-31E87E58393F}" srcOrd="0" destOrd="0" presId="urn:microsoft.com/office/officeart/2008/layout/AlternatingHexagons"/>
    <dgm:cxn modelId="{34B69486-3738-4F4F-BCF4-0494829F4C17}" type="presOf" srcId="{7C1B5E30-D43E-9846-A38C-D31898B83F56}" destId="{873A7C3B-593F-5843-844A-75547BF69BE2}" srcOrd="0" destOrd="0" presId="urn:microsoft.com/office/officeart/2008/layout/AlternatingHexagons"/>
    <dgm:cxn modelId="{3CBBB482-0B38-5A4A-B073-42203CC37227}" type="presOf" srcId="{64822E3D-17C4-164E-8ABB-4121E2E252F5}" destId="{DBD9615D-0996-7142-8393-E5D5078412BA}" srcOrd="0" destOrd="0" presId="urn:microsoft.com/office/officeart/2008/layout/AlternatingHexagons"/>
    <dgm:cxn modelId="{744D859F-8914-9749-A5E0-17CFF1AA3214}" srcId="{E5FDC272-8F7D-7C49-9CA5-C0B27902D438}" destId="{2905FA7B-E5F2-7542-849F-5EA71666FFC1}" srcOrd="1" destOrd="0" parTransId="{DB84F4B8-5577-2F4B-A867-66CFE2A0F3B1}" sibTransId="{64822E3D-17C4-164E-8ABB-4121E2E252F5}"/>
    <dgm:cxn modelId="{55BDCD24-0285-F84C-B6C0-5BC06E2451D6}" srcId="{E5FDC272-8F7D-7C49-9CA5-C0B27902D438}" destId="{1287E9C3-2791-6242-A6CB-DCBE31D78445}" srcOrd="0" destOrd="0" parTransId="{041AD005-26E9-4D48-9C50-A70CEDB24E11}" sibTransId="{FD7206DB-3C4D-054B-9A6D-02FA6EA7A6EC}"/>
    <dgm:cxn modelId="{D510E1DB-0753-2F44-9C85-B820F6802B91}" type="presOf" srcId="{FD7206DB-3C4D-054B-9A6D-02FA6EA7A6EC}" destId="{385DE372-742D-FC47-BE5C-C552B99076DC}" srcOrd="0" destOrd="0" presId="urn:microsoft.com/office/officeart/2008/layout/AlternatingHexagons"/>
    <dgm:cxn modelId="{649CEDD1-2700-C44A-A0D6-873C87F1C9E0}" type="presOf" srcId="{E5FDC272-8F7D-7C49-9CA5-C0B27902D438}" destId="{BD9DEFAA-CF6A-664C-ABE4-FFA47C70A462}" srcOrd="0" destOrd="0" presId="urn:microsoft.com/office/officeart/2008/layout/AlternatingHexagons"/>
    <dgm:cxn modelId="{D0B1A4D8-8964-6A45-AF47-561E724AFFF1}" type="presOf" srcId="{1287E9C3-2791-6242-A6CB-DCBE31D78445}" destId="{65CC2A3A-2898-EA47-A67D-EFECB92D5E25}" srcOrd="0" destOrd="0" presId="urn:microsoft.com/office/officeart/2008/layout/AlternatingHexagons"/>
    <dgm:cxn modelId="{8E92A5CA-52E4-454E-83BD-755FE0411CBC}" srcId="{E5FDC272-8F7D-7C49-9CA5-C0B27902D438}" destId="{25282B5C-676B-B745-81DE-CF74A643433D}" srcOrd="2" destOrd="0" parTransId="{489D1C57-F0D9-3641-8C86-25E931A8C2F7}" sibTransId="{7C1B5E30-D43E-9846-A38C-D31898B83F56}"/>
    <dgm:cxn modelId="{7EC35C4F-DD7A-7C4D-AF69-5CB751DEDABF}" type="presOf" srcId="{25282B5C-676B-B745-81DE-CF74A643433D}" destId="{4ED0EB09-4556-DC4A-B7AD-A5908A359475}" srcOrd="0" destOrd="0" presId="urn:microsoft.com/office/officeart/2008/layout/AlternatingHexagons"/>
    <dgm:cxn modelId="{FF51A919-ABF4-6240-A5AF-2CAD2590AAA8}" type="presParOf" srcId="{BD9DEFAA-CF6A-664C-ABE4-FFA47C70A462}" destId="{F25BBEAD-7A4E-104D-B811-AD3D06635E69}" srcOrd="0" destOrd="0" presId="urn:microsoft.com/office/officeart/2008/layout/AlternatingHexagons"/>
    <dgm:cxn modelId="{09A849DD-0A40-4946-B709-43BA3E1A0E35}" type="presParOf" srcId="{F25BBEAD-7A4E-104D-B811-AD3D06635E69}" destId="{65CC2A3A-2898-EA47-A67D-EFECB92D5E25}" srcOrd="0" destOrd="0" presId="urn:microsoft.com/office/officeart/2008/layout/AlternatingHexagons"/>
    <dgm:cxn modelId="{4F8CF8B5-9DBD-A946-8F4B-0E733716EE3F}" type="presParOf" srcId="{F25BBEAD-7A4E-104D-B811-AD3D06635E69}" destId="{28F50D85-DE80-AA4E-B8AC-1A9969D2CD98}" srcOrd="1" destOrd="0" presId="urn:microsoft.com/office/officeart/2008/layout/AlternatingHexagons"/>
    <dgm:cxn modelId="{2298002D-CFF1-DA4D-BEE8-AA285C8BE181}" type="presParOf" srcId="{F25BBEAD-7A4E-104D-B811-AD3D06635E69}" destId="{8055711E-33EF-9F4E-B60D-9EFB0F66A8CF}" srcOrd="2" destOrd="0" presId="urn:microsoft.com/office/officeart/2008/layout/AlternatingHexagons"/>
    <dgm:cxn modelId="{5C708A05-2101-3448-857F-BBAB2240F5EA}" type="presParOf" srcId="{F25BBEAD-7A4E-104D-B811-AD3D06635E69}" destId="{8A95038D-276D-0647-BBFE-72048B1BF9C9}" srcOrd="3" destOrd="0" presId="urn:microsoft.com/office/officeart/2008/layout/AlternatingHexagons"/>
    <dgm:cxn modelId="{6685122F-6F36-AE4B-84CC-4203D468594D}" type="presParOf" srcId="{F25BBEAD-7A4E-104D-B811-AD3D06635E69}" destId="{385DE372-742D-FC47-BE5C-C552B99076DC}" srcOrd="4" destOrd="0" presId="urn:microsoft.com/office/officeart/2008/layout/AlternatingHexagons"/>
    <dgm:cxn modelId="{EBA11E67-5FE5-8C4E-A079-F71505139501}" type="presParOf" srcId="{BD9DEFAA-CF6A-664C-ABE4-FFA47C70A462}" destId="{BAE4AE8C-66F5-9449-91CD-79F306300E4B}" srcOrd="1" destOrd="0" presId="urn:microsoft.com/office/officeart/2008/layout/AlternatingHexagons"/>
    <dgm:cxn modelId="{8F4F66FC-413C-9444-AB12-1B749F103AF6}" type="presParOf" srcId="{BD9DEFAA-CF6A-664C-ABE4-FFA47C70A462}" destId="{6CBEC8DD-A97F-5340-92F7-C300EFEB5EAB}" srcOrd="2" destOrd="0" presId="urn:microsoft.com/office/officeart/2008/layout/AlternatingHexagons"/>
    <dgm:cxn modelId="{5FFB15CC-1E9C-EF4B-8A94-3F410F164077}" type="presParOf" srcId="{6CBEC8DD-A97F-5340-92F7-C300EFEB5EAB}" destId="{86F46D5E-2931-5140-AAF5-31E87E58393F}" srcOrd="0" destOrd="0" presId="urn:microsoft.com/office/officeart/2008/layout/AlternatingHexagons"/>
    <dgm:cxn modelId="{63A6103F-F685-4245-B680-273F6303A372}" type="presParOf" srcId="{6CBEC8DD-A97F-5340-92F7-C300EFEB5EAB}" destId="{632C77A2-7512-7543-9BD0-49D24113A56A}" srcOrd="1" destOrd="0" presId="urn:microsoft.com/office/officeart/2008/layout/AlternatingHexagons"/>
    <dgm:cxn modelId="{3718E9A3-3C6B-824C-B42A-7F61E834DC1E}" type="presParOf" srcId="{6CBEC8DD-A97F-5340-92F7-C300EFEB5EAB}" destId="{43922321-4498-D546-9B6A-75608764AD85}" srcOrd="2" destOrd="0" presId="urn:microsoft.com/office/officeart/2008/layout/AlternatingHexagons"/>
    <dgm:cxn modelId="{01B2DB2C-72E1-0C49-922D-AD535D2FC068}" type="presParOf" srcId="{6CBEC8DD-A97F-5340-92F7-C300EFEB5EAB}" destId="{CC6CC8AC-AB69-A346-B50D-B20B4F885283}" srcOrd="3" destOrd="0" presId="urn:microsoft.com/office/officeart/2008/layout/AlternatingHexagons"/>
    <dgm:cxn modelId="{40F10334-6653-164A-BED7-0D3EB3469C31}" type="presParOf" srcId="{6CBEC8DD-A97F-5340-92F7-C300EFEB5EAB}" destId="{DBD9615D-0996-7142-8393-E5D5078412BA}" srcOrd="4" destOrd="0" presId="urn:microsoft.com/office/officeart/2008/layout/AlternatingHexagons"/>
    <dgm:cxn modelId="{35B6C599-F284-0F45-8E50-BB49D1349770}" type="presParOf" srcId="{BD9DEFAA-CF6A-664C-ABE4-FFA47C70A462}" destId="{97537C35-ED57-A047-A151-01CC2AFCF7B5}" srcOrd="3" destOrd="0" presId="urn:microsoft.com/office/officeart/2008/layout/AlternatingHexagons"/>
    <dgm:cxn modelId="{401B9BEE-5742-C34E-91F9-64C246745336}" type="presParOf" srcId="{BD9DEFAA-CF6A-664C-ABE4-FFA47C70A462}" destId="{23438BB7-FE42-D248-A525-588E9B1FC442}" srcOrd="4" destOrd="0" presId="urn:microsoft.com/office/officeart/2008/layout/AlternatingHexagons"/>
    <dgm:cxn modelId="{3F1DD976-25F5-A44A-AA66-F738A5139786}" type="presParOf" srcId="{23438BB7-FE42-D248-A525-588E9B1FC442}" destId="{4ED0EB09-4556-DC4A-B7AD-A5908A359475}" srcOrd="0" destOrd="0" presId="urn:microsoft.com/office/officeart/2008/layout/AlternatingHexagons"/>
    <dgm:cxn modelId="{E6312B4D-DEB3-DF47-89D2-19850A98328F}" type="presParOf" srcId="{23438BB7-FE42-D248-A525-588E9B1FC442}" destId="{ED016F58-6733-4E46-95DB-BF2168EC8B6C}" srcOrd="1" destOrd="0" presId="urn:microsoft.com/office/officeart/2008/layout/AlternatingHexagons"/>
    <dgm:cxn modelId="{EB382FD6-A365-2A49-98FC-97565F04FB79}" type="presParOf" srcId="{23438BB7-FE42-D248-A525-588E9B1FC442}" destId="{982FA8D9-C7FF-374B-8BF3-0E45E053A8F3}" srcOrd="2" destOrd="0" presId="urn:microsoft.com/office/officeart/2008/layout/AlternatingHexagons"/>
    <dgm:cxn modelId="{A1DF733B-A048-EB48-85D1-AEBFFC985679}" type="presParOf" srcId="{23438BB7-FE42-D248-A525-588E9B1FC442}" destId="{2CEDF74E-66A0-094F-ADEF-9ACFEC76BCA0}" srcOrd="3" destOrd="0" presId="urn:microsoft.com/office/officeart/2008/layout/AlternatingHexagons"/>
    <dgm:cxn modelId="{E7530727-21A0-C245-9957-49E0902C435C}" type="presParOf" srcId="{23438BB7-FE42-D248-A525-588E9B1FC442}" destId="{873A7C3B-593F-5843-844A-75547BF69BE2}"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A88CFF-9A16-2D42-9084-9E885D48B54B}" type="doc">
      <dgm:prSet loTypeId="urn:microsoft.com/office/officeart/2005/8/layout/radial1" loCatId="" qsTypeId="urn:microsoft.com/office/officeart/2005/8/quickstyle/simple4" qsCatId="simple" csTypeId="urn:microsoft.com/office/officeart/2005/8/colors/accent0_3" csCatId="mainScheme" phldr="1"/>
      <dgm:spPr/>
      <dgm:t>
        <a:bodyPr/>
        <a:lstStyle/>
        <a:p>
          <a:endParaRPr lang="en-US"/>
        </a:p>
      </dgm:t>
    </dgm:pt>
    <dgm:pt modelId="{57CF7C51-2304-1045-8257-08A1943A731C}">
      <dgm:prSet phldrT="[Text]"/>
      <dgm:spPr/>
      <dgm:t>
        <a:bodyPr/>
        <a:lstStyle/>
        <a:p>
          <a:r>
            <a:rPr lang="en-US" dirty="0" smtClean="0"/>
            <a:t>CTA</a:t>
          </a:r>
          <a:endParaRPr lang="en-US" dirty="0"/>
        </a:p>
      </dgm:t>
    </dgm:pt>
    <dgm:pt modelId="{6C41F53F-3C26-CB43-BA25-D293A83AE0CB}" type="parTrans" cxnId="{0E355A81-2656-5F46-B316-0C7E081E18B0}">
      <dgm:prSet/>
      <dgm:spPr/>
      <dgm:t>
        <a:bodyPr/>
        <a:lstStyle/>
        <a:p>
          <a:endParaRPr lang="en-US"/>
        </a:p>
      </dgm:t>
    </dgm:pt>
    <dgm:pt modelId="{3BFDAB8D-929E-3144-992A-439F8FF15F32}" type="sibTrans" cxnId="{0E355A81-2656-5F46-B316-0C7E081E18B0}">
      <dgm:prSet/>
      <dgm:spPr/>
      <dgm:t>
        <a:bodyPr/>
        <a:lstStyle/>
        <a:p>
          <a:endParaRPr lang="en-US"/>
        </a:p>
      </dgm:t>
    </dgm:pt>
    <dgm:pt modelId="{F58544F5-E4B6-4A44-954B-EF1EF235962C}">
      <dgm:prSet phldrT="[Text]"/>
      <dgm:spPr/>
      <dgm:t>
        <a:bodyPr/>
        <a:lstStyle/>
        <a:p>
          <a:r>
            <a:rPr lang="en-US" dirty="0" smtClean="0">
              <a:hlinkClick xmlns:r="http://schemas.openxmlformats.org/officeDocument/2006/relationships" r:id="rId1"/>
            </a:rPr>
            <a:t>New License as ATD</a:t>
          </a:r>
          <a:endParaRPr lang="en-US" dirty="0"/>
        </a:p>
      </dgm:t>
    </dgm:pt>
    <dgm:pt modelId="{8B70C841-76B9-7A4F-A0AE-1978D7D17C58}" type="parTrans" cxnId="{CDC582A0-CBFE-D243-A1D3-DB03227C41B7}">
      <dgm:prSet/>
      <dgm:spPr/>
      <dgm:t>
        <a:bodyPr/>
        <a:lstStyle/>
        <a:p>
          <a:endParaRPr lang="en-US"/>
        </a:p>
      </dgm:t>
    </dgm:pt>
    <dgm:pt modelId="{64E706D7-639D-A740-95AE-1BC8046E8057}" type="sibTrans" cxnId="{CDC582A0-CBFE-D243-A1D3-DB03227C41B7}">
      <dgm:prSet/>
      <dgm:spPr/>
      <dgm:t>
        <a:bodyPr/>
        <a:lstStyle/>
        <a:p>
          <a:endParaRPr lang="en-US"/>
        </a:p>
      </dgm:t>
    </dgm:pt>
    <dgm:pt modelId="{C8C28C46-9221-0944-8285-7B282CD73E8B}">
      <dgm:prSet phldrT="[Text]"/>
      <dgm:spPr/>
      <dgm:t>
        <a:bodyPr/>
        <a:lstStyle/>
        <a:p>
          <a:r>
            <a:rPr lang="en-US" dirty="0" smtClean="0">
              <a:hlinkClick xmlns:r="http://schemas.openxmlformats.org/officeDocument/2006/relationships" r:id="rId2"/>
            </a:rPr>
            <a:t>45 Days Free </a:t>
          </a:r>
          <a:r>
            <a:rPr lang="en-US" dirty="0" err="1" smtClean="0">
              <a:hlinkClick xmlns:r="http://schemas.openxmlformats.org/officeDocument/2006/relationships" r:id="rId2"/>
            </a:rPr>
            <a:t>Eval</a:t>
          </a:r>
          <a:endParaRPr lang="en-US" dirty="0"/>
        </a:p>
      </dgm:t>
    </dgm:pt>
    <dgm:pt modelId="{79FD8212-FC40-3E4F-9F02-A2B99AE39D0B}" type="parTrans" cxnId="{EFD545C0-6C2A-AE40-B656-C1E0363D6ED3}">
      <dgm:prSet/>
      <dgm:spPr/>
      <dgm:t>
        <a:bodyPr/>
        <a:lstStyle/>
        <a:p>
          <a:endParaRPr lang="en-US"/>
        </a:p>
      </dgm:t>
    </dgm:pt>
    <dgm:pt modelId="{3793AB6C-6018-BF42-8EB9-DFDE5CB39DBA}" type="sibTrans" cxnId="{EFD545C0-6C2A-AE40-B656-C1E0363D6ED3}">
      <dgm:prSet/>
      <dgm:spPr/>
      <dgm:t>
        <a:bodyPr/>
        <a:lstStyle/>
        <a:p>
          <a:endParaRPr lang="en-US"/>
        </a:p>
      </dgm:t>
    </dgm:pt>
    <dgm:pt modelId="{90453315-0CC3-4C46-9C42-D300B6C871A7}">
      <dgm:prSet phldrT="[Text]"/>
      <dgm:spPr/>
      <dgm:t>
        <a:bodyPr/>
        <a:lstStyle/>
        <a:p>
          <a:r>
            <a:rPr lang="en-US" dirty="0" smtClean="0">
              <a:hlinkClick xmlns:r="http://schemas.openxmlformats.org/officeDocument/2006/relationships" r:id="rId3"/>
            </a:rPr>
            <a:t>Deployment Guide &amp; Videos</a:t>
          </a:r>
          <a:endParaRPr lang="en-US" dirty="0"/>
        </a:p>
      </dgm:t>
    </dgm:pt>
    <dgm:pt modelId="{28A48912-4FEA-B340-8B72-CE44BA3DA321}" type="parTrans" cxnId="{EDB8D116-6D87-924A-BF19-4B23E851216E}">
      <dgm:prSet/>
      <dgm:spPr/>
      <dgm:t>
        <a:bodyPr/>
        <a:lstStyle/>
        <a:p>
          <a:endParaRPr lang="en-US"/>
        </a:p>
      </dgm:t>
    </dgm:pt>
    <dgm:pt modelId="{20B9019B-C0E6-FE44-B538-901C0246AC66}" type="sibTrans" cxnId="{EDB8D116-6D87-924A-BF19-4B23E851216E}">
      <dgm:prSet/>
      <dgm:spPr/>
      <dgm:t>
        <a:bodyPr/>
        <a:lstStyle/>
        <a:p>
          <a:endParaRPr lang="en-US"/>
        </a:p>
      </dgm:t>
    </dgm:pt>
    <dgm:pt modelId="{3125B7E8-A282-3048-95A2-C0C4A7628E27}">
      <dgm:prSet phldrT="[Text]"/>
      <dgm:spPr/>
      <dgm:t>
        <a:bodyPr/>
        <a:lstStyle/>
        <a:p>
          <a:r>
            <a:rPr lang="en-US" dirty="0" smtClean="0">
              <a:hlinkClick xmlns:r="http://schemas.openxmlformats.org/officeDocument/2006/relationships" r:id="rId4"/>
            </a:rPr>
            <a:t>Sample Reports </a:t>
          </a:r>
          <a:endParaRPr lang="en-US" dirty="0"/>
        </a:p>
      </dgm:t>
    </dgm:pt>
    <dgm:pt modelId="{DE67FFC6-D6B0-3C4A-B431-2C3F28FAF252}" type="parTrans" cxnId="{1A49ABCE-1D58-3248-A993-044BEE85B1BE}">
      <dgm:prSet/>
      <dgm:spPr/>
      <dgm:t>
        <a:bodyPr/>
        <a:lstStyle/>
        <a:p>
          <a:endParaRPr lang="en-US"/>
        </a:p>
      </dgm:t>
    </dgm:pt>
    <dgm:pt modelId="{FBB10DD4-3021-6F4E-B8DA-E2E1BAB1E3A6}" type="sibTrans" cxnId="{1A49ABCE-1D58-3248-A993-044BEE85B1BE}">
      <dgm:prSet/>
      <dgm:spPr/>
      <dgm:t>
        <a:bodyPr/>
        <a:lstStyle/>
        <a:p>
          <a:endParaRPr lang="en-US"/>
        </a:p>
      </dgm:t>
    </dgm:pt>
    <dgm:pt modelId="{3E4CEF55-281F-CF41-A203-395D1B767975}">
      <dgm:prSet phldrT="[Text]"/>
      <dgm:spPr/>
      <dgm:t>
        <a:bodyPr/>
        <a:lstStyle/>
        <a:p>
          <a:r>
            <a:rPr lang="en-US" dirty="0" smtClean="0">
              <a:hlinkClick xmlns:r="http://schemas.openxmlformats.org/officeDocument/2006/relationships" r:id="rId5"/>
            </a:rPr>
            <a:t>Training Folder</a:t>
          </a:r>
          <a:endParaRPr lang="en-US" dirty="0"/>
        </a:p>
      </dgm:t>
    </dgm:pt>
    <dgm:pt modelId="{D1CDF2CE-1622-784D-9E11-9A31F535671B}" type="parTrans" cxnId="{BCDCEC9C-DB1E-784C-8223-A0D50D482350}">
      <dgm:prSet/>
      <dgm:spPr/>
      <dgm:t>
        <a:bodyPr/>
        <a:lstStyle/>
        <a:p>
          <a:endParaRPr lang="en-US"/>
        </a:p>
      </dgm:t>
    </dgm:pt>
    <dgm:pt modelId="{BBAEFD73-9BF8-8442-83C3-DACD254D01EB}" type="sibTrans" cxnId="{BCDCEC9C-DB1E-784C-8223-A0D50D482350}">
      <dgm:prSet/>
      <dgm:spPr/>
      <dgm:t>
        <a:bodyPr/>
        <a:lstStyle/>
        <a:p>
          <a:endParaRPr lang="en-US"/>
        </a:p>
      </dgm:t>
    </dgm:pt>
    <dgm:pt modelId="{9A667427-8ECC-614C-B0CC-ECE4EB994B77}">
      <dgm:prSet phldrT="[Text]"/>
      <dgm:spPr/>
      <dgm:t>
        <a:bodyPr/>
        <a:lstStyle/>
        <a:p>
          <a:r>
            <a:rPr lang="en-US" dirty="0" smtClean="0">
              <a:solidFill>
                <a:schemeClr val="bg1"/>
              </a:solidFill>
              <a:hlinkClick xmlns:r="http://schemas.openxmlformats.org/officeDocument/2006/relationships" r:id="rId6" invalidUrl="http://:%20https://cisco.box.com/s/f0v39k3of56d92d9k9wrcgiw30v4i4qe"/>
            </a:rPr>
            <a:t>Demo Videos</a:t>
          </a:r>
          <a:endParaRPr lang="en-US" dirty="0">
            <a:solidFill>
              <a:schemeClr val="bg1"/>
            </a:solidFill>
          </a:endParaRPr>
        </a:p>
      </dgm:t>
    </dgm:pt>
    <dgm:pt modelId="{B1938D8D-43EE-F447-A284-48F9AFCD9ACC}" type="parTrans" cxnId="{FE27D7AA-D6D8-6D4F-A9B9-995A9430854E}">
      <dgm:prSet/>
      <dgm:spPr/>
      <dgm:t>
        <a:bodyPr/>
        <a:lstStyle/>
        <a:p>
          <a:endParaRPr lang="en-US"/>
        </a:p>
      </dgm:t>
    </dgm:pt>
    <dgm:pt modelId="{77DF5D02-E398-BB45-A980-83DB23F38D18}" type="sibTrans" cxnId="{FE27D7AA-D6D8-6D4F-A9B9-995A9430854E}">
      <dgm:prSet/>
      <dgm:spPr/>
      <dgm:t>
        <a:bodyPr/>
        <a:lstStyle/>
        <a:p>
          <a:endParaRPr lang="en-US"/>
        </a:p>
      </dgm:t>
    </dgm:pt>
    <dgm:pt modelId="{29A56AEC-4B0D-6546-B066-E6F1345A6530}" type="pres">
      <dgm:prSet presAssocID="{A5A88CFF-9A16-2D42-9084-9E885D48B54B}" presName="cycle" presStyleCnt="0">
        <dgm:presLayoutVars>
          <dgm:chMax val="1"/>
          <dgm:dir/>
          <dgm:animLvl val="ctr"/>
          <dgm:resizeHandles val="exact"/>
        </dgm:presLayoutVars>
      </dgm:prSet>
      <dgm:spPr/>
      <dgm:t>
        <a:bodyPr/>
        <a:lstStyle/>
        <a:p>
          <a:endParaRPr lang="en-US"/>
        </a:p>
      </dgm:t>
    </dgm:pt>
    <dgm:pt modelId="{203B7B64-0D22-1841-94A2-0B7D525468B5}" type="pres">
      <dgm:prSet presAssocID="{57CF7C51-2304-1045-8257-08A1943A731C}" presName="centerShape" presStyleLbl="node0" presStyleIdx="0" presStyleCnt="1"/>
      <dgm:spPr/>
      <dgm:t>
        <a:bodyPr/>
        <a:lstStyle/>
        <a:p>
          <a:endParaRPr lang="en-US"/>
        </a:p>
      </dgm:t>
    </dgm:pt>
    <dgm:pt modelId="{E6DCFE84-61F5-044C-969F-56FC15FC4BB1}" type="pres">
      <dgm:prSet presAssocID="{8B70C841-76B9-7A4F-A0AE-1978D7D17C58}" presName="Name9" presStyleLbl="parChTrans1D2" presStyleIdx="0" presStyleCnt="6"/>
      <dgm:spPr/>
      <dgm:t>
        <a:bodyPr/>
        <a:lstStyle/>
        <a:p>
          <a:endParaRPr lang="en-US"/>
        </a:p>
      </dgm:t>
    </dgm:pt>
    <dgm:pt modelId="{3435766D-5896-D64E-A15E-B09C8AD574FC}" type="pres">
      <dgm:prSet presAssocID="{8B70C841-76B9-7A4F-A0AE-1978D7D17C58}" presName="connTx" presStyleLbl="parChTrans1D2" presStyleIdx="0" presStyleCnt="6"/>
      <dgm:spPr/>
      <dgm:t>
        <a:bodyPr/>
        <a:lstStyle/>
        <a:p>
          <a:endParaRPr lang="en-US"/>
        </a:p>
      </dgm:t>
    </dgm:pt>
    <dgm:pt modelId="{D26A2EBF-AF59-184B-BC2B-C8315B04A983}" type="pres">
      <dgm:prSet presAssocID="{F58544F5-E4B6-4A44-954B-EF1EF235962C}" presName="node" presStyleLbl="node1" presStyleIdx="0" presStyleCnt="6">
        <dgm:presLayoutVars>
          <dgm:bulletEnabled val="1"/>
        </dgm:presLayoutVars>
      </dgm:prSet>
      <dgm:spPr/>
      <dgm:t>
        <a:bodyPr/>
        <a:lstStyle/>
        <a:p>
          <a:endParaRPr lang="en-US"/>
        </a:p>
      </dgm:t>
    </dgm:pt>
    <dgm:pt modelId="{1706E85D-5E60-0742-B748-9E8878AAA081}" type="pres">
      <dgm:prSet presAssocID="{79FD8212-FC40-3E4F-9F02-A2B99AE39D0B}" presName="Name9" presStyleLbl="parChTrans1D2" presStyleIdx="1" presStyleCnt="6"/>
      <dgm:spPr/>
      <dgm:t>
        <a:bodyPr/>
        <a:lstStyle/>
        <a:p>
          <a:endParaRPr lang="en-US"/>
        </a:p>
      </dgm:t>
    </dgm:pt>
    <dgm:pt modelId="{D3607461-8539-4046-8F7A-0F3A81900943}" type="pres">
      <dgm:prSet presAssocID="{79FD8212-FC40-3E4F-9F02-A2B99AE39D0B}" presName="connTx" presStyleLbl="parChTrans1D2" presStyleIdx="1" presStyleCnt="6"/>
      <dgm:spPr/>
      <dgm:t>
        <a:bodyPr/>
        <a:lstStyle/>
        <a:p>
          <a:endParaRPr lang="en-US"/>
        </a:p>
      </dgm:t>
    </dgm:pt>
    <dgm:pt modelId="{49E09CB5-1E84-664E-8693-D238A248528B}" type="pres">
      <dgm:prSet presAssocID="{C8C28C46-9221-0944-8285-7B282CD73E8B}" presName="node" presStyleLbl="node1" presStyleIdx="1" presStyleCnt="6">
        <dgm:presLayoutVars>
          <dgm:bulletEnabled val="1"/>
        </dgm:presLayoutVars>
      </dgm:prSet>
      <dgm:spPr/>
      <dgm:t>
        <a:bodyPr/>
        <a:lstStyle/>
        <a:p>
          <a:endParaRPr lang="en-US"/>
        </a:p>
      </dgm:t>
    </dgm:pt>
    <dgm:pt modelId="{01A27448-FB70-814B-8C55-6E25235A51D3}" type="pres">
      <dgm:prSet presAssocID="{D1CDF2CE-1622-784D-9E11-9A31F535671B}" presName="Name9" presStyleLbl="parChTrans1D2" presStyleIdx="2" presStyleCnt="6"/>
      <dgm:spPr/>
      <dgm:t>
        <a:bodyPr/>
        <a:lstStyle/>
        <a:p>
          <a:endParaRPr lang="en-US"/>
        </a:p>
      </dgm:t>
    </dgm:pt>
    <dgm:pt modelId="{9DC89735-6278-C840-833F-D2D030518B33}" type="pres">
      <dgm:prSet presAssocID="{D1CDF2CE-1622-784D-9E11-9A31F535671B}" presName="connTx" presStyleLbl="parChTrans1D2" presStyleIdx="2" presStyleCnt="6"/>
      <dgm:spPr/>
      <dgm:t>
        <a:bodyPr/>
        <a:lstStyle/>
        <a:p>
          <a:endParaRPr lang="en-US"/>
        </a:p>
      </dgm:t>
    </dgm:pt>
    <dgm:pt modelId="{BD2E83E1-0F73-FB48-B068-DBD156D56D09}" type="pres">
      <dgm:prSet presAssocID="{3E4CEF55-281F-CF41-A203-395D1B767975}" presName="node" presStyleLbl="node1" presStyleIdx="2" presStyleCnt="6">
        <dgm:presLayoutVars>
          <dgm:bulletEnabled val="1"/>
        </dgm:presLayoutVars>
      </dgm:prSet>
      <dgm:spPr/>
      <dgm:t>
        <a:bodyPr/>
        <a:lstStyle/>
        <a:p>
          <a:endParaRPr lang="en-US"/>
        </a:p>
      </dgm:t>
    </dgm:pt>
    <dgm:pt modelId="{CF630F93-ACEF-2448-A4B1-A9B4A1C298E4}" type="pres">
      <dgm:prSet presAssocID="{28A48912-4FEA-B340-8B72-CE44BA3DA321}" presName="Name9" presStyleLbl="parChTrans1D2" presStyleIdx="3" presStyleCnt="6"/>
      <dgm:spPr/>
      <dgm:t>
        <a:bodyPr/>
        <a:lstStyle/>
        <a:p>
          <a:endParaRPr lang="en-US"/>
        </a:p>
      </dgm:t>
    </dgm:pt>
    <dgm:pt modelId="{9A6F9FF1-938D-F142-A2CD-49A55D5E9E4F}" type="pres">
      <dgm:prSet presAssocID="{28A48912-4FEA-B340-8B72-CE44BA3DA321}" presName="connTx" presStyleLbl="parChTrans1D2" presStyleIdx="3" presStyleCnt="6"/>
      <dgm:spPr/>
      <dgm:t>
        <a:bodyPr/>
        <a:lstStyle/>
        <a:p>
          <a:endParaRPr lang="en-US"/>
        </a:p>
      </dgm:t>
    </dgm:pt>
    <dgm:pt modelId="{FAB066B9-4122-224F-BF18-BDFB58947656}" type="pres">
      <dgm:prSet presAssocID="{90453315-0CC3-4C46-9C42-D300B6C871A7}" presName="node" presStyleLbl="node1" presStyleIdx="3" presStyleCnt="6">
        <dgm:presLayoutVars>
          <dgm:bulletEnabled val="1"/>
        </dgm:presLayoutVars>
      </dgm:prSet>
      <dgm:spPr/>
      <dgm:t>
        <a:bodyPr/>
        <a:lstStyle/>
        <a:p>
          <a:endParaRPr lang="en-US"/>
        </a:p>
      </dgm:t>
    </dgm:pt>
    <dgm:pt modelId="{028E0064-2430-DA41-885B-330EDC8F33EC}" type="pres">
      <dgm:prSet presAssocID="{DE67FFC6-D6B0-3C4A-B431-2C3F28FAF252}" presName="Name9" presStyleLbl="parChTrans1D2" presStyleIdx="4" presStyleCnt="6"/>
      <dgm:spPr/>
      <dgm:t>
        <a:bodyPr/>
        <a:lstStyle/>
        <a:p>
          <a:endParaRPr lang="en-US"/>
        </a:p>
      </dgm:t>
    </dgm:pt>
    <dgm:pt modelId="{16C52B13-F0B8-464E-A78D-9655F67D61F8}" type="pres">
      <dgm:prSet presAssocID="{DE67FFC6-D6B0-3C4A-B431-2C3F28FAF252}" presName="connTx" presStyleLbl="parChTrans1D2" presStyleIdx="4" presStyleCnt="6"/>
      <dgm:spPr/>
      <dgm:t>
        <a:bodyPr/>
        <a:lstStyle/>
        <a:p>
          <a:endParaRPr lang="en-US"/>
        </a:p>
      </dgm:t>
    </dgm:pt>
    <dgm:pt modelId="{45E86033-2493-FF48-8509-5F40B592DBAF}" type="pres">
      <dgm:prSet presAssocID="{3125B7E8-A282-3048-95A2-C0C4A7628E27}" presName="node" presStyleLbl="node1" presStyleIdx="4" presStyleCnt="6">
        <dgm:presLayoutVars>
          <dgm:bulletEnabled val="1"/>
        </dgm:presLayoutVars>
      </dgm:prSet>
      <dgm:spPr/>
      <dgm:t>
        <a:bodyPr/>
        <a:lstStyle/>
        <a:p>
          <a:endParaRPr lang="en-US"/>
        </a:p>
      </dgm:t>
    </dgm:pt>
    <dgm:pt modelId="{DE166C18-C399-754F-8405-D9B8BA4D6922}" type="pres">
      <dgm:prSet presAssocID="{B1938D8D-43EE-F447-A284-48F9AFCD9ACC}" presName="Name9" presStyleLbl="parChTrans1D2" presStyleIdx="5" presStyleCnt="6"/>
      <dgm:spPr/>
      <dgm:t>
        <a:bodyPr/>
        <a:lstStyle/>
        <a:p>
          <a:endParaRPr lang="en-US"/>
        </a:p>
      </dgm:t>
    </dgm:pt>
    <dgm:pt modelId="{F9F6E173-0054-954B-ADEA-DCC97579FE54}" type="pres">
      <dgm:prSet presAssocID="{B1938D8D-43EE-F447-A284-48F9AFCD9ACC}" presName="connTx" presStyleLbl="parChTrans1D2" presStyleIdx="5" presStyleCnt="6"/>
      <dgm:spPr/>
      <dgm:t>
        <a:bodyPr/>
        <a:lstStyle/>
        <a:p>
          <a:endParaRPr lang="en-US"/>
        </a:p>
      </dgm:t>
    </dgm:pt>
    <dgm:pt modelId="{12531451-4BE0-9043-AAB4-99189D26809C}" type="pres">
      <dgm:prSet presAssocID="{9A667427-8ECC-614C-B0CC-ECE4EB994B77}" presName="node" presStyleLbl="node1" presStyleIdx="5" presStyleCnt="6">
        <dgm:presLayoutVars>
          <dgm:bulletEnabled val="1"/>
        </dgm:presLayoutVars>
      </dgm:prSet>
      <dgm:spPr/>
      <dgm:t>
        <a:bodyPr/>
        <a:lstStyle/>
        <a:p>
          <a:endParaRPr lang="en-US"/>
        </a:p>
      </dgm:t>
    </dgm:pt>
  </dgm:ptLst>
  <dgm:cxnLst>
    <dgm:cxn modelId="{11A33DFB-AE82-504A-BBE0-3968A5EFE8AF}" type="presOf" srcId="{D1CDF2CE-1622-784D-9E11-9A31F535671B}" destId="{9DC89735-6278-C840-833F-D2D030518B33}" srcOrd="1" destOrd="0" presId="urn:microsoft.com/office/officeart/2005/8/layout/radial1"/>
    <dgm:cxn modelId="{DA5DB7C2-EFA3-7A4D-999D-ED8F665E40C4}" type="presOf" srcId="{8B70C841-76B9-7A4F-A0AE-1978D7D17C58}" destId="{3435766D-5896-D64E-A15E-B09C8AD574FC}" srcOrd="1" destOrd="0" presId="urn:microsoft.com/office/officeart/2005/8/layout/radial1"/>
    <dgm:cxn modelId="{BCDCEC9C-DB1E-784C-8223-A0D50D482350}" srcId="{57CF7C51-2304-1045-8257-08A1943A731C}" destId="{3E4CEF55-281F-CF41-A203-395D1B767975}" srcOrd="2" destOrd="0" parTransId="{D1CDF2CE-1622-784D-9E11-9A31F535671B}" sibTransId="{BBAEFD73-9BF8-8442-83C3-DACD254D01EB}"/>
    <dgm:cxn modelId="{0E355A81-2656-5F46-B316-0C7E081E18B0}" srcId="{A5A88CFF-9A16-2D42-9084-9E885D48B54B}" destId="{57CF7C51-2304-1045-8257-08A1943A731C}" srcOrd="0" destOrd="0" parTransId="{6C41F53F-3C26-CB43-BA25-D293A83AE0CB}" sibTransId="{3BFDAB8D-929E-3144-992A-439F8FF15F32}"/>
    <dgm:cxn modelId="{197C2DE8-B65E-7B4B-85F7-01C8203F3A15}" type="presOf" srcId="{A5A88CFF-9A16-2D42-9084-9E885D48B54B}" destId="{29A56AEC-4B0D-6546-B066-E6F1345A6530}" srcOrd="0" destOrd="0" presId="urn:microsoft.com/office/officeart/2005/8/layout/radial1"/>
    <dgm:cxn modelId="{FE27D7AA-D6D8-6D4F-A9B9-995A9430854E}" srcId="{57CF7C51-2304-1045-8257-08A1943A731C}" destId="{9A667427-8ECC-614C-B0CC-ECE4EB994B77}" srcOrd="5" destOrd="0" parTransId="{B1938D8D-43EE-F447-A284-48F9AFCD9ACC}" sibTransId="{77DF5D02-E398-BB45-A980-83DB23F38D18}"/>
    <dgm:cxn modelId="{30915AAC-E674-7E44-AA03-66017DEB1790}" type="presOf" srcId="{3E4CEF55-281F-CF41-A203-395D1B767975}" destId="{BD2E83E1-0F73-FB48-B068-DBD156D56D09}" srcOrd="0" destOrd="0" presId="urn:microsoft.com/office/officeart/2005/8/layout/radial1"/>
    <dgm:cxn modelId="{06BB2DB7-43A5-444C-AB6E-ECD02FC43F63}" type="presOf" srcId="{DE67FFC6-D6B0-3C4A-B431-2C3F28FAF252}" destId="{16C52B13-F0B8-464E-A78D-9655F67D61F8}" srcOrd="1" destOrd="0" presId="urn:microsoft.com/office/officeart/2005/8/layout/radial1"/>
    <dgm:cxn modelId="{FE0FCD4F-478C-BE47-A13E-6CEFA0DDE892}" type="presOf" srcId="{D1CDF2CE-1622-784D-9E11-9A31F535671B}" destId="{01A27448-FB70-814B-8C55-6E25235A51D3}" srcOrd="0" destOrd="0" presId="urn:microsoft.com/office/officeart/2005/8/layout/radial1"/>
    <dgm:cxn modelId="{CBC1B16E-48BE-E743-8BCE-298DB56768B4}" type="presOf" srcId="{28A48912-4FEA-B340-8B72-CE44BA3DA321}" destId="{9A6F9FF1-938D-F142-A2CD-49A55D5E9E4F}" srcOrd="1" destOrd="0" presId="urn:microsoft.com/office/officeart/2005/8/layout/radial1"/>
    <dgm:cxn modelId="{D4862560-794E-9845-AD80-FABEAA9871F4}" type="presOf" srcId="{3125B7E8-A282-3048-95A2-C0C4A7628E27}" destId="{45E86033-2493-FF48-8509-5F40B592DBAF}" srcOrd="0" destOrd="0" presId="urn:microsoft.com/office/officeart/2005/8/layout/radial1"/>
    <dgm:cxn modelId="{EFD545C0-6C2A-AE40-B656-C1E0363D6ED3}" srcId="{57CF7C51-2304-1045-8257-08A1943A731C}" destId="{C8C28C46-9221-0944-8285-7B282CD73E8B}" srcOrd="1" destOrd="0" parTransId="{79FD8212-FC40-3E4F-9F02-A2B99AE39D0B}" sibTransId="{3793AB6C-6018-BF42-8EB9-DFDE5CB39DBA}"/>
    <dgm:cxn modelId="{32D959D2-2996-2640-8140-B19C01AE5BD3}" type="presOf" srcId="{57CF7C51-2304-1045-8257-08A1943A731C}" destId="{203B7B64-0D22-1841-94A2-0B7D525468B5}" srcOrd="0" destOrd="0" presId="urn:microsoft.com/office/officeart/2005/8/layout/radial1"/>
    <dgm:cxn modelId="{386C2CDA-1E6B-6044-8273-78689BC5B68B}" type="presOf" srcId="{B1938D8D-43EE-F447-A284-48F9AFCD9ACC}" destId="{F9F6E173-0054-954B-ADEA-DCC97579FE54}" srcOrd="1" destOrd="0" presId="urn:microsoft.com/office/officeart/2005/8/layout/radial1"/>
    <dgm:cxn modelId="{FC2F98E2-35E0-6B4D-BD4A-778FB28EC30E}" type="presOf" srcId="{28A48912-4FEA-B340-8B72-CE44BA3DA321}" destId="{CF630F93-ACEF-2448-A4B1-A9B4A1C298E4}" srcOrd="0" destOrd="0" presId="urn:microsoft.com/office/officeart/2005/8/layout/radial1"/>
    <dgm:cxn modelId="{4E08FADB-E2FE-9842-A5D1-D9060F4321B2}" type="presOf" srcId="{9A667427-8ECC-614C-B0CC-ECE4EB994B77}" destId="{12531451-4BE0-9043-AAB4-99189D26809C}" srcOrd="0" destOrd="0" presId="urn:microsoft.com/office/officeart/2005/8/layout/radial1"/>
    <dgm:cxn modelId="{1E069216-B9C5-AF45-954A-815E36E64576}" type="presOf" srcId="{F58544F5-E4B6-4A44-954B-EF1EF235962C}" destId="{D26A2EBF-AF59-184B-BC2B-C8315B04A983}" srcOrd="0" destOrd="0" presId="urn:microsoft.com/office/officeart/2005/8/layout/radial1"/>
    <dgm:cxn modelId="{5259D9F9-0AE0-E442-BFBE-9B68953885BF}" type="presOf" srcId="{8B70C841-76B9-7A4F-A0AE-1978D7D17C58}" destId="{E6DCFE84-61F5-044C-969F-56FC15FC4BB1}" srcOrd="0" destOrd="0" presId="urn:microsoft.com/office/officeart/2005/8/layout/radial1"/>
    <dgm:cxn modelId="{58A2F91A-5B4E-4F4F-B9B6-58E5FB0C3FD5}" type="presOf" srcId="{90453315-0CC3-4C46-9C42-D300B6C871A7}" destId="{FAB066B9-4122-224F-BF18-BDFB58947656}" srcOrd="0" destOrd="0" presId="urn:microsoft.com/office/officeart/2005/8/layout/radial1"/>
    <dgm:cxn modelId="{EE30E5DF-2F99-624E-963F-14197FF1CAF7}" type="presOf" srcId="{C8C28C46-9221-0944-8285-7B282CD73E8B}" destId="{49E09CB5-1E84-664E-8693-D238A248528B}" srcOrd="0" destOrd="0" presId="urn:microsoft.com/office/officeart/2005/8/layout/radial1"/>
    <dgm:cxn modelId="{7E7238DF-713E-D942-86A4-317C4BBE6CCE}" type="presOf" srcId="{B1938D8D-43EE-F447-A284-48F9AFCD9ACC}" destId="{DE166C18-C399-754F-8405-D9B8BA4D6922}" srcOrd="0" destOrd="0" presId="urn:microsoft.com/office/officeart/2005/8/layout/radial1"/>
    <dgm:cxn modelId="{1A49ABCE-1D58-3248-A993-044BEE85B1BE}" srcId="{57CF7C51-2304-1045-8257-08A1943A731C}" destId="{3125B7E8-A282-3048-95A2-C0C4A7628E27}" srcOrd="4" destOrd="0" parTransId="{DE67FFC6-D6B0-3C4A-B431-2C3F28FAF252}" sibTransId="{FBB10DD4-3021-6F4E-B8DA-E2E1BAB1E3A6}"/>
    <dgm:cxn modelId="{EDB8D116-6D87-924A-BF19-4B23E851216E}" srcId="{57CF7C51-2304-1045-8257-08A1943A731C}" destId="{90453315-0CC3-4C46-9C42-D300B6C871A7}" srcOrd="3" destOrd="0" parTransId="{28A48912-4FEA-B340-8B72-CE44BA3DA321}" sibTransId="{20B9019B-C0E6-FE44-B538-901C0246AC66}"/>
    <dgm:cxn modelId="{CDC582A0-CBFE-D243-A1D3-DB03227C41B7}" srcId="{57CF7C51-2304-1045-8257-08A1943A731C}" destId="{F58544F5-E4B6-4A44-954B-EF1EF235962C}" srcOrd="0" destOrd="0" parTransId="{8B70C841-76B9-7A4F-A0AE-1978D7D17C58}" sibTransId="{64E706D7-639D-A740-95AE-1BC8046E8057}"/>
    <dgm:cxn modelId="{C9B227EE-1113-5F4F-9576-DBA8CBF488DD}" type="presOf" srcId="{79FD8212-FC40-3E4F-9F02-A2B99AE39D0B}" destId="{D3607461-8539-4046-8F7A-0F3A81900943}" srcOrd="1" destOrd="0" presId="urn:microsoft.com/office/officeart/2005/8/layout/radial1"/>
    <dgm:cxn modelId="{D103B7AC-7EF3-8840-BDF3-3CE9C7D5335B}" type="presOf" srcId="{79FD8212-FC40-3E4F-9F02-A2B99AE39D0B}" destId="{1706E85D-5E60-0742-B748-9E8878AAA081}" srcOrd="0" destOrd="0" presId="urn:microsoft.com/office/officeart/2005/8/layout/radial1"/>
    <dgm:cxn modelId="{356A5E0F-8B81-184D-B9A3-E02B61A67E2A}" type="presOf" srcId="{DE67FFC6-D6B0-3C4A-B431-2C3F28FAF252}" destId="{028E0064-2430-DA41-885B-330EDC8F33EC}" srcOrd="0" destOrd="0" presId="urn:microsoft.com/office/officeart/2005/8/layout/radial1"/>
    <dgm:cxn modelId="{63204C91-906D-1E49-99C8-9B99936D905F}" type="presParOf" srcId="{29A56AEC-4B0D-6546-B066-E6F1345A6530}" destId="{203B7B64-0D22-1841-94A2-0B7D525468B5}" srcOrd="0" destOrd="0" presId="urn:microsoft.com/office/officeart/2005/8/layout/radial1"/>
    <dgm:cxn modelId="{77D615E1-BB24-AB44-9280-FFA071C1AF6F}" type="presParOf" srcId="{29A56AEC-4B0D-6546-B066-E6F1345A6530}" destId="{E6DCFE84-61F5-044C-969F-56FC15FC4BB1}" srcOrd="1" destOrd="0" presId="urn:microsoft.com/office/officeart/2005/8/layout/radial1"/>
    <dgm:cxn modelId="{AF0495E0-57FF-4A45-BC44-12988ADBF868}" type="presParOf" srcId="{E6DCFE84-61F5-044C-969F-56FC15FC4BB1}" destId="{3435766D-5896-D64E-A15E-B09C8AD574FC}" srcOrd="0" destOrd="0" presId="urn:microsoft.com/office/officeart/2005/8/layout/radial1"/>
    <dgm:cxn modelId="{EA780096-0C39-7646-A9C6-DBA26C81F505}" type="presParOf" srcId="{29A56AEC-4B0D-6546-B066-E6F1345A6530}" destId="{D26A2EBF-AF59-184B-BC2B-C8315B04A983}" srcOrd="2" destOrd="0" presId="urn:microsoft.com/office/officeart/2005/8/layout/radial1"/>
    <dgm:cxn modelId="{F5D36FF7-E500-5345-8344-25C302CDBD98}" type="presParOf" srcId="{29A56AEC-4B0D-6546-B066-E6F1345A6530}" destId="{1706E85D-5E60-0742-B748-9E8878AAA081}" srcOrd="3" destOrd="0" presId="urn:microsoft.com/office/officeart/2005/8/layout/radial1"/>
    <dgm:cxn modelId="{98D7BF6F-55BA-134A-ADE4-C682FA4FDFDB}" type="presParOf" srcId="{1706E85D-5E60-0742-B748-9E8878AAA081}" destId="{D3607461-8539-4046-8F7A-0F3A81900943}" srcOrd="0" destOrd="0" presId="urn:microsoft.com/office/officeart/2005/8/layout/radial1"/>
    <dgm:cxn modelId="{3F4D88B6-F57F-B148-8BDE-0CB566A698CA}" type="presParOf" srcId="{29A56AEC-4B0D-6546-B066-E6F1345A6530}" destId="{49E09CB5-1E84-664E-8693-D238A248528B}" srcOrd="4" destOrd="0" presId="urn:microsoft.com/office/officeart/2005/8/layout/radial1"/>
    <dgm:cxn modelId="{F5FB2A5D-B92A-1441-B27C-14C369052AE8}" type="presParOf" srcId="{29A56AEC-4B0D-6546-B066-E6F1345A6530}" destId="{01A27448-FB70-814B-8C55-6E25235A51D3}" srcOrd="5" destOrd="0" presId="urn:microsoft.com/office/officeart/2005/8/layout/radial1"/>
    <dgm:cxn modelId="{69CCD0E3-4BA7-DD4D-982F-C20B1D8EC829}" type="presParOf" srcId="{01A27448-FB70-814B-8C55-6E25235A51D3}" destId="{9DC89735-6278-C840-833F-D2D030518B33}" srcOrd="0" destOrd="0" presId="urn:microsoft.com/office/officeart/2005/8/layout/radial1"/>
    <dgm:cxn modelId="{E1D29B78-F34F-E04A-A5E3-759CB19B0F3A}" type="presParOf" srcId="{29A56AEC-4B0D-6546-B066-E6F1345A6530}" destId="{BD2E83E1-0F73-FB48-B068-DBD156D56D09}" srcOrd="6" destOrd="0" presId="urn:microsoft.com/office/officeart/2005/8/layout/radial1"/>
    <dgm:cxn modelId="{BCC39D18-F032-F846-B5D2-DEC3F2A3A480}" type="presParOf" srcId="{29A56AEC-4B0D-6546-B066-E6F1345A6530}" destId="{CF630F93-ACEF-2448-A4B1-A9B4A1C298E4}" srcOrd="7" destOrd="0" presId="urn:microsoft.com/office/officeart/2005/8/layout/radial1"/>
    <dgm:cxn modelId="{4CB2C456-909C-B042-BB26-FD366268DC77}" type="presParOf" srcId="{CF630F93-ACEF-2448-A4B1-A9B4A1C298E4}" destId="{9A6F9FF1-938D-F142-A2CD-49A55D5E9E4F}" srcOrd="0" destOrd="0" presId="urn:microsoft.com/office/officeart/2005/8/layout/radial1"/>
    <dgm:cxn modelId="{3481152A-B587-5E48-9705-360103DD158F}" type="presParOf" srcId="{29A56AEC-4B0D-6546-B066-E6F1345A6530}" destId="{FAB066B9-4122-224F-BF18-BDFB58947656}" srcOrd="8" destOrd="0" presId="urn:microsoft.com/office/officeart/2005/8/layout/radial1"/>
    <dgm:cxn modelId="{9F98D15B-5C32-524F-970D-99410E27FF66}" type="presParOf" srcId="{29A56AEC-4B0D-6546-B066-E6F1345A6530}" destId="{028E0064-2430-DA41-885B-330EDC8F33EC}" srcOrd="9" destOrd="0" presId="urn:microsoft.com/office/officeart/2005/8/layout/radial1"/>
    <dgm:cxn modelId="{7C718522-2769-904B-9828-8DC3DBD8478B}" type="presParOf" srcId="{028E0064-2430-DA41-885B-330EDC8F33EC}" destId="{16C52B13-F0B8-464E-A78D-9655F67D61F8}" srcOrd="0" destOrd="0" presId="urn:microsoft.com/office/officeart/2005/8/layout/radial1"/>
    <dgm:cxn modelId="{D2851A9E-1479-DA4B-A744-EB5530A5D16F}" type="presParOf" srcId="{29A56AEC-4B0D-6546-B066-E6F1345A6530}" destId="{45E86033-2493-FF48-8509-5F40B592DBAF}" srcOrd="10" destOrd="0" presId="urn:microsoft.com/office/officeart/2005/8/layout/radial1"/>
    <dgm:cxn modelId="{A17808EA-9FAC-944D-8CEE-074F3A394AFF}" type="presParOf" srcId="{29A56AEC-4B0D-6546-B066-E6F1345A6530}" destId="{DE166C18-C399-754F-8405-D9B8BA4D6922}" srcOrd="11" destOrd="0" presId="urn:microsoft.com/office/officeart/2005/8/layout/radial1"/>
    <dgm:cxn modelId="{8621340D-71E9-F642-96B0-22FE619D7CEB}" type="presParOf" srcId="{DE166C18-C399-754F-8405-D9B8BA4D6922}" destId="{F9F6E173-0054-954B-ADEA-DCC97579FE54}" srcOrd="0" destOrd="0" presId="urn:microsoft.com/office/officeart/2005/8/layout/radial1"/>
    <dgm:cxn modelId="{04DB4197-A4E4-B849-9E76-ACC9551B7A48}" type="presParOf" srcId="{29A56AEC-4B0D-6546-B066-E6F1345A6530}" destId="{12531451-4BE0-9043-AAB4-99189D26809C}" srcOrd="12"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6DCA24D-76EE-41DF-B341-5E49B40C750D}" type="doc">
      <dgm:prSet loTypeId="urn:microsoft.com/office/officeart/2005/8/layout/chart3" loCatId="cycle" qsTypeId="urn:microsoft.com/office/officeart/2005/8/quickstyle/simple4" qsCatId="simple" csTypeId="urn:microsoft.com/office/officeart/2005/8/colors/colorful2" csCatId="colorful" phldr="1"/>
      <dgm:spPr/>
    </dgm:pt>
    <dgm:pt modelId="{EC7C59FA-6256-4515-90C4-4A7E84E91C69}">
      <dgm:prSet phldrT="[Text]"/>
      <dgm:spPr>
        <a:solidFill>
          <a:schemeClr val="bg1">
            <a:lumMod val="85000"/>
          </a:schemeClr>
        </a:solidFill>
      </dgm:spPr>
      <dgm:t>
        <a:bodyPr/>
        <a:lstStyle/>
        <a:p>
          <a:r>
            <a:rPr lang="en-US" dirty="0" smtClean="0"/>
            <a:t>?</a:t>
          </a:r>
        </a:p>
      </dgm:t>
    </dgm:pt>
    <dgm:pt modelId="{65AA2D5F-B7D8-4800-92F2-CA9AC4C8E69F}" type="sibTrans" cxnId="{0170CC97-922F-48BA-933A-097BF47105CA}">
      <dgm:prSet/>
      <dgm:spPr/>
      <dgm:t>
        <a:bodyPr/>
        <a:lstStyle/>
        <a:p>
          <a:endParaRPr lang="cs-CZ"/>
        </a:p>
      </dgm:t>
    </dgm:pt>
    <dgm:pt modelId="{9C227B2F-1360-4E09-AE79-468DA050FFB9}" type="parTrans" cxnId="{0170CC97-922F-48BA-933A-097BF47105CA}">
      <dgm:prSet/>
      <dgm:spPr/>
      <dgm:t>
        <a:bodyPr/>
        <a:lstStyle/>
        <a:p>
          <a:endParaRPr lang="cs-CZ"/>
        </a:p>
      </dgm:t>
    </dgm:pt>
    <dgm:pt modelId="{998CBC2D-9D7C-4079-937F-82B102F104FF}">
      <dgm:prSet phldrT="[Text]"/>
      <dgm:spPr>
        <a:solidFill>
          <a:schemeClr val="bg1">
            <a:lumMod val="85000"/>
          </a:schemeClr>
        </a:solidFill>
      </dgm:spPr>
      <dgm:t>
        <a:bodyPr/>
        <a:lstStyle/>
        <a:p>
          <a:r>
            <a:rPr lang="en-US" dirty="0" smtClean="0"/>
            <a:t>    </a:t>
          </a:r>
          <a:r>
            <a:rPr lang="en-US" dirty="0" err="1" smtClean="0"/>
            <a:t>ThreatGrid</a:t>
          </a:r>
          <a:endParaRPr lang="cs-CZ" dirty="0"/>
        </a:p>
      </dgm:t>
    </dgm:pt>
    <dgm:pt modelId="{5DACE164-071C-4A48-B853-387DFE760102}" type="sibTrans" cxnId="{EAA295EC-687A-44EC-9569-25D82DB00D5D}">
      <dgm:prSet/>
      <dgm:spPr/>
      <dgm:t>
        <a:bodyPr/>
        <a:lstStyle/>
        <a:p>
          <a:endParaRPr lang="cs-CZ"/>
        </a:p>
      </dgm:t>
    </dgm:pt>
    <dgm:pt modelId="{113584AA-8FDE-411D-99C4-8E8A71D6DAB7}" type="parTrans" cxnId="{EAA295EC-687A-44EC-9569-25D82DB00D5D}">
      <dgm:prSet/>
      <dgm:spPr/>
      <dgm:t>
        <a:bodyPr/>
        <a:lstStyle/>
        <a:p>
          <a:endParaRPr lang="cs-CZ"/>
        </a:p>
      </dgm:t>
    </dgm:pt>
    <dgm:pt modelId="{B95FC59D-69B6-46C0-9F3C-8A242EB6CC94}">
      <dgm:prSet phldrT="[Text]"/>
      <dgm:spPr>
        <a:solidFill>
          <a:schemeClr val="bg1">
            <a:lumMod val="85000"/>
          </a:schemeClr>
        </a:solidFill>
      </dgm:spPr>
      <dgm:t>
        <a:bodyPr/>
        <a:lstStyle/>
        <a:p>
          <a:r>
            <a:rPr lang="en-US" dirty="0" smtClean="0"/>
            <a:t>ISE</a:t>
          </a:r>
        </a:p>
      </dgm:t>
    </dgm:pt>
    <dgm:pt modelId="{F6B4A938-C513-418C-B145-C9D2675F357D}" type="sibTrans" cxnId="{D8C17BFE-BB4D-4D6C-A751-9EF25FAA3FAC}">
      <dgm:prSet/>
      <dgm:spPr/>
      <dgm:t>
        <a:bodyPr/>
        <a:lstStyle/>
        <a:p>
          <a:endParaRPr lang="cs-CZ"/>
        </a:p>
      </dgm:t>
    </dgm:pt>
    <dgm:pt modelId="{96F4AED8-086D-4710-AD96-1EC9889E21A8}" type="parTrans" cxnId="{D8C17BFE-BB4D-4D6C-A751-9EF25FAA3FAC}">
      <dgm:prSet/>
      <dgm:spPr/>
      <dgm:t>
        <a:bodyPr/>
        <a:lstStyle/>
        <a:p>
          <a:endParaRPr lang="cs-CZ"/>
        </a:p>
      </dgm:t>
    </dgm:pt>
    <dgm:pt modelId="{05E5353E-8D41-453F-8DD3-6FF481F3920E}">
      <dgm:prSet/>
      <dgm:spPr>
        <a:solidFill>
          <a:schemeClr val="bg1">
            <a:lumMod val="85000"/>
          </a:schemeClr>
        </a:solidFill>
      </dgm:spPr>
      <dgm:t>
        <a:bodyPr/>
        <a:lstStyle/>
        <a:p>
          <a:r>
            <a:rPr lang="en-US" dirty="0" err="1" smtClean="0"/>
            <a:t>OpenDNS</a:t>
          </a:r>
          <a:endParaRPr lang="cs-CZ" dirty="0"/>
        </a:p>
      </dgm:t>
    </dgm:pt>
    <dgm:pt modelId="{4A9CD912-2161-45ED-8808-DDB81EEFD1DA}" type="parTrans" cxnId="{09FEE5B0-AFC3-4618-9A64-E0D3E61EDD44}">
      <dgm:prSet/>
      <dgm:spPr/>
      <dgm:t>
        <a:bodyPr/>
        <a:lstStyle/>
        <a:p>
          <a:endParaRPr lang="cs-CZ"/>
        </a:p>
      </dgm:t>
    </dgm:pt>
    <dgm:pt modelId="{68B37DC9-0841-4A1F-B917-615C9887C6A9}" type="sibTrans" cxnId="{09FEE5B0-AFC3-4618-9A64-E0D3E61EDD44}">
      <dgm:prSet/>
      <dgm:spPr/>
      <dgm:t>
        <a:bodyPr/>
        <a:lstStyle/>
        <a:p>
          <a:endParaRPr lang="cs-CZ"/>
        </a:p>
      </dgm:t>
    </dgm:pt>
    <dgm:pt modelId="{B7A2049D-6F0F-46A2-83F9-B820F4D0C026}">
      <dgm:prSet/>
      <dgm:spPr/>
      <dgm:t>
        <a:bodyPr/>
        <a:lstStyle/>
        <a:p>
          <a:pPr algn="l"/>
          <a:r>
            <a:rPr lang="en-US" dirty="0" smtClean="0"/>
            <a:t>   AMP</a:t>
          </a:r>
          <a:endParaRPr lang="cs-CZ" dirty="0"/>
        </a:p>
      </dgm:t>
    </dgm:pt>
    <dgm:pt modelId="{6B71EAF9-DCA8-46B3-8993-B8DD0502DAF8}" type="parTrans" cxnId="{EC6075AF-3B1D-4541-84C9-8A5424D1D56C}">
      <dgm:prSet/>
      <dgm:spPr/>
      <dgm:t>
        <a:bodyPr/>
        <a:lstStyle/>
        <a:p>
          <a:endParaRPr lang="cs-CZ"/>
        </a:p>
      </dgm:t>
    </dgm:pt>
    <dgm:pt modelId="{FFCBD185-5B44-4BDB-A287-DD2C903A9599}" type="sibTrans" cxnId="{EC6075AF-3B1D-4541-84C9-8A5424D1D56C}">
      <dgm:prSet/>
      <dgm:spPr/>
      <dgm:t>
        <a:bodyPr/>
        <a:lstStyle/>
        <a:p>
          <a:endParaRPr lang="cs-CZ"/>
        </a:p>
      </dgm:t>
    </dgm:pt>
    <dgm:pt modelId="{33125B23-FF74-4CFB-89BB-3E337E87D33F}">
      <dgm:prSet/>
      <dgm:spPr/>
      <dgm:t>
        <a:bodyPr/>
        <a:lstStyle/>
        <a:p>
          <a:r>
            <a:rPr lang="en-US" dirty="0" smtClean="0"/>
            <a:t>CTA</a:t>
          </a:r>
          <a:endParaRPr lang="cs-CZ" dirty="0"/>
        </a:p>
      </dgm:t>
    </dgm:pt>
    <dgm:pt modelId="{504F1863-619A-462E-9D01-C71B9345E7F9}" type="parTrans" cxnId="{87698DBB-A08F-4186-B861-BF3BF866B541}">
      <dgm:prSet/>
      <dgm:spPr/>
      <dgm:t>
        <a:bodyPr/>
        <a:lstStyle/>
        <a:p>
          <a:endParaRPr lang="cs-CZ"/>
        </a:p>
      </dgm:t>
    </dgm:pt>
    <dgm:pt modelId="{26B1BEE9-18B3-4607-9402-29B3CAD6CC10}" type="sibTrans" cxnId="{87698DBB-A08F-4186-B861-BF3BF866B541}">
      <dgm:prSet/>
      <dgm:spPr/>
      <dgm:t>
        <a:bodyPr/>
        <a:lstStyle/>
        <a:p>
          <a:endParaRPr lang="cs-CZ"/>
        </a:p>
      </dgm:t>
    </dgm:pt>
    <dgm:pt modelId="{2EB9630A-3007-4F63-A3E2-C6E7F8743150}" type="pres">
      <dgm:prSet presAssocID="{B6DCA24D-76EE-41DF-B341-5E49B40C750D}" presName="compositeShape" presStyleCnt="0">
        <dgm:presLayoutVars>
          <dgm:chMax val="7"/>
          <dgm:dir/>
          <dgm:resizeHandles val="exact"/>
        </dgm:presLayoutVars>
      </dgm:prSet>
      <dgm:spPr/>
    </dgm:pt>
    <dgm:pt modelId="{E0235F81-FCB5-4078-8E6F-1E172542E1D4}" type="pres">
      <dgm:prSet presAssocID="{B6DCA24D-76EE-41DF-B341-5E49B40C750D}" presName="wedge1" presStyleLbl="node1" presStyleIdx="0" presStyleCnt="6" custLinFactNeighborX="-3122" custLinFactNeighborY="5345"/>
      <dgm:spPr/>
      <dgm:t>
        <a:bodyPr/>
        <a:lstStyle/>
        <a:p>
          <a:endParaRPr lang="cs-CZ"/>
        </a:p>
      </dgm:t>
    </dgm:pt>
    <dgm:pt modelId="{7521C805-F976-4D42-91FB-BCF13241B804}" type="pres">
      <dgm:prSet presAssocID="{B6DCA24D-76EE-41DF-B341-5E49B40C750D}" presName="wedge1Tx" presStyleLbl="node1" presStyleIdx="0" presStyleCnt="6">
        <dgm:presLayoutVars>
          <dgm:chMax val="0"/>
          <dgm:chPref val="0"/>
          <dgm:bulletEnabled val="1"/>
        </dgm:presLayoutVars>
      </dgm:prSet>
      <dgm:spPr/>
      <dgm:t>
        <a:bodyPr/>
        <a:lstStyle/>
        <a:p>
          <a:endParaRPr lang="cs-CZ"/>
        </a:p>
      </dgm:t>
    </dgm:pt>
    <dgm:pt modelId="{46B120ED-A2E6-4C7D-BCF9-B0E75D36AA04}" type="pres">
      <dgm:prSet presAssocID="{B6DCA24D-76EE-41DF-B341-5E49B40C750D}" presName="wedge2" presStyleLbl="node1" presStyleIdx="1" presStyleCnt="6"/>
      <dgm:spPr/>
      <dgm:t>
        <a:bodyPr/>
        <a:lstStyle/>
        <a:p>
          <a:endParaRPr lang="cs-CZ"/>
        </a:p>
      </dgm:t>
    </dgm:pt>
    <dgm:pt modelId="{1FB01232-9F95-4057-B2D9-937876DBC9C5}" type="pres">
      <dgm:prSet presAssocID="{B6DCA24D-76EE-41DF-B341-5E49B40C750D}" presName="wedge2Tx" presStyleLbl="node1" presStyleIdx="1" presStyleCnt="6">
        <dgm:presLayoutVars>
          <dgm:chMax val="0"/>
          <dgm:chPref val="0"/>
          <dgm:bulletEnabled val="1"/>
        </dgm:presLayoutVars>
      </dgm:prSet>
      <dgm:spPr/>
      <dgm:t>
        <a:bodyPr/>
        <a:lstStyle/>
        <a:p>
          <a:endParaRPr lang="cs-CZ"/>
        </a:p>
      </dgm:t>
    </dgm:pt>
    <dgm:pt modelId="{2DBE931D-DE96-4D81-AA27-44163F87EC4F}" type="pres">
      <dgm:prSet presAssocID="{B6DCA24D-76EE-41DF-B341-5E49B40C750D}" presName="wedge3" presStyleLbl="node1" presStyleIdx="2" presStyleCnt="6"/>
      <dgm:spPr/>
      <dgm:t>
        <a:bodyPr/>
        <a:lstStyle/>
        <a:p>
          <a:endParaRPr lang="cs-CZ"/>
        </a:p>
      </dgm:t>
    </dgm:pt>
    <dgm:pt modelId="{54E3EB53-8A2D-46C1-A83E-D97E91C05C73}" type="pres">
      <dgm:prSet presAssocID="{B6DCA24D-76EE-41DF-B341-5E49B40C750D}" presName="wedge3Tx" presStyleLbl="node1" presStyleIdx="2" presStyleCnt="6">
        <dgm:presLayoutVars>
          <dgm:chMax val="0"/>
          <dgm:chPref val="0"/>
          <dgm:bulletEnabled val="1"/>
        </dgm:presLayoutVars>
      </dgm:prSet>
      <dgm:spPr/>
      <dgm:t>
        <a:bodyPr/>
        <a:lstStyle/>
        <a:p>
          <a:endParaRPr lang="cs-CZ"/>
        </a:p>
      </dgm:t>
    </dgm:pt>
    <dgm:pt modelId="{79DC901C-6B8E-4407-8B6D-9AC0F096D536}" type="pres">
      <dgm:prSet presAssocID="{B6DCA24D-76EE-41DF-B341-5E49B40C750D}" presName="wedge4" presStyleLbl="node1" presStyleIdx="3" presStyleCnt="6"/>
      <dgm:spPr/>
      <dgm:t>
        <a:bodyPr/>
        <a:lstStyle/>
        <a:p>
          <a:endParaRPr lang="cs-CZ"/>
        </a:p>
      </dgm:t>
    </dgm:pt>
    <dgm:pt modelId="{C6AE8976-C4A9-430D-A58D-CF386DAC1FE1}" type="pres">
      <dgm:prSet presAssocID="{B6DCA24D-76EE-41DF-B341-5E49B40C750D}" presName="wedge4Tx" presStyleLbl="node1" presStyleIdx="3" presStyleCnt="6">
        <dgm:presLayoutVars>
          <dgm:chMax val="0"/>
          <dgm:chPref val="0"/>
          <dgm:bulletEnabled val="1"/>
        </dgm:presLayoutVars>
      </dgm:prSet>
      <dgm:spPr/>
      <dgm:t>
        <a:bodyPr/>
        <a:lstStyle/>
        <a:p>
          <a:endParaRPr lang="cs-CZ"/>
        </a:p>
      </dgm:t>
    </dgm:pt>
    <dgm:pt modelId="{F5B79329-8AE3-42C0-9185-35158F45BE9D}" type="pres">
      <dgm:prSet presAssocID="{B6DCA24D-76EE-41DF-B341-5E49B40C750D}" presName="wedge5" presStyleLbl="node1" presStyleIdx="4" presStyleCnt="6"/>
      <dgm:spPr/>
      <dgm:t>
        <a:bodyPr/>
        <a:lstStyle/>
        <a:p>
          <a:endParaRPr lang="cs-CZ"/>
        </a:p>
      </dgm:t>
    </dgm:pt>
    <dgm:pt modelId="{8BF4BA83-768D-4D9C-8B47-FDE95E0F56C1}" type="pres">
      <dgm:prSet presAssocID="{B6DCA24D-76EE-41DF-B341-5E49B40C750D}" presName="wedge5Tx" presStyleLbl="node1" presStyleIdx="4" presStyleCnt="6">
        <dgm:presLayoutVars>
          <dgm:chMax val="0"/>
          <dgm:chPref val="0"/>
          <dgm:bulletEnabled val="1"/>
        </dgm:presLayoutVars>
      </dgm:prSet>
      <dgm:spPr/>
      <dgm:t>
        <a:bodyPr/>
        <a:lstStyle/>
        <a:p>
          <a:endParaRPr lang="cs-CZ"/>
        </a:p>
      </dgm:t>
    </dgm:pt>
    <dgm:pt modelId="{05812866-CCE4-488E-9C46-4E142EBDCB9B}" type="pres">
      <dgm:prSet presAssocID="{B6DCA24D-76EE-41DF-B341-5E49B40C750D}" presName="wedge6" presStyleLbl="node1" presStyleIdx="5" presStyleCnt="6"/>
      <dgm:spPr/>
      <dgm:t>
        <a:bodyPr/>
        <a:lstStyle/>
        <a:p>
          <a:endParaRPr lang="cs-CZ"/>
        </a:p>
      </dgm:t>
    </dgm:pt>
    <dgm:pt modelId="{F7019068-D536-4C84-8382-84FD21480AA6}" type="pres">
      <dgm:prSet presAssocID="{B6DCA24D-76EE-41DF-B341-5E49B40C750D}" presName="wedge6Tx" presStyleLbl="node1" presStyleIdx="5" presStyleCnt="6">
        <dgm:presLayoutVars>
          <dgm:chMax val="0"/>
          <dgm:chPref val="0"/>
          <dgm:bulletEnabled val="1"/>
        </dgm:presLayoutVars>
      </dgm:prSet>
      <dgm:spPr/>
      <dgm:t>
        <a:bodyPr/>
        <a:lstStyle/>
        <a:p>
          <a:endParaRPr lang="cs-CZ"/>
        </a:p>
      </dgm:t>
    </dgm:pt>
  </dgm:ptLst>
  <dgm:cxnLst>
    <dgm:cxn modelId="{445E35E8-438E-C24A-9A74-193915941C01}" type="presOf" srcId="{B95FC59D-69B6-46C0-9F3C-8A242EB6CC94}" destId="{E0235F81-FCB5-4078-8E6F-1E172542E1D4}" srcOrd="0" destOrd="0" presId="urn:microsoft.com/office/officeart/2005/8/layout/chart3"/>
    <dgm:cxn modelId="{2838558B-CE9D-7B44-A5A3-F5CBC0CC2183}" type="presOf" srcId="{B7A2049D-6F0F-46A2-83F9-B820F4D0C026}" destId="{8BF4BA83-768D-4D9C-8B47-FDE95E0F56C1}" srcOrd="1" destOrd="0" presId="urn:microsoft.com/office/officeart/2005/8/layout/chart3"/>
    <dgm:cxn modelId="{EAA295EC-687A-44EC-9569-25D82DB00D5D}" srcId="{B6DCA24D-76EE-41DF-B341-5E49B40C750D}" destId="{998CBC2D-9D7C-4079-937F-82B102F104FF}" srcOrd="1" destOrd="0" parTransId="{113584AA-8FDE-411D-99C4-8E8A71D6DAB7}" sibTransId="{5DACE164-071C-4A48-B853-387DFE760102}"/>
    <dgm:cxn modelId="{114E5EEB-4225-D742-92CB-64CF04188AA6}" type="presOf" srcId="{05E5353E-8D41-453F-8DD3-6FF481F3920E}" destId="{79DC901C-6B8E-4407-8B6D-9AC0F096D536}" srcOrd="0" destOrd="0" presId="urn:microsoft.com/office/officeart/2005/8/layout/chart3"/>
    <dgm:cxn modelId="{0170CC97-922F-48BA-933A-097BF47105CA}" srcId="{B6DCA24D-76EE-41DF-B341-5E49B40C750D}" destId="{EC7C59FA-6256-4515-90C4-4A7E84E91C69}" srcOrd="2" destOrd="0" parTransId="{9C227B2F-1360-4E09-AE79-468DA050FFB9}" sibTransId="{65AA2D5F-B7D8-4800-92F2-CA9AC4C8E69F}"/>
    <dgm:cxn modelId="{09FEE5B0-AFC3-4618-9A64-E0D3E61EDD44}" srcId="{B6DCA24D-76EE-41DF-B341-5E49B40C750D}" destId="{05E5353E-8D41-453F-8DD3-6FF481F3920E}" srcOrd="3" destOrd="0" parTransId="{4A9CD912-2161-45ED-8808-DDB81EEFD1DA}" sibTransId="{68B37DC9-0841-4A1F-B917-615C9887C6A9}"/>
    <dgm:cxn modelId="{63F8BFF3-D90A-C942-85E7-76BB2201D36F}" type="presOf" srcId="{EC7C59FA-6256-4515-90C4-4A7E84E91C69}" destId="{54E3EB53-8A2D-46C1-A83E-D97E91C05C73}" srcOrd="1" destOrd="0" presId="urn:microsoft.com/office/officeart/2005/8/layout/chart3"/>
    <dgm:cxn modelId="{87698DBB-A08F-4186-B861-BF3BF866B541}" srcId="{B6DCA24D-76EE-41DF-B341-5E49B40C750D}" destId="{33125B23-FF74-4CFB-89BB-3E337E87D33F}" srcOrd="5" destOrd="0" parTransId="{504F1863-619A-462E-9D01-C71B9345E7F9}" sibTransId="{26B1BEE9-18B3-4607-9402-29B3CAD6CC10}"/>
    <dgm:cxn modelId="{B57817B2-6991-204A-9A27-D5E38CB88E66}" type="presOf" srcId="{33125B23-FF74-4CFB-89BB-3E337E87D33F}" destId="{F7019068-D536-4C84-8382-84FD21480AA6}" srcOrd="1" destOrd="0" presId="urn:microsoft.com/office/officeart/2005/8/layout/chart3"/>
    <dgm:cxn modelId="{DF0FA188-1320-3544-8E03-06DC468BE87B}" type="presOf" srcId="{998CBC2D-9D7C-4079-937F-82B102F104FF}" destId="{46B120ED-A2E6-4C7D-BCF9-B0E75D36AA04}" srcOrd="0" destOrd="0" presId="urn:microsoft.com/office/officeart/2005/8/layout/chart3"/>
    <dgm:cxn modelId="{EC6075AF-3B1D-4541-84C9-8A5424D1D56C}" srcId="{B6DCA24D-76EE-41DF-B341-5E49B40C750D}" destId="{B7A2049D-6F0F-46A2-83F9-B820F4D0C026}" srcOrd="4" destOrd="0" parTransId="{6B71EAF9-DCA8-46B3-8993-B8DD0502DAF8}" sibTransId="{FFCBD185-5B44-4BDB-A287-DD2C903A9599}"/>
    <dgm:cxn modelId="{68B5507D-1999-7C48-A8E5-CA77A297BE5E}" type="presOf" srcId="{B6DCA24D-76EE-41DF-B341-5E49B40C750D}" destId="{2EB9630A-3007-4F63-A3E2-C6E7F8743150}" srcOrd="0" destOrd="0" presId="urn:microsoft.com/office/officeart/2005/8/layout/chart3"/>
    <dgm:cxn modelId="{5CF70C91-B937-EE49-BDBC-ED33E4DD570D}" type="presOf" srcId="{B7A2049D-6F0F-46A2-83F9-B820F4D0C026}" destId="{F5B79329-8AE3-42C0-9185-35158F45BE9D}" srcOrd="0" destOrd="0" presId="urn:microsoft.com/office/officeart/2005/8/layout/chart3"/>
    <dgm:cxn modelId="{B682991A-FE76-CE4B-9E74-8387D665C940}" type="presOf" srcId="{998CBC2D-9D7C-4079-937F-82B102F104FF}" destId="{1FB01232-9F95-4057-B2D9-937876DBC9C5}" srcOrd="1" destOrd="0" presId="urn:microsoft.com/office/officeart/2005/8/layout/chart3"/>
    <dgm:cxn modelId="{2C64CB5D-7C92-9742-A170-A2BC46692985}" type="presOf" srcId="{B95FC59D-69B6-46C0-9F3C-8A242EB6CC94}" destId="{7521C805-F976-4D42-91FB-BCF13241B804}" srcOrd="1" destOrd="0" presId="urn:microsoft.com/office/officeart/2005/8/layout/chart3"/>
    <dgm:cxn modelId="{A14FFF3A-F687-D14E-91E1-088A589C11D3}" type="presOf" srcId="{EC7C59FA-6256-4515-90C4-4A7E84E91C69}" destId="{2DBE931D-DE96-4D81-AA27-44163F87EC4F}" srcOrd="0" destOrd="0" presId="urn:microsoft.com/office/officeart/2005/8/layout/chart3"/>
    <dgm:cxn modelId="{5473FE1D-BD01-CF40-9347-ABE76A994BC7}" type="presOf" srcId="{33125B23-FF74-4CFB-89BB-3E337E87D33F}" destId="{05812866-CCE4-488E-9C46-4E142EBDCB9B}" srcOrd="0" destOrd="0" presId="urn:microsoft.com/office/officeart/2005/8/layout/chart3"/>
    <dgm:cxn modelId="{D8C17BFE-BB4D-4D6C-A751-9EF25FAA3FAC}" srcId="{B6DCA24D-76EE-41DF-B341-5E49B40C750D}" destId="{B95FC59D-69B6-46C0-9F3C-8A242EB6CC94}" srcOrd="0" destOrd="0" parTransId="{96F4AED8-086D-4710-AD96-1EC9889E21A8}" sibTransId="{F6B4A938-C513-418C-B145-C9D2675F357D}"/>
    <dgm:cxn modelId="{05BC0547-2FF6-4A40-8B59-7A0BF7ABB776}" type="presOf" srcId="{05E5353E-8D41-453F-8DD3-6FF481F3920E}" destId="{C6AE8976-C4A9-430D-A58D-CF386DAC1FE1}" srcOrd="1" destOrd="0" presId="urn:microsoft.com/office/officeart/2005/8/layout/chart3"/>
    <dgm:cxn modelId="{A113CC14-8A3D-2C4D-9847-4185B9346948}" type="presParOf" srcId="{2EB9630A-3007-4F63-A3E2-C6E7F8743150}" destId="{E0235F81-FCB5-4078-8E6F-1E172542E1D4}" srcOrd="0" destOrd="0" presId="urn:microsoft.com/office/officeart/2005/8/layout/chart3"/>
    <dgm:cxn modelId="{CB94E3A4-BCA7-6149-B0DC-11C8DB5BC992}" type="presParOf" srcId="{2EB9630A-3007-4F63-A3E2-C6E7F8743150}" destId="{7521C805-F976-4D42-91FB-BCF13241B804}" srcOrd="1" destOrd="0" presId="urn:microsoft.com/office/officeart/2005/8/layout/chart3"/>
    <dgm:cxn modelId="{7CD1C4B6-16F3-E545-93F7-3E55D3603BC9}" type="presParOf" srcId="{2EB9630A-3007-4F63-A3E2-C6E7F8743150}" destId="{46B120ED-A2E6-4C7D-BCF9-B0E75D36AA04}" srcOrd="2" destOrd="0" presId="urn:microsoft.com/office/officeart/2005/8/layout/chart3"/>
    <dgm:cxn modelId="{4E92BCE7-225F-2747-98E1-91AE2A9F26AF}" type="presParOf" srcId="{2EB9630A-3007-4F63-A3E2-C6E7F8743150}" destId="{1FB01232-9F95-4057-B2D9-937876DBC9C5}" srcOrd="3" destOrd="0" presId="urn:microsoft.com/office/officeart/2005/8/layout/chart3"/>
    <dgm:cxn modelId="{4A0F8C99-1864-5E41-A6FC-39B07B911F33}" type="presParOf" srcId="{2EB9630A-3007-4F63-A3E2-C6E7F8743150}" destId="{2DBE931D-DE96-4D81-AA27-44163F87EC4F}" srcOrd="4" destOrd="0" presId="urn:microsoft.com/office/officeart/2005/8/layout/chart3"/>
    <dgm:cxn modelId="{04213EAC-99B7-3A4E-BA69-194014A23650}" type="presParOf" srcId="{2EB9630A-3007-4F63-A3E2-C6E7F8743150}" destId="{54E3EB53-8A2D-46C1-A83E-D97E91C05C73}" srcOrd="5" destOrd="0" presId="urn:microsoft.com/office/officeart/2005/8/layout/chart3"/>
    <dgm:cxn modelId="{46116328-AC12-D74C-9CCC-C06CB5C1684F}" type="presParOf" srcId="{2EB9630A-3007-4F63-A3E2-C6E7F8743150}" destId="{79DC901C-6B8E-4407-8B6D-9AC0F096D536}" srcOrd="6" destOrd="0" presId="urn:microsoft.com/office/officeart/2005/8/layout/chart3"/>
    <dgm:cxn modelId="{CC82E339-4FF1-D842-BDA0-4DAC3A856F87}" type="presParOf" srcId="{2EB9630A-3007-4F63-A3E2-C6E7F8743150}" destId="{C6AE8976-C4A9-430D-A58D-CF386DAC1FE1}" srcOrd="7" destOrd="0" presId="urn:microsoft.com/office/officeart/2005/8/layout/chart3"/>
    <dgm:cxn modelId="{6E22C3E6-FFDB-3146-A411-08D6C84EBC61}" type="presParOf" srcId="{2EB9630A-3007-4F63-A3E2-C6E7F8743150}" destId="{F5B79329-8AE3-42C0-9185-35158F45BE9D}" srcOrd="8" destOrd="0" presId="urn:microsoft.com/office/officeart/2005/8/layout/chart3"/>
    <dgm:cxn modelId="{B47EC807-5102-0444-BA76-AEEFDC5DDC3A}" type="presParOf" srcId="{2EB9630A-3007-4F63-A3E2-C6E7F8743150}" destId="{8BF4BA83-768D-4D9C-8B47-FDE95E0F56C1}" srcOrd="9" destOrd="0" presId="urn:microsoft.com/office/officeart/2005/8/layout/chart3"/>
    <dgm:cxn modelId="{AC08D1E6-6153-E845-94D1-21E3B5B7CB3C}" type="presParOf" srcId="{2EB9630A-3007-4F63-A3E2-C6E7F8743150}" destId="{05812866-CCE4-488E-9C46-4E142EBDCB9B}" srcOrd="10" destOrd="0" presId="urn:microsoft.com/office/officeart/2005/8/layout/chart3"/>
    <dgm:cxn modelId="{E4256BF1-ED62-F44C-9926-B2DAEE0E2574}" type="presParOf" srcId="{2EB9630A-3007-4F63-A3E2-C6E7F8743150}" destId="{F7019068-D536-4C84-8382-84FD21480AA6}" srcOrd="11"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5745-656C-7941-8E06-60DA9A27841E}">
      <dsp:nvSpPr>
        <dsp:cNvPr id="0" name=""/>
        <dsp:cNvSpPr/>
      </dsp:nvSpPr>
      <dsp:spPr>
        <a:xfrm>
          <a:off x="0" y="229450"/>
          <a:ext cx="2510517" cy="1506310"/>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t>WSA S690X</a:t>
          </a:r>
          <a:endParaRPr lang="en-US" sz="3800" kern="1200" dirty="0"/>
        </a:p>
      </dsp:txBody>
      <dsp:txXfrm>
        <a:off x="0" y="229450"/>
        <a:ext cx="2510517" cy="1506310"/>
      </dsp:txXfrm>
    </dsp:sp>
    <dsp:sp modelId="{18DC860A-F356-8B44-A6B9-D8A88A435066}">
      <dsp:nvSpPr>
        <dsp:cNvPr id="0" name=""/>
        <dsp:cNvSpPr/>
      </dsp:nvSpPr>
      <dsp:spPr>
        <a:xfrm>
          <a:off x="2761569" y="229450"/>
          <a:ext cx="2510517" cy="1506310"/>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t>WSA S690-1G</a:t>
          </a:r>
          <a:endParaRPr lang="en-US" sz="3800" kern="1200" dirty="0"/>
        </a:p>
      </dsp:txBody>
      <dsp:txXfrm>
        <a:off x="2761569" y="229450"/>
        <a:ext cx="2510517" cy="1506310"/>
      </dsp:txXfrm>
    </dsp:sp>
    <dsp:sp modelId="{5D2F81B3-2C0F-1440-A0E9-E061500DFBFB}">
      <dsp:nvSpPr>
        <dsp:cNvPr id="0" name=""/>
        <dsp:cNvSpPr/>
      </dsp:nvSpPr>
      <dsp:spPr>
        <a:xfrm>
          <a:off x="5523139" y="229450"/>
          <a:ext cx="2510517" cy="1506310"/>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44780" tIns="144780" rIns="144780" bIns="144780" numCol="1" spcCol="1270" anchor="ctr" anchorCtr="0">
          <a:noAutofit/>
        </a:bodyPr>
        <a:lstStyle/>
        <a:p>
          <a:pPr lvl="0" algn="ctr" defTabSz="1689100">
            <a:lnSpc>
              <a:spcPct val="90000"/>
            </a:lnSpc>
            <a:spcBef>
              <a:spcPct val="0"/>
            </a:spcBef>
            <a:spcAft>
              <a:spcPct val="35000"/>
            </a:spcAft>
          </a:pPr>
          <a:r>
            <a:rPr lang="en-US" sz="3800" kern="1200" dirty="0" smtClean="0"/>
            <a:t>WSA S690-10G</a:t>
          </a:r>
          <a:endParaRPr lang="en-US" sz="3800" kern="1200" dirty="0"/>
        </a:p>
      </dsp:txBody>
      <dsp:txXfrm>
        <a:off x="5523139" y="229450"/>
        <a:ext cx="2510517" cy="1506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CC2A3A-2898-EA47-A67D-EFECB92D5E25}">
      <dsp:nvSpPr>
        <dsp:cNvPr id="0" name=""/>
        <dsp:cNvSpPr/>
      </dsp:nvSpPr>
      <dsp:spPr>
        <a:xfrm rot="5400000">
          <a:off x="2891969" y="87254"/>
          <a:ext cx="1320491" cy="1148827"/>
        </a:xfrm>
        <a:prstGeom prst="hexagon">
          <a:avLst>
            <a:gd name="adj" fmla="val 2500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Commercial Market</a:t>
          </a:r>
          <a:endParaRPr lang="en-US" sz="1000" kern="1200" dirty="0"/>
        </a:p>
      </dsp:txBody>
      <dsp:txXfrm rot="-5400000">
        <a:off x="3156827" y="207200"/>
        <a:ext cx="790775" cy="908938"/>
      </dsp:txXfrm>
    </dsp:sp>
    <dsp:sp modelId="{28F50D85-DE80-AA4E-B8AC-1A9969D2CD98}">
      <dsp:nvSpPr>
        <dsp:cNvPr id="0" name=""/>
        <dsp:cNvSpPr/>
      </dsp:nvSpPr>
      <dsp:spPr>
        <a:xfrm>
          <a:off x="4161489" y="265520"/>
          <a:ext cx="1473668" cy="792295"/>
        </a:xfrm>
        <a:prstGeom prst="rect">
          <a:avLst/>
        </a:prstGeom>
        <a:noFill/>
        <a:ln>
          <a:noFill/>
        </a:ln>
        <a:effectLst/>
      </dsp:spPr>
      <dsp:style>
        <a:lnRef idx="0">
          <a:scrgbClr r="0" g="0" b="0"/>
        </a:lnRef>
        <a:fillRef idx="0">
          <a:scrgbClr r="0" g="0" b="0"/>
        </a:fillRef>
        <a:effectRef idx="0">
          <a:scrgbClr r="0" g="0" b="0"/>
        </a:effectRef>
        <a:fontRef idx="minor"/>
      </dsp:style>
    </dsp:sp>
    <dsp:sp modelId="{385DE372-742D-FC47-BE5C-C552B99076DC}">
      <dsp:nvSpPr>
        <dsp:cNvPr id="0" name=""/>
        <dsp:cNvSpPr/>
      </dsp:nvSpPr>
      <dsp:spPr>
        <a:xfrm rot="5400000">
          <a:off x="1651235" y="87254"/>
          <a:ext cx="1320491" cy="1148827"/>
        </a:xfrm>
        <a:prstGeom prst="hexagon">
          <a:avLst>
            <a:gd name="adj" fmla="val 25000"/>
            <a:gd name="vf" fmla="val 115470"/>
          </a:avLst>
        </a:prstGeom>
        <a:solidFill>
          <a:schemeClr val="accent4">
            <a:hueOff val="968995"/>
            <a:satOff val="6165"/>
            <a:lumOff val="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a:p>
      </dsp:txBody>
      <dsp:txXfrm rot="-5400000">
        <a:off x="1916093" y="207200"/>
        <a:ext cx="790775" cy="908938"/>
      </dsp:txXfrm>
    </dsp:sp>
    <dsp:sp modelId="{86F46D5E-2931-5140-AAF5-31E87E58393F}">
      <dsp:nvSpPr>
        <dsp:cNvPr id="0" name=""/>
        <dsp:cNvSpPr/>
      </dsp:nvSpPr>
      <dsp:spPr>
        <a:xfrm rot="5400000">
          <a:off x="2269225" y="1208087"/>
          <a:ext cx="1320491" cy="1148827"/>
        </a:xfrm>
        <a:prstGeom prst="hexagon">
          <a:avLst>
            <a:gd name="adj" fmla="val 25000"/>
            <a:gd name="vf" fmla="val 115470"/>
          </a:avLst>
        </a:prstGeom>
        <a:solidFill>
          <a:schemeClr val="accent4">
            <a:hueOff val="1937991"/>
            <a:satOff val="12331"/>
            <a:lumOff val="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Virtual WSA Appliances</a:t>
          </a:r>
          <a:endParaRPr lang="en-US" sz="1000" kern="1200" dirty="0"/>
        </a:p>
      </dsp:txBody>
      <dsp:txXfrm rot="-5400000">
        <a:off x="2534083" y="1328033"/>
        <a:ext cx="790775" cy="908938"/>
      </dsp:txXfrm>
    </dsp:sp>
    <dsp:sp modelId="{632C77A2-7512-7543-9BD0-49D24113A56A}">
      <dsp:nvSpPr>
        <dsp:cNvPr id="0" name=""/>
        <dsp:cNvSpPr/>
      </dsp:nvSpPr>
      <dsp:spPr>
        <a:xfrm>
          <a:off x="881388" y="1386353"/>
          <a:ext cx="1426131" cy="792295"/>
        </a:xfrm>
        <a:prstGeom prst="rect">
          <a:avLst/>
        </a:prstGeom>
        <a:noFill/>
        <a:ln>
          <a:noFill/>
        </a:ln>
        <a:effectLst/>
      </dsp:spPr>
      <dsp:style>
        <a:lnRef idx="0">
          <a:scrgbClr r="0" g="0" b="0"/>
        </a:lnRef>
        <a:fillRef idx="0">
          <a:scrgbClr r="0" g="0" b="0"/>
        </a:fillRef>
        <a:effectRef idx="0">
          <a:scrgbClr r="0" g="0" b="0"/>
        </a:effectRef>
        <a:fontRef idx="minor"/>
      </dsp:style>
    </dsp:sp>
    <dsp:sp modelId="{DBD9615D-0996-7142-8393-E5D5078412BA}">
      <dsp:nvSpPr>
        <dsp:cNvPr id="0" name=""/>
        <dsp:cNvSpPr/>
      </dsp:nvSpPr>
      <dsp:spPr>
        <a:xfrm rot="5400000">
          <a:off x="3509959" y="1208087"/>
          <a:ext cx="1320491" cy="1148827"/>
        </a:xfrm>
        <a:prstGeom prst="hexagon">
          <a:avLst>
            <a:gd name="adj" fmla="val 25000"/>
            <a:gd name="vf" fmla="val 115470"/>
          </a:avLst>
        </a:prstGeom>
        <a:solidFill>
          <a:schemeClr val="accent4">
            <a:hueOff val="2906986"/>
            <a:satOff val="18496"/>
            <a:lumOff val="1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a:p>
      </dsp:txBody>
      <dsp:txXfrm rot="-5400000">
        <a:off x="3774817" y="1328033"/>
        <a:ext cx="790775" cy="908938"/>
      </dsp:txXfrm>
    </dsp:sp>
    <dsp:sp modelId="{4ED0EB09-4556-DC4A-B7AD-A5908A359475}">
      <dsp:nvSpPr>
        <dsp:cNvPr id="0" name=""/>
        <dsp:cNvSpPr/>
      </dsp:nvSpPr>
      <dsp:spPr>
        <a:xfrm rot="5400000">
          <a:off x="2891969" y="2328920"/>
          <a:ext cx="1320491" cy="1148827"/>
        </a:xfrm>
        <a:prstGeom prst="hexagon">
          <a:avLst>
            <a:gd name="adj" fmla="val 25000"/>
            <a:gd name="vf" fmla="val 115470"/>
          </a:avLst>
        </a:prstGeom>
        <a:solidFill>
          <a:schemeClr val="accent4">
            <a:hueOff val="3875981"/>
            <a:satOff val="24662"/>
            <a:lumOff val="18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kern="1200" dirty="0" smtClean="0"/>
            <a:t>Can be Deployed in Explicit</a:t>
          </a:r>
          <a:r>
            <a:rPr lang="en-US" sz="1000" kern="1200" baseline="0" dirty="0" smtClean="0"/>
            <a:t> &amp; Transparent Mode</a:t>
          </a:r>
          <a:endParaRPr lang="en-US" sz="1000" kern="1200" dirty="0"/>
        </a:p>
      </dsp:txBody>
      <dsp:txXfrm rot="-5400000">
        <a:off x="3156827" y="2448866"/>
        <a:ext cx="790775" cy="908938"/>
      </dsp:txXfrm>
    </dsp:sp>
    <dsp:sp modelId="{ED016F58-6733-4E46-95DB-BF2168EC8B6C}">
      <dsp:nvSpPr>
        <dsp:cNvPr id="0" name=""/>
        <dsp:cNvSpPr/>
      </dsp:nvSpPr>
      <dsp:spPr>
        <a:xfrm>
          <a:off x="4161489" y="2507187"/>
          <a:ext cx="1473668" cy="792295"/>
        </a:xfrm>
        <a:prstGeom prst="rect">
          <a:avLst/>
        </a:prstGeom>
        <a:noFill/>
        <a:ln>
          <a:noFill/>
        </a:ln>
        <a:effectLst/>
      </dsp:spPr>
      <dsp:style>
        <a:lnRef idx="0">
          <a:scrgbClr r="0" g="0" b="0"/>
        </a:lnRef>
        <a:fillRef idx="0">
          <a:scrgbClr r="0" g="0" b="0"/>
        </a:fillRef>
        <a:effectRef idx="0">
          <a:scrgbClr r="0" g="0" b="0"/>
        </a:effectRef>
        <a:fontRef idx="minor"/>
      </dsp:style>
    </dsp:sp>
    <dsp:sp modelId="{873A7C3B-593F-5843-844A-75547BF69BE2}">
      <dsp:nvSpPr>
        <dsp:cNvPr id="0" name=""/>
        <dsp:cNvSpPr/>
      </dsp:nvSpPr>
      <dsp:spPr>
        <a:xfrm rot="5400000">
          <a:off x="1651235" y="2328920"/>
          <a:ext cx="1320491" cy="1148827"/>
        </a:xfrm>
        <a:prstGeom prst="hexagon">
          <a:avLst>
            <a:gd name="adj" fmla="val 25000"/>
            <a:gd name="vf" fmla="val 115470"/>
          </a:avLst>
        </a:prstGeom>
        <a:solidFill>
          <a:schemeClr val="accent4">
            <a:hueOff val="4844976"/>
            <a:satOff val="30827"/>
            <a:lumOff val="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a:p>
      </dsp:txBody>
      <dsp:txXfrm rot="-5400000">
        <a:off x="1916093" y="2448866"/>
        <a:ext cx="790775" cy="90893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3B7B64-0D22-1841-94A2-0B7D525468B5}">
      <dsp:nvSpPr>
        <dsp:cNvPr id="0" name=""/>
        <dsp:cNvSpPr/>
      </dsp:nvSpPr>
      <dsp:spPr>
        <a:xfrm>
          <a:off x="2126940" y="1411686"/>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15" tIns="18415" rIns="18415" bIns="18415" numCol="1" spcCol="1270" anchor="ctr" anchorCtr="0">
          <a:noAutofit/>
        </a:bodyPr>
        <a:lstStyle/>
        <a:p>
          <a:pPr lvl="0" algn="ctr" defTabSz="1289050">
            <a:lnSpc>
              <a:spcPct val="90000"/>
            </a:lnSpc>
            <a:spcBef>
              <a:spcPct val="0"/>
            </a:spcBef>
            <a:spcAft>
              <a:spcPct val="35000"/>
            </a:spcAft>
          </a:pPr>
          <a:r>
            <a:rPr lang="en-US" sz="2900" kern="1200" dirty="0" smtClean="0"/>
            <a:t>CTA</a:t>
          </a:r>
          <a:endParaRPr lang="en-US" sz="2900" kern="1200" dirty="0"/>
        </a:p>
      </dsp:txBody>
      <dsp:txXfrm>
        <a:off x="2284181" y="1568927"/>
        <a:ext cx="759230" cy="759230"/>
      </dsp:txXfrm>
    </dsp:sp>
    <dsp:sp modelId="{E6DCFE84-61F5-044C-969F-56FC15FC4BB1}">
      <dsp:nvSpPr>
        <dsp:cNvPr id="0" name=""/>
        <dsp:cNvSpPr/>
      </dsp:nvSpPr>
      <dsp:spPr>
        <a:xfrm rot="16200000">
          <a:off x="2501803" y="1231555"/>
          <a:ext cx="323985" cy="36276"/>
        </a:xfrm>
        <a:custGeom>
          <a:avLst/>
          <a:gdLst/>
          <a:ahLst/>
          <a:cxnLst/>
          <a:rect l="0" t="0" r="0" b="0"/>
          <a:pathLst>
            <a:path>
              <a:moveTo>
                <a:pt x="0" y="18138"/>
              </a:moveTo>
              <a:lnTo>
                <a:pt x="323985" y="18138"/>
              </a:lnTo>
            </a:path>
          </a:pathLst>
        </a:custGeom>
        <a:noFill/>
        <a:ln w="9525" cap="flat" cmpd="sng" algn="ctr">
          <a:solidFill>
            <a:schemeClr val="dk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655696" y="1241594"/>
        <a:ext cx="16199" cy="16199"/>
      </dsp:txXfrm>
    </dsp:sp>
    <dsp:sp modelId="{D26A2EBF-AF59-184B-BC2B-C8315B04A983}">
      <dsp:nvSpPr>
        <dsp:cNvPr id="0" name=""/>
        <dsp:cNvSpPr/>
      </dsp:nvSpPr>
      <dsp:spPr>
        <a:xfrm>
          <a:off x="2126940" y="13988"/>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hlinkClick xmlns:r="http://schemas.openxmlformats.org/officeDocument/2006/relationships" r:id="rId1"/>
            </a:rPr>
            <a:t>New License as ATD</a:t>
          </a:r>
          <a:endParaRPr lang="en-US" sz="1100" kern="1200" dirty="0"/>
        </a:p>
      </dsp:txBody>
      <dsp:txXfrm>
        <a:off x="2284181" y="171229"/>
        <a:ext cx="759230" cy="759230"/>
      </dsp:txXfrm>
    </dsp:sp>
    <dsp:sp modelId="{1706E85D-5E60-0742-B748-9E8878AAA081}">
      <dsp:nvSpPr>
        <dsp:cNvPr id="0" name=""/>
        <dsp:cNvSpPr/>
      </dsp:nvSpPr>
      <dsp:spPr>
        <a:xfrm rot="19800000">
          <a:off x="3107024" y="1580980"/>
          <a:ext cx="323985" cy="36276"/>
        </a:xfrm>
        <a:custGeom>
          <a:avLst/>
          <a:gdLst/>
          <a:ahLst/>
          <a:cxnLst/>
          <a:rect l="0" t="0" r="0" b="0"/>
          <a:pathLst>
            <a:path>
              <a:moveTo>
                <a:pt x="0" y="18138"/>
              </a:moveTo>
              <a:lnTo>
                <a:pt x="323985" y="18138"/>
              </a:lnTo>
            </a:path>
          </a:pathLst>
        </a:custGeom>
        <a:noFill/>
        <a:ln w="9525" cap="flat" cmpd="sng" algn="ctr">
          <a:solidFill>
            <a:schemeClr val="dk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260917" y="1591018"/>
        <a:ext cx="16199" cy="16199"/>
      </dsp:txXfrm>
    </dsp:sp>
    <dsp:sp modelId="{49E09CB5-1E84-664E-8693-D238A248528B}">
      <dsp:nvSpPr>
        <dsp:cNvPr id="0" name=""/>
        <dsp:cNvSpPr/>
      </dsp:nvSpPr>
      <dsp:spPr>
        <a:xfrm>
          <a:off x="3337381" y="712837"/>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hlinkClick xmlns:r="http://schemas.openxmlformats.org/officeDocument/2006/relationships" r:id="rId2"/>
            </a:rPr>
            <a:t>45 Days Free </a:t>
          </a:r>
          <a:r>
            <a:rPr lang="en-US" sz="1100" kern="1200" dirty="0" err="1" smtClean="0">
              <a:hlinkClick xmlns:r="http://schemas.openxmlformats.org/officeDocument/2006/relationships" r:id="rId2"/>
            </a:rPr>
            <a:t>Eval</a:t>
          </a:r>
          <a:endParaRPr lang="en-US" sz="1100" kern="1200" dirty="0"/>
        </a:p>
      </dsp:txBody>
      <dsp:txXfrm>
        <a:off x="3494622" y="870078"/>
        <a:ext cx="759230" cy="759230"/>
      </dsp:txXfrm>
    </dsp:sp>
    <dsp:sp modelId="{01A27448-FB70-814B-8C55-6E25235A51D3}">
      <dsp:nvSpPr>
        <dsp:cNvPr id="0" name=""/>
        <dsp:cNvSpPr/>
      </dsp:nvSpPr>
      <dsp:spPr>
        <a:xfrm rot="1800000">
          <a:off x="3107024" y="2279829"/>
          <a:ext cx="323985" cy="36276"/>
        </a:xfrm>
        <a:custGeom>
          <a:avLst/>
          <a:gdLst/>
          <a:ahLst/>
          <a:cxnLst/>
          <a:rect l="0" t="0" r="0" b="0"/>
          <a:pathLst>
            <a:path>
              <a:moveTo>
                <a:pt x="0" y="18138"/>
              </a:moveTo>
              <a:lnTo>
                <a:pt x="323985" y="18138"/>
              </a:lnTo>
            </a:path>
          </a:pathLst>
        </a:custGeom>
        <a:noFill/>
        <a:ln w="9525" cap="flat" cmpd="sng" algn="ctr">
          <a:solidFill>
            <a:schemeClr val="dk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260917" y="2289867"/>
        <a:ext cx="16199" cy="16199"/>
      </dsp:txXfrm>
    </dsp:sp>
    <dsp:sp modelId="{BD2E83E1-0F73-FB48-B068-DBD156D56D09}">
      <dsp:nvSpPr>
        <dsp:cNvPr id="0" name=""/>
        <dsp:cNvSpPr/>
      </dsp:nvSpPr>
      <dsp:spPr>
        <a:xfrm>
          <a:off x="3337381" y="2110535"/>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hlinkClick xmlns:r="http://schemas.openxmlformats.org/officeDocument/2006/relationships" r:id="rId3"/>
            </a:rPr>
            <a:t>Training Folder</a:t>
          </a:r>
          <a:endParaRPr lang="en-US" sz="1100" kern="1200" dirty="0"/>
        </a:p>
      </dsp:txBody>
      <dsp:txXfrm>
        <a:off x="3494622" y="2267776"/>
        <a:ext cx="759230" cy="759230"/>
      </dsp:txXfrm>
    </dsp:sp>
    <dsp:sp modelId="{CF630F93-ACEF-2448-A4B1-A9B4A1C298E4}">
      <dsp:nvSpPr>
        <dsp:cNvPr id="0" name=""/>
        <dsp:cNvSpPr/>
      </dsp:nvSpPr>
      <dsp:spPr>
        <a:xfrm rot="5400000">
          <a:off x="2501803" y="2629253"/>
          <a:ext cx="323985" cy="36276"/>
        </a:xfrm>
        <a:custGeom>
          <a:avLst/>
          <a:gdLst/>
          <a:ahLst/>
          <a:cxnLst/>
          <a:rect l="0" t="0" r="0" b="0"/>
          <a:pathLst>
            <a:path>
              <a:moveTo>
                <a:pt x="0" y="18138"/>
              </a:moveTo>
              <a:lnTo>
                <a:pt x="323985" y="18138"/>
              </a:lnTo>
            </a:path>
          </a:pathLst>
        </a:custGeom>
        <a:noFill/>
        <a:ln w="9525" cap="flat" cmpd="sng" algn="ctr">
          <a:solidFill>
            <a:schemeClr val="dk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2655696" y="2639292"/>
        <a:ext cx="16199" cy="16199"/>
      </dsp:txXfrm>
    </dsp:sp>
    <dsp:sp modelId="{FAB066B9-4122-224F-BF18-BDFB58947656}">
      <dsp:nvSpPr>
        <dsp:cNvPr id="0" name=""/>
        <dsp:cNvSpPr/>
      </dsp:nvSpPr>
      <dsp:spPr>
        <a:xfrm>
          <a:off x="2126940" y="2809384"/>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hlinkClick xmlns:r="http://schemas.openxmlformats.org/officeDocument/2006/relationships" r:id="rId4"/>
            </a:rPr>
            <a:t>Deployment Guide &amp; Videos</a:t>
          </a:r>
          <a:endParaRPr lang="en-US" sz="1100" kern="1200" dirty="0"/>
        </a:p>
      </dsp:txBody>
      <dsp:txXfrm>
        <a:off x="2284181" y="2966625"/>
        <a:ext cx="759230" cy="759230"/>
      </dsp:txXfrm>
    </dsp:sp>
    <dsp:sp modelId="{028E0064-2430-DA41-885B-330EDC8F33EC}">
      <dsp:nvSpPr>
        <dsp:cNvPr id="0" name=""/>
        <dsp:cNvSpPr/>
      </dsp:nvSpPr>
      <dsp:spPr>
        <a:xfrm rot="9000000">
          <a:off x="1896583" y="2279829"/>
          <a:ext cx="323985" cy="36276"/>
        </a:xfrm>
        <a:custGeom>
          <a:avLst/>
          <a:gdLst/>
          <a:ahLst/>
          <a:cxnLst/>
          <a:rect l="0" t="0" r="0" b="0"/>
          <a:pathLst>
            <a:path>
              <a:moveTo>
                <a:pt x="0" y="18138"/>
              </a:moveTo>
              <a:lnTo>
                <a:pt x="323985" y="18138"/>
              </a:lnTo>
            </a:path>
          </a:pathLst>
        </a:custGeom>
        <a:noFill/>
        <a:ln w="9525" cap="flat" cmpd="sng" algn="ctr">
          <a:solidFill>
            <a:schemeClr val="dk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2050475" y="2289867"/>
        <a:ext cx="16199" cy="16199"/>
      </dsp:txXfrm>
    </dsp:sp>
    <dsp:sp modelId="{45E86033-2493-FF48-8509-5F40B592DBAF}">
      <dsp:nvSpPr>
        <dsp:cNvPr id="0" name=""/>
        <dsp:cNvSpPr/>
      </dsp:nvSpPr>
      <dsp:spPr>
        <a:xfrm>
          <a:off x="916498" y="2110535"/>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hlinkClick xmlns:r="http://schemas.openxmlformats.org/officeDocument/2006/relationships" r:id="rId5"/>
            </a:rPr>
            <a:t>Sample Reports </a:t>
          </a:r>
          <a:endParaRPr lang="en-US" sz="1100" kern="1200" dirty="0"/>
        </a:p>
      </dsp:txBody>
      <dsp:txXfrm>
        <a:off x="1073739" y="2267776"/>
        <a:ext cx="759230" cy="759230"/>
      </dsp:txXfrm>
    </dsp:sp>
    <dsp:sp modelId="{DE166C18-C399-754F-8405-D9B8BA4D6922}">
      <dsp:nvSpPr>
        <dsp:cNvPr id="0" name=""/>
        <dsp:cNvSpPr/>
      </dsp:nvSpPr>
      <dsp:spPr>
        <a:xfrm rot="12600000">
          <a:off x="1896583" y="1580980"/>
          <a:ext cx="323985" cy="36276"/>
        </a:xfrm>
        <a:custGeom>
          <a:avLst/>
          <a:gdLst/>
          <a:ahLst/>
          <a:cxnLst/>
          <a:rect l="0" t="0" r="0" b="0"/>
          <a:pathLst>
            <a:path>
              <a:moveTo>
                <a:pt x="0" y="18138"/>
              </a:moveTo>
              <a:lnTo>
                <a:pt x="323985" y="18138"/>
              </a:lnTo>
            </a:path>
          </a:pathLst>
        </a:custGeom>
        <a:noFill/>
        <a:ln w="9525" cap="flat" cmpd="sng" algn="ctr">
          <a:solidFill>
            <a:schemeClr val="dk2">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0800000">
        <a:off x="2050475" y="1591018"/>
        <a:ext cx="16199" cy="16199"/>
      </dsp:txXfrm>
    </dsp:sp>
    <dsp:sp modelId="{12531451-4BE0-9043-AAB4-99189D26809C}">
      <dsp:nvSpPr>
        <dsp:cNvPr id="0" name=""/>
        <dsp:cNvSpPr/>
      </dsp:nvSpPr>
      <dsp:spPr>
        <a:xfrm>
          <a:off x="916498" y="712837"/>
          <a:ext cx="1073712" cy="1073712"/>
        </a:xfrm>
        <a:prstGeom prst="ellipse">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US" sz="1100" kern="1200" dirty="0" smtClean="0">
              <a:solidFill>
                <a:schemeClr val="bg1"/>
              </a:solidFill>
              <a:hlinkClick xmlns:r="http://schemas.openxmlformats.org/officeDocument/2006/relationships" r:id="rId6" invalidUrl="http://:%20https://cisco.box.com/s/f0v39k3of56d92d9k9wrcgiw30v4i4qe"/>
            </a:rPr>
            <a:t>Demo Videos</a:t>
          </a:r>
          <a:endParaRPr lang="en-US" sz="1100" kern="1200" dirty="0">
            <a:solidFill>
              <a:schemeClr val="bg1"/>
            </a:solidFill>
          </a:endParaRPr>
        </a:p>
      </dsp:txBody>
      <dsp:txXfrm>
        <a:off x="1073739" y="870078"/>
        <a:ext cx="759230" cy="7592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235F81-FCB5-4078-8E6F-1E172542E1D4}">
      <dsp:nvSpPr>
        <dsp:cNvPr id="0" name=""/>
        <dsp:cNvSpPr/>
      </dsp:nvSpPr>
      <dsp:spPr>
        <a:xfrm>
          <a:off x="2884974" y="382557"/>
          <a:ext cx="3112389" cy="3112389"/>
        </a:xfrm>
        <a:prstGeom prst="pie">
          <a:avLst>
            <a:gd name="adj1" fmla="val 16200000"/>
            <a:gd name="adj2" fmla="val 19800000"/>
          </a:avLst>
        </a:prstGeom>
        <a:solidFill>
          <a:schemeClr val="bg1">
            <a:lumMod val="8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ISE</a:t>
          </a:r>
        </a:p>
      </dsp:txBody>
      <dsp:txXfrm>
        <a:off x="4474515" y="716027"/>
        <a:ext cx="907780" cy="666940"/>
      </dsp:txXfrm>
    </dsp:sp>
    <dsp:sp modelId="{46B120ED-A2E6-4C7D-BCF9-B0E75D36AA04}">
      <dsp:nvSpPr>
        <dsp:cNvPr id="0" name=""/>
        <dsp:cNvSpPr/>
      </dsp:nvSpPr>
      <dsp:spPr>
        <a:xfrm>
          <a:off x="2889512" y="376636"/>
          <a:ext cx="3112389" cy="3112389"/>
        </a:xfrm>
        <a:prstGeom prst="pie">
          <a:avLst>
            <a:gd name="adj1" fmla="val 19800000"/>
            <a:gd name="adj2" fmla="val 1800000"/>
          </a:avLst>
        </a:prstGeom>
        <a:solidFill>
          <a:schemeClr val="bg1">
            <a:lumMod val="8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    </a:t>
          </a:r>
          <a:r>
            <a:rPr lang="en-US" sz="1400" kern="1200" dirty="0" err="1" smtClean="0"/>
            <a:t>ThreatGrid</a:t>
          </a:r>
          <a:endParaRPr lang="cs-CZ" sz="1400" kern="1200" dirty="0"/>
        </a:p>
      </dsp:txBody>
      <dsp:txXfrm>
        <a:off x="5020016" y="1617886"/>
        <a:ext cx="941127" cy="629888"/>
      </dsp:txXfrm>
    </dsp:sp>
    <dsp:sp modelId="{2DBE931D-DE96-4D81-AA27-44163F87EC4F}">
      <dsp:nvSpPr>
        <dsp:cNvPr id="0" name=""/>
        <dsp:cNvSpPr/>
      </dsp:nvSpPr>
      <dsp:spPr>
        <a:xfrm>
          <a:off x="2889512" y="376636"/>
          <a:ext cx="3112389" cy="3112389"/>
        </a:xfrm>
        <a:prstGeom prst="pie">
          <a:avLst>
            <a:gd name="adj1" fmla="val 1800000"/>
            <a:gd name="adj2" fmla="val 5400000"/>
          </a:avLst>
        </a:prstGeom>
        <a:solidFill>
          <a:schemeClr val="bg1">
            <a:lumMod val="8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a:t>
          </a:r>
        </a:p>
      </dsp:txBody>
      <dsp:txXfrm>
        <a:off x="4479053" y="2488614"/>
        <a:ext cx="907780" cy="666940"/>
      </dsp:txXfrm>
    </dsp:sp>
    <dsp:sp modelId="{79DC901C-6B8E-4407-8B6D-9AC0F096D536}">
      <dsp:nvSpPr>
        <dsp:cNvPr id="0" name=""/>
        <dsp:cNvSpPr/>
      </dsp:nvSpPr>
      <dsp:spPr>
        <a:xfrm>
          <a:off x="2889512" y="376636"/>
          <a:ext cx="3112389" cy="3112389"/>
        </a:xfrm>
        <a:prstGeom prst="pie">
          <a:avLst>
            <a:gd name="adj1" fmla="val 5400000"/>
            <a:gd name="adj2" fmla="val 9000000"/>
          </a:avLst>
        </a:prstGeom>
        <a:solidFill>
          <a:schemeClr val="bg1">
            <a:lumMod val="8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err="1" smtClean="0"/>
            <a:t>OpenDNS</a:t>
          </a:r>
          <a:endParaRPr lang="cs-CZ" sz="1400" kern="1200" dirty="0"/>
        </a:p>
      </dsp:txBody>
      <dsp:txXfrm>
        <a:off x="3504579" y="2488614"/>
        <a:ext cx="907780" cy="666940"/>
      </dsp:txXfrm>
    </dsp:sp>
    <dsp:sp modelId="{F5B79329-8AE3-42C0-9185-35158F45BE9D}">
      <dsp:nvSpPr>
        <dsp:cNvPr id="0" name=""/>
        <dsp:cNvSpPr/>
      </dsp:nvSpPr>
      <dsp:spPr>
        <a:xfrm>
          <a:off x="2889512" y="376636"/>
          <a:ext cx="3112389" cy="3112389"/>
        </a:xfrm>
        <a:prstGeom prst="pie">
          <a:avLst>
            <a:gd name="adj1" fmla="val 9000000"/>
            <a:gd name="adj2" fmla="val 12600000"/>
          </a:avLst>
        </a:prstGeom>
        <a:gradFill rotWithShape="0">
          <a:gsLst>
            <a:gs pos="0">
              <a:schemeClr val="accent2">
                <a:hueOff val="-9821515"/>
                <a:satOff val="-42162"/>
                <a:lumOff val="-24470"/>
                <a:alphaOff val="0"/>
                <a:shade val="51000"/>
                <a:satMod val="130000"/>
              </a:schemeClr>
            </a:gs>
            <a:gs pos="80000">
              <a:schemeClr val="accent2">
                <a:hueOff val="-9821515"/>
                <a:satOff val="-42162"/>
                <a:lumOff val="-24470"/>
                <a:alphaOff val="0"/>
                <a:shade val="93000"/>
                <a:satMod val="130000"/>
              </a:schemeClr>
            </a:gs>
            <a:gs pos="100000">
              <a:schemeClr val="accent2">
                <a:hueOff val="-9821515"/>
                <a:satOff val="-42162"/>
                <a:lumOff val="-2447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l" defTabSz="622300">
            <a:lnSpc>
              <a:spcPct val="90000"/>
            </a:lnSpc>
            <a:spcBef>
              <a:spcPct val="0"/>
            </a:spcBef>
            <a:spcAft>
              <a:spcPct val="35000"/>
            </a:spcAft>
          </a:pPr>
          <a:r>
            <a:rPr lang="en-US" sz="1400" kern="1200" dirty="0" smtClean="0"/>
            <a:t>   AMP</a:t>
          </a:r>
          <a:endParaRPr lang="cs-CZ" sz="1400" kern="1200" dirty="0"/>
        </a:p>
      </dsp:txBody>
      <dsp:txXfrm>
        <a:off x="2937680" y="1617886"/>
        <a:ext cx="941127" cy="629888"/>
      </dsp:txXfrm>
    </dsp:sp>
    <dsp:sp modelId="{05812866-CCE4-488E-9C46-4E142EBDCB9B}">
      <dsp:nvSpPr>
        <dsp:cNvPr id="0" name=""/>
        <dsp:cNvSpPr/>
      </dsp:nvSpPr>
      <dsp:spPr>
        <a:xfrm>
          <a:off x="2889512" y="376636"/>
          <a:ext cx="3112389" cy="3112389"/>
        </a:xfrm>
        <a:prstGeom prst="pie">
          <a:avLst>
            <a:gd name="adj1" fmla="val 12600000"/>
            <a:gd name="adj2" fmla="val 16200000"/>
          </a:avLst>
        </a:prstGeom>
        <a:gradFill rotWithShape="0">
          <a:gsLst>
            <a:gs pos="0">
              <a:schemeClr val="accent2">
                <a:hueOff val="-12276893"/>
                <a:satOff val="-52702"/>
                <a:lumOff val="-30588"/>
                <a:alphaOff val="0"/>
                <a:shade val="51000"/>
                <a:satMod val="130000"/>
              </a:schemeClr>
            </a:gs>
            <a:gs pos="80000">
              <a:schemeClr val="accent2">
                <a:hueOff val="-12276893"/>
                <a:satOff val="-52702"/>
                <a:lumOff val="-30588"/>
                <a:alphaOff val="0"/>
                <a:shade val="93000"/>
                <a:satMod val="130000"/>
              </a:schemeClr>
            </a:gs>
            <a:gs pos="100000">
              <a:schemeClr val="accent2">
                <a:hueOff val="-12276893"/>
                <a:satOff val="-52702"/>
                <a:lumOff val="-3058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kern="1200" dirty="0" smtClean="0"/>
            <a:t>CTA</a:t>
          </a:r>
          <a:endParaRPr lang="cs-CZ" sz="1400" kern="1200" dirty="0"/>
        </a:p>
      </dsp:txBody>
      <dsp:txXfrm>
        <a:off x="3504579" y="710106"/>
        <a:ext cx="907780" cy="6669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6/07/01</a:t>
            </a:fld>
            <a:endParaRPr lang="en-US"/>
          </a:p>
        </p:txBody>
      </p:sp>
      <p:sp>
        <p:nvSpPr>
          <p:cNvPr id="4" name="Footer Placeholder 3"/>
          <p:cNvSpPr>
            <a:spLocks noGrp="1"/>
          </p:cNvSpPr>
          <p:nvPr>
            <p:ph type="ftr" sz="quarter" idx="2"/>
          </p:nvPr>
        </p:nvSpPr>
        <p:spPr>
          <a:xfrm>
            <a:off x="0" y="8893296"/>
            <a:ext cx="3066733" cy="468154"/>
          </a:xfrm>
          <a:prstGeom prst="rect">
            <a:avLst/>
          </a:prstGeom>
        </p:spPr>
        <p:txBody>
          <a:bodyPr vert="horz" lIns="93936" tIns="46968" rIns="93936" bIns="46968"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4008705" y="8893296"/>
            <a:ext cx="3066733" cy="468154"/>
          </a:xfrm>
          <a:prstGeom prst="rect">
            <a:avLst/>
          </a:prstGeom>
        </p:spPr>
        <p:txBody>
          <a:bodyPr vert="horz" lIns="93936" tIns="46968" rIns="93936" bIns="46968"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6/07/01</a:t>
            </a:fld>
            <a:endParaRPr lang="en-US"/>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3936" tIns="46968" rIns="93936" bIns="46968" rtlCol="0" anchor="ctr"/>
          <a:lstStyle/>
          <a:p>
            <a:pPr lvl="0"/>
            <a:endParaRPr lang="en-US" noProof="0"/>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a:t>
            </a:fld>
            <a:endParaRPr lang="en-US"/>
          </a:p>
        </p:txBody>
      </p:sp>
    </p:spTree>
    <p:extLst>
      <p:ext uri="{BB962C8B-B14F-4D97-AF65-F5344CB8AC3E}">
        <p14:creationId xmlns:p14="http://schemas.microsoft.com/office/powerpoint/2010/main" val="40535461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a:t>
            </a:fld>
            <a:endParaRPr lang="en-US"/>
          </a:p>
        </p:txBody>
      </p:sp>
    </p:spTree>
    <p:extLst>
      <p:ext uri="{BB962C8B-B14F-4D97-AF65-F5344CB8AC3E}">
        <p14:creationId xmlns:p14="http://schemas.microsoft.com/office/powerpoint/2010/main" val="1705132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8</a:t>
            </a:fld>
            <a:endParaRPr lang="en-US"/>
          </a:p>
        </p:txBody>
      </p:sp>
    </p:spTree>
    <p:extLst>
      <p:ext uri="{BB962C8B-B14F-4D97-AF65-F5344CB8AC3E}">
        <p14:creationId xmlns:p14="http://schemas.microsoft.com/office/powerpoint/2010/main" val="2816395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855663"/>
            <a:ext cx="5489575" cy="3089275"/>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10"/>
          </p:nvPr>
        </p:nvSpPr>
        <p:spPr/>
        <p:txBody>
          <a:bodyPr/>
          <a:lstStyle/>
          <a:p>
            <a:fld id="{26526054-4C3F-445C-8B9D-EBBE1D0EC62A}" type="slidenum">
              <a:rPr lang="en-US" smtClean="0"/>
              <a:pPr/>
              <a:t>20</a:t>
            </a:fld>
            <a:endParaRPr lang="en-US" dirty="0"/>
          </a:p>
        </p:txBody>
      </p:sp>
    </p:spTree>
    <p:extLst>
      <p:ext uri="{BB962C8B-B14F-4D97-AF65-F5344CB8AC3E}">
        <p14:creationId xmlns:p14="http://schemas.microsoft.com/office/powerpoint/2010/main" val="23664866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862005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17865430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r>
              <a:rPr lang="en-US" dirty="0" smtClean="0"/>
              <a:t>https://</a:t>
            </a:r>
            <a:r>
              <a:rPr lang="en-US" dirty="0" err="1" smtClean="0"/>
              <a:t>www.trustworthyinternet.org</a:t>
            </a:r>
            <a:r>
              <a:rPr lang="en-US" dirty="0" smtClean="0"/>
              <a:t>/</a:t>
            </a:r>
            <a:r>
              <a:rPr lang="en-US" dirty="0" err="1" smtClean="0"/>
              <a:t>ssl</a:t>
            </a:r>
            <a:r>
              <a:rPr lang="en-US" dirty="0" smtClean="0"/>
              <a:t>-pulse/</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4</a:t>
            </a:fld>
            <a:endParaRPr lang="en-US"/>
          </a:p>
        </p:txBody>
      </p:sp>
    </p:spTree>
    <p:extLst>
      <p:ext uri="{BB962C8B-B14F-4D97-AF65-F5344CB8AC3E}">
        <p14:creationId xmlns:p14="http://schemas.microsoft.com/office/powerpoint/2010/main" val="30057441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Rot="1" noChangeAspect="1" noChangeArrowheads="1" noTextEdit="1"/>
          </p:cNvSpPr>
          <p:nvPr>
            <p:ph type="sldImg"/>
          </p:nvPr>
        </p:nvSpPr>
        <p:spPr>
          <a:xfrm>
            <a:off x="381000" y="685800"/>
            <a:ext cx="6096000" cy="3429000"/>
          </a:xfrm>
          <a:ln/>
        </p:spPr>
      </p:sp>
      <p:sp>
        <p:nvSpPr>
          <p:cNvPr id="102403" name="Rectangle 3"/>
          <p:cNvSpPr>
            <a:spLocks noGrp="1" noChangeArrowheads="1"/>
          </p:cNvSpPr>
          <p:nvPr>
            <p:ph type="body" idx="1"/>
          </p:nvPr>
        </p:nvSpPr>
        <p:spPr>
          <a:noFill/>
          <a:ln/>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smtClean="0"/>
          </a:p>
        </p:txBody>
      </p:sp>
    </p:spTree>
    <p:extLst>
      <p:ext uri="{BB962C8B-B14F-4D97-AF65-F5344CB8AC3E}">
        <p14:creationId xmlns:p14="http://schemas.microsoft.com/office/powerpoint/2010/main" val="42469539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39496150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Arial"/>
              <a:buChar char="•"/>
              <a:tabLst/>
              <a:defRPr/>
            </a:pPr>
            <a:endParaRPr lang="en-US" sz="1200" b="0" baseline="0" dirty="0" smtClean="0"/>
          </a:p>
        </p:txBody>
      </p:sp>
      <p:sp>
        <p:nvSpPr>
          <p:cNvPr id="4" name="Slide Number Placeholder 3"/>
          <p:cNvSpPr>
            <a:spLocks noGrp="1"/>
          </p:cNvSpPr>
          <p:nvPr>
            <p:ph type="sldNum" sz="quarter" idx="10"/>
          </p:nvPr>
        </p:nvSpPr>
        <p:spPr/>
        <p:txBody>
          <a:bodyPr/>
          <a:lstStyle/>
          <a:p>
            <a:fld id="{73D96F1A-DFA3-4038-AEDD-8D7579AC613D}" type="slidenum">
              <a:rPr lang="en-US" smtClean="0"/>
              <a:t>29</a:t>
            </a:fld>
            <a:endParaRPr lang="en-US"/>
          </a:p>
        </p:txBody>
      </p:sp>
    </p:spTree>
    <p:extLst>
      <p:ext uri="{BB962C8B-B14F-4D97-AF65-F5344CB8AC3E}">
        <p14:creationId xmlns:p14="http://schemas.microsoft.com/office/powerpoint/2010/main" val="37713116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0</a:t>
            </a:fld>
            <a:endParaRPr lang="en-US" dirty="0"/>
          </a:p>
        </p:txBody>
      </p:sp>
    </p:spTree>
    <p:extLst>
      <p:ext uri="{BB962C8B-B14F-4D97-AF65-F5344CB8AC3E}">
        <p14:creationId xmlns:p14="http://schemas.microsoft.com/office/powerpoint/2010/main" val="9398772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latin typeface="+mn-lt"/>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36817118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2</a:t>
            </a:fld>
            <a:endParaRPr lang="en-US" dirty="0"/>
          </a:p>
        </p:txBody>
      </p:sp>
    </p:spTree>
    <p:extLst>
      <p:ext uri="{BB962C8B-B14F-4D97-AF65-F5344CB8AC3E}">
        <p14:creationId xmlns:p14="http://schemas.microsoft.com/office/powerpoint/2010/main" val="32376980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4</a:t>
            </a:fld>
            <a:endParaRPr lang="en-US"/>
          </a:p>
        </p:txBody>
      </p:sp>
    </p:spTree>
    <p:extLst>
      <p:ext uri="{BB962C8B-B14F-4D97-AF65-F5344CB8AC3E}">
        <p14:creationId xmlns:p14="http://schemas.microsoft.com/office/powerpoint/2010/main" val="30094985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469620" indent="-469620" defTabSz="462571">
              <a:buFont typeface="+mj-lt"/>
              <a:buAutoNum type="arabicPeriod"/>
              <a:defRPr/>
            </a:pPr>
            <a:endParaRPr lang="en-US" dirty="0"/>
          </a:p>
        </p:txBody>
      </p:sp>
      <p:sp>
        <p:nvSpPr>
          <p:cNvPr id="4" name="Slide Number Placeholder 3"/>
          <p:cNvSpPr>
            <a:spLocks noGrp="1"/>
          </p:cNvSpPr>
          <p:nvPr>
            <p:ph type="sldNum" sz="quarter" idx="10"/>
          </p:nvPr>
        </p:nvSpPr>
        <p:spPr/>
        <p:txBody>
          <a:bodyPr/>
          <a:lstStyle/>
          <a:p>
            <a:fld id="{1ACC86B7-6CBC-4077-88B0-5F547114B7FB}"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9695751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6</a:t>
            </a:fld>
            <a:endParaRPr lang="en-US"/>
          </a:p>
        </p:txBody>
      </p:sp>
    </p:spTree>
    <p:extLst>
      <p:ext uri="{BB962C8B-B14F-4D97-AF65-F5344CB8AC3E}">
        <p14:creationId xmlns:p14="http://schemas.microsoft.com/office/powerpoint/2010/main" val="12364275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1</a:t>
            </a:fld>
            <a:endParaRPr lang="en-US"/>
          </a:p>
        </p:txBody>
      </p:sp>
    </p:spTree>
    <p:extLst>
      <p:ext uri="{BB962C8B-B14F-4D97-AF65-F5344CB8AC3E}">
        <p14:creationId xmlns:p14="http://schemas.microsoft.com/office/powerpoint/2010/main" val="31799317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2</a:t>
            </a:fld>
            <a:endParaRPr lang="en-US"/>
          </a:p>
        </p:txBody>
      </p:sp>
    </p:spTree>
    <p:extLst>
      <p:ext uri="{BB962C8B-B14F-4D97-AF65-F5344CB8AC3E}">
        <p14:creationId xmlns:p14="http://schemas.microsoft.com/office/powerpoint/2010/main" val="6927265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3</a:t>
            </a:fld>
            <a:endParaRPr lang="en-US"/>
          </a:p>
        </p:txBody>
      </p:sp>
    </p:spTree>
    <p:extLst>
      <p:ext uri="{BB962C8B-B14F-4D97-AF65-F5344CB8AC3E}">
        <p14:creationId xmlns:p14="http://schemas.microsoft.com/office/powerpoint/2010/main" val="20798553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latin typeface="+mn-lt"/>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7</a:t>
            </a:fld>
            <a:endParaRPr lang="en-US"/>
          </a:p>
        </p:txBody>
      </p:sp>
    </p:spTree>
    <p:extLst>
      <p:ext uri="{BB962C8B-B14F-4D97-AF65-F5344CB8AC3E}">
        <p14:creationId xmlns:p14="http://schemas.microsoft.com/office/powerpoint/2010/main" val="36817118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latin typeface="+mn-lt"/>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8</a:t>
            </a:fld>
            <a:endParaRPr lang="en-US"/>
          </a:p>
        </p:txBody>
      </p:sp>
    </p:spTree>
    <p:extLst>
      <p:ext uri="{BB962C8B-B14F-4D97-AF65-F5344CB8AC3E}">
        <p14:creationId xmlns:p14="http://schemas.microsoft.com/office/powerpoint/2010/main" val="36817118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7F683F-D4D6-497E-9895-9DEC0E615E8E}"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102614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16087211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ke the Circles</a:t>
            </a:r>
            <a:r>
              <a:rPr lang="en-US" baseline="0" dirty="0" smtClean="0"/>
              <a:t> clickable  </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1</a:t>
            </a:fld>
            <a:endParaRPr lang="en-US"/>
          </a:p>
        </p:txBody>
      </p:sp>
    </p:spTree>
    <p:extLst>
      <p:ext uri="{BB962C8B-B14F-4D97-AF65-F5344CB8AC3E}">
        <p14:creationId xmlns:p14="http://schemas.microsoft.com/office/powerpoint/2010/main" val="20185210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2</a:t>
            </a:fld>
            <a:endParaRPr lang="en-US"/>
          </a:p>
        </p:txBody>
      </p:sp>
    </p:spTree>
    <p:extLst>
      <p:ext uri="{BB962C8B-B14F-4D97-AF65-F5344CB8AC3E}">
        <p14:creationId xmlns:p14="http://schemas.microsoft.com/office/powerpoint/2010/main" val="33292013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b="1" dirty="0">
              <a:ea typeface="+mn-ea"/>
              <a:cs typeface="+mn-cs"/>
            </a:endParaRPr>
          </a:p>
        </p:txBody>
      </p:sp>
      <p:sp>
        <p:nvSpPr>
          <p:cNvPr id="4" name="Slide Number Placeholder 3"/>
          <p:cNvSpPr>
            <a:spLocks noGrp="1"/>
          </p:cNvSpPr>
          <p:nvPr>
            <p:ph type="sldNum" sz="quarter" idx="10"/>
          </p:nvPr>
        </p:nvSpPr>
        <p:spPr/>
        <p:txBody>
          <a:bodyPr/>
          <a:lstStyle/>
          <a:p>
            <a:fld id="{3B7F683F-D4D6-497E-9895-9DEC0E615E8E}" type="slidenum">
              <a:rPr lang="en-US" smtClean="0"/>
              <a:t>63</a:t>
            </a:fld>
            <a:endParaRPr lang="en-US" dirty="0"/>
          </a:p>
        </p:txBody>
      </p:sp>
    </p:spTree>
    <p:extLst>
      <p:ext uri="{BB962C8B-B14F-4D97-AF65-F5344CB8AC3E}">
        <p14:creationId xmlns:p14="http://schemas.microsoft.com/office/powerpoint/2010/main" val="639201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ea typeface="+mn-ea"/>
              <a:cs typeface="+mn-cs"/>
            </a:endParaRPr>
          </a:p>
        </p:txBody>
      </p:sp>
      <p:sp>
        <p:nvSpPr>
          <p:cNvPr id="4" name="Slide Number Placeholder 3"/>
          <p:cNvSpPr>
            <a:spLocks noGrp="1"/>
          </p:cNvSpPr>
          <p:nvPr>
            <p:ph type="sldNum" sz="quarter" idx="10"/>
          </p:nvPr>
        </p:nvSpPr>
        <p:spPr/>
        <p:txBody>
          <a:bodyPr/>
          <a:lstStyle/>
          <a:p>
            <a:fld id="{3B7F683F-D4D6-497E-9895-9DEC0E615E8E}" type="slidenum">
              <a:rPr lang="en-US" smtClean="0"/>
              <a:t>64</a:t>
            </a:fld>
            <a:endParaRPr lang="en-US" dirty="0"/>
          </a:p>
        </p:txBody>
      </p:sp>
    </p:spTree>
    <p:extLst>
      <p:ext uri="{BB962C8B-B14F-4D97-AF65-F5344CB8AC3E}">
        <p14:creationId xmlns:p14="http://schemas.microsoft.com/office/powerpoint/2010/main" val="23451930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7</a:t>
            </a:fld>
            <a:endParaRPr lang="en-US"/>
          </a:p>
        </p:txBody>
      </p:sp>
    </p:spTree>
    <p:extLst>
      <p:ext uri="{BB962C8B-B14F-4D97-AF65-F5344CB8AC3E}">
        <p14:creationId xmlns:p14="http://schemas.microsoft.com/office/powerpoint/2010/main" val="5099065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9</a:t>
            </a:fld>
            <a:endParaRPr lang="en-US"/>
          </a:p>
        </p:txBody>
      </p:sp>
    </p:spTree>
    <p:extLst>
      <p:ext uri="{BB962C8B-B14F-4D97-AF65-F5344CB8AC3E}">
        <p14:creationId xmlns:p14="http://schemas.microsoft.com/office/powerpoint/2010/main" val="35593313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altLang="ja-JP"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1</a:t>
            </a:fld>
            <a:endParaRPr lang="en-US"/>
          </a:p>
        </p:txBody>
      </p:sp>
    </p:spTree>
    <p:extLst>
      <p:ext uri="{BB962C8B-B14F-4D97-AF65-F5344CB8AC3E}">
        <p14:creationId xmlns:p14="http://schemas.microsoft.com/office/powerpoint/2010/main" val="321624753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BDF124-D6FA-6049-8FF9-BD64C0DE1989}" type="slidenum">
              <a:rPr lang="en-US" smtClean="0"/>
              <a:t>72</a:t>
            </a:fld>
            <a:endParaRPr lang="en-US"/>
          </a:p>
        </p:txBody>
      </p:sp>
    </p:spTree>
    <p:extLst>
      <p:ext uri="{BB962C8B-B14F-4D97-AF65-F5344CB8AC3E}">
        <p14:creationId xmlns:p14="http://schemas.microsoft.com/office/powerpoint/2010/main" val="3939912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BDF124-D6FA-6049-8FF9-BD64C0DE1989}" type="slidenum">
              <a:rPr lang="en-US" smtClean="0"/>
              <a:t>73</a:t>
            </a:fld>
            <a:endParaRPr lang="en-US"/>
          </a:p>
        </p:txBody>
      </p:sp>
    </p:spTree>
    <p:extLst>
      <p:ext uri="{BB962C8B-B14F-4D97-AF65-F5344CB8AC3E}">
        <p14:creationId xmlns:p14="http://schemas.microsoft.com/office/powerpoint/2010/main" val="15007330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BDF124-D6FA-6049-8FF9-BD64C0DE1989}" type="slidenum">
              <a:rPr lang="en-US" smtClean="0"/>
              <a:t>74</a:t>
            </a:fld>
            <a:endParaRPr lang="en-US"/>
          </a:p>
        </p:txBody>
      </p:sp>
    </p:spTree>
    <p:extLst>
      <p:ext uri="{BB962C8B-B14F-4D97-AF65-F5344CB8AC3E}">
        <p14:creationId xmlns:p14="http://schemas.microsoft.com/office/powerpoint/2010/main" val="1430386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393867564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BDF124-D6FA-6049-8FF9-BD64C0DE1989}" type="slidenum">
              <a:rPr lang="en-US" smtClean="0"/>
              <a:t>75</a:t>
            </a:fld>
            <a:endParaRPr lang="en-US"/>
          </a:p>
        </p:txBody>
      </p:sp>
    </p:spTree>
    <p:extLst>
      <p:ext uri="{BB962C8B-B14F-4D97-AF65-F5344CB8AC3E}">
        <p14:creationId xmlns:p14="http://schemas.microsoft.com/office/powerpoint/2010/main" val="390150689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B12379-27E0-AE4E-8E9A-858B630D3D04}" type="slidenum">
              <a:rPr lang="en-US" smtClean="0"/>
              <a:t>76</a:t>
            </a:fld>
            <a:endParaRPr lang="en-US"/>
          </a:p>
        </p:txBody>
      </p:sp>
    </p:spTree>
    <p:extLst>
      <p:ext uri="{BB962C8B-B14F-4D97-AF65-F5344CB8AC3E}">
        <p14:creationId xmlns:p14="http://schemas.microsoft.com/office/powerpoint/2010/main" val="23553440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B12379-27E0-AE4E-8E9A-858B630D3D04}" type="slidenum">
              <a:rPr lang="en-US" smtClean="0"/>
              <a:t>77</a:t>
            </a:fld>
            <a:endParaRPr lang="en-US"/>
          </a:p>
        </p:txBody>
      </p:sp>
    </p:spTree>
    <p:extLst>
      <p:ext uri="{BB962C8B-B14F-4D97-AF65-F5344CB8AC3E}">
        <p14:creationId xmlns:p14="http://schemas.microsoft.com/office/powerpoint/2010/main" val="26463220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CB12379-27E0-AE4E-8E9A-858B630D3D04}" type="slidenum">
              <a:rPr lang="en-US" smtClean="0"/>
              <a:t>78</a:t>
            </a:fld>
            <a:endParaRPr lang="en-US"/>
          </a:p>
        </p:txBody>
      </p:sp>
    </p:spTree>
    <p:extLst>
      <p:ext uri="{BB962C8B-B14F-4D97-AF65-F5344CB8AC3E}">
        <p14:creationId xmlns:p14="http://schemas.microsoft.com/office/powerpoint/2010/main" val="17998657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79</a:t>
            </a:fld>
            <a:endParaRPr lang="en-US" dirty="0"/>
          </a:p>
        </p:txBody>
      </p:sp>
    </p:spTree>
    <p:extLst>
      <p:ext uri="{BB962C8B-B14F-4D97-AF65-F5344CB8AC3E}">
        <p14:creationId xmlns:p14="http://schemas.microsoft.com/office/powerpoint/2010/main" val="31101013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rtl="0" fontAlgn="t"/>
            <a:endParaRPr lang="en-US" b="0" dirty="0">
              <a:effectLst/>
            </a:endParaRPr>
          </a:p>
        </p:txBody>
      </p:sp>
      <p:sp>
        <p:nvSpPr>
          <p:cNvPr id="4" name="Slide Number Placeholder 3"/>
          <p:cNvSpPr>
            <a:spLocks noGrp="1"/>
          </p:cNvSpPr>
          <p:nvPr>
            <p:ph type="sldNum" sz="quarter" idx="10"/>
          </p:nvPr>
        </p:nvSpPr>
        <p:spPr/>
        <p:txBody>
          <a:bodyPr/>
          <a:lstStyle/>
          <a:p>
            <a:fld id="{F85C79B3-D8F0-8D4E-832C-D99D3EF4DBD9}" type="slidenum">
              <a:rPr lang="en-US" smtClean="0"/>
              <a:t>80</a:t>
            </a:fld>
            <a:endParaRPr lang="en-US" dirty="0"/>
          </a:p>
        </p:txBody>
      </p:sp>
    </p:spTree>
    <p:extLst>
      <p:ext uri="{BB962C8B-B14F-4D97-AF65-F5344CB8AC3E}">
        <p14:creationId xmlns:p14="http://schemas.microsoft.com/office/powerpoint/2010/main" val="1760281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a:t>
            </a:fld>
            <a:endParaRPr lang="en-US"/>
          </a:p>
        </p:txBody>
      </p:sp>
    </p:spTree>
    <p:extLst>
      <p:ext uri="{BB962C8B-B14F-4D97-AF65-F5344CB8AC3E}">
        <p14:creationId xmlns:p14="http://schemas.microsoft.com/office/powerpoint/2010/main" val="35270473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r>
              <a:rPr lang="en-US" dirty="0" smtClean="0"/>
              <a:t>RPS should be added </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1502248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3918240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2148909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7513" y="701675"/>
            <a:ext cx="6242050" cy="35115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a:p>
        </p:txBody>
      </p:sp>
    </p:spTree>
    <p:extLst>
      <p:ext uri="{BB962C8B-B14F-4D97-AF65-F5344CB8AC3E}">
        <p14:creationId xmlns:p14="http://schemas.microsoft.com/office/powerpoint/2010/main" val="14313803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9.emf"/><Relationship Id="rId3"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1" tIns="34286" rIns="68571" bIns="34286" anchor="ctr"/>
          <a:lstStyle/>
          <a:p>
            <a:endParaRPr lang="en-US"/>
          </a:p>
        </p:txBody>
      </p:sp>
      <p:sp>
        <p:nvSpPr>
          <p:cNvPr id="7" name="Title 1"/>
          <p:cNvSpPr>
            <a:spLocks noGrp="1"/>
          </p:cNvSpPr>
          <p:nvPr>
            <p:ph type="ctrTitle" hasCustomPrompt="1"/>
          </p:nvPr>
        </p:nvSpPr>
        <p:spPr>
          <a:xfrm>
            <a:off x="226644" y="2061715"/>
            <a:ext cx="7598042" cy="759125"/>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rgbClr val="3E6BB4"/>
                </a:solidFill>
                <a:latin typeface="+mj-lt"/>
                <a:cs typeface="CiscoSans Thin"/>
              </a:defRPr>
            </a:lvl1pPr>
          </a:lstStyle>
          <a:p>
            <a:r>
              <a:rPr lang="en-GB" dirty="0" smtClean="0"/>
              <a:t>Session Titl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6" name="Rectangle 3"/>
          <p:cNvSpPr>
            <a:spLocks noChangeArrowheads="1"/>
          </p:cNvSpPr>
          <p:nvPr userDrawn="1"/>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74" tIns="34288" rIns="68574" bIns="34288" anchor="ctr"/>
          <a:lstStyle/>
          <a:p>
            <a:endParaRPr lang="en-US"/>
          </a:p>
        </p:txBody>
      </p:sp>
      <p:sp>
        <p:nvSpPr>
          <p:cNvPr id="8" name="Rectangle 7"/>
          <p:cNvSpPr/>
          <p:nvPr userDrawn="1"/>
        </p:nvSpPr>
        <p:spPr>
          <a:xfrm>
            <a:off x="-8626" y="2"/>
            <a:ext cx="7502697" cy="1846053"/>
          </a:xfrm>
          <a:prstGeom prst="rect">
            <a:avLst/>
          </a:prstGeom>
          <a:ln>
            <a:noFill/>
          </a:ln>
          <a:effectLst/>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a:endParaRPr lang="en-US" dirty="0" smtClean="0"/>
          </a:p>
        </p:txBody>
      </p:sp>
      <p:pic>
        <p:nvPicPr>
          <p:cNvPr id="9" name="Picture 3"/>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5842319" y="0"/>
            <a:ext cx="3301675" cy="184719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3066" y="133350"/>
            <a:ext cx="672860" cy="355270"/>
          </a:xfrm>
          <a:prstGeom prst="rect">
            <a:avLst/>
          </a:prstGeom>
        </p:spPr>
      </p:pic>
      <p:sp>
        <p:nvSpPr>
          <p:cNvPr id="12" name="Text Placeholder 2"/>
          <p:cNvSpPr>
            <a:spLocks noGrp="1"/>
          </p:cNvSpPr>
          <p:nvPr>
            <p:ph type="body" sz="quarter" idx="13" hasCustomPrompt="1"/>
          </p:nvPr>
        </p:nvSpPr>
        <p:spPr>
          <a:xfrm>
            <a:off x="220444" y="3099325"/>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GB" dirty="0" smtClean="0"/>
              <a:t>Subtitle Goes Here</a:t>
            </a:r>
          </a:p>
        </p:txBody>
      </p:sp>
      <p:sp>
        <p:nvSpPr>
          <p:cNvPr id="13" name="Subtitle 2"/>
          <p:cNvSpPr>
            <a:spLocks noGrp="1"/>
          </p:cNvSpPr>
          <p:nvPr>
            <p:ph type="subTitle" idx="1" hasCustomPrompt="1"/>
          </p:nvPr>
        </p:nvSpPr>
        <p:spPr>
          <a:xfrm>
            <a:off x="226648" y="3681060"/>
            <a:ext cx="8296421" cy="288131"/>
          </a:xfrm>
          <a:prstGeom prst="rect">
            <a:avLst/>
          </a:prstGeom>
        </p:spPr>
        <p:txBody>
          <a:bodyPr lIns="91420" tIns="45710" rIns="91420" bIns="45710" anchor="b" anchorCtr="0">
            <a:noAutofit/>
          </a:bodyPr>
          <a:lstStyle>
            <a:lvl1pPr marL="0" indent="0" algn="l">
              <a:buNone/>
              <a:defRPr sz="1400" b="0" i="0">
                <a:solidFill>
                  <a:srgbClr val="676767"/>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smtClean="0"/>
              <a:t>Speaker Name</a:t>
            </a:r>
            <a:endParaRPr lang="en-US" dirty="0"/>
          </a:p>
        </p:txBody>
      </p:sp>
      <p:sp>
        <p:nvSpPr>
          <p:cNvPr id="14" name="Text Placeholder 38"/>
          <p:cNvSpPr>
            <a:spLocks noGrp="1"/>
          </p:cNvSpPr>
          <p:nvPr>
            <p:ph type="body" sz="quarter" idx="11" hasCustomPrompt="1"/>
          </p:nvPr>
        </p:nvSpPr>
        <p:spPr>
          <a:xfrm>
            <a:off x="226648" y="3921057"/>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5" name="Text Placeholder 40"/>
          <p:cNvSpPr>
            <a:spLocks noGrp="1"/>
          </p:cNvSpPr>
          <p:nvPr>
            <p:ph type="body" sz="quarter" idx="12" hasCustomPrompt="1"/>
          </p:nvPr>
        </p:nvSpPr>
        <p:spPr>
          <a:xfrm>
            <a:off x="226648" y="4161056"/>
            <a:ext cx="8296421" cy="288131"/>
          </a:xfrm>
          <a:prstGeom prst="rect">
            <a:avLst/>
          </a:prstGeom>
        </p:spPr>
        <p:txBody>
          <a:bodyPr lIns="91420" tIns="45710" rIns="91420" bIns="45710"/>
          <a:lstStyle>
            <a:lvl1pPr marL="0" indent="0" algn="l">
              <a:buFontTx/>
              <a:buNone/>
              <a:defRPr lang="en-US" sz="1400" b="0" i="0" kern="1200" dirty="0" smtClean="0">
                <a:solidFill>
                  <a:srgbClr val="676767"/>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pic>
        <p:nvPicPr>
          <p:cNvPr id="16" name="Picture 15"/>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07192" y="1230830"/>
            <a:ext cx="3412389" cy="599050"/>
          </a:xfrm>
          <a:prstGeom prst="rect">
            <a:avLst/>
          </a:prstGeom>
        </p:spPr>
      </p:pic>
    </p:spTree>
    <p:extLst>
      <p:ext uri="{BB962C8B-B14F-4D97-AF65-F5344CB8AC3E}">
        <p14:creationId xmlns:p14="http://schemas.microsoft.com/office/powerpoint/2010/main" val="37121915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Click to edit text </a:t>
            </a:r>
          </a:p>
        </p:txBody>
      </p:sp>
      <p:sp>
        <p:nvSpPr>
          <p:cNvPr id="4" name="Title 1"/>
          <p:cNvSpPr>
            <a:spLocks noGrp="1"/>
          </p:cNvSpPr>
          <p:nvPr>
            <p:ph type="ctrTitle" hasCustomPrompt="1"/>
          </p:nvPr>
        </p:nvSpPr>
        <p:spPr>
          <a:xfrm>
            <a:off x="287923" y="1540553"/>
            <a:ext cx="7972248" cy="2278837"/>
          </a:xfrm>
          <a:prstGeom prst="rect">
            <a:avLst/>
          </a:prstGeom>
        </p:spPr>
        <p:txBody>
          <a:bodyPr anchor="ctr">
            <a:noAutofit/>
          </a:bodyPr>
          <a:lstStyle>
            <a:lvl1pPr marL="183600" indent="-399968" algn="l">
              <a:lnSpc>
                <a:spcPct val="90000"/>
              </a:lnSpc>
              <a:defRPr sz="4600"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21291401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2"/>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3" y="1439062"/>
            <a:ext cx="3820348" cy="2265389"/>
          </a:xfrm>
        </p:spPr>
        <p:txBody>
          <a:bodyPr lIns="61715" tIns="34288" rIns="61715" bIns="34288" rtlCol="0" anchor="ctr">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spTree>
    <p:extLst>
      <p:ext uri="{BB962C8B-B14F-4D97-AF65-F5344CB8AC3E}">
        <p14:creationId xmlns:p14="http://schemas.microsoft.com/office/powerpoint/2010/main" val="296139975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2"/>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hasCustomPrompt="1"/>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93950320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2"/>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dirty="0" smtClean="0"/>
              <a:t>Source</a:t>
            </a:r>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70256367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70" y="1349458"/>
            <a:ext cx="4007001" cy="3040773"/>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6"/>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68129543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9" y="1349356"/>
            <a:ext cx="4003995" cy="3040875"/>
          </a:xfrm>
          <a:prstGeom prst="rect">
            <a:avLst/>
          </a:prstGeom>
        </p:spPr>
        <p:txBody>
          <a:bodyPr lIns="91420" tIns="45710" rIns="91420" bIns="45710"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smtClean="0"/>
              <a:t>Click icon to add picture</a:t>
            </a:r>
            <a:endParaRPr lang="en-US" noProof="0" dirty="0"/>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6983574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7" y="4629152"/>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
        <p:nvSpPr>
          <p:cNvPr id="6" name="Text Placeholder 2"/>
          <p:cNvSpPr>
            <a:spLocks noGrp="1"/>
          </p:cNvSpPr>
          <p:nvPr>
            <p:ph type="body" sz="quarter" idx="11" hasCustomPrompt="1"/>
          </p:nvPr>
        </p:nvSpPr>
        <p:spPr bwMode="auto">
          <a:xfrm>
            <a:off x="500063" y="3486478"/>
            <a:ext cx="8139112" cy="500992"/>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172492827"/>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308013" y="301039"/>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dirty="0" smtClean="0"/>
              <a:t>Click icon to add program identity image</a:t>
            </a:r>
            <a:endParaRPr lang="en-US" noProof="0" dirty="0"/>
          </a:p>
        </p:txBody>
      </p:sp>
      <p:sp>
        <p:nvSpPr>
          <p:cNvPr id="4" name="Text Placeholder 3"/>
          <p:cNvSpPr>
            <a:spLocks noGrp="1"/>
          </p:cNvSpPr>
          <p:nvPr>
            <p:ph type="body" sz="quarter" idx="11" hasCustomPrompt="1"/>
          </p:nvPr>
        </p:nvSpPr>
        <p:spPr>
          <a:xfrm>
            <a:off x="448785" y="3054520"/>
            <a:ext cx="8364236" cy="564257"/>
          </a:xfrm>
          <a:prstGeom prst="rect">
            <a:avLst/>
          </a:prstGeom>
        </p:spPr>
        <p:txBody>
          <a:bodyPr vert="horz" wrap="square">
            <a:spAutoFit/>
          </a:bodyPr>
          <a:lstStyle>
            <a:lvl1pPr marL="0" indent="0">
              <a:buNone/>
              <a:defRPr sz="3200"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3473071393"/>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7" y="4629152"/>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1712124705"/>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760134"/>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Why are we here today?</a:t>
            </a:r>
            <a:endParaRPr lang="en-US" dirty="0"/>
          </a:p>
        </p:txBody>
      </p:sp>
      <p:sp>
        <p:nvSpPr>
          <p:cNvPr id="8" name="Rectangle 4"/>
          <p:cNvSpPr>
            <a:spLocks noChangeArrowheads="1"/>
          </p:cNvSpPr>
          <p:nvPr userDrawn="1"/>
        </p:nvSpPr>
        <p:spPr bwMode="ltGray">
          <a:xfrm>
            <a:off x="2822449" y="4741655"/>
            <a:ext cx="2658018" cy="154518"/>
          </a:xfrm>
          <a:prstGeom prst="rect">
            <a:avLst/>
          </a:prstGeom>
          <a:noFill/>
          <a:ln w="9525">
            <a:noFill/>
            <a:miter lim="800000"/>
            <a:headEnd/>
            <a:tailEnd/>
          </a:ln>
          <a:effectLst/>
        </p:spPr>
        <p:txBody>
          <a:bodyPr lIns="61586" tIns="30792" rIns="61586" bIns="30792" anchor="b">
            <a:spAutoFit/>
          </a:bodyPr>
          <a:lstStyle/>
          <a:p>
            <a:pPr algn="l"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565366" y="4690923"/>
            <a:ext cx="1537194" cy="289637"/>
          </a:xfrm>
          <a:prstGeom prst="rect">
            <a:avLst/>
          </a:prstGeom>
        </p:spPr>
      </p:pic>
    </p:spTree>
    <p:extLst>
      <p:ext uri="{BB962C8B-B14F-4D97-AF65-F5344CB8AC3E}">
        <p14:creationId xmlns:p14="http://schemas.microsoft.com/office/powerpoint/2010/main" val="24310592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3"/>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smtClean="0"/>
              <a:t>Click icon to add picture</a:t>
            </a:r>
            <a:endParaRPr lang="en-US" noProof="0" dirty="0"/>
          </a:p>
        </p:txBody>
      </p:sp>
    </p:spTree>
    <p:extLst>
      <p:ext uri="{BB962C8B-B14F-4D97-AF65-F5344CB8AC3E}">
        <p14:creationId xmlns:p14="http://schemas.microsoft.com/office/powerpoint/2010/main" val="427897133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686166"/>
      </p:ext>
    </p:extLst>
  </p:cSld>
  <p:clrMapOvr>
    <a:overrideClrMapping bg1="lt1" tx1="dk1" bg2="lt2" tx2="dk2" accent1="accent1" accent2="accent2" accent3="accent3" accent4="accent4" accent5="accent5" accent6="accent6" hlink="hlink" folHlink="folHlink"/>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5"/>
          <p:cNvSpPr>
            <a:spLocks noGrp="1"/>
          </p:cNvSpPr>
          <p:nvPr>
            <p:ph type="title"/>
          </p:nvPr>
        </p:nvSpPr>
        <p:spPr bwMode="auto">
          <a:xfrm>
            <a:off x="437766" y="341314"/>
            <a:ext cx="8345488" cy="520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b" anchorCtr="0" compatLnSpc="1">
            <a:prstTxWarp prst="textNoShape">
              <a:avLst/>
            </a:prstTxWarp>
          </a:bodyPr>
          <a:lstStyle/>
          <a:p>
            <a:pPr lvl="0"/>
            <a:r>
              <a:rPr lang="en-CA" dirty="0" smtClean="0"/>
              <a:t>Click to edit Master title style</a:t>
            </a:r>
            <a:endParaRPr lang="en-GB" dirty="0"/>
          </a:p>
        </p:txBody>
      </p:sp>
    </p:spTree>
    <p:extLst>
      <p:ext uri="{BB962C8B-B14F-4D97-AF65-F5344CB8AC3E}">
        <p14:creationId xmlns:p14="http://schemas.microsoft.com/office/powerpoint/2010/main" val="153781370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80081668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9701" y="1004810"/>
            <a:ext cx="8580924" cy="3724274"/>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765008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egue 2">
    <p:spTree>
      <p:nvGrpSpPr>
        <p:cNvPr id="1" name=""/>
        <p:cNvGrpSpPr/>
        <p:nvPr/>
      </p:nvGrpSpPr>
      <p:grpSpPr>
        <a:xfrm>
          <a:off x="0" y="0"/>
          <a:ext cx="0" cy="0"/>
          <a:chOff x="0" y="0"/>
          <a:chExt cx="0" cy="0"/>
        </a:xfrm>
      </p:grpSpPr>
      <p:pic>
        <p:nvPicPr>
          <p:cNvPr id="9" name="Picture 2" descr="C:\Users\ynaas\Documents\YN design business\clients\Open DNS\art\jpg\photos\crosswalk.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ltGray">
          <a:xfrm>
            <a:off x="0" y="0"/>
            <a:ext cx="9144000" cy="5146672"/>
          </a:xfrm>
          <a:prstGeom prst="rect">
            <a:avLst/>
          </a:prstGeom>
          <a:noFill/>
          <a:extLst>
            <a:ext uri="{909E8E84-426E-40dd-AFC4-6F175D3DCCD1}">
              <a14:hiddenFill xmlns:a14="http://schemas.microsoft.com/office/drawing/2010/main">
                <a:solidFill>
                  <a:srgbClr val="FFFFFF"/>
                </a:solidFill>
              </a14:hiddenFill>
            </a:ext>
          </a:extLst>
        </p:spPr>
      </p:pic>
      <p:sp>
        <p:nvSpPr>
          <p:cNvPr id="7" name="Round Same Side Corner Rectangle 6"/>
          <p:cNvSpPr/>
          <p:nvPr userDrawn="1"/>
        </p:nvSpPr>
        <p:spPr bwMode="gray">
          <a:xfrm rot="5400000">
            <a:off x="343175" y="308493"/>
            <a:ext cx="3885650" cy="4572000"/>
          </a:xfrm>
          <a:prstGeom prst="round2SameRect">
            <a:avLst>
              <a:gd name="adj1" fmla="val 3740"/>
              <a:gd name="adj2" fmla="val 0"/>
            </a:avLst>
          </a:prstGeom>
          <a:gradFill flip="none" rotWithShape="1">
            <a:gsLst>
              <a:gs pos="100000">
                <a:srgbClr val="16161C">
                  <a:alpha val="80000"/>
                </a:srgbClr>
              </a:gs>
              <a:gs pos="0">
                <a:schemeClr val="tx2">
                  <a:lumMod val="50000"/>
                  <a:alpha val="75000"/>
                </a:schemeClr>
              </a:gs>
            </a:gsLst>
            <a:path path="circle">
              <a:fillToRect l="50000" t="50000" r="50000" b="50000"/>
            </a:path>
            <a:tileRect/>
          </a:gradFill>
          <a:ln w="9525" cap="flat" cmpd="sng" algn="ctr">
            <a:noFill/>
            <a:prstDash val="solid"/>
            <a:round/>
            <a:headEnd type="none" w="med" len="med"/>
            <a:tailEnd type="none" w="med" len="med"/>
          </a:ln>
          <a:effectLst/>
          <a:extLst/>
        </p:spPr>
        <p:txBody>
          <a:bodyPr vert="horz" wrap="square" lIns="91355" tIns="45678" rIns="91355" bIns="45678" numCol="1" rtlCol="0" anchor="ctr" anchorCtr="0" compatLnSpc="1">
            <a:prstTxWarp prst="textNoShape">
              <a:avLst/>
            </a:prstTxWarp>
          </a:bodyPr>
          <a:lstStyle/>
          <a:p>
            <a:pPr lvl="0"/>
            <a:endParaRPr lang="en-US" dirty="0">
              <a:latin typeface="Franklin Gothic Book" panose="020B0503020102020204" pitchFamily="34" charset="0"/>
              <a:ea typeface="新細明體" charset="0"/>
              <a:cs typeface="新細明體" charset="0"/>
            </a:endParaRPr>
          </a:p>
        </p:txBody>
      </p:sp>
      <p:sp>
        <p:nvSpPr>
          <p:cNvPr id="10" name="Text Placeholder 9"/>
          <p:cNvSpPr>
            <a:spLocks noGrp="1"/>
          </p:cNvSpPr>
          <p:nvPr>
            <p:ph type="body" sz="quarter" idx="10"/>
          </p:nvPr>
        </p:nvSpPr>
        <p:spPr bwMode="gray">
          <a:xfrm>
            <a:off x="439420" y="896108"/>
            <a:ext cx="3665220" cy="3397596"/>
          </a:xfrm>
          <a:prstGeom prst="rect">
            <a:avLst/>
          </a:prstGeom>
        </p:spPr>
        <p:txBody>
          <a:bodyPr anchor="ctr" anchorCtr="0">
            <a:noAutofit/>
          </a:bodyPr>
          <a:lstStyle>
            <a:lvl1pPr marL="0" marR="0" indent="0" algn="l" defTabSz="913577" rtl="0" eaLnBrk="1" fontAlgn="base" latinLnBrk="0" hangingPunct="1">
              <a:lnSpc>
                <a:spcPct val="90000"/>
              </a:lnSpc>
              <a:spcBef>
                <a:spcPts val="0"/>
              </a:spcBef>
              <a:spcAft>
                <a:spcPts val="1199"/>
              </a:spcAft>
              <a:buClr>
                <a:schemeClr val="accent1"/>
              </a:buClr>
              <a:buSzTx/>
              <a:buFont typeface="Arial" pitchFamily="34" charset="0"/>
              <a:buNone/>
              <a:tabLst/>
              <a:defRPr kumimoji="1" lang="en-US" sz="3197" kern="0" dirty="0" smtClean="0">
                <a:solidFill>
                  <a:schemeClr val="bg1"/>
                </a:solidFill>
                <a:latin typeface="Franklin Gothic Medium" panose="020B0603020102020204" pitchFamily="34" charset="0"/>
                <a:ea typeface="PMingLiU" pitchFamily="18" charset="-120"/>
                <a:cs typeface="+mn-cs"/>
              </a:defRPr>
            </a:lvl1pPr>
            <a:lvl2pPr marL="456789" indent="0" algn="l">
              <a:buNone/>
              <a:defRPr b="0">
                <a:solidFill>
                  <a:schemeClr val="tx1"/>
                </a:solidFill>
              </a:defRPr>
            </a:lvl2pPr>
            <a:lvl3pPr marL="913577" indent="0" algn="l">
              <a:buNone/>
              <a:defRPr b="0">
                <a:solidFill>
                  <a:schemeClr val="tx1"/>
                </a:solidFill>
              </a:defRPr>
            </a:lvl3pPr>
            <a:lvl4pPr marL="1370366" indent="0" algn="l">
              <a:buNone/>
              <a:defRPr b="0">
                <a:solidFill>
                  <a:schemeClr val="tx1"/>
                </a:solidFill>
              </a:defRPr>
            </a:lvl4pPr>
            <a:lvl5pPr marL="1827154" indent="0" algn="l">
              <a:buNone/>
              <a:defRPr b="0">
                <a:solidFill>
                  <a:schemeClr val="tx1"/>
                </a:solidFill>
              </a:defRPr>
            </a:lvl5pPr>
          </a:lstStyle>
          <a:p>
            <a:pPr lvl="0"/>
            <a:r>
              <a:rPr lang="en-US" smtClean="0"/>
              <a:t>Click to edit Master text styles</a:t>
            </a:r>
          </a:p>
        </p:txBody>
      </p:sp>
    </p:spTree>
    <p:extLst>
      <p:ext uri="{BB962C8B-B14F-4D97-AF65-F5344CB8AC3E}">
        <p14:creationId xmlns:p14="http://schemas.microsoft.com/office/powerpoint/2010/main" val="41063808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ullet Heavy Text with Title">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70"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520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b" anchorCtr="0" compatLnSpc="1">
            <a:prstTxWarp prst="textNoShape">
              <a:avLst/>
            </a:prstTxWarp>
          </a:bodyPr>
          <a:lstStyle/>
          <a:p>
            <a:pPr lvl="0"/>
            <a:r>
              <a:rPr lang="en-CA" dirty="0" smtClean="0"/>
              <a:t>Click to edit Master title style</a:t>
            </a:r>
            <a:endParaRPr lang="en-GB" dirty="0"/>
          </a:p>
        </p:txBody>
      </p:sp>
    </p:spTree>
    <p:extLst>
      <p:ext uri="{BB962C8B-B14F-4D97-AF65-F5344CB8AC3E}">
        <p14:creationId xmlns:p14="http://schemas.microsoft.com/office/powerpoint/2010/main" val="326586740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3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70" y="341318"/>
            <a:ext cx="834548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lvl1pPr>
              <a:defRPr lang="en-GB" dirty="0"/>
            </a:lvl1pPr>
          </a:lstStyle>
          <a:p>
            <a:pPr lvl="0"/>
            <a:r>
              <a:rPr lang="en-US" smtClean="0"/>
              <a:t>Click to edit Master title style</a:t>
            </a:r>
            <a:endParaRPr lang="en-GB" dirty="0"/>
          </a:p>
        </p:txBody>
      </p:sp>
    </p:spTree>
    <p:extLst>
      <p:ext uri="{BB962C8B-B14F-4D97-AF65-F5344CB8AC3E}">
        <p14:creationId xmlns:p14="http://schemas.microsoft.com/office/powerpoint/2010/main" val="411801679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3355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90" y="1643064"/>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07623989"/>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6" y="1347790"/>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hasCustomPrompt="1"/>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a:lvl1pPr>
          </a:lstStyle>
          <a:p>
            <a:pPr lvl="0"/>
            <a:r>
              <a:rPr lang="en-US" dirty="0" smtClean="0"/>
              <a:t>Why are we here today?</a:t>
            </a:r>
            <a:endParaRPr lang="en-GB" dirty="0"/>
          </a:p>
        </p:txBody>
      </p:sp>
    </p:spTree>
    <p:extLst>
      <p:ext uri="{BB962C8B-B14F-4D97-AF65-F5344CB8AC3E}">
        <p14:creationId xmlns:p14="http://schemas.microsoft.com/office/powerpoint/2010/main" val="374916705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37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7830112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70"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15532668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2"/>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32" y="302507"/>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8"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32"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60000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2"/>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2"/>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7"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32" y="227840"/>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7" y="220480"/>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910" indent="-17141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Tree>
    <p:extLst>
      <p:ext uri="{BB962C8B-B14F-4D97-AF65-F5344CB8AC3E}">
        <p14:creationId xmlns:p14="http://schemas.microsoft.com/office/powerpoint/2010/main" val="414725828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9"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8" y="3552446"/>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70"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7105" indent="-215855">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520" indent="-171415">
              <a:buClr>
                <a:schemeClr val="tx1"/>
              </a:buClr>
              <a:buSzPct val="80000"/>
              <a:buFont typeface="Arial"/>
              <a:buChar char="•"/>
              <a:defRPr sz="1600" b="0" i="0">
                <a:solidFill>
                  <a:schemeClr val="tx1"/>
                </a:solidFill>
                <a:latin typeface="+mn-lt"/>
                <a:cs typeface="CiscoSans ExtraLight"/>
              </a:defRPr>
            </a:lvl3pPr>
            <a:lvl4pPr marL="799934" indent="-171415">
              <a:buClr>
                <a:schemeClr val="tx1"/>
              </a:buClr>
              <a:buSzPct val="80000"/>
              <a:buFont typeface="Arial"/>
              <a:buChar char="•"/>
              <a:defRPr sz="1400" b="0" i="0">
                <a:solidFill>
                  <a:schemeClr val="tx1"/>
                </a:solidFill>
                <a:latin typeface="+mn-lt"/>
                <a:cs typeface="CiscoSans ExtraLight"/>
              </a:defRPr>
            </a:lvl4pPr>
            <a:lvl5pPr marL="971347" indent="-17141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08147761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30" Type="http://schemas.openxmlformats.org/officeDocument/2006/relationships/theme" Target="../theme/theme1.xml"/><Relationship Id="rId31" Type="http://schemas.openxmlformats.org/officeDocument/2006/relationships/image" Target="../media/image1.png"/><Relationship Id="rId32" Type="http://schemas.openxmlformats.org/officeDocument/2006/relationships/image" Target="../media/image2.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1" cstate="print">
            <a:extLst>
              <a:ext uri="{28A0092B-C50C-407E-A947-70E740481C1C}">
                <a14:useLocalDpi xmlns:a14="http://schemas.microsoft.com/office/drawing/2010/main"/>
              </a:ext>
            </a:extLst>
          </a:blip>
          <a:stretch>
            <a:fillRect/>
          </a:stretch>
        </p:blipFill>
        <p:spPr>
          <a:xfrm>
            <a:off x="7625755" y="4697115"/>
            <a:ext cx="1466491" cy="257445"/>
          </a:xfrm>
          <a:prstGeom prst="rect">
            <a:avLst/>
          </a:prstGeom>
        </p:spPr>
      </p:pic>
      <p:sp>
        <p:nvSpPr>
          <p:cNvPr id="1026"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smtClean="0"/>
              <a:t>Title Goes Here</a:t>
            </a:r>
            <a:endParaRPr lang="en-GB" dirty="0"/>
          </a:p>
        </p:txBody>
      </p:sp>
      <p:sp>
        <p:nvSpPr>
          <p:cNvPr id="13" name="Rectangle 4"/>
          <p:cNvSpPr>
            <a:spLocks noChangeArrowheads="1"/>
          </p:cNvSpPr>
          <p:nvPr/>
        </p:nvSpPr>
        <p:spPr bwMode="ltGray">
          <a:xfrm>
            <a:off x="2806259" y="4736431"/>
            <a:ext cx="2658018" cy="154518"/>
          </a:xfrm>
          <a:prstGeom prst="rect">
            <a:avLst/>
          </a:prstGeom>
          <a:noFill/>
          <a:ln w="9525">
            <a:noFill/>
            <a:miter lim="800000"/>
            <a:headEnd/>
            <a:tailEnd/>
          </a:ln>
          <a:effectLst/>
        </p:spPr>
        <p:txBody>
          <a:bodyPr lIns="61586" tIns="30792" rIns="61586" bIns="30792" anchor="b">
            <a:spAutoFit/>
          </a:bodyPr>
          <a:lstStyle/>
          <a:p>
            <a:pPr algn="ct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6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32" cstate="print">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81" r:id="rId4"/>
    <p:sldLayoutId id="2147483879" r:id="rId5"/>
    <p:sldLayoutId id="2147483883" r:id="rId6"/>
    <p:sldLayoutId id="2147483886" r:id="rId7"/>
    <p:sldLayoutId id="2147483887" r:id="rId8"/>
    <p:sldLayoutId id="2147483884" r:id="rId9"/>
    <p:sldLayoutId id="2147483885" r:id="rId10"/>
    <p:sldLayoutId id="2147483907" r:id="rId11"/>
    <p:sldLayoutId id="2147483889" r:id="rId12"/>
    <p:sldLayoutId id="2147483890" r:id="rId13"/>
    <p:sldLayoutId id="2147483891" r:id="rId14"/>
    <p:sldLayoutId id="2147483892" r:id="rId15"/>
    <p:sldLayoutId id="2147483893" r:id="rId16"/>
    <p:sldLayoutId id="2147483895" r:id="rId17"/>
    <p:sldLayoutId id="2147483871" r:id="rId18"/>
    <p:sldLayoutId id="2147483898" r:id="rId19"/>
    <p:sldLayoutId id="2147483908" r:id="rId20"/>
    <p:sldLayoutId id="2147483896" r:id="rId21"/>
    <p:sldLayoutId id="2147483921" r:id="rId22"/>
    <p:sldLayoutId id="2147483923" r:id="rId23"/>
    <p:sldLayoutId id="2147483924" r:id="rId24"/>
    <p:sldLayoutId id="2147483933" r:id="rId25"/>
    <p:sldLayoutId id="2147483934" r:id="rId26"/>
    <p:sldLayoutId id="2147483935" r:id="rId27"/>
    <p:sldLayoutId id="2147483936" r:id="rId28"/>
    <p:sldLayoutId id="2147483939" r:id="rId29"/>
  </p:sldLayoutIdLst>
  <p:transition xmlns:p14="http://schemas.microsoft.com/office/powerpoint/2010/main" spd="slow">
    <p:wipe/>
  </p:transition>
  <p:timing>
    <p:tnLst>
      <p:par>
        <p:cTn xmlns:p14="http://schemas.microsoft.com/office/powerpoint/2010/mai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5" Type="http://schemas.openxmlformats.org/officeDocument/2006/relationships/image" Target="../media/image34.png"/><Relationship Id="rId1" Type="http://schemas.openxmlformats.org/officeDocument/2006/relationships/slideLayout" Target="../slideLayouts/slideLayout24.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chart" Target="../charts/chart3.xml"/><Relationship Id="rId3" Type="http://schemas.openxmlformats.org/officeDocument/2006/relationships/image" Target="../media/image35.jpeg"/></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4" Type="http://schemas.openxmlformats.org/officeDocument/2006/relationships/image" Target="../media/image36.png"/><Relationship Id="rId1" Type="http://schemas.openxmlformats.org/officeDocument/2006/relationships/slideLayout" Target="../slideLayouts/slideLayout10.xml"/><Relationship Id="rId2"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37.tiff"/><Relationship Id="rId4" Type="http://schemas.openxmlformats.org/officeDocument/2006/relationships/image" Target="../media/image38.png"/><Relationship Id="rId5" Type="http://schemas.openxmlformats.org/officeDocument/2006/relationships/image" Target="../media/image39.tiff"/><Relationship Id="rId6" Type="http://schemas.openxmlformats.org/officeDocument/2006/relationships/image" Target="../media/image40.tiff"/><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4" Type="http://schemas.openxmlformats.org/officeDocument/2006/relationships/image" Target="../media/image32.tiff"/><Relationship Id="rId5" Type="http://schemas.openxmlformats.org/officeDocument/2006/relationships/image" Target="../media/image42.gif"/><Relationship Id="rId1" Type="http://schemas.openxmlformats.org/officeDocument/2006/relationships/slideLayout" Target="../slideLayouts/slideLayout4.xml"/><Relationship Id="rId2"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tiff"/><Relationship Id="rId5" Type="http://schemas.openxmlformats.org/officeDocument/2006/relationships/image" Target="../media/image45.png"/><Relationship Id="rId1" Type="http://schemas.openxmlformats.org/officeDocument/2006/relationships/slideLayout" Target="../slideLayouts/slideLayout4.xml"/><Relationship Id="rId2"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4" Type="http://schemas.openxmlformats.org/officeDocument/2006/relationships/hyperlink" Target="http://cisco.com/" TargetMode="External"/><Relationship Id="rId5" Type="http://schemas.openxmlformats.org/officeDocument/2006/relationships/image" Target="../media/image47.emf"/><Relationship Id="rId6" Type="http://schemas.openxmlformats.org/officeDocument/2006/relationships/image" Target="../media/image48.png"/><Relationship Id="rId7" Type="http://schemas.openxmlformats.org/officeDocument/2006/relationships/image" Target="../media/image49.png"/><Relationship Id="rId1" Type="http://schemas.openxmlformats.org/officeDocument/2006/relationships/slideLayout" Target="../slideLayouts/slideLayout4.xml"/><Relationship Id="rId2"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4" Type="http://schemas.openxmlformats.org/officeDocument/2006/relationships/diagramData" Target="../diagrams/data2.xml"/><Relationship Id="rId5" Type="http://schemas.openxmlformats.org/officeDocument/2006/relationships/diagramLayout" Target="../diagrams/layout2.xml"/><Relationship Id="rId6" Type="http://schemas.openxmlformats.org/officeDocument/2006/relationships/diagramQuickStyle" Target="../diagrams/quickStyle2.xml"/><Relationship Id="rId7" Type="http://schemas.openxmlformats.org/officeDocument/2006/relationships/diagramColors" Target="../diagrams/colors2.xml"/><Relationship Id="rId8" Type="http://schemas.microsoft.com/office/2007/relationships/diagramDrawing" Target="../diagrams/drawing2.xml"/><Relationship Id="rId1" Type="http://schemas.openxmlformats.org/officeDocument/2006/relationships/slideLayout" Target="../slideLayouts/slideLayout4.xml"/><Relationship Id="rId2"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5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1.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52.png"/></Relationships>
</file>

<file path=ppt/slides/_rels/slide23.xml.rels><?xml version="1.0" encoding="UTF-8" standalone="yes"?>
<Relationships xmlns="http://schemas.openxmlformats.org/package/2006/relationships"><Relationship Id="rId3" Type="http://schemas.openxmlformats.org/officeDocument/2006/relationships/image" Target="../media/image53.jpeg"/><Relationship Id="rId4" Type="http://schemas.openxmlformats.org/officeDocument/2006/relationships/image" Target="../media/image54.tiff"/><Relationship Id="rId1" Type="http://schemas.openxmlformats.org/officeDocument/2006/relationships/slideLayout" Target="../slideLayouts/slideLayout10.xml"/><Relationship Id="rId2"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notesSlide" Target="../notesSlides/notesSlide15.xml"/><Relationship Id="rId3" Type="http://schemas.openxmlformats.org/officeDocument/2006/relationships/image" Target="../media/image55.jpeg"/></Relationships>
</file>

<file path=ppt/slides/_rels/slide25.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slideLayout" Target="../slideLayouts/slideLayout10.xml"/><Relationship Id="rId6" Type="http://schemas.openxmlformats.org/officeDocument/2006/relationships/notesSlide" Target="../notesSlides/notesSlide16.xml"/><Relationship Id="rId7" Type="http://schemas.openxmlformats.org/officeDocument/2006/relationships/image" Target="../media/image56.emf"/><Relationship Id="rId8" Type="http://schemas.openxmlformats.org/officeDocument/2006/relationships/image" Target="../media/image57.png"/><Relationship Id="rId1" Type="http://schemas.openxmlformats.org/officeDocument/2006/relationships/tags" Target="../tags/tag1.xml"/><Relationship Id="rId2" Type="http://schemas.openxmlformats.org/officeDocument/2006/relationships/tags" Target="../tags/tag2.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59.png"/><Relationship Id="rId5" Type="http://schemas.openxmlformats.org/officeDocument/2006/relationships/image" Target="../media/image60.gif"/><Relationship Id="rId6" Type="http://schemas.openxmlformats.org/officeDocument/2006/relationships/image" Target="../media/image56.emf"/><Relationship Id="rId1" Type="http://schemas.openxmlformats.org/officeDocument/2006/relationships/slideLayout" Target="../slideLayouts/slideLayout22.xml"/><Relationship Id="rId2" Type="http://schemas.openxmlformats.org/officeDocument/2006/relationships/notesSlide" Target="../notesSlides/notesSlide17.xml"/></Relationships>
</file>

<file path=ppt/slides/_rels/slide27.xml.rels><?xml version="1.0" encoding="UTF-8" standalone="yes"?>
<Relationships xmlns="http://schemas.openxmlformats.org/package/2006/relationships"><Relationship Id="rId3" Type="http://schemas.openxmlformats.org/officeDocument/2006/relationships/image" Target="../media/image62.tiff"/><Relationship Id="rId4" Type="http://schemas.openxmlformats.org/officeDocument/2006/relationships/image" Target="../media/image63.tiff"/><Relationship Id="rId5" Type="http://schemas.openxmlformats.org/officeDocument/2006/relationships/image" Target="../media/image64.tiff"/><Relationship Id="rId1" Type="http://schemas.openxmlformats.org/officeDocument/2006/relationships/slideLayout" Target="../slideLayouts/slideLayout23.xml"/><Relationship Id="rId2" Type="http://schemas.openxmlformats.org/officeDocument/2006/relationships/image" Target="../media/image61.tif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image" Target="../media/image65.tiff"/></Relationships>
</file>

<file path=ppt/slides/_rels/slide29.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7.png"/><Relationship Id="rId5" Type="http://schemas.openxmlformats.org/officeDocument/2006/relationships/image" Target="../media/image68.png"/><Relationship Id="rId6" Type="http://schemas.openxmlformats.org/officeDocument/2006/relationships/image" Target="../media/image69.png"/><Relationship Id="rId7" Type="http://schemas.openxmlformats.org/officeDocument/2006/relationships/image" Target="../media/image70.emf"/><Relationship Id="rId8" Type="http://schemas.openxmlformats.org/officeDocument/2006/relationships/image" Target="../media/image71.png"/><Relationship Id="rId1" Type="http://schemas.openxmlformats.org/officeDocument/2006/relationships/slideLayout" Target="../slideLayouts/slideLayout10.xml"/><Relationship Id="rId2" Type="http://schemas.openxmlformats.org/officeDocument/2006/relationships/notesSlide" Target="../notesSlides/notesSlide18.xml"/></Relationships>
</file>

<file path=ppt/slides/_rels/slide3.xml.rels><?xml version="1.0" encoding="UTF-8" standalone="yes"?>
<Relationships xmlns="http://schemas.openxmlformats.org/package/2006/relationships"><Relationship Id="rId11" Type="http://schemas.openxmlformats.org/officeDocument/2006/relationships/image" Target="../media/image21.png"/><Relationship Id="rId12" Type="http://schemas.openxmlformats.org/officeDocument/2006/relationships/image" Target="../media/image22.png"/><Relationship Id="rId13" Type="http://schemas.openxmlformats.org/officeDocument/2006/relationships/image" Target="../media/image23.png"/><Relationship Id="rId14" Type="http://schemas.openxmlformats.org/officeDocument/2006/relationships/image" Target="../media/image24.png"/><Relationship Id="rId15" Type="http://schemas.openxmlformats.org/officeDocument/2006/relationships/image" Target="../media/image25.png"/><Relationship Id="rId16" Type="http://schemas.openxmlformats.org/officeDocument/2006/relationships/image" Target="../media/image26.png"/><Relationship Id="rId17" Type="http://schemas.openxmlformats.org/officeDocument/2006/relationships/image" Target="../media/image27.png"/><Relationship Id="rId1" Type="http://schemas.openxmlformats.org/officeDocument/2006/relationships/slideLayout" Target="../slideLayouts/slideLayout4.xml"/><Relationship Id="rId2" Type="http://schemas.openxmlformats.org/officeDocument/2006/relationships/image" Target="../media/image12.png"/><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png"/><Relationship Id="rId9" Type="http://schemas.openxmlformats.org/officeDocument/2006/relationships/image" Target="../media/image19.png"/><Relationship Id="rId10" Type="http://schemas.openxmlformats.org/officeDocument/2006/relationships/image" Target="../media/image2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0.xml"/></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4" Type="http://schemas.openxmlformats.org/officeDocument/2006/relationships/image" Target="../media/image74.png"/><Relationship Id="rId1" Type="http://schemas.openxmlformats.org/officeDocument/2006/relationships/slideLayout" Target="../slideLayouts/slideLayout11.xml"/><Relationship Id="rId2" Type="http://schemas.openxmlformats.org/officeDocument/2006/relationships/image" Target="../media/image72.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2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22.xml"/><Relationship Id="rId5" Type="http://schemas.openxmlformats.org/officeDocument/2006/relationships/oleObject" Target="../embeddings/oleObject1.bin"/><Relationship Id="rId6" Type="http://schemas.openxmlformats.org/officeDocument/2006/relationships/image" Target="../media/image75.emf"/><Relationship Id="rId7" Type="http://schemas.openxmlformats.org/officeDocument/2006/relationships/image" Target="../media/image76.png"/><Relationship Id="rId8" Type="http://schemas.openxmlformats.org/officeDocument/2006/relationships/image" Target="../media/image77.png"/><Relationship Id="rId1" Type="http://schemas.openxmlformats.org/officeDocument/2006/relationships/vmlDrawing" Target="../drawings/vmlDrawing1.vml"/><Relationship Id="rId2" Type="http://schemas.openxmlformats.org/officeDocument/2006/relationships/tags" Target="../tags/tag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23.xml"/></Relationships>
</file>

<file path=ppt/slides/_rels/slide37.xml.rels><?xml version="1.0" encoding="UTF-8" standalone="yes"?>
<Relationships xmlns="http://schemas.openxmlformats.org/package/2006/relationships"><Relationship Id="rId3" Type="http://schemas.openxmlformats.org/officeDocument/2006/relationships/image" Target="../media/image79.png"/><Relationship Id="rId4" Type="http://schemas.openxmlformats.org/officeDocument/2006/relationships/image" Target="../media/image80.png"/><Relationship Id="rId1" Type="http://schemas.openxmlformats.org/officeDocument/2006/relationships/slideLayout" Target="../slideLayouts/slideLayout10.xml"/><Relationship Id="rId2" Type="http://schemas.openxmlformats.org/officeDocument/2006/relationships/image" Target="../media/image78.png"/></Relationships>
</file>

<file path=ppt/slides/_rels/slide38.xml.rels><?xml version="1.0" encoding="UTF-8" standalone="yes"?>
<Relationships xmlns="http://schemas.openxmlformats.org/package/2006/relationships"><Relationship Id="rId3" Type="http://schemas.openxmlformats.org/officeDocument/2006/relationships/image" Target="../media/image82.jpeg"/><Relationship Id="rId4" Type="http://schemas.openxmlformats.org/officeDocument/2006/relationships/image" Target="../media/image83.jpeg"/><Relationship Id="rId5" Type="http://schemas.openxmlformats.org/officeDocument/2006/relationships/image" Target="../media/image84.png"/><Relationship Id="rId1" Type="http://schemas.openxmlformats.org/officeDocument/2006/relationships/slideLayout" Target="../slideLayouts/slideLayout5.xml"/><Relationship Id="rId2" Type="http://schemas.openxmlformats.org/officeDocument/2006/relationships/image" Target="../media/image8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85.png"/></Relationships>
</file>

<file path=ppt/slides/_rels/slide4.xml.rels><?xml version="1.0" encoding="UTF-8" standalone="yes"?>
<Relationships xmlns="http://schemas.openxmlformats.org/package/2006/relationships"><Relationship Id="rId11" Type="http://schemas.openxmlformats.org/officeDocument/2006/relationships/image" Target="../media/image21.png"/><Relationship Id="rId12" Type="http://schemas.openxmlformats.org/officeDocument/2006/relationships/image" Target="../media/image22.png"/><Relationship Id="rId13" Type="http://schemas.openxmlformats.org/officeDocument/2006/relationships/image" Target="../media/image23.png"/><Relationship Id="rId14" Type="http://schemas.openxmlformats.org/officeDocument/2006/relationships/image" Target="../media/image24.png"/><Relationship Id="rId15" Type="http://schemas.openxmlformats.org/officeDocument/2006/relationships/image" Target="../media/image25.png"/><Relationship Id="rId16" Type="http://schemas.openxmlformats.org/officeDocument/2006/relationships/image" Target="../media/image26.png"/><Relationship Id="rId17" Type="http://schemas.openxmlformats.org/officeDocument/2006/relationships/image" Target="../media/image27.png"/><Relationship Id="rId1" Type="http://schemas.openxmlformats.org/officeDocument/2006/relationships/slideLayout" Target="../slideLayouts/slideLayout4.xml"/><Relationship Id="rId2" Type="http://schemas.openxmlformats.org/officeDocument/2006/relationships/image" Target="../media/image12.png"/><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7" Type="http://schemas.openxmlformats.org/officeDocument/2006/relationships/image" Target="../media/image17.png"/><Relationship Id="rId8" Type="http://schemas.openxmlformats.org/officeDocument/2006/relationships/image" Target="../media/image18.png"/><Relationship Id="rId9" Type="http://schemas.openxmlformats.org/officeDocument/2006/relationships/image" Target="../media/image19.png"/><Relationship Id="rId10" Type="http://schemas.openxmlformats.org/officeDocument/2006/relationships/image" Target="../media/image2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6.png"/><Relationship Id="rId3" Type="http://schemas.openxmlformats.org/officeDocument/2006/relationships/image" Target="../media/image8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86.png"/><Relationship Id="rId3" Type="http://schemas.openxmlformats.org/officeDocument/2006/relationships/image" Target="../media/image88.png"/></Relationships>
</file>

<file path=ppt/slides/_rels/slide43.xml.rels><?xml version="1.0" encoding="UTF-8" standalone="yes"?>
<Relationships xmlns="http://schemas.openxmlformats.org/package/2006/relationships"><Relationship Id="rId3" Type="http://schemas.openxmlformats.org/officeDocument/2006/relationships/image" Target="../media/image89.png"/><Relationship Id="rId4" Type="http://schemas.openxmlformats.org/officeDocument/2006/relationships/image" Target="../media/image90.png"/><Relationship Id="rId1" Type="http://schemas.openxmlformats.org/officeDocument/2006/relationships/slideLayout" Target="../slideLayouts/slideLayout10.xml"/><Relationship Id="rId2" Type="http://schemas.openxmlformats.org/officeDocument/2006/relationships/image" Target="../media/image86.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91.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92.png"/></Relationships>
</file>

<file path=ppt/slides/_rels/slide46.xml.rels><?xml version="1.0" encoding="UTF-8" standalone="yes"?>
<Relationships xmlns="http://schemas.openxmlformats.org/package/2006/relationships"><Relationship Id="rId11" Type="http://schemas.openxmlformats.org/officeDocument/2006/relationships/image" Target="../media/image102.png"/><Relationship Id="rId12" Type="http://schemas.openxmlformats.org/officeDocument/2006/relationships/image" Target="../media/image103.png"/><Relationship Id="rId13" Type="http://schemas.openxmlformats.org/officeDocument/2006/relationships/image" Target="../media/image104.png"/><Relationship Id="rId1" Type="http://schemas.openxmlformats.org/officeDocument/2006/relationships/slideLayout" Target="../slideLayouts/slideLayout10.xml"/><Relationship Id="rId2" Type="http://schemas.openxmlformats.org/officeDocument/2006/relationships/image" Target="../media/image93.png"/><Relationship Id="rId3" Type="http://schemas.openxmlformats.org/officeDocument/2006/relationships/image" Target="../media/image94.png"/><Relationship Id="rId4" Type="http://schemas.openxmlformats.org/officeDocument/2006/relationships/image" Target="../media/image95.emf"/><Relationship Id="rId5" Type="http://schemas.openxmlformats.org/officeDocument/2006/relationships/image" Target="../media/image96.emf"/><Relationship Id="rId6" Type="http://schemas.openxmlformats.org/officeDocument/2006/relationships/image" Target="../media/image97.png"/><Relationship Id="rId7" Type="http://schemas.openxmlformats.org/officeDocument/2006/relationships/image" Target="../media/image98.png"/><Relationship Id="rId8" Type="http://schemas.openxmlformats.org/officeDocument/2006/relationships/image" Target="../media/image99.png"/><Relationship Id="rId9" Type="http://schemas.openxmlformats.org/officeDocument/2006/relationships/image" Target="../media/image100.png"/><Relationship Id="rId10" Type="http://schemas.openxmlformats.org/officeDocument/2006/relationships/image" Target="../media/image101.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05.jpeg"/><Relationship Id="rId3" Type="http://schemas.openxmlformats.org/officeDocument/2006/relationships/image" Target="../media/image106.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07.jpeg"/><Relationship Id="rId3" Type="http://schemas.openxmlformats.org/officeDocument/2006/relationships/image" Target="../media/image108.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10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xml"/><Relationship Id="rId3" Type="http://schemas.openxmlformats.org/officeDocument/2006/relationships/image" Target="../media/image28.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image" Target="../media/image110.jpeg"/></Relationships>
</file>

<file path=ppt/slides/_rels/slide51.xml.rels><?xml version="1.0" encoding="UTF-8" standalone="yes"?>
<Relationships xmlns="http://schemas.openxmlformats.org/package/2006/relationships"><Relationship Id="rId3" Type="http://schemas.openxmlformats.org/officeDocument/2006/relationships/image" Target="../media/image111.png"/><Relationship Id="rId4" Type="http://schemas.openxmlformats.org/officeDocument/2006/relationships/image" Target="../media/image112.png"/><Relationship Id="rId5" Type="http://schemas.openxmlformats.org/officeDocument/2006/relationships/image" Target="../media/image113.png"/><Relationship Id="rId6" Type="http://schemas.openxmlformats.org/officeDocument/2006/relationships/image" Target="../media/image114.png"/><Relationship Id="rId7" Type="http://schemas.openxmlformats.org/officeDocument/2006/relationships/image" Target="../media/image115.png"/><Relationship Id="rId1" Type="http://schemas.openxmlformats.org/officeDocument/2006/relationships/slideLayout" Target="../slideLayouts/slideLayout5.xml"/><Relationship Id="rId2" Type="http://schemas.openxmlformats.org/officeDocument/2006/relationships/notesSlide" Target="../notesSlides/notesSlide2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6.xml"/><Relationship Id="rId3" Type="http://schemas.openxmlformats.org/officeDocument/2006/relationships/image" Target="../media/image116.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7.xml"/><Relationship Id="rId3" Type="http://schemas.openxmlformats.org/officeDocument/2006/relationships/image" Target="../media/image28.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28.xml"/><Relationship Id="rId3" Type="http://schemas.openxmlformats.org/officeDocument/2006/relationships/image" Target="../media/image28.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2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8" Type="http://schemas.openxmlformats.org/officeDocument/2006/relationships/image" Target="../media/image117.tiff"/><Relationship Id="rId9" Type="http://schemas.openxmlformats.org/officeDocument/2006/relationships/hyperlink" Target="https://cognitive.cisco.com/" TargetMode="External"/><Relationship Id="rId1" Type="http://schemas.openxmlformats.org/officeDocument/2006/relationships/slideLayout" Target="../slideLayouts/slideLayout4.xml"/><Relationship Id="rId2" Type="http://schemas.openxmlformats.org/officeDocument/2006/relationships/notesSlide" Target="../notesSlides/notesSlide30.xml"/></Relationships>
</file>

<file path=ppt/slides/_rels/slide62.xml.rels><?xml version="1.0" encoding="UTF-8" standalone="yes"?>
<Relationships xmlns="http://schemas.openxmlformats.org/package/2006/relationships"><Relationship Id="rId3" Type="http://schemas.openxmlformats.org/officeDocument/2006/relationships/image" Target="../media/image118.png"/><Relationship Id="rId4" Type="http://schemas.openxmlformats.org/officeDocument/2006/relationships/image" Target="../media/image119.png"/><Relationship Id="rId5" Type="http://schemas.openxmlformats.org/officeDocument/2006/relationships/image" Target="../media/image120.png"/><Relationship Id="rId6" Type="http://schemas.openxmlformats.org/officeDocument/2006/relationships/image" Target="../media/image121.jpeg"/><Relationship Id="rId7" Type="http://schemas.openxmlformats.org/officeDocument/2006/relationships/image" Target="../media/image122.png"/><Relationship Id="rId1" Type="http://schemas.openxmlformats.org/officeDocument/2006/relationships/slideLayout" Target="../slideLayouts/slideLayout5.xml"/><Relationship Id="rId2" Type="http://schemas.openxmlformats.org/officeDocument/2006/relationships/notesSlide" Target="../notesSlides/notesSlide3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32.xml"/><Relationship Id="rId3" Type="http://schemas.openxmlformats.org/officeDocument/2006/relationships/image" Target="../media/image123.emf"/></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7.xml"/><Relationship Id="rId2" Type="http://schemas.openxmlformats.org/officeDocument/2006/relationships/notesSlide" Target="../notesSlides/notesSlide3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124.png"/></Relationships>
</file>

<file path=ppt/slides/_rels/slide67.xml.rels><?xml version="1.0" encoding="UTF-8" standalone="yes"?>
<Relationships xmlns="http://schemas.openxmlformats.org/package/2006/relationships"><Relationship Id="rId3" Type="http://schemas.openxmlformats.org/officeDocument/2006/relationships/diagramData" Target="../diagrams/data4.xml"/><Relationship Id="rId4" Type="http://schemas.openxmlformats.org/officeDocument/2006/relationships/diagramLayout" Target="../diagrams/layout4.xml"/><Relationship Id="rId5" Type="http://schemas.openxmlformats.org/officeDocument/2006/relationships/diagramQuickStyle" Target="../diagrams/quickStyle4.xml"/><Relationship Id="rId6" Type="http://schemas.openxmlformats.org/officeDocument/2006/relationships/diagramColors" Target="../diagrams/colors4.xml"/><Relationship Id="rId7" Type="http://schemas.microsoft.com/office/2007/relationships/diagramDrawing" Target="../diagrams/drawing4.xml"/><Relationship Id="rId1" Type="http://schemas.openxmlformats.org/officeDocument/2006/relationships/slideLayout" Target="../slideLayouts/slideLayout24.xml"/><Relationship Id="rId2" Type="http://schemas.openxmlformats.org/officeDocument/2006/relationships/notesSlide" Target="../notesSlides/notesSlide3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125.png"/></Relationships>
</file>

<file path=ppt/slides/_rels/slide69.xml.rels><?xml version="1.0" encoding="UTF-8" standalone="yes"?>
<Relationships xmlns="http://schemas.openxmlformats.org/package/2006/relationships"><Relationship Id="rId3" Type="http://schemas.openxmlformats.org/officeDocument/2006/relationships/image" Target="../media/image126.png"/><Relationship Id="rId4" Type="http://schemas.openxmlformats.org/officeDocument/2006/relationships/image" Target="../media/image127.png"/><Relationship Id="rId1" Type="http://schemas.openxmlformats.org/officeDocument/2006/relationships/slideLayout" Target="../slideLayouts/slideLayout24.xml"/><Relationship Id="rId2" Type="http://schemas.openxmlformats.org/officeDocument/2006/relationships/notesSlide" Target="../notesSlides/notesSlide3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128.gif"/><Relationship Id="rId4" Type="http://schemas.openxmlformats.org/officeDocument/2006/relationships/image" Target="../media/image129.gif"/><Relationship Id="rId1" Type="http://schemas.openxmlformats.org/officeDocument/2006/relationships/slideLayout" Target="../slideLayouts/slideLayout23.xml"/><Relationship Id="rId2" Type="http://schemas.openxmlformats.org/officeDocument/2006/relationships/notesSlide" Target="../notesSlides/notesSlide36.xml"/></Relationships>
</file>

<file path=ppt/slides/_rels/slide72.xml.rels><?xml version="1.0" encoding="UTF-8" standalone="yes"?>
<Relationships xmlns="http://schemas.openxmlformats.org/package/2006/relationships"><Relationship Id="rId3" Type="http://schemas.openxmlformats.org/officeDocument/2006/relationships/image" Target="../media/image130.png"/><Relationship Id="rId4" Type="http://schemas.openxmlformats.org/officeDocument/2006/relationships/image" Target="../media/image131.png"/><Relationship Id="rId5" Type="http://schemas.openxmlformats.org/officeDocument/2006/relationships/image" Target="../media/image132.png"/><Relationship Id="rId6" Type="http://schemas.openxmlformats.org/officeDocument/2006/relationships/image" Target="../media/image133.png"/><Relationship Id="rId7" Type="http://schemas.openxmlformats.org/officeDocument/2006/relationships/image" Target="../media/image134.png"/><Relationship Id="rId8" Type="http://schemas.openxmlformats.org/officeDocument/2006/relationships/image" Target="../media/image135.png"/><Relationship Id="rId1" Type="http://schemas.openxmlformats.org/officeDocument/2006/relationships/slideLayout" Target="../slideLayouts/slideLayout10.xml"/><Relationship Id="rId2" Type="http://schemas.openxmlformats.org/officeDocument/2006/relationships/notesSlide" Target="../notesSlides/notesSlide37.xml"/></Relationships>
</file>

<file path=ppt/slides/_rels/slide73.xml.rels><?xml version="1.0" encoding="UTF-8" standalone="yes"?>
<Relationships xmlns="http://schemas.openxmlformats.org/package/2006/relationships"><Relationship Id="rId3" Type="http://schemas.openxmlformats.org/officeDocument/2006/relationships/image" Target="../media/image136.emf"/><Relationship Id="rId4" Type="http://schemas.openxmlformats.org/officeDocument/2006/relationships/image" Target="../media/image137.emf"/><Relationship Id="rId5" Type="http://schemas.openxmlformats.org/officeDocument/2006/relationships/image" Target="../media/image138.emf"/><Relationship Id="rId1" Type="http://schemas.openxmlformats.org/officeDocument/2006/relationships/slideLayout" Target="../slideLayouts/slideLayout10.xml"/><Relationship Id="rId2" Type="http://schemas.openxmlformats.org/officeDocument/2006/relationships/notesSlide" Target="../notesSlides/notesSlide38.xml"/></Relationships>
</file>

<file path=ppt/slides/_rels/slide74.xml.rels><?xml version="1.0" encoding="UTF-8" standalone="yes"?>
<Relationships xmlns="http://schemas.openxmlformats.org/package/2006/relationships"><Relationship Id="rId3" Type="http://schemas.openxmlformats.org/officeDocument/2006/relationships/image" Target="../media/image136.emf"/><Relationship Id="rId4" Type="http://schemas.openxmlformats.org/officeDocument/2006/relationships/image" Target="../media/image137.emf"/><Relationship Id="rId5" Type="http://schemas.openxmlformats.org/officeDocument/2006/relationships/image" Target="../media/image138.emf"/><Relationship Id="rId6" Type="http://schemas.openxmlformats.org/officeDocument/2006/relationships/image" Target="../media/image139.png"/><Relationship Id="rId1" Type="http://schemas.openxmlformats.org/officeDocument/2006/relationships/slideLayout" Target="../slideLayouts/slideLayout10.xml"/><Relationship Id="rId2" Type="http://schemas.openxmlformats.org/officeDocument/2006/relationships/notesSlide" Target="../notesSlides/notesSlide3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40.xml"/><Relationship Id="rId3" Type="http://schemas.openxmlformats.org/officeDocument/2006/relationships/image" Target="../media/image140.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1.xml"/><Relationship Id="rId3" Type="http://schemas.openxmlformats.org/officeDocument/2006/relationships/image" Target="../media/image141.emf"/></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2.xml"/><Relationship Id="rId3" Type="http://schemas.openxmlformats.org/officeDocument/2006/relationships/image" Target="../media/image141.emf"/></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8.xml"/><Relationship Id="rId2" Type="http://schemas.openxmlformats.org/officeDocument/2006/relationships/notesSlide" Target="../notesSlides/notesSlide43.xml"/><Relationship Id="rId3" Type="http://schemas.openxmlformats.org/officeDocument/2006/relationships/image" Target="../media/image141.emf"/></Relationships>
</file>

<file path=ppt/slides/_rels/slide79.xml.rels><?xml version="1.0" encoding="UTF-8" standalone="yes"?>
<Relationships xmlns="http://schemas.openxmlformats.org/package/2006/relationships"><Relationship Id="rId3" Type="http://schemas.openxmlformats.org/officeDocument/2006/relationships/image" Target="../media/image142.emf"/><Relationship Id="rId4" Type="http://schemas.openxmlformats.org/officeDocument/2006/relationships/image" Target="../media/image143.png"/><Relationship Id="rId5" Type="http://schemas.openxmlformats.org/officeDocument/2006/relationships/image" Target="../media/image144.png"/><Relationship Id="rId1" Type="http://schemas.openxmlformats.org/officeDocument/2006/relationships/slideLayout" Target="../slideLayouts/slideLayout10.xml"/><Relationship Id="rId2" Type="http://schemas.openxmlformats.org/officeDocument/2006/relationships/notesSlide" Target="../notesSlides/notesSlide44.xm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4" Type="http://schemas.openxmlformats.org/officeDocument/2006/relationships/image" Target="../media/image30.jpeg"/><Relationship Id="rId5" Type="http://schemas.openxmlformats.org/officeDocument/2006/relationships/image" Target="../media/image31.jpeg"/><Relationship Id="rId1" Type="http://schemas.openxmlformats.org/officeDocument/2006/relationships/slideLayout" Target="../slideLayouts/slideLayout23.xml"/><Relationship Id="rId2" Type="http://schemas.openxmlformats.org/officeDocument/2006/relationships/notesSlide" Target="../notesSlides/notesSlide3.xml"/></Relationships>
</file>

<file path=ppt/slides/_rels/slide80.xml.rels><?xml version="1.0" encoding="UTF-8" standalone="yes"?>
<Relationships xmlns="http://schemas.openxmlformats.org/package/2006/relationships"><Relationship Id="rId3" Type="http://schemas.openxmlformats.org/officeDocument/2006/relationships/image" Target="../media/image145.png"/><Relationship Id="rId4" Type="http://schemas.openxmlformats.org/officeDocument/2006/relationships/image" Target="../media/image146.png"/><Relationship Id="rId5" Type="http://schemas.openxmlformats.org/officeDocument/2006/relationships/image" Target="../media/image147.png"/><Relationship Id="rId6" Type="http://schemas.openxmlformats.org/officeDocument/2006/relationships/image" Target="../media/image148.png"/><Relationship Id="rId1" Type="http://schemas.openxmlformats.org/officeDocument/2006/relationships/slideLayout" Target="../slideLayouts/slideLayout10.xml"/><Relationship Id="rId2" Type="http://schemas.openxmlformats.org/officeDocument/2006/relationships/notesSlide" Target="../notesSlides/notesSlide4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image" Target="../media/image32.tiff"/><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33.png"/><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0444" y="2158715"/>
            <a:ext cx="7598042" cy="759125"/>
          </a:xfrm>
        </p:spPr>
        <p:txBody>
          <a:bodyPr/>
          <a:lstStyle/>
          <a:p>
            <a:r>
              <a:rPr lang="en-US" dirty="0"/>
              <a:t/>
            </a:r>
            <a:br>
              <a:rPr lang="en-US" dirty="0"/>
            </a:br>
            <a:r>
              <a:rPr lang="en-US" dirty="0" smtClean="0"/>
              <a:t>Web/DNS security updates</a:t>
            </a:r>
            <a:endParaRPr lang="en-US" dirty="0"/>
          </a:p>
        </p:txBody>
      </p:sp>
      <p:sp>
        <p:nvSpPr>
          <p:cNvPr id="4" name="Subtitle 3"/>
          <p:cNvSpPr>
            <a:spLocks noGrp="1"/>
          </p:cNvSpPr>
          <p:nvPr>
            <p:ph type="subTitle" idx="1"/>
          </p:nvPr>
        </p:nvSpPr>
        <p:spPr>
          <a:xfrm>
            <a:off x="226648" y="3681060"/>
            <a:ext cx="8296421" cy="646397"/>
          </a:xfrm>
        </p:spPr>
        <p:txBody>
          <a:bodyPr/>
          <a:lstStyle/>
          <a:p>
            <a:r>
              <a:rPr lang="en-US" altLang="ja-JP" dirty="0" smtClean="0"/>
              <a:t>Cisco Systems</a:t>
            </a:r>
          </a:p>
          <a:p>
            <a:r>
              <a:rPr lang="en-US" altLang="ja-JP" dirty="0" smtClean="0"/>
              <a:t>Systems Engineer</a:t>
            </a:r>
            <a:endParaRPr lang="en-US" altLang="ja-JP" dirty="0"/>
          </a:p>
        </p:txBody>
      </p:sp>
      <p:sp>
        <p:nvSpPr>
          <p:cNvPr id="5" name="Text Placeholder 4"/>
          <p:cNvSpPr>
            <a:spLocks noGrp="1"/>
          </p:cNvSpPr>
          <p:nvPr>
            <p:ph type="body" sz="quarter" idx="11"/>
          </p:nvPr>
        </p:nvSpPr>
        <p:spPr>
          <a:xfrm>
            <a:off x="226648" y="4327459"/>
            <a:ext cx="8296421" cy="288131"/>
          </a:xfrm>
        </p:spPr>
        <p:txBody>
          <a:bodyPr/>
          <a:lstStyle/>
          <a:p>
            <a:r>
              <a:rPr lang="ja-JP" altLang="en-US" dirty="0" smtClean="0"/>
              <a:t>坂本</a:t>
            </a:r>
            <a:r>
              <a:rPr lang="en-US" altLang="ja-JP" dirty="0" smtClean="0"/>
              <a:t> </a:t>
            </a:r>
            <a:r>
              <a:rPr lang="ja-JP" altLang="en-US" dirty="0" smtClean="0"/>
              <a:t>祐一</a:t>
            </a:r>
            <a:r>
              <a:rPr lang="en-US" altLang="ja-JP" dirty="0" smtClean="0"/>
              <a:t> (</a:t>
            </a:r>
            <a:r>
              <a:rPr lang="en-US" altLang="ja-JP" dirty="0" err="1" smtClean="0"/>
              <a:t>ysakamot@cisco.com</a:t>
            </a:r>
            <a:r>
              <a:rPr lang="en-US" altLang="ja-JP" dirty="0" smtClean="0"/>
              <a:t>)</a:t>
            </a:r>
            <a:endParaRPr lang="en-US" dirty="0"/>
          </a:p>
        </p:txBody>
      </p:sp>
      <p:sp>
        <p:nvSpPr>
          <p:cNvPr id="6" name="Text Placeholder 5"/>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2735130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73408"/>
            <a:ext cx="8782434" cy="731837"/>
          </a:xfrm>
        </p:spPr>
        <p:txBody>
          <a:bodyPr/>
          <a:lstStyle/>
          <a:p>
            <a:r>
              <a:rPr lang="en-US" sz="3100" b="1" dirty="0">
                <a:solidFill>
                  <a:schemeClr val="accent1"/>
                </a:solidFill>
              </a:rPr>
              <a:t>Comparison between x90 with x80 </a:t>
            </a:r>
            <a:r>
              <a:rPr lang="en-US" sz="3100" b="1" dirty="0" smtClean="0">
                <a:solidFill>
                  <a:schemeClr val="accent1"/>
                </a:solidFill>
              </a:rPr>
              <a:t>Platform</a:t>
            </a:r>
            <a:r>
              <a:rPr lang="en-US" sz="3100" b="1" dirty="0">
                <a:solidFill>
                  <a:schemeClr val="accent1"/>
                </a:solidFill>
              </a:rPr>
              <a:t/>
            </a:r>
            <a:br>
              <a:rPr lang="en-US" sz="3100" b="1" dirty="0">
                <a:solidFill>
                  <a:schemeClr val="accent1"/>
                </a:solidFill>
              </a:rPr>
            </a:br>
            <a:endParaRPr lang="en-US" sz="3100" dirty="0"/>
          </a:p>
        </p:txBody>
      </p:sp>
      <p:graphicFrame>
        <p:nvGraphicFramePr>
          <p:cNvPr id="5" name="Content Placeholder 4"/>
          <p:cNvGraphicFramePr>
            <a:graphicFrameLocks noGrp="1"/>
          </p:cNvGraphicFramePr>
          <p:nvPr>
            <p:ph idx="1"/>
            <p:extLst/>
          </p:nvPr>
        </p:nvGraphicFramePr>
        <p:xfrm>
          <a:off x="5" y="809064"/>
          <a:ext cx="4669971" cy="33635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ontent Placeholder 4"/>
          <p:cNvGraphicFramePr>
            <a:graphicFrameLocks/>
          </p:cNvGraphicFramePr>
          <p:nvPr>
            <p:extLst/>
          </p:nvPr>
        </p:nvGraphicFramePr>
        <p:xfrm>
          <a:off x="4669972" y="809061"/>
          <a:ext cx="4474028" cy="3363574"/>
        </p:xfrm>
        <a:graphic>
          <a:graphicData uri="http://schemas.openxmlformats.org/drawingml/2006/chart">
            <c:chart xmlns:c="http://schemas.openxmlformats.org/drawingml/2006/chart" xmlns:r="http://schemas.openxmlformats.org/officeDocument/2006/relationships" r:id="rId4"/>
          </a:graphicData>
        </a:graphic>
      </p:graphicFrame>
      <p:cxnSp>
        <p:nvCxnSpPr>
          <p:cNvPr id="14" name="Straight Connector 13"/>
          <p:cNvCxnSpPr/>
          <p:nvPr/>
        </p:nvCxnSpPr>
        <p:spPr>
          <a:xfrm>
            <a:off x="4669972" y="1469573"/>
            <a:ext cx="0" cy="2703064"/>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838200" y="4165158"/>
            <a:ext cx="4572000" cy="584775"/>
          </a:xfrm>
          <a:prstGeom prst="rect">
            <a:avLst/>
          </a:prstGeom>
        </p:spPr>
        <p:txBody>
          <a:bodyPr>
            <a:spAutoFit/>
          </a:bodyPr>
          <a:lstStyle/>
          <a:p>
            <a:r>
              <a:rPr lang="en-US" sz="800" i="1" dirty="0"/>
              <a:t>** Policies complexity is set to medium with 25% of SSL</a:t>
            </a:r>
            <a:br>
              <a:rPr lang="en-US" sz="800" i="1" dirty="0"/>
            </a:br>
            <a:r>
              <a:rPr lang="en-US" sz="800" i="1" dirty="0"/>
              <a:t>** Used Medium Policy Complexity Definitions </a:t>
            </a:r>
            <a:br>
              <a:rPr lang="en-US" sz="800" i="1" dirty="0"/>
            </a:br>
            <a:r>
              <a:rPr lang="en-US" sz="800" i="1" dirty="0"/>
              <a:t>** Average Proxy CPU is 100 % for 690,390 but for 190,170 its 80%</a:t>
            </a:r>
          </a:p>
          <a:p>
            <a:r>
              <a:rPr lang="en-US" sz="800" i="1" dirty="0"/>
              <a:t>** Average Object size is 29 Kb </a:t>
            </a:r>
            <a:endParaRPr lang="en-US" sz="800" dirty="0"/>
          </a:p>
        </p:txBody>
      </p:sp>
      <p:pic>
        <p:nvPicPr>
          <p:cNvPr id="19" name="Picture 1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871711" y="684531"/>
            <a:ext cx="1596524" cy="739838"/>
          </a:xfrm>
          <a:prstGeom prst="rect">
            <a:avLst/>
          </a:prstGeom>
        </p:spPr>
      </p:pic>
      <p:sp>
        <p:nvSpPr>
          <p:cNvPr id="4" name="Oval 3"/>
          <p:cNvSpPr/>
          <p:nvPr/>
        </p:nvSpPr>
        <p:spPr>
          <a:xfrm>
            <a:off x="2568616" y="1875101"/>
            <a:ext cx="463952" cy="312516"/>
          </a:xfrm>
          <a:prstGeom prst="ellipse">
            <a:avLst/>
          </a:prstGeom>
          <a:noFill/>
          <a:ln>
            <a:solidFill>
              <a:srgbClr val="90BDD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 name="Oval 10"/>
          <p:cNvSpPr/>
          <p:nvPr/>
        </p:nvSpPr>
        <p:spPr>
          <a:xfrm>
            <a:off x="7119396" y="2178332"/>
            <a:ext cx="463952" cy="312516"/>
          </a:xfrm>
          <a:prstGeom prst="ellipse">
            <a:avLst/>
          </a:prstGeom>
          <a:noFill/>
          <a:ln>
            <a:solidFill>
              <a:srgbClr val="90BDD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Rectangle 2"/>
          <p:cNvSpPr/>
          <p:nvPr/>
        </p:nvSpPr>
        <p:spPr>
          <a:xfrm>
            <a:off x="911604" y="4775155"/>
            <a:ext cx="1657012" cy="230832"/>
          </a:xfrm>
          <a:prstGeom prst="rect">
            <a:avLst/>
          </a:prstGeom>
        </p:spPr>
        <p:txBody>
          <a:bodyPr wrap="none">
            <a:spAutoFit/>
          </a:bodyPr>
          <a:lstStyle/>
          <a:p>
            <a:r>
              <a:rPr lang="en-US" altLang="ja-JP" sz="900" dirty="0" smtClean="0"/>
              <a:t>※RPS </a:t>
            </a:r>
            <a:r>
              <a:rPr lang="en-US" altLang="ja-JP" sz="900" dirty="0"/>
              <a:t>= request per second</a:t>
            </a:r>
            <a:endParaRPr lang="en-US" sz="900" dirty="0"/>
          </a:p>
        </p:txBody>
      </p:sp>
    </p:spTree>
    <p:extLst>
      <p:ext uri="{BB962C8B-B14F-4D97-AF65-F5344CB8AC3E}">
        <p14:creationId xmlns:p14="http://schemas.microsoft.com/office/powerpoint/2010/main" val="274719650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8246"/>
            <a:ext cx="8782434" cy="731837"/>
          </a:xfrm>
        </p:spPr>
        <p:txBody>
          <a:bodyPr/>
          <a:lstStyle/>
          <a:p>
            <a:r>
              <a:rPr lang="en-US" sz="3100" b="1" dirty="0">
                <a:solidFill>
                  <a:schemeClr val="accent1"/>
                </a:solidFill>
              </a:rPr>
              <a:t>Comparison between </a:t>
            </a:r>
            <a:r>
              <a:rPr lang="en-US" sz="3100" b="1" dirty="0" smtClean="0">
                <a:solidFill>
                  <a:schemeClr val="accent1"/>
                </a:solidFill>
              </a:rPr>
              <a:t>190 </a:t>
            </a:r>
            <a:r>
              <a:rPr lang="en-US" sz="3100" b="1" dirty="0">
                <a:solidFill>
                  <a:schemeClr val="accent1"/>
                </a:solidFill>
              </a:rPr>
              <a:t>with </a:t>
            </a:r>
            <a:r>
              <a:rPr lang="en-US" sz="3100" b="1" dirty="0" smtClean="0">
                <a:solidFill>
                  <a:schemeClr val="accent1"/>
                </a:solidFill>
              </a:rPr>
              <a:t>170 Platform</a:t>
            </a:r>
            <a:r>
              <a:rPr lang="en-US" sz="3100" b="1" dirty="0">
                <a:solidFill>
                  <a:schemeClr val="accent1"/>
                </a:solidFill>
              </a:rPr>
              <a:t/>
            </a:r>
            <a:br>
              <a:rPr lang="en-US" sz="3100" b="1" dirty="0">
                <a:solidFill>
                  <a:schemeClr val="accent1"/>
                </a:solidFill>
              </a:rPr>
            </a:br>
            <a:endParaRPr lang="en-US" sz="3100" dirty="0"/>
          </a:p>
        </p:txBody>
      </p:sp>
      <p:graphicFrame>
        <p:nvGraphicFramePr>
          <p:cNvPr id="5" name="Content Placeholder 4"/>
          <p:cNvGraphicFramePr>
            <a:graphicFrameLocks noGrp="1"/>
          </p:cNvGraphicFramePr>
          <p:nvPr>
            <p:ph idx="1"/>
            <p:extLst/>
          </p:nvPr>
        </p:nvGraphicFramePr>
        <p:xfrm>
          <a:off x="486889" y="783773"/>
          <a:ext cx="5011386" cy="3465823"/>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p:cNvSpPr/>
          <p:nvPr/>
        </p:nvSpPr>
        <p:spPr>
          <a:xfrm>
            <a:off x="838201" y="4249596"/>
            <a:ext cx="4572000" cy="584775"/>
          </a:xfrm>
          <a:prstGeom prst="rect">
            <a:avLst/>
          </a:prstGeom>
        </p:spPr>
        <p:txBody>
          <a:bodyPr>
            <a:spAutoFit/>
          </a:bodyPr>
          <a:lstStyle/>
          <a:p>
            <a:r>
              <a:rPr lang="en-US" sz="800" i="1" dirty="0"/>
              <a:t>** Policies complexity is set to medium with 25% of SSL</a:t>
            </a:r>
            <a:br>
              <a:rPr lang="en-US" sz="800" i="1" dirty="0"/>
            </a:br>
            <a:r>
              <a:rPr lang="en-US" sz="800" i="1" dirty="0"/>
              <a:t>** Used Medium Policy Complexity Definitions </a:t>
            </a:r>
            <a:br>
              <a:rPr lang="en-US" sz="800" i="1" dirty="0"/>
            </a:br>
            <a:r>
              <a:rPr lang="en-US" sz="800" i="1" dirty="0"/>
              <a:t>** Average Proxy CPU is 100 % for 690,390 but for 190,170 its 80%</a:t>
            </a:r>
          </a:p>
          <a:p>
            <a:r>
              <a:rPr lang="en-US" sz="800" i="1" dirty="0"/>
              <a:t>** Average Object size is 29 Kb </a:t>
            </a:r>
            <a:endParaRPr lang="en-US" sz="800" dirty="0"/>
          </a:p>
        </p:txBody>
      </p:sp>
      <p:pic>
        <p:nvPicPr>
          <p:cNvPr id="1026" name="Picture 2" descr="https://media.licdn.com/mpr/mpr/AAEAAQAAAAAAAASKAAAAJGYwNjQ5Yjk1LWZjNGUtNGZjMi04NjBlLWQ3MDI0MDc1MTY4NA.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649686" y="1354767"/>
            <a:ext cx="3494314" cy="2297221"/>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p:cNvSpPr/>
          <p:nvPr/>
        </p:nvSpPr>
        <p:spPr>
          <a:xfrm>
            <a:off x="3207153" y="2085736"/>
            <a:ext cx="427298" cy="312516"/>
          </a:xfrm>
          <a:prstGeom prst="ellipse">
            <a:avLst/>
          </a:prstGeom>
          <a:noFill/>
          <a:ln>
            <a:solidFill>
              <a:srgbClr val="90BDD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Rectangle 7"/>
          <p:cNvSpPr/>
          <p:nvPr/>
        </p:nvSpPr>
        <p:spPr>
          <a:xfrm>
            <a:off x="911604" y="4775155"/>
            <a:ext cx="1657012" cy="230832"/>
          </a:xfrm>
          <a:prstGeom prst="rect">
            <a:avLst/>
          </a:prstGeom>
        </p:spPr>
        <p:txBody>
          <a:bodyPr wrap="none">
            <a:spAutoFit/>
          </a:bodyPr>
          <a:lstStyle/>
          <a:p>
            <a:r>
              <a:rPr lang="en-US" altLang="ja-JP" sz="900" dirty="0" smtClean="0"/>
              <a:t>※RPS </a:t>
            </a:r>
            <a:r>
              <a:rPr lang="en-US" altLang="ja-JP" sz="900" dirty="0"/>
              <a:t>= request per second</a:t>
            </a:r>
            <a:endParaRPr lang="en-US" sz="900" dirty="0"/>
          </a:p>
        </p:txBody>
      </p:sp>
    </p:spTree>
    <p:extLst>
      <p:ext uri="{BB962C8B-B14F-4D97-AF65-F5344CB8AC3E}">
        <p14:creationId xmlns:p14="http://schemas.microsoft.com/office/powerpoint/2010/main" val="125115797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267" y="179737"/>
            <a:ext cx="7535119" cy="731837"/>
          </a:xfrm>
        </p:spPr>
        <p:txBody>
          <a:bodyPr/>
          <a:lstStyle/>
          <a:p>
            <a:r>
              <a:rPr lang="en-US" sz="3100" dirty="0" smtClean="0"/>
              <a:t>Comparison between Different </a:t>
            </a:r>
            <a:r>
              <a:rPr lang="en-US" sz="3100" smtClean="0"/>
              <a:t>Software </a:t>
            </a:r>
            <a:br>
              <a:rPr lang="en-US" sz="3100" smtClean="0"/>
            </a:br>
            <a:r>
              <a:rPr lang="en-US" sz="3100" smtClean="0"/>
              <a:t>Release </a:t>
            </a:r>
            <a:endParaRPr lang="en-US" sz="3100" dirty="0"/>
          </a:p>
        </p:txBody>
      </p:sp>
      <p:graphicFrame>
        <p:nvGraphicFramePr>
          <p:cNvPr id="3" name="Chart 2"/>
          <p:cNvGraphicFramePr/>
          <p:nvPr>
            <p:extLst/>
          </p:nvPr>
        </p:nvGraphicFramePr>
        <p:xfrm>
          <a:off x="315685" y="905668"/>
          <a:ext cx="8186058" cy="3394189"/>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angle 3"/>
          <p:cNvSpPr/>
          <p:nvPr/>
        </p:nvSpPr>
        <p:spPr>
          <a:xfrm>
            <a:off x="903515" y="4299859"/>
            <a:ext cx="6792686" cy="364202"/>
          </a:xfrm>
          <a:prstGeom prst="rect">
            <a:avLst/>
          </a:prstGeom>
        </p:spPr>
        <p:txBody>
          <a:bodyPr wrap="square">
            <a:spAutoFit/>
          </a:bodyPr>
          <a:lstStyle/>
          <a:p>
            <a:pPr marL="171450" indent="-171450">
              <a:spcAft>
                <a:spcPts val="225"/>
              </a:spcAft>
              <a:buFont typeface="+mj-lt"/>
              <a:buAutoNum type="arabicPeriod"/>
            </a:pPr>
            <a:r>
              <a:rPr lang="en-US" sz="800" dirty="0"/>
              <a:t>All test runs are with Medium Policy Complexity and 25% SSL. Please refer to Slide #8 for the Policy Complexity Definitions</a:t>
            </a:r>
          </a:p>
          <a:p>
            <a:pPr marL="171450" indent="-171450">
              <a:spcAft>
                <a:spcPts val="225"/>
              </a:spcAft>
              <a:buFont typeface="+mj-lt"/>
              <a:buAutoNum type="arabicPeriod"/>
            </a:pPr>
            <a:r>
              <a:rPr lang="en-US" sz="800" dirty="0"/>
              <a:t>AMP Cloud: Files sent for analysis to the cloud. </a:t>
            </a:r>
          </a:p>
        </p:txBody>
      </p:sp>
      <p:pic>
        <p:nvPicPr>
          <p:cNvPr id="2050" name="Picture 2" descr="http://www.neuresourcegroup.com.au/wp-content/uploads/2015/05/The-Secret-to-Creating-Better-Performance-at-Work-image-1-187x300.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704314" y="719535"/>
            <a:ext cx="1173879" cy="1883229"/>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5949391" y="1921397"/>
            <a:ext cx="486137" cy="254644"/>
          </a:xfrm>
          <a:prstGeom prst="ellipse">
            <a:avLst/>
          </a:prstGeom>
          <a:noFill/>
          <a:ln>
            <a:solidFill>
              <a:srgbClr val="90BDD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Rectangle 6"/>
          <p:cNvSpPr/>
          <p:nvPr/>
        </p:nvSpPr>
        <p:spPr>
          <a:xfrm>
            <a:off x="911604" y="4775155"/>
            <a:ext cx="1657012" cy="230832"/>
          </a:xfrm>
          <a:prstGeom prst="rect">
            <a:avLst/>
          </a:prstGeom>
        </p:spPr>
        <p:txBody>
          <a:bodyPr wrap="none">
            <a:spAutoFit/>
          </a:bodyPr>
          <a:lstStyle/>
          <a:p>
            <a:r>
              <a:rPr lang="en-US" altLang="ja-JP" sz="900" dirty="0" smtClean="0"/>
              <a:t>※RPS </a:t>
            </a:r>
            <a:r>
              <a:rPr lang="en-US" altLang="ja-JP" sz="900" dirty="0"/>
              <a:t>= request per second</a:t>
            </a:r>
            <a:endParaRPr lang="en-US" sz="900" dirty="0"/>
          </a:p>
        </p:txBody>
      </p:sp>
    </p:spTree>
    <p:extLst>
      <p:ext uri="{BB962C8B-B14F-4D97-AF65-F5344CB8AC3E}">
        <p14:creationId xmlns:p14="http://schemas.microsoft.com/office/powerpoint/2010/main" val="93508611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7714" y="61491"/>
            <a:ext cx="8926286" cy="738528"/>
          </a:xfrm>
        </p:spPr>
        <p:txBody>
          <a:bodyPr/>
          <a:lstStyle/>
          <a:p>
            <a:r>
              <a:rPr lang="en-US" sz="2800" dirty="0" smtClean="0"/>
              <a:t>WSA sizing portal updated with - </a:t>
            </a:r>
            <a:br>
              <a:rPr lang="en-US" sz="2800" dirty="0" smtClean="0"/>
            </a:br>
            <a:r>
              <a:rPr lang="en-US" sz="2400" dirty="0" smtClean="0"/>
              <a:t>AsyncOS v9.0 &amp; v9.1</a:t>
            </a:r>
            <a:endParaRPr lang="en-US" sz="2400" dirty="0"/>
          </a:p>
        </p:txBody>
      </p:sp>
      <p:pic>
        <p:nvPicPr>
          <p:cNvPr id="5" name="Picture 4"/>
          <p:cNvPicPr>
            <a:picLocks noChangeAspect="1"/>
          </p:cNvPicPr>
          <p:nvPr/>
        </p:nvPicPr>
        <p:blipFill>
          <a:blip r:embed="rId3"/>
          <a:stretch>
            <a:fillRect/>
          </a:stretch>
        </p:blipFill>
        <p:spPr>
          <a:xfrm>
            <a:off x="566057" y="800020"/>
            <a:ext cx="7837714" cy="3629478"/>
          </a:xfrm>
          <a:prstGeom prst="rect">
            <a:avLst/>
          </a:prstGeom>
        </p:spPr>
      </p:pic>
      <p:sp>
        <p:nvSpPr>
          <p:cNvPr id="2" name="Oval 1"/>
          <p:cNvSpPr/>
          <p:nvPr/>
        </p:nvSpPr>
        <p:spPr>
          <a:xfrm>
            <a:off x="7030192" y="1799517"/>
            <a:ext cx="1244184" cy="335603"/>
          </a:xfrm>
          <a:prstGeom prst="ellipse">
            <a:avLst/>
          </a:prstGeom>
          <a:noFill/>
          <a:ln>
            <a:solidFill>
              <a:srgbClr val="FA661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ectangle 5"/>
          <p:cNvSpPr/>
          <p:nvPr/>
        </p:nvSpPr>
        <p:spPr>
          <a:xfrm>
            <a:off x="3407229" y="1708069"/>
            <a:ext cx="892628" cy="576943"/>
          </a:xfrm>
          <a:prstGeom prst="rect">
            <a:avLst/>
          </a:prstGeom>
          <a:noFill/>
          <a:ln>
            <a:solidFill>
              <a:srgbClr val="FA661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026" name="Picture 2" descr="https://i1.ytimg.com/sh/CnC20Fx3lTY/showposter.jpg?v=4fbb3f57"/>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324339" y="-284354"/>
            <a:ext cx="1346995" cy="134699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15203" y="2369825"/>
            <a:ext cx="1626919" cy="974577"/>
          </a:xfrm>
          <a:prstGeom prst="rect">
            <a:avLst/>
          </a:prstGeom>
        </p:spPr>
      </p:pic>
      <p:cxnSp>
        <p:nvCxnSpPr>
          <p:cNvPr id="9" name="Straight Arrow Connector 8"/>
          <p:cNvCxnSpPr/>
          <p:nvPr/>
        </p:nvCxnSpPr>
        <p:spPr>
          <a:xfrm>
            <a:off x="6436426" y="2614757"/>
            <a:ext cx="5834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Oval 10"/>
          <p:cNvSpPr/>
          <p:nvPr/>
        </p:nvSpPr>
        <p:spPr>
          <a:xfrm>
            <a:off x="7030196" y="2261871"/>
            <a:ext cx="1911927" cy="1240276"/>
          </a:xfrm>
          <a:prstGeom prst="ellipse">
            <a:avLst/>
          </a:prstGeom>
          <a:noFill/>
          <a:ln>
            <a:solidFill>
              <a:srgbClr val="FA661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3" name="Picture 12"/>
          <p:cNvPicPr>
            <a:picLocks noChangeAspect="1"/>
          </p:cNvPicPr>
          <p:nvPr/>
        </p:nvPicPr>
        <p:blipFill>
          <a:blip r:embed="rId6"/>
          <a:stretch>
            <a:fillRect/>
          </a:stretch>
        </p:blipFill>
        <p:spPr>
          <a:xfrm>
            <a:off x="8339078" y="1704343"/>
            <a:ext cx="667743" cy="396041"/>
          </a:xfrm>
          <a:prstGeom prst="rect">
            <a:avLst/>
          </a:prstGeom>
        </p:spPr>
      </p:pic>
      <p:sp>
        <p:nvSpPr>
          <p:cNvPr id="14" name="Rectangle 13"/>
          <p:cNvSpPr/>
          <p:nvPr/>
        </p:nvSpPr>
        <p:spPr>
          <a:xfrm>
            <a:off x="8339078" y="1704343"/>
            <a:ext cx="667743" cy="396041"/>
          </a:xfrm>
          <a:prstGeom prst="rect">
            <a:avLst/>
          </a:prstGeom>
          <a:noFill/>
          <a:ln>
            <a:solidFill>
              <a:srgbClr val="FA661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TextBox 14"/>
          <p:cNvSpPr txBox="1"/>
          <p:nvPr/>
        </p:nvSpPr>
        <p:spPr>
          <a:xfrm>
            <a:off x="873454" y="4429496"/>
            <a:ext cx="7400922" cy="369332"/>
          </a:xfrm>
          <a:prstGeom prst="rect">
            <a:avLst/>
          </a:prstGeom>
          <a:noFill/>
          <a:ln>
            <a:solidFill>
              <a:srgbClr val="FA661C"/>
            </a:solidFill>
          </a:ln>
        </p:spPr>
        <p:txBody>
          <a:bodyPr wrap="square" rtlCol="0">
            <a:spAutoFit/>
          </a:bodyPr>
          <a:lstStyle/>
          <a:p>
            <a:r>
              <a:rPr lang="en-US" b="1" dirty="0" smtClean="0">
                <a:solidFill>
                  <a:srgbClr val="FA661C"/>
                </a:solidFill>
              </a:rPr>
              <a:t>WSA Sizing Link: </a:t>
            </a:r>
            <a:r>
              <a:rPr lang="en-US" dirty="0" smtClean="0"/>
              <a:t>https</a:t>
            </a:r>
            <a:r>
              <a:rPr lang="en-US" dirty="0"/>
              <a:t>://</a:t>
            </a:r>
            <a:r>
              <a:rPr lang="en-US" dirty="0" smtClean="0"/>
              <a:t>fwm.cisco.com/wsademo.do#wsa_menu_1:1</a:t>
            </a:r>
          </a:p>
        </p:txBody>
      </p:sp>
    </p:spTree>
    <p:extLst>
      <p:ext uri="{BB962C8B-B14F-4D97-AF65-F5344CB8AC3E}">
        <p14:creationId xmlns:p14="http://schemas.microsoft.com/office/powerpoint/2010/main" val="1308596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5" y="1121073"/>
            <a:ext cx="5059520" cy="1846674"/>
          </a:xfrm>
        </p:spPr>
        <p:txBody>
          <a:bodyPr/>
          <a:lstStyle/>
          <a:p>
            <a:r>
              <a:rPr lang="en-US" sz="1800" b="1" dirty="0"/>
              <a:t>Advanced Threat </a:t>
            </a:r>
            <a:r>
              <a:rPr lang="en-US" sz="1800" b="1" dirty="0" smtClean="0"/>
              <a:t>Defense</a:t>
            </a:r>
            <a:r>
              <a:rPr lang="ja-JP" altLang="en-US" sz="1800" b="1" dirty="0" smtClean="0"/>
              <a:t>ライセンスは</a:t>
            </a:r>
            <a:r>
              <a:rPr lang="en-US" altLang="ja-JP" sz="1800" b="1" dirty="0" smtClean="0"/>
              <a:t>CTA</a:t>
            </a:r>
            <a:r>
              <a:rPr lang="ja-JP" altLang="en-US" sz="1800" b="1" dirty="0" smtClean="0"/>
              <a:t>と</a:t>
            </a:r>
            <a:r>
              <a:rPr lang="en-US" altLang="ja-JP" sz="1800" b="1" dirty="0" smtClean="0"/>
              <a:t>AMP</a:t>
            </a:r>
            <a:r>
              <a:rPr lang="ja-JP" altLang="en-US" sz="1800" b="1" dirty="0" smtClean="0"/>
              <a:t>をパッケージ化したモノ</a:t>
            </a:r>
            <a:endParaRPr lang="en-US" altLang="ja-JP" sz="1800" b="1" dirty="0"/>
          </a:p>
          <a:p>
            <a:r>
              <a:rPr lang="ja-JP" altLang="en-US" sz="1800" b="1" dirty="0" smtClean="0"/>
              <a:t>既存</a:t>
            </a:r>
            <a:r>
              <a:rPr lang="en-US" altLang="ja-JP" sz="1800" b="1" dirty="0" smtClean="0"/>
              <a:t>WSA</a:t>
            </a:r>
            <a:r>
              <a:rPr lang="ja-JP" altLang="en-US" sz="1800" b="1" dirty="0" smtClean="0"/>
              <a:t>ユーザに追加で適用可能</a:t>
            </a:r>
          </a:p>
          <a:p>
            <a:r>
              <a:rPr lang="en-US" sz="1800" b="1" dirty="0" smtClean="0"/>
              <a:t>L-WSA-ATD-LIC=</a:t>
            </a:r>
            <a:endParaRPr lang="en-US" sz="1800" b="1" dirty="0"/>
          </a:p>
        </p:txBody>
      </p:sp>
      <p:pic>
        <p:nvPicPr>
          <p:cNvPr id="2052" name="Picture 4" descr="http://timothywcoleman.com/wp-content/uploads/2014/04/Cisco-Virus.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42660" y="1110515"/>
            <a:ext cx="2921330" cy="195936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a:stretch>
            <a:fillRect/>
          </a:stretch>
        </p:blipFill>
        <p:spPr>
          <a:xfrm>
            <a:off x="3656034" y="2207440"/>
            <a:ext cx="1186542" cy="814274"/>
          </a:xfrm>
          <a:prstGeom prst="rect">
            <a:avLst/>
          </a:prstGeom>
        </p:spPr>
      </p:pic>
      <p:grpSp>
        <p:nvGrpSpPr>
          <p:cNvPr id="9" name="Group 8"/>
          <p:cNvGrpSpPr/>
          <p:nvPr/>
        </p:nvGrpSpPr>
        <p:grpSpPr>
          <a:xfrm>
            <a:off x="437765" y="327296"/>
            <a:ext cx="6795516" cy="652418"/>
            <a:chOff x="186312" y="2486904"/>
            <a:chExt cx="4964109" cy="652418"/>
          </a:xfrm>
        </p:grpSpPr>
        <p:sp>
          <p:nvSpPr>
            <p:cNvPr id="10" name="Rectangle 9"/>
            <p:cNvSpPr/>
            <p:nvPr/>
          </p:nvSpPr>
          <p:spPr>
            <a:xfrm>
              <a:off x="907882" y="2499383"/>
              <a:ext cx="4242539" cy="500135"/>
            </a:xfrm>
            <a:prstGeom prst="rect">
              <a:avLst/>
            </a:prstGeom>
          </p:spPr>
          <p:txBody>
            <a:bodyPr wrap="none" lIns="68576" tIns="34289" rIns="68576" bIns="34289">
              <a:spAutoFit/>
            </a:bodyPr>
            <a:lstStyle/>
            <a:p>
              <a:pPr defTabSz="456917"/>
              <a:r>
                <a:rPr lang="en-US" sz="2800" dirty="0" smtClean="0"/>
                <a:t>ATD</a:t>
              </a:r>
              <a:r>
                <a:rPr lang="en-US" sz="2800" dirty="0"/>
                <a:t>(AMP+CTA</a:t>
              </a:r>
              <a:r>
                <a:rPr lang="en-US" sz="2800" dirty="0" smtClean="0"/>
                <a:t>) </a:t>
              </a:r>
              <a:r>
                <a:rPr lang="ja-JP" altLang="en-US" sz="2800" dirty="0" smtClean="0"/>
                <a:t>バンドルライセンス</a:t>
              </a:r>
              <a:endParaRPr lang="en-US" sz="2800" dirty="0">
                <a:solidFill>
                  <a:srgbClr val="FFFFFF">
                    <a:lumMod val="75000"/>
                  </a:srgbClr>
                </a:solidFill>
                <a:latin typeface="Helvetica Neue Thin"/>
                <a:ea typeface="Franklin Gothic Book" charset="0"/>
                <a:cs typeface="Helvetica Neue Thin"/>
              </a:endParaRPr>
            </a:p>
          </p:txBody>
        </p:sp>
        <p:sp>
          <p:nvSpPr>
            <p:cNvPr id="11" name="Title 3"/>
            <p:cNvSpPr txBox="1">
              <a:spLocks/>
            </p:cNvSpPr>
            <p:nvPr/>
          </p:nvSpPr>
          <p:spPr bwMode="auto">
            <a:xfrm>
              <a:off x="186312" y="2486904"/>
              <a:ext cx="706957" cy="652418"/>
            </a:xfrm>
            <a:prstGeom prst="ellipse">
              <a:avLst/>
            </a:prstGeom>
            <a:solidFill>
              <a:srgbClr val="7F7F7F"/>
            </a:solidFill>
            <a:ln/>
            <a:extLst>
              <a:ext uri="{FAA26D3D-D897-4be2-8F04-BA451C77F1D7}">
                <ma14:placeholderFlag xmlns:ma14="http://schemas.microsoft.com/office/mac/drawingml/2011/main" val="1"/>
              </a:ext>
            </a:extLst>
          </p:spPr>
          <p:style>
            <a:lnRef idx="0">
              <a:schemeClr val="accent1"/>
            </a:lnRef>
            <a:fillRef idx="3">
              <a:schemeClr val="accent1"/>
            </a:fillRef>
            <a:effectRef idx="3">
              <a:schemeClr val="accent1"/>
            </a:effectRef>
            <a:fontRef idx="minor">
              <a:schemeClr val="lt1"/>
            </a:fontRef>
          </p:style>
          <p:txBody>
            <a:bodyPr vert="horz" wrap="none" lIns="0" tIns="0" rIns="0" bIns="0" numCol="1" anchor="ctr" anchorCtr="0" compatLnSpc="1">
              <a:prstTxWarp prst="textNoShape">
                <a:avLst/>
              </a:prstTxWarp>
              <a:noAutofit/>
            </a:bodyPr>
            <a:lstStyle>
              <a:defPPr>
                <a:defRPr lang="en-US"/>
              </a:defPPr>
              <a:lvl1pPr algn="ctr" defTabSz="684167" fontAlgn="base">
                <a:lnSpc>
                  <a:spcPct val="100000"/>
                </a:lnSpc>
                <a:spcBef>
                  <a:spcPct val="0"/>
                </a:spcBef>
                <a:spcAft>
                  <a:spcPct val="0"/>
                </a:spcAft>
                <a:defRPr sz="2000">
                  <a:solidFill>
                    <a:schemeClr val="bg1"/>
                  </a:solidFill>
                  <a:latin typeface="+mj-lt"/>
                  <a:ea typeface="ＭＳ Ｐゴシック" charset="0"/>
                  <a:cs typeface="CiscoSans"/>
                </a:defRPr>
              </a:lvl1pPr>
              <a:lvl2pPr defTabSz="684167" fontAlgn="base">
                <a:lnSpc>
                  <a:spcPct val="80000"/>
                </a:lnSpc>
                <a:spcBef>
                  <a:spcPct val="0"/>
                </a:spcBef>
                <a:spcAft>
                  <a:spcPct val="0"/>
                </a:spcAft>
                <a:defRPr sz="3200">
                  <a:solidFill>
                    <a:srgbClr val="676767"/>
                  </a:solidFill>
                  <a:latin typeface="Arial" charset="0"/>
                  <a:ea typeface="ＭＳ Ｐゴシック" charset="0"/>
                </a:defRPr>
              </a:lvl2pPr>
              <a:lvl3pPr defTabSz="684167" fontAlgn="base">
                <a:lnSpc>
                  <a:spcPct val="80000"/>
                </a:lnSpc>
                <a:spcBef>
                  <a:spcPct val="0"/>
                </a:spcBef>
                <a:spcAft>
                  <a:spcPct val="0"/>
                </a:spcAft>
                <a:defRPr sz="3200">
                  <a:solidFill>
                    <a:srgbClr val="676767"/>
                  </a:solidFill>
                  <a:latin typeface="Arial" charset="0"/>
                  <a:ea typeface="ＭＳ Ｐゴシック" charset="0"/>
                </a:defRPr>
              </a:lvl3pPr>
              <a:lvl4pPr defTabSz="684167" fontAlgn="base">
                <a:lnSpc>
                  <a:spcPct val="80000"/>
                </a:lnSpc>
                <a:spcBef>
                  <a:spcPct val="0"/>
                </a:spcBef>
                <a:spcAft>
                  <a:spcPct val="0"/>
                </a:spcAft>
                <a:defRPr sz="3200">
                  <a:solidFill>
                    <a:srgbClr val="676767"/>
                  </a:solidFill>
                  <a:latin typeface="Arial" charset="0"/>
                  <a:ea typeface="ＭＳ Ｐゴシック" charset="0"/>
                </a:defRPr>
              </a:lvl4pPr>
              <a:lvl5pPr defTabSz="684167" fontAlgn="base">
                <a:lnSpc>
                  <a:spcPct val="80000"/>
                </a:lnSpc>
                <a:spcBef>
                  <a:spcPct val="0"/>
                </a:spcBef>
                <a:spcAft>
                  <a:spcPct val="0"/>
                </a:spcAft>
                <a:defRPr sz="3200">
                  <a:solidFill>
                    <a:srgbClr val="676767"/>
                  </a:solidFill>
                  <a:latin typeface="Arial" charset="0"/>
                  <a:ea typeface="ＭＳ Ｐゴシック" charset="0"/>
                </a:defRPr>
              </a:lvl5pPr>
              <a:lvl6pPr marL="457169" defTabSz="684167" fontAlgn="base">
                <a:lnSpc>
                  <a:spcPct val="80000"/>
                </a:lnSpc>
                <a:spcBef>
                  <a:spcPct val="0"/>
                </a:spcBef>
                <a:spcAft>
                  <a:spcPct val="0"/>
                </a:spcAft>
                <a:defRPr sz="3200">
                  <a:solidFill>
                    <a:srgbClr val="676767"/>
                  </a:solidFill>
                  <a:latin typeface="Arial" charset="0"/>
                  <a:ea typeface="ＭＳ Ｐゴシック" charset="0"/>
                </a:defRPr>
              </a:lvl6pPr>
              <a:lvl7pPr marL="914339" defTabSz="684167" fontAlgn="base">
                <a:lnSpc>
                  <a:spcPct val="80000"/>
                </a:lnSpc>
                <a:spcBef>
                  <a:spcPct val="0"/>
                </a:spcBef>
                <a:spcAft>
                  <a:spcPct val="0"/>
                </a:spcAft>
                <a:defRPr sz="3200">
                  <a:solidFill>
                    <a:srgbClr val="676767"/>
                  </a:solidFill>
                  <a:latin typeface="Arial" charset="0"/>
                  <a:ea typeface="ＭＳ Ｐゴシック" charset="0"/>
                </a:defRPr>
              </a:lvl7pPr>
              <a:lvl8pPr marL="1371509" defTabSz="684167" fontAlgn="base">
                <a:lnSpc>
                  <a:spcPct val="80000"/>
                </a:lnSpc>
                <a:spcBef>
                  <a:spcPct val="0"/>
                </a:spcBef>
                <a:spcAft>
                  <a:spcPct val="0"/>
                </a:spcAft>
                <a:defRPr sz="3200">
                  <a:solidFill>
                    <a:srgbClr val="676767"/>
                  </a:solidFill>
                  <a:latin typeface="Arial" charset="0"/>
                  <a:ea typeface="ＭＳ Ｐゴシック" charset="0"/>
                </a:defRPr>
              </a:lvl8pPr>
              <a:lvl9pPr marL="1828679" defTabSz="684167" fontAlgn="base">
                <a:lnSpc>
                  <a:spcPct val="80000"/>
                </a:lnSpc>
                <a:spcBef>
                  <a:spcPct val="0"/>
                </a:spcBef>
                <a:spcAft>
                  <a:spcPct val="0"/>
                </a:spcAft>
                <a:defRPr sz="3200">
                  <a:solidFill>
                    <a:srgbClr val="676767"/>
                  </a:solidFill>
                  <a:latin typeface="Arial" charset="0"/>
                  <a:ea typeface="ＭＳ Ｐゴシック" charset="0"/>
                </a:defRPr>
              </a:lvl9pPr>
            </a:lstStyle>
            <a:p>
              <a:endParaRPr lang="en-US" sz="1800" dirty="0">
                <a:solidFill>
                  <a:srgbClr val="FFFFFF"/>
                </a:solidFill>
                <a:latin typeface="Franklin Gothic Book" charset="0"/>
                <a:ea typeface="Franklin Gothic Book" charset="0"/>
                <a:cs typeface="Franklin Gothic Book" charset="0"/>
              </a:endParaRPr>
            </a:p>
          </p:txBody>
        </p:sp>
        <p:sp>
          <p:nvSpPr>
            <p:cNvPr id="12" name="Freeform 20"/>
            <p:cNvSpPr>
              <a:spLocks noChangeAspect="1" noEditPoints="1"/>
            </p:cNvSpPr>
            <p:nvPr/>
          </p:nvSpPr>
          <p:spPr bwMode="auto">
            <a:xfrm>
              <a:off x="263333" y="2549554"/>
              <a:ext cx="567529" cy="496938"/>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defTabSz="457154"/>
              <a:endParaRPr lang="en-US" dirty="0">
                <a:solidFill>
                  <a:srgbClr val="FFFFFF"/>
                </a:solidFill>
                <a:latin typeface="Franklin Gothic Book" charset="0"/>
                <a:ea typeface="Franklin Gothic Book" charset="0"/>
                <a:cs typeface="Franklin Gothic Book" charset="0"/>
                <a:sym typeface="Arial" charset="0"/>
              </a:endParaRPr>
            </a:p>
          </p:txBody>
        </p:sp>
      </p:grpSp>
      <p:graphicFrame>
        <p:nvGraphicFramePr>
          <p:cNvPr id="3" name="Table 2"/>
          <p:cNvGraphicFramePr>
            <a:graphicFrameLocks noGrp="1"/>
          </p:cNvGraphicFramePr>
          <p:nvPr>
            <p:extLst>
              <p:ext uri="{D42A27DB-BD31-4B8C-83A1-F6EECF244321}">
                <p14:modId xmlns:p14="http://schemas.microsoft.com/office/powerpoint/2010/main" val="3779633943"/>
              </p:ext>
            </p:extLst>
          </p:nvPr>
        </p:nvGraphicFramePr>
        <p:xfrm>
          <a:off x="543201" y="3021714"/>
          <a:ext cx="3072832" cy="1483360"/>
        </p:xfrm>
        <a:graphic>
          <a:graphicData uri="http://schemas.openxmlformats.org/drawingml/2006/table">
            <a:tbl>
              <a:tblPr firstRow="1" bandRow="1">
                <a:tableStyleId>{5C22544A-7EE6-4342-B048-85BDC9FD1C3A}</a:tableStyleId>
              </a:tblPr>
              <a:tblGrid>
                <a:gridCol w="1796238">
                  <a:extLst>
                    <a:ext uri="{9D8B030D-6E8A-4147-A177-3AD203B41FA5}">
                      <a16:colId xmlns="" xmlns:a16="http://schemas.microsoft.com/office/drawing/2014/main" val="20000"/>
                    </a:ext>
                  </a:extLst>
                </a:gridCol>
                <a:gridCol w="1276594">
                  <a:extLst>
                    <a:ext uri="{9D8B030D-6E8A-4147-A177-3AD203B41FA5}">
                      <a16:colId xmlns="" xmlns:a16="http://schemas.microsoft.com/office/drawing/2014/main" val="20001"/>
                    </a:ext>
                  </a:extLst>
                </a:gridCol>
              </a:tblGrid>
              <a:tr h="370840">
                <a:tc>
                  <a:txBody>
                    <a:bodyPr/>
                    <a:lstStyle/>
                    <a:p>
                      <a:pPr algn="ctr"/>
                      <a:r>
                        <a:rPr lang="en-US" sz="1400" dirty="0" smtClean="0"/>
                        <a:t>License </a:t>
                      </a:r>
                      <a:endParaRPr lang="en-US" sz="1400" dirty="0"/>
                    </a:p>
                  </a:txBody>
                  <a:tcPr/>
                </a:tc>
                <a:tc>
                  <a:txBody>
                    <a:bodyPr/>
                    <a:lstStyle/>
                    <a:p>
                      <a:pPr algn="ctr"/>
                      <a:r>
                        <a:rPr lang="en-US" sz="1400" dirty="0" smtClean="0"/>
                        <a:t>Name</a:t>
                      </a:r>
                      <a:r>
                        <a:rPr lang="en-US" sz="1400" baseline="0" dirty="0" smtClean="0"/>
                        <a:t> </a:t>
                      </a:r>
                      <a:endParaRPr lang="en-US" sz="1400" dirty="0"/>
                    </a:p>
                  </a:txBody>
                  <a:tcPr/>
                </a:tc>
                <a:extLst>
                  <a:ext uri="{0D108BD9-81ED-4DB2-BD59-A6C34878D82A}">
                    <a16:rowId xmlns="" xmlns:a16="http://schemas.microsoft.com/office/drawing/2014/main" val="10000"/>
                  </a:ext>
                </a:extLst>
              </a:tr>
              <a:tr h="370840">
                <a:tc>
                  <a:txBody>
                    <a:bodyPr/>
                    <a:lstStyle/>
                    <a:p>
                      <a:pPr algn="ctr"/>
                      <a:r>
                        <a:rPr lang="en-US" sz="1400" dirty="0" smtClean="0"/>
                        <a:t>WSA-AMP-LIC=    </a:t>
                      </a:r>
                      <a:endParaRPr lang="en-US" sz="1400" dirty="0"/>
                    </a:p>
                  </a:txBody>
                  <a:tcPr/>
                </a:tc>
                <a:tc>
                  <a:txBody>
                    <a:bodyPr/>
                    <a:lstStyle/>
                    <a:p>
                      <a:pPr algn="ctr"/>
                      <a:r>
                        <a:rPr lang="en-US" sz="1400" dirty="0" smtClean="0"/>
                        <a:t>AMP</a:t>
                      </a:r>
                      <a:endParaRPr lang="en-US" sz="1400" dirty="0"/>
                    </a:p>
                  </a:txBody>
                  <a:tcPr/>
                </a:tc>
                <a:extLst>
                  <a:ext uri="{0D108BD9-81ED-4DB2-BD59-A6C34878D82A}">
                    <a16:rowId xmlns="" xmlns:a16="http://schemas.microsoft.com/office/drawing/2014/main" val="10001"/>
                  </a:ext>
                </a:extLst>
              </a:tr>
              <a:tr h="370840">
                <a:tc>
                  <a:txBody>
                    <a:bodyPr/>
                    <a:lstStyle/>
                    <a:p>
                      <a:pPr algn="ctr"/>
                      <a:r>
                        <a:rPr lang="en-US" sz="1400" dirty="0" smtClean="0"/>
                        <a:t>L-WSA-CTA-LIC=   </a:t>
                      </a:r>
                      <a:endParaRPr lang="en-US" sz="1400" dirty="0"/>
                    </a:p>
                  </a:txBody>
                  <a:tcPr/>
                </a:tc>
                <a:tc>
                  <a:txBody>
                    <a:bodyPr/>
                    <a:lstStyle/>
                    <a:p>
                      <a:pPr algn="ctr"/>
                      <a:r>
                        <a:rPr lang="en-US" sz="1400" dirty="0" smtClean="0"/>
                        <a:t>CTA</a:t>
                      </a:r>
                      <a:endParaRPr lang="en-US" sz="1400" dirty="0"/>
                    </a:p>
                  </a:txBody>
                  <a:tcPr/>
                </a:tc>
                <a:extLst>
                  <a:ext uri="{0D108BD9-81ED-4DB2-BD59-A6C34878D82A}">
                    <a16:rowId xmlns="" xmlns:a16="http://schemas.microsoft.com/office/drawing/2014/main" val="10002"/>
                  </a:ext>
                </a:extLst>
              </a:tr>
              <a:tr h="370840">
                <a:tc>
                  <a:txBody>
                    <a:bodyPr/>
                    <a:lstStyle/>
                    <a:p>
                      <a:pPr algn="ctr"/>
                      <a:r>
                        <a:rPr lang="en-US" sz="1400" dirty="0" smtClean="0"/>
                        <a:t>L-WSA-ATD-LIC=    </a:t>
                      </a:r>
                      <a:endParaRPr lang="en-US" sz="1400" dirty="0"/>
                    </a:p>
                  </a:txBody>
                  <a:tcPr/>
                </a:tc>
                <a:tc>
                  <a:txBody>
                    <a:bodyPr/>
                    <a:lstStyle/>
                    <a:p>
                      <a:pPr algn="ctr"/>
                      <a:r>
                        <a:rPr lang="en-US" sz="1400" dirty="0" smtClean="0"/>
                        <a:t>AMP + CTA</a:t>
                      </a:r>
                      <a:endParaRPr lang="en-US" sz="1400" dirty="0"/>
                    </a:p>
                  </a:txBody>
                  <a:tcPr/>
                </a:tc>
                <a:extLst>
                  <a:ext uri="{0D108BD9-81ED-4DB2-BD59-A6C34878D82A}">
                    <a16:rowId xmlns="" xmlns:a16="http://schemas.microsoft.com/office/drawing/2014/main" val="10003"/>
                  </a:ext>
                </a:extLst>
              </a:tr>
            </a:tbl>
          </a:graphicData>
        </a:graphic>
      </p:graphicFrame>
      <p:pic>
        <p:nvPicPr>
          <p:cNvPr id="1026" name="Picture 2" descr="https://www.onenevada.org/images/banking/special-share.gif"/>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759328" y="4132225"/>
            <a:ext cx="497774" cy="568884"/>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4257102" y="4174788"/>
            <a:ext cx="1853003" cy="400110"/>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2000" b="1" cap="none" spc="0" dirty="0" smtClean="0">
                <a:ln/>
                <a:solidFill>
                  <a:schemeClr val="accent4"/>
                </a:solidFill>
                <a:effectLst/>
              </a:rPr>
              <a:t>Savings</a:t>
            </a:r>
            <a:endParaRPr lang="en-US" sz="2000" b="1" cap="none" spc="0" dirty="0">
              <a:ln/>
              <a:solidFill>
                <a:schemeClr val="accent4"/>
              </a:solidFill>
              <a:effectLst/>
            </a:endParaRPr>
          </a:p>
        </p:txBody>
      </p:sp>
    </p:spTree>
    <p:extLst>
      <p:ext uri="{BB962C8B-B14F-4D97-AF65-F5344CB8AC3E}">
        <p14:creationId xmlns:p14="http://schemas.microsoft.com/office/powerpoint/2010/main" val="36579605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Cisco On Cisco Integration</a:t>
            </a:r>
            <a:endParaRPr lang="en-US" dirty="0"/>
          </a:p>
        </p:txBody>
      </p:sp>
    </p:spTree>
    <p:extLst>
      <p:ext uri="{BB962C8B-B14F-4D97-AF65-F5344CB8AC3E}">
        <p14:creationId xmlns:p14="http://schemas.microsoft.com/office/powerpoint/2010/main" val="20764632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ja-JP" altLang="en-US" sz="2400" dirty="0" smtClean="0"/>
              <a:t>ウェブアクセス数の上位</a:t>
            </a:r>
            <a:r>
              <a:rPr lang="en-US" altLang="ja-JP" sz="2400" dirty="0" smtClean="0"/>
              <a:t>1M</a:t>
            </a:r>
            <a:r>
              <a:rPr lang="ja-JP" altLang="en-US" sz="2400" dirty="0" smtClean="0"/>
              <a:t>を</a:t>
            </a:r>
            <a:r>
              <a:rPr lang="en-US" altLang="ja-JP" sz="2400" dirty="0" smtClean="0"/>
              <a:t> </a:t>
            </a:r>
            <a:r>
              <a:rPr lang="en-US" altLang="ja-JP" sz="2400" dirty="0" err="1" smtClean="0"/>
              <a:t>OpenDNS</a:t>
            </a:r>
            <a:r>
              <a:rPr lang="ja-JP" altLang="en-US" sz="2400" dirty="0" smtClean="0"/>
              <a:t>で精査。疑わしい</a:t>
            </a:r>
            <a:r>
              <a:rPr lang="en-US" altLang="ja-JP" sz="2400" dirty="0" smtClean="0"/>
              <a:t>URL</a:t>
            </a:r>
            <a:r>
              <a:rPr lang="ja-JP" altLang="en-US" sz="2400" dirty="0" smtClean="0"/>
              <a:t>は</a:t>
            </a:r>
            <a:r>
              <a:rPr lang="en-US" altLang="ja-JP" sz="2400" dirty="0" smtClean="0"/>
              <a:t> WBRS (Web Based Reputation Scores: CWS, WSA</a:t>
            </a:r>
            <a:r>
              <a:rPr lang="ja-JP" altLang="en-US" sz="2400" dirty="0" smtClean="0"/>
              <a:t>が利用</a:t>
            </a:r>
            <a:r>
              <a:rPr lang="en-US" altLang="ja-JP" sz="2400" dirty="0" smtClean="0"/>
              <a:t>)</a:t>
            </a:r>
            <a:r>
              <a:rPr lang="ja-JP" altLang="en-US" sz="2400" dirty="0" smtClean="0"/>
              <a:t>でブロック判定</a:t>
            </a:r>
            <a:endParaRPr lang="en-US" sz="2400" dirty="0" smtClean="0"/>
          </a:p>
          <a:p>
            <a:r>
              <a:rPr lang="en-US" altLang="ja-JP" sz="2400" dirty="0" err="1" smtClean="0"/>
              <a:t>OpenDNS</a:t>
            </a:r>
            <a:r>
              <a:rPr lang="ja-JP" altLang="en-US" sz="2400" dirty="0" smtClean="0"/>
              <a:t>で</a:t>
            </a:r>
            <a:r>
              <a:rPr lang="en-US" altLang="ja-JP" sz="2400" dirty="0" smtClean="0"/>
              <a:t>URL</a:t>
            </a:r>
            <a:r>
              <a:rPr lang="ja-JP" altLang="en-US" sz="2400" dirty="0" smtClean="0"/>
              <a:t>が疑わしいと判定された場合、</a:t>
            </a:r>
            <a:r>
              <a:rPr lang="en-US" altLang="ja-JP" sz="2400" dirty="0" smtClean="0"/>
              <a:t>API</a:t>
            </a:r>
            <a:r>
              <a:rPr lang="ja-JP" altLang="en-US" sz="2400" dirty="0" smtClean="0"/>
              <a:t>を通じて</a:t>
            </a:r>
            <a:r>
              <a:rPr lang="en-US" altLang="ja-JP" sz="2400" dirty="0" smtClean="0"/>
              <a:t> WBRS</a:t>
            </a:r>
            <a:r>
              <a:rPr lang="ja-JP" altLang="en-US" sz="2400" dirty="0" smtClean="0"/>
              <a:t>へフィードバック。スコアは</a:t>
            </a:r>
            <a:r>
              <a:rPr lang="en-US" altLang="ja-JP" sz="2400" dirty="0" smtClean="0"/>
              <a:t> -6 </a:t>
            </a:r>
            <a:r>
              <a:rPr lang="ja-JP" altLang="en-US" sz="2400" dirty="0" smtClean="0"/>
              <a:t>となり、初期設定でブロックとなる</a:t>
            </a:r>
            <a:endParaRPr lang="en-US" altLang="ja-JP" sz="2400" dirty="0" smtClean="0"/>
          </a:p>
        </p:txBody>
      </p:sp>
      <p:sp>
        <p:nvSpPr>
          <p:cNvPr id="3" name="Title 2"/>
          <p:cNvSpPr>
            <a:spLocks noGrp="1"/>
          </p:cNvSpPr>
          <p:nvPr>
            <p:ph type="title"/>
          </p:nvPr>
        </p:nvSpPr>
        <p:spPr>
          <a:xfrm>
            <a:off x="1429247" y="245839"/>
            <a:ext cx="6571753" cy="731837"/>
          </a:xfrm>
        </p:spPr>
        <p:txBody>
          <a:bodyPr/>
          <a:lstStyle/>
          <a:p>
            <a:r>
              <a:rPr lang="en-US" sz="2800" dirty="0" smtClean="0"/>
              <a:t>			</a:t>
            </a:r>
            <a:r>
              <a:rPr lang="ja-JP" altLang="en-US" sz="2800" dirty="0" smtClean="0"/>
              <a:t>データ連携</a:t>
            </a:r>
            <a:endParaRPr lang="en-US" sz="2800" dirty="0"/>
          </a:p>
        </p:txBody>
      </p:sp>
      <p:pic>
        <p:nvPicPr>
          <p:cNvPr id="4098" name="Picture 2" descr="https://encrypted-tbn0.gstatic.com/images?q=tbn:ANd9GcQqyHwBcnWml0SQdlYBZFK27T_3zYriozIvjjcq-BSBct9VHeI2TQ"/>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910943" y="4262893"/>
            <a:ext cx="1992086" cy="849216"/>
          </a:xfrm>
          <a:prstGeom prst="rect">
            <a:avLst/>
          </a:prstGeom>
          <a:noFill/>
          <a:extLst>
            <a:ext uri="{909E8E84-426E-40dd-AFC4-6F175D3DCCD1}">
              <a14:hiddenFill xmlns:a14="http://schemas.microsoft.com/office/drawing/2010/main">
                <a:solidFill>
                  <a:srgbClr val="FFFFFF"/>
                </a:solidFill>
              </a14:hiddenFill>
            </a:ext>
          </a:extLst>
        </p:spPr>
      </p:pic>
      <p:sp>
        <p:nvSpPr>
          <p:cNvPr id="7" name="AutoShape 14" descr="data:image/png;base64,iVBORw0KGgoAAAANSUhEUgAAAVUAAACUCAMAAAAUEUq5AAAAmVBMVEUAd77///8Adb0AbroAdL0AcrwAbLqbw+LO3e3i6/QAcLsJg8QAarnm8vk7k8s3jch2ptLA2ezX6vXG3/B/q9Wmw+CTweC21Omtz+i72u5jptS1zeVtrdgji8gWfsHx9/sAZbft9fqHtttSntDQ5fKKu94vhcSgyuVnoNCFut1MkclZmc1kqNV4r9hGj8mGvN+v1euXvN0ukMoC3XcqAAANI0lEQVR4nO2d63qiOhSGQw44RdGqUw9Uw0Ypnooz7f1f3A5UIGiABInaDt/TXxVCeAnJWisrAfxCoFWzIh3QUm1cLVUdaqnqUEtVh1qqOtRS1aGWqg61VHWopapDLVUdaqnqUEtVh1qqOtRS1aGWqg61VHWopapDLVUdaqnqUEtVh1qqOtRS1aGWqg4VU7XM2kIwKQSikqOQRTCAwotHp5b9qCAIMbFQJHY5qFDi13lpZcXCwlMLqVqdp/r6PFUe0pKDRrPNok8BxsI7hcvdmv14LVf2aGg/7MxmT6PpZNEPaPSwZIQxO2/DzvvScCbUdC0srZAqfjfqyzoVAoFfdeh4tgVEwA732Y/zZyDHQCiIEX2e5Wtgz1Z9Irre2amov7Fl7vRdjSqkbj2iTJ2EKsAbicO9Fb28z5iqYYy6RAUkfwME9KciMq7/TiveAQhWkne/FBZU3K/iiTTFM9lBeincl6qdF150oSeqhreuhZUx/V38ntidoKy9QjKWvNWxuOsvpgpp5dtboJB7K6yp3DlzevYqJVQNb1mjE8Bw/VR6PXdV3LdAIFlpwz0ojlasZnQkWXhem3x5ks/GD/IVTKkaQ2VTAFqD6sbmr4u6AST9lq4K0JXZq7gr+8w4uWHeeoHBUO7Ecf6dzKgae8XGCvHKk7nim9jOgl3ZW10VVazUC2Aj4UytvfqdpXVWVWitxv65xtPp3Pfzfe4mV0eO6s4CKsJ0JlXXEXs7RFgw15Y8fz4Vy5++DArBVfhWBNLjce9wytXY/sP/9H4IBIM5azr0UqyZUBo4/Iua76Q4qjMl50+247IH5tsouMQKj15ao7eAgqhBX/yx2gvtQTmqIPZNOBGzwz3JLsI5FbguUCw21loHDsGYrwhHdaxCFQdyHbl9RI5hPO0vakzC9Jg1cxIL6g5LvTTlOAAMMg5vaq+m8PqUe9/4H2pSZd6cLNTYzVlctDiSjlVvtQMk6lRBOvp4qsOIsDwr6wVC7inVowrpqTR79lKqAVnGVzSD4Awr+nu6rFv/9q6hag+aiH7gQeoADa+mmiCZUmyVibAXeBE5gYE9PnuXU6qjc97yuj9VgNKeekSz/9aiShanMyRMXGiFExSw/mKS78fQPKlN9ztTxcukwCeuwDpUYdLs+zLvLmSdejSynTlIZjJuyDyaAj0AVYCSAvn7q0PVTKrWkzo86YT9nImdUaXfmqppN0M1O0WOqpUE1PhREpje6b/D+hbOQ1BNWsd1VCFIrQk5qig5/onvQXtJIcP6M08PRdV4voYq3qZnKFI1Vly0MaX68kPa6nVUU5NInaqdWVcQJv98qxsv/1FUaXqCMlUjm37KIlartq2ysSfz39WpZiNTRlU80SelH0MVQi7+pUw1uxX82VLl6hVwYRVlqsbvpBPF6+9GtSCk1ghVklkAdajOLqk6Dz9aEYJMRLtC0Waoct1qDaqj5MrZdafVaQOFlbkBVUjo4c/YLZrD7vzXBFXOrqpD1UicfojTf71RLE4DilKLSkvWTxUSvCoNzzdElUdUg2qaLtHz0v/501ehXlZO1yzrH/RTxU5Fak0zVFP3vSbV94SSJTdv7YfnGQycdFPFsDInqBmqPb7IGlTTiVy8l0wGGvXrzrFeSo0qDqrTHR6DapYbZnUMOblhrXwAkZSokq7E3NyjUYVYOgeiX+DUaqUKZaA+HFWAB7JYvYKpLZ1UIZHKKNo8GlVAJHMK2FliS0An1dxo6j4NJwuh+r1Howowdp48KazixqqRam4wHW4BM56Fwo34Vib/1tagGuZaHSRg/9GZizXm7mshbKz6qPLZ6/ahzBtphGo64VyT6nksBWJxG4iaAchewqmwbvqoJnPzTP6g1KVuhGquu6lB9VMhQgWtNIdvdGOqNHWp7BIvJFIjVPHzdVSVVstkiflPpuh3bVS5GFJVzkMzVA9cb6dO1VcL+9H7UOV61UlV+c1ErbvccKVOdaNGtXsnqkF6VGUSWEPzVpxxfMVcgJzuRJW8JUd1Kqcqm6GaBfGvmreS052oorQDqM4ka4YqTNO1alD9pThLfR+qsJtYAF516U1lWWQxR2WqUkmEnO5EdeCdDhKbyTk1lRG0T66pnruimlR5H6pZztOk+t1qiCoXGFWlGqpOp5LkAd6YavIwb0gVJjlBc8kuI6Fq0+qDz6r8+FSzYeY6qgB9GR4zydc5fZqOckbVvalW96vcCscrqYJ4AZsNkNSWFZAk5Svv7QDhnanalaVz80Riqq50BXE3Sjy3ZgXB5LyShVX2QDn1B95ptOonD9OoXIjOrZgvoCq/mARtXNrbGe6agOJIXiyr934iUyPz507RlcxeNaYV75fJTW2LqRofKv0e2UWnULL/XapVMlTVWOAISRoJvC1VmM0DOqgEK4xWk1ZR9QaodEka99zgV6ws7A0kZ/VnIlO1ePEqjJb1mlmd/ZvGVxEX61gBC4vrZ1lBLgmjgCqzlSYl+r2l2UsMowwEp7eWhXp585DQQZn6W+7exFEO9V3CyKsM1dwWQ/7ucynSOhzms4U4qnxCepVc38nugQSjt15XuqVe1pyET3aZPL4AsaurTtV6kaEKodTGRWfiqEKgdOYmW3IGLasveXFB6BcPVLabGanuZlOkrBWWzwXU2WIoR1XtsfDeBpHZ74k1cedyILX6civhT/pQ3s2mQBB4pyIrgpKyuxdx4nsAIrfPRypuOg9ime2ohsH5Zib5IK2ExgW3XmP3RSsJSJdTxbKjMCeeKt5WH89ryJmdkByq9tDxQnjZzriwl4zcogBiDaoQnFpRRVsle+ksMPd0JE8VILXG6h1z27aYTtm7MnoTbWun2Ot4h+hBRpYdPqNbZ6fQZK1y1bQEkd10yXO6XwRzVNN9KSR1Fs4jdDsvOHIUirdesz5Urmd/Qe1sVk5/kS+u1v6rzNSOwxiVOYHI8au7AXtDLWg60RPIUWVNR27UOWl2ZjpCjLqr8Xnrs8edpSlO+shC7RLyZl9GMjz+Wfh/O/nGWm9XW0gC568rkxVMDzvhFognuf4mHMQjMQHbzRlVhvWwkb/R+aVBDi0weJ7MkzLs6W57BJdj1EmSuevxtVbHk/0A93+cv/NdA20VxA1BKuDO/Cdk9no9kF8M1DvJRChpN6zEizAHO9s0xeuJBBJeP66AGS1KQuxqpfvaQtkLURNxjybenytf0jU7MKtEJaW3gqo8t87+UnEZjV3orCjBxdt9rXWopapDLVUdaqnqUEtVh1qqOtRS1aGWqg61VHWopapDLVUdaqnqkMWoYkRUAx6tCgUhRuYGGN50EVAs+YWiVmWChNDA2dju17z7aLYaWEjpq1qtcoIAW6j73PlKJ0izGVxv4wRU4uNPrS6FCaDrSbb8PZ8j4r88d5HVtll5sTZKEHU6w9xc0EXmjfs0WVPQdrMygtgCdL8beecQhflM3rDjdFFD30P8mYo+eILA+mMunOwszBJz/d2eAqvtZ0XCFqTHxbBwm77S3Dt7+rEGqO0NeEHWRkl/NS3NzKnKaHTdYXik0Lr6I54/QpFBenyfeVXJI1J5oqPp6pP84y5Y5DShZTiTylOSzb51vdniyFywfxNs7DRtmdMkSUspp3k8C5foH3PBok86o67zMvYUQKllirM2a2+2Af1XTIPIIA0Of0aqubiqVCN545fYnP3RbTZO0QLrl2GdFQ51qEZyR7tDAH6qacCIwuCwG6vni19HNZI9fFnjnxc2YP2oVWWQaqQayR2Hh0D2+/GPr2iw34dpyuu9qEYaDVd969u7YLFB+hlO637fm1cTVCO583D/jaOzkFj0uJ15DdFoimokfxoOvp85Gw32Ztd5rT00CdQk1UjeZntk5uy9UcmKEaWD7eSakUmkpqka0QD26lDz4U0DyEYmE6w7Sk6TpDRQjTWabAf0cc1Z5oYyg/StiZFJJF1UjXht0xqY5OFCXZFjT/ofw6Zfe04aqcby3w4BrvoczA0FLRLswxpLl5Wkm6oRmbMffYIegCxro+hzpbONJroB1VjjcB+QwnV5+hU7TYvGDNIK3YqqEbtgn+YdXDCIMTK771OJRbVN6YZUI3mzxW1dsChCenQ2dcJ5V+jGVI1oSvz1vWsirL2fZQapxQxStSh+M7o91VhPG+eoNTobRUg1OE2SuhNVI55RYOaspcGcjaL4pN+52Bzgdrof1Vj+5DBoNtmAlRYcdkX7WNxId6ZqxC5Y30JNkI2cJrTU6jRJ6v5UY813hyvNWUhQsF/9vZ31VKYHoWrELlgX1XLBotQnsxu+Kk8wa9PjUI3k/l0dukjJnIUY0WOosEHLLfRYVI1oSny6oKZUm42j+MB59e832Bfo4ajG8jbhnqJysBhFOwA9HNBYj0mVyfNfHSCeUYhTn9D65fHaaKKHpRrLnjwPADrb5org5VZbFL8ZPTZVJtt/WaNTUhdz7JG5XP162Daa6OGpxhq/bZfQQt3D6s5Ok6S+B1Um+1fn1/2dJkn9D+tyGzUaH0+LAAAAAElFTkSuQmCC"/>
          <p:cNvSpPr>
            <a:spLocks noChangeAspect="1" noChangeArrowheads="1"/>
          </p:cNvSpPr>
          <p:nvPr/>
        </p:nvSpPr>
        <p:spPr bwMode="auto">
          <a:xfrm>
            <a:off x="0" y="0"/>
            <a:ext cx="4895850" cy="21240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8" name="Picture 7"/>
          <p:cNvPicPr>
            <a:picLocks noChangeAspect="1"/>
          </p:cNvPicPr>
          <p:nvPr/>
        </p:nvPicPr>
        <p:blipFill>
          <a:blip r:embed="rId4"/>
          <a:stretch>
            <a:fillRect/>
          </a:stretch>
        </p:blipFill>
        <p:spPr>
          <a:xfrm>
            <a:off x="4" y="-8563"/>
            <a:ext cx="1429247" cy="620318"/>
          </a:xfrm>
          <a:prstGeom prst="rect">
            <a:avLst/>
          </a:prstGeom>
        </p:spPr>
      </p:pic>
      <p:pic>
        <p:nvPicPr>
          <p:cNvPr id="4114" name="Picture 18" descr="https://encrypted-tbn2.gstatic.com/images?q=tbn:ANd9GcTPlbSF-SQNLusfhw9GOkvV4MHVdBuuP1K3MDMwH1mHK9XfSxX-"/>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819089" y="301598"/>
            <a:ext cx="1553863" cy="620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845509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13852" y="274909"/>
            <a:ext cx="6632294" cy="688692"/>
          </a:xfrm>
        </p:spPr>
        <p:txBody>
          <a:bodyPr/>
          <a:lstStyle/>
          <a:p>
            <a:r>
              <a:rPr lang="en-US" dirty="0" err="1" smtClean="0"/>
              <a:t>Stealthwatch</a:t>
            </a:r>
            <a:r>
              <a:rPr lang="ja-JP" altLang="en-US" dirty="0" smtClean="0"/>
              <a:t>と</a:t>
            </a:r>
            <a:r>
              <a:rPr lang="en-US" altLang="ja-JP" dirty="0" smtClean="0"/>
              <a:t> WSA</a:t>
            </a:r>
            <a:r>
              <a:rPr lang="ja-JP" altLang="en-US" dirty="0" smtClean="0"/>
              <a:t>の統合</a:t>
            </a:r>
            <a:endParaRPr lang="en-US" dirty="0"/>
          </a:p>
        </p:txBody>
      </p:sp>
      <p:grpSp>
        <p:nvGrpSpPr>
          <p:cNvPr id="7" name="Group 6"/>
          <p:cNvGrpSpPr/>
          <p:nvPr/>
        </p:nvGrpSpPr>
        <p:grpSpPr>
          <a:xfrm>
            <a:off x="5419115" y="1233390"/>
            <a:ext cx="2757622" cy="1008533"/>
            <a:chOff x="5035623" y="1526450"/>
            <a:chExt cx="2271190" cy="1008533"/>
          </a:xfrm>
        </p:grpSpPr>
        <p:pic>
          <p:nvPicPr>
            <p:cNvPr id="8" name="Picture 7"/>
            <p:cNvPicPr>
              <a:picLocks noChangeAspect="1"/>
            </p:cNvPicPr>
            <p:nvPr/>
          </p:nvPicPr>
          <p:blipFill>
            <a:blip r:embed="rId3"/>
            <a:stretch>
              <a:fillRect/>
            </a:stretch>
          </p:blipFill>
          <p:spPr>
            <a:xfrm>
              <a:off x="5035623" y="1526450"/>
              <a:ext cx="760797" cy="760797"/>
            </a:xfrm>
            <a:prstGeom prst="rect">
              <a:avLst/>
            </a:prstGeom>
            <a:solidFill>
              <a:schemeClr val="bg1"/>
            </a:solidFill>
          </p:spPr>
        </p:pic>
        <p:sp>
          <p:nvSpPr>
            <p:cNvPr id="9" name="Rectangle 8"/>
            <p:cNvSpPr/>
            <p:nvPr/>
          </p:nvSpPr>
          <p:spPr>
            <a:xfrm>
              <a:off x="5798825" y="1580876"/>
              <a:ext cx="1507988" cy="954107"/>
            </a:xfrm>
            <a:prstGeom prst="rect">
              <a:avLst/>
            </a:prstGeom>
          </p:spPr>
          <p:txBody>
            <a:bodyPr wrap="square">
              <a:spAutoFit/>
            </a:bodyPr>
            <a:lstStyle/>
            <a:p>
              <a:r>
                <a:rPr lang="en-US" sz="1400" dirty="0" smtClean="0">
                  <a:solidFill>
                    <a:srgbClr val="003B8A"/>
                  </a:solidFill>
                </a:rPr>
                <a:t>Stealthwatch</a:t>
              </a:r>
              <a:endParaRPr lang="en-US" sz="1400" dirty="0">
                <a:solidFill>
                  <a:srgbClr val="003B8A"/>
                </a:solidFill>
              </a:endParaRPr>
            </a:p>
            <a:p>
              <a:r>
                <a:rPr lang="en-US" sz="1400" dirty="0" smtClean="0">
                  <a:solidFill>
                    <a:srgbClr val="003B8A"/>
                  </a:solidFill>
                </a:rPr>
                <a:t>FlowCollector v6.7</a:t>
              </a:r>
            </a:p>
            <a:p>
              <a:r>
                <a:rPr lang="en-US" sz="1400" dirty="0" smtClean="0">
                  <a:solidFill>
                    <a:srgbClr val="003B8A"/>
                  </a:solidFill>
                </a:rPr>
                <a:t>With Proxy License</a:t>
              </a:r>
            </a:p>
            <a:p>
              <a:pPr algn="ctr"/>
              <a:endParaRPr lang="en-US" sz="1400" dirty="0">
                <a:solidFill>
                  <a:srgbClr val="003B8A"/>
                </a:solidFill>
              </a:endParaRPr>
            </a:p>
          </p:txBody>
        </p:sp>
      </p:grpSp>
      <p:sp>
        <p:nvSpPr>
          <p:cNvPr id="11" name="Pentagon 10"/>
          <p:cNvSpPr/>
          <p:nvPr/>
        </p:nvSpPr>
        <p:spPr>
          <a:xfrm rot="16200000">
            <a:off x="1291524" y="968604"/>
            <a:ext cx="447524" cy="2549651"/>
          </a:xfrm>
          <a:prstGeom prst="homePlate">
            <a:avLst>
              <a:gd name="adj" fmla="val 90797"/>
            </a:avLst>
          </a:prstGeom>
          <a:gradFill flip="none" rotWithShape="1">
            <a:gsLst>
              <a:gs pos="0">
                <a:srgbClr val="2968AF">
                  <a:lumMod val="50000"/>
                  <a:alpha val="90000"/>
                </a:srgbClr>
              </a:gs>
              <a:gs pos="100000">
                <a:srgbClr val="000000">
                  <a:alpha val="0"/>
                </a:srgbClr>
              </a:gs>
            </a:gsLst>
            <a:lin ang="0" scaled="1"/>
            <a:tileRect/>
          </a:gradFill>
          <a:ln w="25400" cap="flat" cmpd="sng" algn="ctr">
            <a:noFill/>
            <a:prstDash val="solid"/>
          </a:ln>
          <a:effectLst/>
        </p:spPr>
        <p:txBody>
          <a:bodyPr rtlCol="0" anchor="ctr"/>
          <a:lstStyle/>
          <a:p>
            <a:pPr algn="ctr" defTabSz="457143" fontAlgn="auto">
              <a:spcBef>
                <a:spcPts val="0"/>
              </a:spcBef>
              <a:spcAft>
                <a:spcPts val="0"/>
              </a:spcAft>
              <a:defRPr/>
            </a:pPr>
            <a:endParaRPr lang="en-US" sz="1400" kern="0" dirty="0">
              <a:solidFill>
                <a:srgbClr val="FFFFFF"/>
              </a:solidFill>
              <a:latin typeface="CiscoSansTT Light"/>
            </a:endParaRPr>
          </a:p>
        </p:txBody>
      </p:sp>
      <p:graphicFrame>
        <p:nvGraphicFramePr>
          <p:cNvPr id="12" name="Table 11"/>
          <p:cNvGraphicFramePr>
            <a:graphicFrameLocks noGrp="1"/>
          </p:cNvGraphicFramePr>
          <p:nvPr>
            <p:extLst/>
          </p:nvPr>
        </p:nvGraphicFramePr>
        <p:xfrm>
          <a:off x="250046" y="2237913"/>
          <a:ext cx="2549650" cy="1918716"/>
        </p:xfrm>
        <a:graphic>
          <a:graphicData uri="http://schemas.openxmlformats.org/drawingml/2006/table">
            <a:tbl>
              <a:tblPr>
                <a:effectLst/>
                <a:tableStyleId>{284E427A-3D55-4303-BF80-6455036E1DE7}</a:tableStyleId>
              </a:tblPr>
              <a:tblGrid>
                <a:gridCol w="1353878">
                  <a:extLst>
                    <a:ext uri="{9D8B030D-6E8A-4147-A177-3AD203B41FA5}">
                      <a16:colId xmlns="" xmlns:a16="http://schemas.microsoft.com/office/drawing/2014/main" val="20000"/>
                    </a:ext>
                  </a:extLst>
                </a:gridCol>
                <a:gridCol w="1195772">
                  <a:extLst>
                    <a:ext uri="{9D8B030D-6E8A-4147-A177-3AD203B41FA5}">
                      <a16:colId xmlns="" xmlns:a16="http://schemas.microsoft.com/office/drawing/2014/main" val="20001"/>
                    </a:ext>
                  </a:extLst>
                </a:gridCol>
              </a:tblGrid>
              <a:tr h="217932">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US" sz="1000" u="none" strike="noStrike" cap="none" normalizeH="0" baseline="0" dirty="0" smtClean="0">
                          <a:ln>
                            <a:noFill/>
                          </a:ln>
                          <a:solidFill>
                            <a:schemeClr val="bg1"/>
                          </a:solidFill>
                          <a:effectLst/>
                        </a:rPr>
                        <a:t>Syslog Information</a:t>
                      </a:r>
                      <a:endParaRPr kumimoji="0" lang="en-US" sz="1000" b="0" i="0" u="none" strike="noStrike" cap="none" normalizeH="0" baseline="0" dirty="0">
                        <a:ln>
                          <a:noFill/>
                        </a:ln>
                        <a:solidFill>
                          <a:schemeClr val="bg1"/>
                        </a:solidFill>
                        <a:effectLst/>
                        <a:latin typeface="Arial" charset="0"/>
                        <a:ea typeface="ＭＳ Ｐゴシック" charset="0"/>
                      </a:endParaRPr>
                    </a:p>
                  </a:txBody>
                  <a:tcPr marL="82296" marR="82296" marT="36576" marB="36576" anchor="ctr" horzOverflow="overflow">
                    <a:gradFill flip="none" rotWithShape="1">
                      <a:gsLst>
                        <a:gs pos="0">
                          <a:srgbClr val="152151"/>
                        </a:gs>
                        <a:gs pos="100000">
                          <a:srgbClr val="004BAF"/>
                        </a:gs>
                      </a:gsLst>
                      <a:lin ang="16200000" scaled="0"/>
                      <a:tileRect/>
                    </a:gra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US" sz="1000" u="none" strike="noStrike" cap="none" normalizeH="0" baseline="0" dirty="0">
                          <a:ln>
                            <a:noFill/>
                          </a:ln>
                          <a:solidFill>
                            <a:schemeClr val="bg1"/>
                          </a:solidFill>
                          <a:effectLst/>
                        </a:rPr>
                        <a:t>Packets</a:t>
                      </a:r>
                      <a:endParaRPr kumimoji="0" lang="en-US" sz="1000" b="0" i="0" u="none" strike="noStrike" cap="none" normalizeH="0" baseline="0" dirty="0">
                        <a:ln>
                          <a:noFill/>
                        </a:ln>
                        <a:solidFill>
                          <a:schemeClr val="bg1"/>
                        </a:solidFill>
                        <a:effectLst/>
                        <a:latin typeface="Arial" charset="0"/>
                        <a:ea typeface="ＭＳ Ｐゴシック" charset="0"/>
                      </a:endParaRPr>
                    </a:p>
                  </a:txBody>
                  <a:tcPr marL="82296" marR="82296" marT="36576" marB="36576" anchor="ctr" horzOverflow="overflow">
                    <a:gradFill flip="none" rotWithShape="1">
                      <a:gsLst>
                        <a:gs pos="0">
                          <a:srgbClr val="152151"/>
                        </a:gs>
                        <a:gs pos="100000">
                          <a:srgbClr val="004BAF"/>
                        </a:gs>
                      </a:gsLst>
                      <a:lin ang="16200000" scaled="0"/>
                      <a:tileRect/>
                    </a:gradFill>
                  </a:tcPr>
                </a:tc>
                <a:extLst>
                  <a:ext uri="{0D108BD9-81ED-4DB2-BD59-A6C34878D82A}">
                    <a16:rowId xmlns="" xmlns:a16="http://schemas.microsoft.com/office/drawing/2014/main" val="10000"/>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US" sz="800" u="none" strike="noStrike" cap="none" normalizeH="0" baseline="0" dirty="0" smtClean="0">
                          <a:ln>
                            <a:noFill/>
                          </a:ln>
                          <a:effectLst/>
                        </a:rPr>
                        <a:t>TIMESTAMP</a:t>
                      </a:r>
                      <a:endParaRPr kumimoji="0" lang="en-US"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US" sz="800" u="none" strike="noStrike" cap="none" normalizeH="0" baseline="0" dirty="0" smtClean="0">
                          <a:ln>
                            <a:noFill/>
                          </a:ln>
                          <a:effectLst/>
                        </a:rPr>
                        <a:t>1456312345</a:t>
                      </a:r>
                    </a:p>
                  </a:txBody>
                  <a:tcPr marL="82296" marR="82296" marT="36576" marB="36576" anchor="ctr" horzOverflow="overflow">
                    <a:solidFill>
                      <a:schemeClr val="bg1"/>
                    </a:solidFill>
                  </a:tcPr>
                </a:tc>
                <a:extLst>
                  <a:ext uri="{0D108BD9-81ED-4DB2-BD59-A6C34878D82A}">
                    <a16:rowId xmlns="" xmlns:a16="http://schemas.microsoft.com/office/drawing/2014/main" val="10001"/>
                  </a:ext>
                </a:extLst>
              </a:tr>
              <a:tr h="188976">
                <a:tc>
                  <a:txBody>
                    <a:bodyPr/>
                    <a:lstStyle/>
                    <a:p>
                      <a:pPr marL="0" marR="0" lvl="0" indent="0" algn="ctr" defTabSz="814388" rtl="0" eaLnBrk="0" fontAlgn="base" latinLnBrk="0" hangingPunct="0">
                        <a:lnSpc>
                          <a:spcPct val="95000"/>
                        </a:lnSpc>
                        <a:spcBef>
                          <a:spcPct val="50000"/>
                        </a:spcBef>
                        <a:spcAft>
                          <a:spcPct val="0"/>
                        </a:spcAft>
                        <a:buClr>
                          <a:srgbClr val="097DBC"/>
                        </a:buClr>
                        <a:buSzPct val="100000"/>
                        <a:buFont typeface="Wingdings" charset="0"/>
                        <a:buNone/>
                        <a:tabLst/>
                        <a:defRPr/>
                      </a:pPr>
                      <a:r>
                        <a:rPr kumimoji="0" lang="en-US" sz="800" b="0" i="0" u="none" strike="noStrike" kern="1200" cap="none" spc="0" normalizeH="0" baseline="0" noProof="0" dirty="0" smtClean="0">
                          <a:ln>
                            <a:noFill/>
                          </a:ln>
                          <a:solidFill>
                            <a:srgbClr val="676767"/>
                          </a:solidFill>
                          <a:effectLst/>
                          <a:uLnTx/>
                          <a:uFillTx/>
                          <a:latin typeface="+mn-lt"/>
                          <a:ea typeface="+mn-ea"/>
                          <a:cs typeface="+mn-cs"/>
                        </a:rPr>
                        <a:t>ELAPSE TIME</a:t>
                      </a:r>
                      <a:endParaRPr kumimoji="0" lang="en-US" sz="800" b="0" i="0" u="none" strike="noStrike" kern="1200" cap="none" spc="0" normalizeH="0" baseline="0" noProof="0" dirty="0">
                        <a:ln>
                          <a:noFill/>
                        </a:ln>
                        <a:solidFill>
                          <a:srgbClr val="676767"/>
                        </a:solidFill>
                        <a:effectLst/>
                        <a:uLnTx/>
                        <a:uFillTx/>
                        <a:latin typeface="Arial" charset="0"/>
                        <a:ea typeface="ＭＳ Ｐゴシック" charset="0"/>
                        <a:cs typeface="+mn-cs"/>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rPr>
                        <a:t>12523</a:t>
                      </a:r>
                    </a:p>
                  </a:txBody>
                  <a:tcPr marL="82296" marR="82296" marT="36576" marB="36576" anchor="ctr" horzOverflow="overflow">
                    <a:solidFill>
                      <a:schemeClr val="bg1"/>
                    </a:solidFill>
                  </a:tcPr>
                </a:tc>
                <a:extLst>
                  <a:ext uri="{0D108BD9-81ED-4DB2-BD59-A6C34878D82A}">
                    <a16:rowId xmlns="" xmlns:a16="http://schemas.microsoft.com/office/drawing/2014/main" val="10002"/>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SOURCE IP</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192.168.2.100</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extLst>
                  <a:ext uri="{0D108BD9-81ED-4DB2-BD59-A6C34878D82A}">
                    <a16:rowId xmlns="" xmlns:a16="http://schemas.microsoft.com/office/drawing/2014/main" val="10003"/>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SOURCE Port</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rPr>
                        <a:t>4567</a:t>
                      </a:r>
                    </a:p>
                  </a:txBody>
                  <a:tcPr marL="82296" marR="82296" marT="36576" marB="36576" anchor="ctr" horzOverflow="overflow">
                    <a:solidFill>
                      <a:schemeClr val="bg1"/>
                    </a:solidFill>
                  </a:tcPr>
                </a:tc>
                <a:extLst>
                  <a:ext uri="{0D108BD9-81ED-4DB2-BD59-A6C34878D82A}">
                    <a16:rowId xmlns="" xmlns:a16="http://schemas.microsoft.com/office/drawing/2014/main" val="10004"/>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DESTINATION IP</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rPr>
                        <a:t>65.12.56.123</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extLst>
                  <a:ext uri="{0D108BD9-81ED-4DB2-BD59-A6C34878D82A}">
                    <a16:rowId xmlns="" xmlns:a16="http://schemas.microsoft.com/office/drawing/2014/main" val="10005"/>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DESTINATION PORT</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rPr>
                        <a:t>80</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extLst>
                  <a:ext uri="{0D108BD9-81ED-4DB2-BD59-A6C34878D82A}">
                    <a16:rowId xmlns="" xmlns:a16="http://schemas.microsoft.com/office/drawing/2014/main" val="10006"/>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BYTES</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rPr>
                        <a:t>400</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extLst>
                  <a:ext uri="{0D108BD9-81ED-4DB2-BD59-A6C34878D82A}">
                    <a16:rowId xmlns="" xmlns:a16="http://schemas.microsoft.com/office/drawing/2014/main" val="10007"/>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URL</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hlinkClick r:id="rId4"/>
                        </a:rPr>
                        <a:t>http://</a:t>
                      </a:r>
                      <a:r>
                        <a:rPr kumimoji="0" lang="en-CA" sz="800" b="0" i="0" u="none" strike="noStrike" cap="none" normalizeH="0" baseline="0" dirty="0" err="1" smtClean="0">
                          <a:ln>
                            <a:noFill/>
                          </a:ln>
                          <a:solidFill>
                            <a:schemeClr val="tx1"/>
                          </a:solidFill>
                          <a:effectLst/>
                          <a:latin typeface="Arial" charset="0"/>
                          <a:ea typeface="ＭＳ Ｐゴシック" charset="0"/>
                          <a:hlinkClick r:id="rId4"/>
                        </a:rPr>
                        <a:t>cisco.com</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extLst>
                  <a:ext uri="{0D108BD9-81ED-4DB2-BD59-A6C34878D82A}">
                    <a16:rowId xmlns="" xmlns:a16="http://schemas.microsoft.com/office/drawing/2014/main" val="10008"/>
                  </a:ext>
                </a:extLst>
              </a:tr>
              <a:tr h="188976">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defRPr/>
                      </a:pPr>
                      <a:r>
                        <a:rPr kumimoji="0" lang="en-CA" sz="800" b="0" i="0" u="none" strike="noStrike" cap="none" normalizeH="0" baseline="0" dirty="0" smtClean="0">
                          <a:ln>
                            <a:noFill/>
                          </a:ln>
                          <a:solidFill>
                            <a:schemeClr val="tx1"/>
                          </a:solidFill>
                          <a:effectLst/>
                          <a:latin typeface="Arial" charset="0"/>
                          <a:ea typeface="ＭＳ Ｐゴシック" charset="0"/>
                        </a:rPr>
                        <a:t>USERNAME</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tc>
                  <a:txBody>
                    <a:bodyPr/>
                    <a:lstStyle/>
                    <a:p>
                      <a:pPr marL="0" marR="0" lvl="0" indent="0" algn="ctr" defTabSz="814388" rtl="0" eaLnBrk="0" fontAlgn="base" latinLnBrk="0" hangingPunct="0">
                        <a:lnSpc>
                          <a:spcPct val="95000"/>
                        </a:lnSpc>
                        <a:spcBef>
                          <a:spcPct val="50000"/>
                        </a:spcBef>
                        <a:spcAft>
                          <a:spcPct val="0"/>
                        </a:spcAft>
                        <a:buClr>
                          <a:schemeClr val="tx2"/>
                        </a:buClr>
                        <a:buSzPct val="100000"/>
                        <a:buFont typeface="Wingdings" charset="0"/>
                        <a:buNone/>
                        <a:tabLst/>
                      </a:pPr>
                      <a:r>
                        <a:rPr kumimoji="0" lang="en-CA" sz="800" b="0" i="0" u="none" strike="noStrike" cap="none" normalizeH="0" baseline="0" dirty="0" smtClean="0">
                          <a:ln>
                            <a:noFill/>
                          </a:ln>
                          <a:solidFill>
                            <a:schemeClr val="tx1"/>
                          </a:solidFill>
                          <a:effectLst/>
                          <a:latin typeface="Arial" charset="0"/>
                          <a:ea typeface="ＭＳ Ｐゴシック" charset="0"/>
                        </a:rPr>
                        <a:t>john</a:t>
                      </a:r>
                      <a:endParaRPr kumimoji="0" lang="en-CA" sz="800" b="0" i="0" u="none" strike="noStrike" cap="none" normalizeH="0" baseline="0" dirty="0">
                        <a:ln>
                          <a:noFill/>
                        </a:ln>
                        <a:solidFill>
                          <a:schemeClr val="tx1"/>
                        </a:solidFill>
                        <a:effectLst/>
                        <a:latin typeface="Arial" charset="0"/>
                        <a:ea typeface="ＭＳ Ｐゴシック" charset="0"/>
                      </a:endParaRPr>
                    </a:p>
                  </a:txBody>
                  <a:tcPr marL="82296" marR="82296" marT="36576" marB="36576" anchor="ctr" horzOverflow="overflow">
                    <a:solidFill>
                      <a:schemeClr val="bg1"/>
                    </a:solidFill>
                  </a:tcPr>
                </a:tc>
                <a:extLst>
                  <a:ext uri="{0D108BD9-81ED-4DB2-BD59-A6C34878D82A}">
                    <a16:rowId xmlns="" xmlns:a16="http://schemas.microsoft.com/office/drawing/2014/main" val="10009"/>
                  </a:ext>
                </a:extLst>
              </a:tr>
            </a:tbl>
          </a:graphicData>
        </a:graphic>
      </p:graphicFrame>
      <p:grpSp>
        <p:nvGrpSpPr>
          <p:cNvPr id="13" name="Group 12"/>
          <p:cNvGrpSpPr/>
          <p:nvPr/>
        </p:nvGrpSpPr>
        <p:grpSpPr>
          <a:xfrm>
            <a:off x="1968420" y="1283120"/>
            <a:ext cx="3450697" cy="340661"/>
            <a:chOff x="2694498" y="1576180"/>
            <a:chExt cx="2742756" cy="340661"/>
          </a:xfrm>
        </p:grpSpPr>
        <p:cxnSp>
          <p:nvCxnSpPr>
            <p:cNvPr id="14" name="Straight Arrow Connector 13"/>
            <p:cNvCxnSpPr/>
            <p:nvPr/>
          </p:nvCxnSpPr>
          <p:spPr>
            <a:xfrm>
              <a:off x="2694498" y="1916841"/>
              <a:ext cx="2742756" cy="0"/>
            </a:xfrm>
            <a:prstGeom prst="straightConnector1">
              <a:avLst/>
            </a:prstGeom>
            <a:ln>
              <a:tailEnd type="triangle" w="med" len="med"/>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3721671" y="1576180"/>
              <a:ext cx="795004" cy="307777"/>
            </a:xfrm>
            <a:prstGeom prst="rect">
              <a:avLst/>
            </a:prstGeom>
          </p:spPr>
          <p:txBody>
            <a:bodyPr wrap="square">
              <a:spAutoFit/>
            </a:bodyPr>
            <a:lstStyle/>
            <a:p>
              <a:r>
                <a:rPr lang="en-US" sz="1400" dirty="0" smtClean="0">
                  <a:solidFill>
                    <a:schemeClr val="tx2">
                      <a:lumMod val="50000"/>
                    </a:schemeClr>
                  </a:solidFill>
                </a:rPr>
                <a:t>Syslog</a:t>
              </a:r>
              <a:endParaRPr lang="en-US" sz="1400" dirty="0"/>
            </a:p>
          </p:txBody>
        </p:sp>
      </p:grpSp>
      <p:sp>
        <p:nvSpPr>
          <p:cNvPr id="16" name="Rectangle 15"/>
          <p:cNvSpPr/>
          <p:nvPr/>
        </p:nvSpPr>
        <p:spPr>
          <a:xfrm>
            <a:off x="6342856" y="2081537"/>
            <a:ext cx="2327780" cy="969492"/>
          </a:xfrm>
          <a:prstGeom prst="rect">
            <a:avLst/>
          </a:prstGeom>
          <a:solidFill>
            <a:srgbClr val="FFFFFF">
              <a:alpha val="79000"/>
            </a:srgbClr>
          </a:solidFill>
          <a:ln w="3175" cmpd="sng">
            <a:noFill/>
          </a:ln>
          <a:effectLst/>
        </p:spPr>
        <p:style>
          <a:lnRef idx="3">
            <a:schemeClr val="lt1"/>
          </a:lnRef>
          <a:fillRef idx="1">
            <a:schemeClr val="accent4"/>
          </a:fillRef>
          <a:effectRef idx="1">
            <a:schemeClr val="accent4"/>
          </a:effectRef>
          <a:fontRef idx="minor">
            <a:schemeClr val="lt1"/>
          </a:fontRef>
        </p:style>
        <p:txBody>
          <a:bodyPr wrap="square" lIns="91436" tIns="45718" rIns="91436" bIns="45718">
            <a:spAutoFit/>
          </a:bodyPr>
          <a:lstStyle/>
          <a:p>
            <a:r>
              <a:rPr lang="en-US" sz="1200" b="1" dirty="0" smtClean="0">
                <a:solidFill>
                  <a:srgbClr val="004BAF"/>
                </a:solidFill>
              </a:rPr>
              <a:t>Proxy Watch </a:t>
            </a:r>
            <a:r>
              <a:rPr lang="ja-JP" altLang="en-US" sz="1200" b="1" dirty="0" smtClean="0">
                <a:solidFill>
                  <a:srgbClr val="004BAF"/>
                </a:solidFill>
              </a:rPr>
              <a:t>が提供する機能</a:t>
            </a:r>
            <a:endParaRPr lang="en-US" sz="1100" dirty="0" smtClean="0">
              <a:solidFill>
                <a:srgbClr val="004BAF"/>
              </a:solidFill>
            </a:endParaRPr>
          </a:p>
          <a:p>
            <a:pPr marL="230179" lvl="1" indent="-115883">
              <a:buFont typeface="Arial"/>
              <a:buChar char="•"/>
            </a:pPr>
            <a:r>
              <a:rPr lang="en-US" altLang="ja-JP" sz="1100" dirty="0" smtClean="0">
                <a:solidFill>
                  <a:srgbClr val="004BAF"/>
                </a:solidFill>
              </a:rPr>
              <a:t>HTTP</a:t>
            </a:r>
            <a:r>
              <a:rPr lang="ja-JP" altLang="en-US" sz="1100" dirty="0" smtClean="0">
                <a:solidFill>
                  <a:srgbClr val="004BAF"/>
                </a:solidFill>
              </a:rPr>
              <a:t>トラフィックのかしか</a:t>
            </a:r>
            <a:endParaRPr lang="en-US" sz="1100" dirty="0" smtClean="0">
              <a:solidFill>
                <a:srgbClr val="004BAF"/>
              </a:solidFill>
            </a:endParaRPr>
          </a:p>
          <a:p>
            <a:pPr marL="230179" lvl="1" indent="-115883">
              <a:buFont typeface="Arial"/>
              <a:buChar char="•"/>
            </a:pPr>
            <a:r>
              <a:rPr lang="ja-JP" altLang="en-US" sz="1100" dirty="0" smtClean="0">
                <a:solidFill>
                  <a:srgbClr val="004BAF"/>
                </a:solidFill>
              </a:rPr>
              <a:t>接続性の分析</a:t>
            </a:r>
            <a:endParaRPr lang="en-US" sz="1100" dirty="0" smtClean="0">
              <a:solidFill>
                <a:srgbClr val="004BAF"/>
              </a:solidFill>
            </a:endParaRPr>
          </a:p>
          <a:p>
            <a:pPr marL="230179" lvl="1" indent="-115883">
              <a:buFont typeface="Arial"/>
              <a:buChar char="•"/>
            </a:pPr>
            <a:r>
              <a:rPr lang="ja-JP" altLang="en-US" sz="1100" dirty="0" smtClean="0">
                <a:solidFill>
                  <a:srgbClr val="004BAF"/>
                </a:solidFill>
              </a:rPr>
              <a:t>ユーザ情報</a:t>
            </a:r>
            <a:endParaRPr lang="en-US" sz="1100" dirty="0" smtClean="0">
              <a:solidFill>
                <a:srgbClr val="004BAF"/>
              </a:solidFill>
            </a:endParaRPr>
          </a:p>
          <a:p>
            <a:pPr marL="114296" lvl="1"/>
            <a:endParaRPr lang="en-US" sz="1200" dirty="0" smtClean="0">
              <a:solidFill>
                <a:srgbClr val="004BAF"/>
              </a:solidFill>
            </a:endParaRPr>
          </a:p>
        </p:txBody>
      </p:sp>
      <p:pic>
        <p:nvPicPr>
          <p:cNvPr id="18" name="Picture 21"/>
          <p:cNvPicPr>
            <a:picLocks noChangeAspect="1" noChangeArrowheads="1"/>
          </p:cNvPicPr>
          <p:nvPr/>
        </p:nvPicPr>
        <p:blipFill>
          <a:blip r:embed="rId5"/>
          <a:srcRect/>
          <a:stretch>
            <a:fillRect/>
          </a:stretch>
        </p:blipFill>
        <p:spPr bwMode="auto">
          <a:xfrm>
            <a:off x="922259" y="1374549"/>
            <a:ext cx="1046163" cy="714375"/>
          </a:xfrm>
          <a:prstGeom prst="rect">
            <a:avLst/>
          </a:prstGeom>
          <a:noFill/>
          <a:ln w="9525">
            <a:noFill/>
            <a:miter lim="800000"/>
            <a:headEnd/>
            <a:tailEnd/>
          </a:ln>
        </p:spPr>
      </p:pic>
      <p:sp>
        <p:nvSpPr>
          <p:cNvPr id="4" name="TextBox 3"/>
          <p:cNvSpPr txBox="1"/>
          <p:nvPr/>
        </p:nvSpPr>
        <p:spPr>
          <a:xfrm>
            <a:off x="3225135" y="1623071"/>
            <a:ext cx="937267" cy="307777"/>
          </a:xfrm>
          <a:prstGeom prst="rect">
            <a:avLst/>
          </a:prstGeom>
          <a:noFill/>
        </p:spPr>
        <p:txBody>
          <a:bodyPr wrap="square" rtlCol="0">
            <a:spAutoFit/>
          </a:bodyPr>
          <a:lstStyle/>
          <a:p>
            <a:r>
              <a:rPr lang="en-US" sz="1400" dirty="0" smtClean="0">
                <a:solidFill>
                  <a:srgbClr val="002060"/>
                </a:solidFill>
              </a:rPr>
              <a:t>UDP/514</a:t>
            </a:r>
            <a:endParaRPr lang="en-US" sz="1400" dirty="0">
              <a:solidFill>
                <a:srgbClr val="002060"/>
              </a:solidFill>
            </a:endParaRPr>
          </a:p>
        </p:txBody>
      </p:sp>
      <p:pic>
        <p:nvPicPr>
          <p:cNvPr id="23" name="Picture 2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225133" y="4008002"/>
            <a:ext cx="5768396" cy="669947"/>
          </a:xfrm>
          <a:prstGeom prst="rect">
            <a:avLst/>
          </a:prstGeom>
        </p:spPr>
      </p:pic>
      <p:pic>
        <p:nvPicPr>
          <p:cNvPr id="24" name="Picture 23" descr="Flow Query Right Click.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225133" y="2768333"/>
            <a:ext cx="2589048" cy="1228477"/>
          </a:xfrm>
          <a:prstGeom prst="rect">
            <a:avLst/>
          </a:prstGeom>
        </p:spPr>
      </p:pic>
      <p:cxnSp>
        <p:nvCxnSpPr>
          <p:cNvPr id="25" name="Elbow Connector 24"/>
          <p:cNvCxnSpPr/>
          <p:nvPr/>
        </p:nvCxnSpPr>
        <p:spPr>
          <a:xfrm>
            <a:off x="5814185" y="3138381"/>
            <a:ext cx="1831965" cy="813022"/>
          </a:xfrm>
          <a:prstGeom prst="bentConnector3">
            <a:avLst>
              <a:gd name="adj1" fmla="val 99914"/>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6367051" y="3127189"/>
            <a:ext cx="1279099" cy="369332"/>
          </a:xfrm>
          <a:prstGeom prst="rect">
            <a:avLst/>
          </a:prstGeom>
          <a:noFill/>
        </p:spPr>
        <p:txBody>
          <a:bodyPr wrap="square" rtlCol="0">
            <a:spAutoFit/>
          </a:bodyPr>
          <a:lstStyle/>
          <a:p>
            <a:r>
              <a:rPr lang="en-US" smtClean="0"/>
              <a:t>Proxy logs</a:t>
            </a:r>
            <a:endParaRPr lang="en-US"/>
          </a:p>
        </p:txBody>
      </p:sp>
    </p:spTree>
    <p:extLst>
      <p:ext uri="{BB962C8B-B14F-4D97-AF65-F5344CB8AC3E}">
        <p14:creationId xmlns:p14="http://schemas.microsoft.com/office/powerpoint/2010/main" val="289457398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8860" y="343184"/>
            <a:ext cx="8632783" cy="731837"/>
          </a:xfrm>
        </p:spPr>
        <p:txBody>
          <a:bodyPr/>
          <a:lstStyle/>
          <a:p>
            <a:pPr lvl="0"/>
            <a:r>
              <a:rPr lang="en-US" sz="3600" b="1" dirty="0" smtClean="0"/>
              <a:t>ISR Router </a:t>
            </a:r>
            <a:r>
              <a:rPr lang="en-US" b="1" dirty="0" smtClean="0"/>
              <a:t>UCS-E Blade</a:t>
            </a:r>
            <a:r>
              <a:rPr lang="ja-JP" altLang="en-US" b="1" dirty="0" smtClean="0"/>
              <a:t>と</a:t>
            </a:r>
            <a:r>
              <a:rPr lang="en-US" altLang="ja-JP" b="1" dirty="0" smtClean="0"/>
              <a:t>WSA</a:t>
            </a:r>
            <a:r>
              <a:rPr lang="ja-JP" altLang="en-US" b="1" dirty="0" smtClean="0"/>
              <a:t>の統合</a:t>
            </a:r>
            <a:r>
              <a:rPr lang="en-US" b="1" dirty="0"/>
              <a:t/>
            </a:r>
            <a:br>
              <a:rPr lang="en-US" b="1" dirty="0"/>
            </a:br>
            <a:endParaRPr lang="en-US" dirty="0"/>
          </a:p>
        </p:txBody>
      </p:sp>
      <p:pic>
        <p:nvPicPr>
          <p:cNvPr id="5" name="Picture 6" descr="http://service.pcconnection.com/images/inhouse/57BCBE19-6F3E-4C9B-9104-42C3CB5372C8.jpg?interpolation=lanczos-none&amp;fit=inside%7C800%3A*"/>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589749" y="1057710"/>
            <a:ext cx="3192688" cy="231397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 5"/>
          <p:cNvGraphicFramePr/>
          <p:nvPr>
            <p:extLst/>
          </p:nvPr>
        </p:nvGraphicFramePr>
        <p:xfrm>
          <a:off x="104176" y="1180619"/>
          <a:ext cx="6516547" cy="356500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Box 7"/>
          <p:cNvSpPr txBox="1"/>
          <p:nvPr/>
        </p:nvSpPr>
        <p:spPr>
          <a:xfrm>
            <a:off x="1959012" y="1539436"/>
            <a:ext cx="937550" cy="553998"/>
          </a:xfrm>
          <a:prstGeom prst="rect">
            <a:avLst/>
          </a:prstGeom>
          <a:noFill/>
        </p:spPr>
        <p:txBody>
          <a:bodyPr wrap="square" rtlCol="0">
            <a:spAutoFit/>
          </a:bodyPr>
          <a:lstStyle/>
          <a:p>
            <a:pPr algn="ctr"/>
            <a:r>
              <a:rPr lang="en-US" sz="1000" dirty="0" smtClean="0">
                <a:solidFill>
                  <a:schemeClr val="bg1"/>
                </a:solidFill>
                <a:latin typeface="+mn-lt"/>
              </a:rPr>
              <a:t>Deployment Guide available</a:t>
            </a:r>
            <a:endParaRPr lang="en-US" sz="1000" dirty="0">
              <a:solidFill>
                <a:schemeClr val="bg1"/>
              </a:solidFill>
              <a:latin typeface="+mn-lt"/>
            </a:endParaRPr>
          </a:p>
        </p:txBody>
      </p:sp>
      <p:sp>
        <p:nvSpPr>
          <p:cNvPr id="10" name="TextBox 9"/>
          <p:cNvSpPr txBox="1"/>
          <p:nvPr/>
        </p:nvSpPr>
        <p:spPr>
          <a:xfrm>
            <a:off x="3776242" y="2688532"/>
            <a:ext cx="995423" cy="553998"/>
          </a:xfrm>
          <a:prstGeom prst="rect">
            <a:avLst/>
          </a:prstGeom>
          <a:noFill/>
        </p:spPr>
        <p:txBody>
          <a:bodyPr wrap="square" rtlCol="0">
            <a:spAutoFit/>
          </a:bodyPr>
          <a:lstStyle/>
          <a:p>
            <a:pPr algn="ctr"/>
            <a:r>
              <a:rPr lang="en-US" sz="1000" dirty="0" smtClean="0">
                <a:solidFill>
                  <a:schemeClr val="bg1"/>
                </a:solidFill>
              </a:rPr>
              <a:t>Licensing remains the same</a:t>
            </a:r>
            <a:endParaRPr lang="en-US" sz="1000" dirty="0">
              <a:solidFill>
                <a:schemeClr val="bg1"/>
              </a:solidFill>
            </a:endParaRPr>
          </a:p>
        </p:txBody>
      </p:sp>
      <p:sp>
        <p:nvSpPr>
          <p:cNvPr id="11" name="TextBox 10"/>
          <p:cNvSpPr txBox="1"/>
          <p:nvPr/>
        </p:nvSpPr>
        <p:spPr>
          <a:xfrm>
            <a:off x="1972037" y="3808071"/>
            <a:ext cx="924529" cy="553998"/>
          </a:xfrm>
          <a:prstGeom prst="rect">
            <a:avLst/>
          </a:prstGeom>
          <a:noFill/>
        </p:spPr>
        <p:txBody>
          <a:bodyPr wrap="square" rtlCol="0">
            <a:spAutoFit/>
          </a:bodyPr>
          <a:lstStyle/>
          <a:p>
            <a:pPr algn="ctr"/>
            <a:r>
              <a:rPr lang="en-US" sz="1000" dirty="0" smtClean="0">
                <a:solidFill>
                  <a:schemeClr val="bg1"/>
                </a:solidFill>
              </a:rPr>
              <a:t>Sizing is based on RPS</a:t>
            </a:r>
            <a:endParaRPr lang="en-US" sz="1000" dirty="0">
              <a:solidFill>
                <a:schemeClr val="bg1"/>
              </a:solidFill>
            </a:endParaRPr>
          </a:p>
        </p:txBody>
      </p:sp>
      <p:sp>
        <p:nvSpPr>
          <p:cNvPr id="2" name="TextBox 1"/>
          <p:cNvSpPr txBox="1"/>
          <p:nvPr/>
        </p:nvSpPr>
        <p:spPr>
          <a:xfrm>
            <a:off x="5023417" y="2515411"/>
            <a:ext cx="4107081" cy="1754327"/>
          </a:xfrm>
          <a:prstGeom prst="rect">
            <a:avLst/>
          </a:prstGeom>
          <a:noFill/>
        </p:spPr>
        <p:txBody>
          <a:bodyPr wrap="square" rtlCol="0">
            <a:spAutoFit/>
          </a:bodyPr>
          <a:lstStyle/>
          <a:p>
            <a:r>
              <a:rPr lang="ja-JP" altLang="en-US" b="1" dirty="0" smtClean="0"/>
              <a:t>ユースケース</a:t>
            </a:r>
            <a:endParaRPr lang="en-US" dirty="0" smtClean="0"/>
          </a:p>
          <a:p>
            <a:pPr marL="285750" indent="-285750">
              <a:buFont typeface="Arial" charset="0"/>
              <a:buChar char="•"/>
            </a:pPr>
            <a:r>
              <a:rPr lang="ja-JP" altLang="en-US" dirty="0" smtClean="0"/>
              <a:t>外部</a:t>
            </a:r>
            <a:r>
              <a:rPr lang="en-US" altLang="ja-JP" dirty="0" smtClean="0"/>
              <a:t>VM</a:t>
            </a:r>
            <a:r>
              <a:rPr lang="ja-JP" altLang="en-US" dirty="0" smtClean="0"/>
              <a:t>インフラがない</a:t>
            </a:r>
            <a:endParaRPr lang="en-US" dirty="0" smtClean="0"/>
          </a:p>
          <a:p>
            <a:pPr marL="285750" indent="-285750">
              <a:buFont typeface="Arial" charset="0"/>
              <a:buChar char="•"/>
            </a:pPr>
            <a:r>
              <a:rPr lang="ja-JP" altLang="en-US" dirty="0" smtClean="0"/>
              <a:t>ルータ内部で</a:t>
            </a:r>
            <a:r>
              <a:rPr lang="en-US" altLang="ja-JP" dirty="0" smtClean="0"/>
              <a:t>WCCP</a:t>
            </a:r>
            <a:r>
              <a:rPr lang="ja-JP" altLang="en-US" dirty="0" smtClean="0"/>
              <a:t>を完結させたい</a:t>
            </a:r>
            <a:endParaRPr lang="en-US" dirty="0" smtClean="0"/>
          </a:p>
          <a:p>
            <a:pPr marL="285750" indent="-285750">
              <a:buFont typeface="Arial" charset="0"/>
              <a:buChar char="•"/>
            </a:pPr>
            <a:r>
              <a:rPr lang="ja-JP" altLang="en-US" dirty="0" smtClean="0"/>
              <a:t>セキュリティだけでなく、キャッシングも行いたい（</a:t>
            </a:r>
            <a:r>
              <a:rPr lang="en-US" altLang="ja-JP" dirty="0" smtClean="0"/>
              <a:t>ISR</a:t>
            </a:r>
            <a:r>
              <a:rPr lang="ja-JP" altLang="en-US" dirty="0" smtClean="0"/>
              <a:t>＆</a:t>
            </a:r>
            <a:r>
              <a:rPr lang="en-US" altLang="ja-JP" dirty="0" smtClean="0"/>
              <a:t>CWS</a:t>
            </a:r>
            <a:r>
              <a:rPr lang="ja-JP" altLang="en-US" dirty="0" smtClean="0"/>
              <a:t>との差別化）</a:t>
            </a:r>
            <a:endParaRPr lang="en-US" dirty="0" smtClean="0"/>
          </a:p>
          <a:p>
            <a:pPr marL="285750" indent="-285750">
              <a:buFont typeface="Arial" charset="0"/>
              <a:buChar char="•"/>
            </a:pPr>
            <a:r>
              <a:rPr lang="ja-JP" altLang="en-US" dirty="0" smtClean="0"/>
              <a:t>ローカルでポリシー設定したい</a:t>
            </a:r>
            <a:endParaRPr lang="en-US" dirty="0"/>
          </a:p>
        </p:txBody>
      </p:sp>
    </p:spTree>
    <p:extLst>
      <p:ext uri="{BB962C8B-B14F-4D97-AF65-F5344CB8AC3E}">
        <p14:creationId xmlns:p14="http://schemas.microsoft.com/office/powerpoint/2010/main" val="166837392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ja-JP" dirty="0" smtClean="0"/>
              <a:t>WSA </a:t>
            </a:r>
            <a:r>
              <a:rPr lang="ja-JP" altLang="en-US" dirty="0" smtClean="0"/>
              <a:t>と</a:t>
            </a:r>
            <a:r>
              <a:rPr lang="en-US" altLang="ja-JP" dirty="0" smtClean="0"/>
              <a:t> AMP Thread Grid</a:t>
            </a:r>
            <a:r>
              <a:rPr lang="ja-JP" altLang="en-US" dirty="0" smtClean="0"/>
              <a:t>の統合</a:t>
            </a:r>
            <a:endParaRPr lang="en-US" dirty="0"/>
          </a:p>
        </p:txBody>
      </p:sp>
      <p:pic>
        <p:nvPicPr>
          <p:cNvPr id="4" name="Picture 3" descr="スクリーンショット 0028-06-29 13.30.42.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363950" y="1073152"/>
            <a:ext cx="2515734" cy="3211575"/>
          </a:xfrm>
          <a:prstGeom prst="rect">
            <a:avLst/>
          </a:prstGeom>
        </p:spPr>
      </p:pic>
      <p:sp>
        <p:nvSpPr>
          <p:cNvPr id="5" name="TextBox 4"/>
          <p:cNvSpPr txBox="1"/>
          <p:nvPr/>
        </p:nvSpPr>
        <p:spPr>
          <a:xfrm>
            <a:off x="437766" y="1227252"/>
            <a:ext cx="4587665" cy="2308324"/>
          </a:xfrm>
          <a:prstGeom prst="rect">
            <a:avLst/>
          </a:prstGeom>
          <a:noFill/>
        </p:spPr>
        <p:txBody>
          <a:bodyPr wrap="square" rtlCol="0">
            <a:spAutoFit/>
          </a:bodyPr>
          <a:lstStyle/>
          <a:p>
            <a:r>
              <a:rPr lang="en-US" altLang="ja-JP" b="1" dirty="0" smtClean="0"/>
              <a:t>WSA</a:t>
            </a:r>
            <a:r>
              <a:rPr lang="ja-JP" altLang="en-US" b="1" dirty="0" smtClean="0"/>
              <a:t>がアップロードするサンドボックスでは</a:t>
            </a:r>
            <a:r>
              <a:rPr lang="en-US" altLang="ja-JP" b="1" dirty="0" smtClean="0"/>
              <a:t> Thread Grid</a:t>
            </a:r>
            <a:r>
              <a:rPr lang="ja-JP" altLang="en-US" b="1" dirty="0" smtClean="0"/>
              <a:t>が稼働</a:t>
            </a:r>
            <a:endParaRPr lang="en-US" altLang="ja-JP" b="1" dirty="0" smtClean="0"/>
          </a:p>
          <a:p>
            <a:endParaRPr lang="en-US" altLang="ja-JP" b="1" dirty="0"/>
          </a:p>
          <a:p>
            <a:r>
              <a:rPr lang="ja-JP" altLang="en-US" b="1" dirty="0" smtClean="0"/>
              <a:t>サンドボックスにアップロードできるファイル数に制限がある</a:t>
            </a:r>
            <a:endParaRPr lang="en-US" altLang="ja-JP" b="1" dirty="0" smtClean="0"/>
          </a:p>
          <a:p>
            <a:endParaRPr lang="en-US" altLang="ja-JP" b="1" dirty="0"/>
          </a:p>
          <a:p>
            <a:endParaRPr lang="en-US" dirty="0" smtClean="0"/>
          </a:p>
          <a:p>
            <a:pPr marL="285750" indent="-285750">
              <a:buFont typeface="Arial" charset="0"/>
              <a:buChar char="•"/>
            </a:pPr>
            <a:endParaRPr lang="en-US" dirty="0"/>
          </a:p>
        </p:txBody>
      </p:sp>
    </p:spTree>
    <p:extLst>
      <p:ext uri="{BB962C8B-B14F-4D97-AF65-F5344CB8AC3E}">
        <p14:creationId xmlns:p14="http://schemas.microsoft.com/office/powerpoint/2010/main" val="292299502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15846" y="1347788"/>
            <a:ext cx="8345488" cy="3168210"/>
          </a:xfrm>
        </p:spPr>
        <p:txBody>
          <a:bodyPr/>
          <a:lstStyle/>
          <a:p>
            <a:r>
              <a:rPr lang="en-US" altLang="ja-JP" sz="2400" dirty="0" smtClean="0">
                <a:solidFill>
                  <a:srgbClr val="343434"/>
                </a:solidFill>
              </a:rPr>
              <a:t>Web Security Updates</a:t>
            </a:r>
          </a:p>
          <a:p>
            <a:pPr marL="57136" indent="0">
              <a:buNone/>
            </a:pPr>
            <a:r>
              <a:rPr lang="en-US" altLang="ja-JP" sz="1600" dirty="0" smtClean="0">
                <a:solidFill>
                  <a:srgbClr val="FF0000"/>
                </a:solidFill>
              </a:rPr>
              <a:t>W</a:t>
            </a:r>
            <a:r>
              <a:rPr lang="en-US" altLang="ja-JP" sz="1600" dirty="0" smtClean="0"/>
              <a:t>eb </a:t>
            </a:r>
            <a:r>
              <a:rPr lang="en-US" altLang="ja-JP" sz="1600" dirty="0">
                <a:solidFill>
                  <a:srgbClr val="FF0000"/>
                </a:solidFill>
              </a:rPr>
              <a:t>S</a:t>
            </a:r>
            <a:r>
              <a:rPr lang="en-US" altLang="ja-JP" sz="1600" dirty="0"/>
              <a:t>ecurity </a:t>
            </a:r>
            <a:r>
              <a:rPr lang="en-US" altLang="ja-JP" sz="1600" dirty="0">
                <a:solidFill>
                  <a:srgbClr val="FF0000"/>
                </a:solidFill>
              </a:rPr>
              <a:t>A</a:t>
            </a:r>
            <a:r>
              <a:rPr lang="en-US" altLang="ja-JP" sz="1600" dirty="0"/>
              <a:t>ppliance (</a:t>
            </a:r>
            <a:r>
              <a:rPr lang="ja-JP" altLang="en-US" sz="1600" dirty="0" smtClean="0"/>
              <a:t>オンプレミス・ウェブプロキシ</a:t>
            </a:r>
            <a:r>
              <a:rPr lang="en-US" altLang="ja-JP" sz="1600" dirty="0" smtClean="0"/>
              <a:t>)</a:t>
            </a:r>
            <a:endParaRPr lang="en-US" altLang="ja-JP" sz="1600" dirty="0">
              <a:solidFill>
                <a:srgbClr val="FF0000"/>
              </a:solidFill>
            </a:endParaRPr>
          </a:p>
          <a:p>
            <a:pPr marL="57136" indent="0">
              <a:buNone/>
            </a:pPr>
            <a:r>
              <a:rPr lang="en-US" altLang="ja-JP" sz="1600" dirty="0" smtClean="0">
                <a:solidFill>
                  <a:srgbClr val="FF0000"/>
                </a:solidFill>
              </a:rPr>
              <a:t>C</a:t>
            </a:r>
            <a:r>
              <a:rPr lang="en-US" altLang="ja-JP" sz="1600" dirty="0" smtClean="0"/>
              <a:t>loud </a:t>
            </a:r>
            <a:r>
              <a:rPr lang="en-US" altLang="ja-JP" sz="1600" dirty="0" smtClean="0">
                <a:solidFill>
                  <a:srgbClr val="FF0000"/>
                </a:solidFill>
              </a:rPr>
              <a:t>W</a:t>
            </a:r>
            <a:r>
              <a:rPr lang="en-US" altLang="ja-JP" sz="1600" dirty="0" smtClean="0"/>
              <a:t>eb </a:t>
            </a:r>
            <a:r>
              <a:rPr lang="en-US" altLang="ja-JP" sz="1600" dirty="0" smtClean="0">
                <a:solidFill>
                  <a:srgbClr val="FF0000"/>
                </a:solidFill>
              </a:rPr>
              <a:t>S</a:t>
            </a:r>
            <a:r>
              <a:rPr lang="en-US" altLang="ja-JP" sz="1600" dirty="0" smtClean="0"/>
              <a:t>ecurity (</a:t>
            </a:r>
            <a:r>
              <a:rPr lang="ja-JP" altLang="en-US" sz="1600" dirty="0" smtClean="0"/>
              <a:t>クラウド・ウェブプロキシ</a:t>
            </a:r>
            <a:r>
              <a:rPr lang="en-US" altLang="ja-JP" sz="1600" dirty="0" smtClean="0"/>
              <a:t>)</a:t>
            </a:r>
          </a:p>
          <a:p>
            <a:pPr marL="57136" indent="0">
              <a:buNone/>
            </a:pPr>
            <a:r>
              <a:rPr lang="en-US" sz="1600" dirty="0" smtClean="0">
                <a:solidFill>
                  <a:srgbClr val="FF0000"/>
                </a:solidFill>
              </a:rPr>
              <a:t>C</a:t>
            </a:r>
            <a:r>
              <a:rPr lang="en-US" sz="1600" dirty="0" smtClean="0"/>
              <a:t>ognitive </a:t>
            </a:r>
            <a:r>
              <a:rPr lang="en-US" sz="1600" dirty="0">
                <a:solidFill>
                  <a:srgbClr val="FF0000"/>
                </a:solidFill>
              </a:rPr>
              <a:t>T</a:t>
            </a:r>
            <a:r>
              <a:rPr lang="en-US" sz="1600" dirty="0"/>
              <a:t>hreat </a:t>
            </a:r>
            <a:r>
              <a:rPr lang="en-US" sz="1600" dirty="0">
                <a:solidFill>
                  <a:srgbClr val="FF0000"/>
                </a:solidFill>
              </a:rPr>
              <a:t>A</a:t>
            </a:r>
            <a:r>
              <a:rPr lang="en-US" sz="1600" dirty="0"/>
              <a:t>nalytics </a:t>
            </a:r>
            <a:r>
              <a:rPr lang="en-US" altLang="ja-JP" sz="1600" dirty="0" smtClean="0"/>
              <a:t>(</a:t>
            </a:r>
            <a:r>
              <a:rPr lang="ja-JP" altLang="en-US" sz="1600" dirty="0" smtClean="0"/>
              <a:t>振る舞い型の脅威検出システム</a:t>
            </a:r>
            <a:r>
              <a:rPr lang="en-US" altLang="ja-JP" sz="1600" dirty="0" smtClean="0"/>
              <a:t>)</a:t>
            </a:r>
          </a:p>
          <a:p>
            <a:pPr lvl="0">
              <a:buClr>
                <a:srgbClr val="676767"/>
              </a:buClr>
            </a:pPr>
            <a:r>
              <a:rPr lang="en-US" altLang="ja-JP" sz="2400" dirty="0" smtClean="0">
                <a:solidFill>
                  <a:srgbClr val="343434"/>
                </a:solidFill>
              </a:rPr>
              <a:t>DNS </a:t>
            </a:r>
            <a:r>
              <a:rPr lang="en-US" altLang="ja-JP" sz="2400" dirty="0">
                <a:solidFill>
                  <a:srgbClr val="343434"/>
                </a:solidFill>
              </a:rPr>
              <a:t>Security </a:t>
            </a:r>
            <a:r>
              <a:rPr lang="en-US" altLang="ja-JP" sz="2400" dirty="0" smtClean="0">
                <a:solidFill>
                  <a:srgbClr val="343434"/>
                </a:solidFill>
              </a:rPr>
              <a:t>Updates</a:t>
            </a:r>
            <a:endParaRPr lang="en-US" sz="1600" dirty="0" smtClean="0"/>
          </a:p>
          <a:p>
            <a:pPr marL="57136" indent="0">
              <a:buNone/>
            </a:pPr>
            <a:r>
              <a:rPr lang="en-US" sz="1600" dirty="0" smtClean="0">
                <a:solidFill>
                  <a:srgbClr val="FF0000"/>
                </a:solidFill>
              </a:rPr>
              <a:t> </a:t>
            </a:r>
            <a:r>
              <a:rPr lang="en-US" sz="1600" dirty="0" err="1" smtClean="0">
                <a:solidFill>
                  <a:srgbClr val="FF0000"/>
                </a:solidFill>
              </a:rPr>
              <a:t>OpenDNS</a:t>
            </a:r>
            <a:r>
              <a:rPr lang="en-US" sz="1600" dirty="0" smtClean="0"/>
              <a:t> (</a:t>
            </a:r>
            <a:r>
              <a:rPr lang="ja-JP" altLang="en-US" sz="1600" dirty="0" smtClean="0"/>
              <a:t>セキュリティ特化型の</a:t>
            </a:r>
            <a:r>
              <a:rPr lang="en-US" sz="1600" dirty="0" err="1" smtClean="0"/>
              <a:t>再帰</a:t>
            </a:r>
            <a:r>
              <a:rPr lang="en-US" altLang="ja-JP" sz="1600" dirty="0" err="1" smtClean="0"/>
              <a:t>DNS</a:t>
            </a:r>
            <a:r>
              <a:rPr lang="ja-JP" altLang="en-US" sz="1600" dirty="0" smtClean="0"/>
              <a:t>サービス</a:t>
            </a:r>
            <a:r>
              <a:rPr lang="en-US" sz="1600" dirty="0" smtClean="0"/>
              <a:t>)</a:t>
            </a:r>
          </a:p>
          <a:p>
            <a:endParaRPr lang="en-US" sz="1600" dirty="0"/>
          </a:p>
          <a:p>
            <a:endParaRPr lang="en-US" sz="1600" dirty="0"/>
          </a:p>
          <a:p>
            <a:endParaRPr lang="en-US" sz="1600" dirty="0" smtClean="0"/>
          </a:p>
          <a:p>
            <a:endParaRPr lang="en-US" sz="1600" dirty="0"/>
          </a:p>
          <a:p>
            <a:endParaRPr lang="en-US" sz="1600" dirty="0"/>
          </a:p>
          <a:p>
            <a:endParaRPr lang="en-US" sz="1600" dirty="0"/>
          </a:p>
        </p:txBody>
      </p:sp>
      <p:sp>
        <p:nvSpPr>
          <p:cNvPr id="7" name="Title 6"/>
          <p:cNvSpPr>
            <a:spLocks noGrp="1"/>
          </p:cNvSpPr>
          <p:nvPr>
            <p:ph type="title"/>
          </p:nvPr>
        </p:nvSpPr>
        <p:spPr/>
        <p:txBody>
          <a:bodyPr/>
          <a:lstStyle/>
          <a:p>
            <a:r>
              <a:rPr lang="en-US" dirty="0" smtClean="0"/>
              <a:t>Today’s Agenda</a:t>
            </a:r>
            <a:endParaRPr lang="en-US" dirty="0"/>
          </a:p>
        </p:txBody>
      </p:sp>
      <p:pic>
        <p:nvPicPr>
          <p:cNvPr id="11" name="Picture 4" descr="MPj04332160000[1]"/>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086932" y="1073150"/>
            <a:ext cx="3055878" cy="3552364"/>
          </a:xfrm>
          <a:prstGeom prst="rect">
            <a:avLst/>
          </a:prstGeom>
          <a:noFill/>
          <a:ln w="9525">
            <a:noFill/>
            <a:miter lim="800000"/>
            <a:headEnd/>
            <a:tailEnd/>
          </a:ln>
        </p:spPr>
      </p:pic>
    </p:spTree>
    <p:extLst>
      <p:ext uri="{BB962C8B-B14F-4D97-AF65-F5344CB8AC3E}">
        <p14:creationId xmlns:p14="http://schemas.microsoft.com/office/powerpoint/2010/main" val="91419862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 Placeholder 33"/>
          <p:cNvSpPr>
            <a:spLocks noGrp="1"/>
          </p:cNvSpPr>
          <p:nvPr>
            <p:ph type="body" sz="quarter" idx="10"/>
          </p:nvPr>
        </p:nvSpPr>
        <p:spPr>
          <a:xfrm>
            <a:off x="439419" y="896108"/>
            <a:ext cx="3955028" cy="3397596"/>
          </a:xfrm>
        </p:spPr>
        <p:txBody>
          <a:bodyPr/>
          <a:lstStyle/>
          <a:p>
            <a:r>
              <a:rPr lang="en-US" sz="6000" dirty="0" smtClean="0">
                <a:solidFill>
                  <a:srgbClr val="FF6600"/>
                </a:solidFill>
                <a:latin typeface="Helvetica Neue Thin"/>
                <a:cs typeface="Helvetica Neue Thin"/>
              </a:rPr>
              <a:t>Roadmap</a:t>
            </a:r>
            <a:endParaRPr lang="en-US" sz="6000" dirty="0">
              <a:latin typeface="Helvetica Neue Thin"/>
              <a:ea typeface="Franklin Gothic Medium" charset="0"/>
              <a:cs typeface="Helvetica Neue Thin"/>
            </a:endParaRPr>
          </a:p>
        </p:txBody>
      </p:sp>
    </p:spTree>
    <p:extLst>
      <p:ext uri="{BB962C8B-B14F-4D97-AF65-F5344CB8AC3E}">
        <p14:creationId xmlns:p14="http://schemas.microsoft.com/office/powerpoint/2010/main" val="4001317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95943" y="160169"/>
            <a:ext cx="8817428" cy="731837"/>
          </a:xfrm>
        </p:spPr>
        <p:txBody>
          <a:bodyPr/>
          <a:lstStyle/>
          <a:p>
            <a:r>
              <a:rPr lang="en-US" dirty="0" smtClean="0"/>
              <a:t>Web Security Appliance AsyncOS v10.x </a:t>
            </a:r>
            <a:endParaRPr lang="en-US" dirty="0"/>
          </a:p>
        </p:txBody>
      </p:sp>
      <p:sp>
        <p:nvSpPr>
          <p:cNvPr id="3" name="Text Placeholder 2"/>
          <p:cNvSpPr>
            <a:spLocks noGrp="1"/>
          </p:cNvSpPr>
          <p:nvPr>
            <p:ph type="body" sz="quarter" idx="4294967295"/>
          </p:nvPr>
        </p:nvSpPr>
        <p:spPr>
          <a:xfrm>
            <a:off x="921981" y="1454604"/>
            <a:ext cx="3443190" cy="2432627"/>
          </a:xfrm>
          <a:prstGeom prst="rect">
            <a:avLst/>
          </a:prstGeom>
        </p:spPr>
        <p:txBody>
          <a:bodyPr/>
          <a:lstStyle/>
          <a:p>
            <a:pPr>
              <a:buFont typeface="Wingdings" charset="2"/>
              <a:buChar char="ü"/>
            </a:pPr>
            <a:r>
              <a:rPr lang="en-US" sz="1600" dirty="0" smtClean="0">
                <a:solidFill>
                  <a:schemeClr val="accent2">
                    <a:lumMod val="75000"/>
                  </a:schemeClr>
                </a:solidFill>
              </a:rPr>
              <a:t>Referrer Header </a:t>
            </a:r>
          </a:p>
          <a:p>
            <a:pPr>
              <a:buFont typeface="Wingdings" charset="2"/>
              <a:buChar char="ü"/>
            </a:pPr>
            <a:r>
              <a:rPr lang="en-US" sz="1600" dirty="0" smtClean="0">
                <a:solidFill>
                  <a:schemeClr val="accent2">
                    <a:lumMod val="75000"/>
                  </a:schemeClr>
                </a:solidFill>
              </a:rPr>
              <a:t>Intermediate Certificate Support</a:t>
            </a:r>
          </a:p>
          <a:p>
            <a:pPr>
              <a:buFont typeface="Wingdings" charset="2"/>
              <a:buChar char="ü"/>
            </a:pPr>
            <a:r>
              <a:rPr lang="en-US" sz="1600" dirty="0" smtClean="0">
                <a:solidFill>
                  <a:schemeClr val="accent2">
                    <a:lumMod val="75000"/>
                  </a:schemeClr>
                </a:solidFill>
              </a:rPr>
              <a:t>Import of 3</a:t>
            </a:r>
            <a:r>
              <a:rPr lang="en-US" sz="1600" baseline="30000" dirty="0" smtClean="0">
                <a:solidFill>
                  <a:schemeClr val="accent2">
                    <a:lumMod val="75000"/>
                  </a:schemeClr>
                </a:solidFill>
              </a:rPr>
              <a:t>rd</a:t>
            </a:r>
            <a:r>
              <a:rPr lang="en-US" sz="1600" dirty="0" smtClean="0">
                <a:solidFill>
                  <a:schemeClr val="accent2">
                    <a:lumMod val="75000"/>
                  </a:schemeClr>
                </a:solidFill>
              </a:rPr>
              <a:t> Party Feeds for Policy</a:t>
            </a:r>
          </a:p>
          <a:p>
            <a:pPr>
              <a:buFont typeface="Wingdings" charset="2"/>
              <a:buChar char="ü"/>
            </a:pPr>
            <a:r>
              <a:rPr lang="en-US" sz="1600" dirty="0" smtClean="0">
                <a:solidFill>
                  <a:schemeClr val="accent2">
                    <a:lumMod val="75000"/>
                  </a:schemeClr>
                </a:solidFill>
              </a:rPr>
              <a:t> Advance AMP Reporting</a:t>
            </a:r>
          </a:p>
          <a:p>
            <a:pPr>
              <a:buFont typeface="Wingdings" charset="2"/>
              <a:buChar char="ü"/>
            </a:pPr>
            <a:r>
              <a:rPr lang="en-US" sz="1600" dirty="0" smtClean="0">
                <a:solidFill>
                  <a:schemeClr val="accent2">
                    <a:lumMod val="75000"/>
                  </a:schemeClr>
                </a:solidFill>
              </a:rPr>
              <a:t>Updated User Agent List</a:t>
            </a:r>
          </a:p>
          <a:p>
            <a:pPr>
              <a:buFont typeface="Wingdings" charset="2"/>
              <a:buChar char="ü"/>
            </a:pPr>
            <a:r>
              <a:rPr lang="en-US" sz="1600" dirty="0" smtClean="0">
                <a:solidFill>
                  <a:schemeClr val="accent2">
                    <a:lumMod val="75000"/>
                  </a:schemeClr>
                </a:solidFill>
              </a:rPr>
              <a:t>AMP Private Cloud</a:t>
            </a:r>
          </a:p>
          <a:p>
            <a:endParaRPr lang="en-US" dirty="0" smtClean="0">
              <a:solidFill>
                <a:schemeClr val="accent4"/>
              </a:solidFill>
            </a:endParaRPr>
          </a:p>
          <a:p>
            <a:endParaRPr lang="en-US" dirty="0" smtClean="0">
              <a:solidFill>
                <a:schemeClr val="accent4"/>
              </a:solidFill>
            </a:endParaRPr>
          </a:p>
          <a:p>
            <a:endParaRPr lang="en-US" dirty="0" smtClean="0">
              <a:solidFill>
                <a:schemeClr val="accent4"/>
              </a:solidFill>
            </a:endParaRPr>
          </a:p>
        </p:txBody>
      </p:sp>
      <p:sp>
        <p:nvSpPr>
          <p:cNvPr id="7" name="Text Placeholder 2"/>
          <p:cNvSpPr txBox="1">
            <a:spLocks/>
          </p:cNvSpPr>
          <p:nvPr/>
        </p:nvSpPr>
        <p:spPr>
          <a:xfrm>
            <a:off x="5234014" y="1454604"/>
            <a:ext cx="3579883" cy="2432627"/>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buFont typeface="Wingdings" charset="2"/>
              <a:buChar char="ü"/>
            </a:pPr>
            <a:r>
              <a:rPr lang="en-US" sz="1600" dirty="0" smtClean="0">
                <a:solidFill>
                  <a:schemeClr val="accent2">
                    <a:lumMod val="50000"/>
                  </a:schemeClr>
                </a:solidFill>
              </a:rPr>
              <a:t>Centralized Software Upgrade from SMA (Phase 1)</a:t>
            </a:r>
          </a:p>
          <a:p>
            <a:pPr>
              <a:buFont typeface="Wingdings" charset="2"/>
              <a:buChar char="ü"/>
            </a:pPr>
            <a:r>
              <a:rPr lang="en-US" sz="1600" dirty="0" smtClean="0">
                <a:solidFill>
                  <a:schemeClr val="accent2">
                    <a:lumMod val="50000"/>
                  </a:schemeClr>
                </a:solidFill>
              </a:rPr>
              <a:t>Archive File Type Blocking</a:t>
            </a:r>
          </a:p>
        </p:txBody>
      </p:sp>
      <p:sp>
        <p:nvSpPr>
          <p:cNvPr id="9" name="TextBox 8"/>
          <p:cNvSpPr txBox="1"/>
          <p:nvPr/>
        </p:nvSpPr>
        <p:spPr>
          <a:xfrm>
            <a:off x="1299422" y="890988"/>
            <a:ext cx="800720" cy="368990"/>
          </a:xfrm>
          <a:prstGeom prst="rect">
            <a:avLst/>
          </a:prstGeom>
          <a:noFill/>
        </p:spPr>
        <p:txBody>
          <a:bodyPr wrap="none" rtlCol="0">
            <a:spAutoFit/>
          </a:bodyPr>
          <a:lstStyle/>
          <a:p>
            <a:r>
              <a:rPr lang="en-US" b="1" dirty="0" smtClean="0"/>
              <a:t>V10.0</a:t>
            </a:r>
            <a:endParaRPr lang="en-US" b="1" dirty="0"/>
          </a:p>
        </p:txBody>
      </p:sp>
      <p:sp>
        <p:nvSpPr>
          <p:cNvPr id="10" name="TextBox 9"/>
          <p:cNvSpPr txBox="1"/>
          <p:nvPr/>
        </p:nvSpPr>
        <p:spPr>
          <a:xfrm>
            <a:off x="6485788" y="900234"/>
            <a:ext cx="800720" cy="368990"/>
          </a:xfrm>
          <a:prstGeom prst="rect">
            <a:avLst/>
          </a:prstGeom>
          <a:noFill/>
        </p:spPr>
        <p:txBody>
          <a:bodyPr wrap="none" rtlCol="0">
            <a:spAutoFit/>
          </a:bodyPr>
          <a:lstStyle/>
          <a:p>
            <a:r>
              <a:rPr lang="en-US" b="1" dirty="0" smtClean="0"/>
              <a:t>V10.1</a:t>
            </a:r>
            <a:endParaRPr lang="en-US" b="1" dirty="0"/>
          </a:p>
        </p:txBody>
      </p:sp>
      <p:cxnSp>
        <p:nvCxnSpPr>
          <p:cNvPr id="14" name="Straight Connector 13"/>
          <p:cNvCxnSpPr/>
          <p:nvPr/>
        </p:nvCxnSpPr>
        <p:spPr>
          <a:xfrm>
            <a:off x="4745597" y="890988"/>
            <a:ext cx="0" cy="3810822"/>
          </a:xfrm>
          <a:prstGeom prst="line">
            <a:avLst/>
          </a:prstGeom>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8722037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37768" y="960708"/>
            <a:ext cx="5802085" cy="1194664"/>
          </a:xfrm>
        </p:spPr>
        <p:txBody>
          <a:bodyPr/>
          <a:lstStyle/>
          <a:p>
            <a:r>
              <a:rPr lang="en-US" sz="1600" dirty="0" err="1" smtClean="0"/>
              <a:t>Referer</a:t>
            </a:r>
            <a:r>
              <a:rPr lang="en-US" sz="1600" dirty="0" smtClean="0"/>
              <a:t> HTT</a:t>
            </a:r>
            <a:r>
              <a:rPr lang="en-US" altLang="ja-JP" sz="1600" dirty="0" smtClean="0"/>
              <a:t>P</a:t>
            </a:r>
            <a:r>
              <a:rPr lang="ja-JP" altLang="en-US" sz="1600" dirty="0" smtClean="0"/>
              <a:t>ヘッダーの</a:t>
            </a:r>
            <a:r>
              <a:rPr lang="en-US" altLang="ja-JP" sz="1600" dirty="0" smtClean="0"/>
              <a:t>1</a:t>
            </a:r>
            <a:r>
              <a:rPr lang="ja-JP" altLang="en-US" sz="1600" dirty="0" smtClean="0"/>
              <a:t>つ。現在閲覧している</a:t>
            </a:r>
            <a:r>
              <a:rPr lang="en-US" altLang="ja-JP" sz="1600" dirty="0" smtClean="0"/>
              <a:t>Web</a:t>
            </a:r>
            <a:r>
              <a:rPr lang="ja-JP" altLang="en-US" sz="1600" dirty="0" smtClean="0"/>
              <a:t>ページをリクエストした</a:t>
            </a:r>
            <a:r>
              <a:rPr lang="en-US" altLang="ja-JP" sz="1600" dirty="0" smtClean="0"/>
              <a:t>Web</a:t>
            </a:r>
            <a:r>
              <a:rPr lang="ja-JP" altLang="en-US" sz="1600" dirty="0" smtClean="0"/>
              <a:t>ページを示す。</a:t>
            </a:r>
            <a:endParaRPr lang="en-US" altLang="ja-JP" sz="1600" dirty="0" smtClean="0"/>
          </a:p>
          <a:p>
            <a:r>
              <a:rPr lang="ja-JP" altLang="en-US" sz="1600" dirty="0" smtClean="0"/>
              <a:t>以前閲覧していた</a:t>
            </a:r>
            <a:r>
              <a:rPr lang="en-US" altLang="ja-JP" sz="1600" dirty="0" smtClean="0"/>
              <a:t>Web</a:t>
            </a:r>
            <a:r>
              <a:rPr lang="ja-JP" altLang="en-US" sz="1600" dirty="0" smtClean="0"/>
              <a:t>ページが</a:t>
            </a:r>
            <a:r>
              <a:rPr lang="en-US" altLang="ja-JP" sz="1600" dirty="0" smtClean="0"/>
              <a:t>URL</a:t>
            </a:r>
            <a:r>
              <a:rPr lang="ja-JP" altLang="en-US" sz="1600" dirty="0" smtClean="0"/>
              <a:t>から分かることで、その情報をアクセスポリシーに活用できる。</a:t>
            </a:r>
            <a:endParaRPr lang="en-US" altLang="ja-JP" sz="1600" dirty="0" smtClean="0"/>
          </a:p>
        </p:txBody>
      </p:sp>
      <p:sp>
        <p:nvSpPr>
          <p:cNvPr id="2" name="Title 1"/>
          <p:cNvSpPr>
            <a:spLocks noGrp="1"/>
          </p:cNvSpPr>
          <p:nvPr>
            <p:ph type="title"/>
          </p:nvPr>
        </p:nvSpPr>
        <p:spPr/>
        <p:txBody>
          <a:bodyPr/>
          <a:lstStyle/>
          <a:p>
            <a:r>
              <a:rPr lang="en-US" dirty="0" err="1" smtClean="0"/>
              <a:t>Referer</a:t>
            </a:r>
            <a:r>
              <a:rPr lang="en-US" dirty="0" smtClean="0"/>
              <a:t> Bypass </a:t>
            </a:r>
            <a:r>
              <a:rPr lang="ja-JP" altLang="en-US" dirty="0" smtClean="0"/>
              <a:t>とは</a:t>
            </a:r>
            <a:r>
              <a:rPr lang="en-US" dirty="0" smtClean="0"/>
              <a:t>?</a:t>
            </a:r>
            <a:endParaRPr lang="en-US" dirty="0"/>
          </a:p>
        </p:txBody>
      </p:sp>
      <p:pic>
        <p:nvPicPr>
          <p:cNvPr id="10" name="Picture 9"/>
          <p:cNvPicPr>
            <a:picLocks noChangeAspect="1"/>
          </p:cNvPicPr>
          <p:nvPr/>
        </p:nvPicPr>
        <p:blipFill>
          <a:blip r:embed="rId2"/>
          <a:stretch>
            <a:fillRect/>
          </a:stretch>
        </p:blipFill>
        <p:spPr>
          <a:xfrm>
            <a:off x="6239849" y="420497"/>
            <a:ext cx="2857694" cy="1853876"/>
          </a:xfrm>
          <a:prstGeom prst="rect">
            <a:avLst/>
          </a:prstGeom>
        </p:spPr>
      </p:pic>
      <p:sp>
        <p:nvSpPr>
          <p:cNvPr id="6" name="Rounded Rectangle 5"/>
          <p:cNvSpPr/>
          <p:nvPr/>
        </p:nvSpPr>
        <p:spPr>
          <a:xfrm>
            <a:off x="1145898" y="4519043"/>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graphicFrame>
        <p:nvGraphicFramePr>
          <p:cNvPr id="7" name="Table 6"/>
          <p:cNvGraphicFramePr>
            <a:graphicFrameLocks noGrp="1"/>
          </p:cNvGraphicFramePr>
          <p:nvPr>
            <p:extLst>
              <p:ext uri="{D42A27DB-BD31-4B8C-83A1-F6EECF244321}">
                <p14:modId xmlns:p14="http://schemas.microsoft.com/office/powerpoint/2010/main" val="1564093297"/>
              </p:ext>
            </p:extLst>
          </p:nvPr>
        </p:nvGraphicFramePr>
        <p:xfrm>
          <a:off x="0" y="2155374"/>
          <a:ext cx="9144000" cy="2270696"/>
        </p:xfrm>
        <a:graphic>
          <a:graphicData uri="http://schemas.openxmlformats.org/drawingml/2006/table">
            <a:tbl>
              <a:tblPr firstRow="1" bandRow="1">
                <a:tableStyleId>{5C22544A-7EE6-4342-B048-85BDC9FD1C3A}</a:tableStyleId>
              </a:tblPr>
              <a:tblGrid>
                <a:gridCol w="1863997">
                  <a:extLst>
                    <a:ext uri="{9D8B030D-6E8A-4147-A177-3AD203B41FA5}">
                      <a16:colId xmlns="" xmlns:a16="http://schemas.microsoft.com/office/drawing/2014/main" val="20000"/>
                    </a:ext>
                  </a:extLst>
                </a:gridCol>
                <a:gridCol w="3197449">
                  <a:extLst>
                    <a:ext uri="{9D8B030D-6E8A-4147-A177-3AD203B41FA5}">
                      <a16:colId xmlns="" xmlns:a16="http://schemas.microsoft.com/office/drawing/2014/main" val="20001"/>
                    </a:ext>
                  </a:extLst>
                </a:gridCol>
                <a:gridCol w="4082554">
                  <a:extLst>
                    <a:ext uri="{9D8B030D-6E8A-4147-A177-3AD203B41FA5}">
                      <a16:colId xmlns="" xmlns:a16="http://schemas.microsoft.com/office/drawing/2014/main" val="20002"/>
                    </a:ext>
                  </a:extLst>
                </a:gridCol>
              </a:tblGrid>
              <a:tr h="308366">
                <a:tc>
                  <a:txBody>
                    <a:bodyPr/>
                    <a:lstStyle/>
                    <a:p>
                      <a:r>
                        <a:rPr lang="en-US" sz="1400" dirty="0" smtClean="0"/>
                        <a:t>Category</a:t>
                      </a:r>
                      <a:endParaRPr lang="en-US" sz="1400" dirty="0"/>
                    </a:p>
                  </a:txBody>
                  <a:tcPr/>
                </a:tc>
                <a:tc>
                  <a:txBody>
                    <a:bodyPr/>
                    <a:lstStyle/>
                    <a:p>
                      <a:r>
                        <a:rPr lang="en-US" sz="1400" dirty="0" smtClean="0"/>
                        <a:t>Description</a:t>
                      </a:r>
                      <a:endParaRPr lang="en-US" sz="1400" dirty="0"/>
                    </a:p>
                  </a:txBody>
                  <a:tcPr/>
                </a:tc>
                <a:tc>
                  <a:txBody>
                    <a:bodyPr/>
                    <a:lstStyle/>
                    <a:p>
                      <a:r>
                        <a:rPr lang="en-US" sz="1400" dirty="0" smtClean="0"/>
                        <a:t>Example</a:t>
                      </a:r>
                      <a:endParaRPr lang="en-US" sz="1400" dirty="0"/>
                    </a:p>
                  </a:txBody>
                  <a:tcPr/>
                </a:tc>
                <a:extLst>
                  <a:ext uri="{0D108BD9-81ED-4DB2-BD59-A6C34878D82A}">
                    <a16:rowId xmlns="" xmlns:a16="http://schemas.microsoft.com/office/drawing/2014/main" val="10000"/>
                  </a:ext>
                </a:extLst>
              </a:tr>
              <a:tr h="1205431">
                <a:tc>
                  <a:txBody>
                    <a:bodyPr/>
                    <a:lstStyle/>
                    <a:p>
                      <a:r>
                        <a:rPr lang="en-US" sz="1400" dirty="0" smtClean="0"/>
                        <a:t>Access Policy</a:t>
                      </a:r>
                      <a:endParaRPr lang="en-US" sz="1400" dirty="0"/>
                    </a:p>
                  </a:txBody>
                  <a:tcPr anchor="ct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ja-JP" altLang="en-US" sz="1400" dirty="0" smtClean="0"/>
                        <a:t>通常はブロックしているカテゴリーが存在するが、特定のカテゴリーから参照された場合のみアクセスを許可する。</a:t>
                      </a:r>
                      <a:endParaRPr lang="en-US" altLang="ja-JP" sz="1400" dirty="0" smtClean="0"/>
                    </a:p>
                  </a:txBody>
                  <a:tcPr anchor="ct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400" dirty="0" smtClean="0"/>
                        <a:t>E.g. </a:t>
                      </a:r>
                      <a:r>
                        <a:rPr lang="ja-JP" altLang="en-US" sz="1400" dirty="0" smtClean="0"/>
                        <a:t>企業ポリシーとしてビデオカテゴリーはブロックする。ただし</a:t>
                      </a:r>
                      <a:r>
                        <a:rPr lang="en-US" altLang="ja-JP" sz="1400" dirty="0" smtClean="0"/>
                        <a:t> </a:t>
                      </a:r>
                      <a:r>
                        <a:rPr lang="en-US" altLang="ja-JP" sz="1400" dirty="0" err="1" smtClean="0"/>
                        <a:t>webmd.com</a:t>
                      </a:r>
                      <a:r>
                        <a:rPr lang="ja-JP" altLang="en-US" sz="1400" dirty="0" smtClean="0"/>
                        <a:t>サイトに埋め込まれた</a:t>
                      </a:r>
                      <a:r>
                        <a:rPr lang="en-US" altLang="ja-JP" sz="1400" dirty="0" smtClean="0"/>
                        <a:t> </a:t>
                      </a:r>
                      <a:r>
                        <a:rPr lang="en-US" altLang="ja-JP" sz="1400" dirty="0" err="1" smtClean="0"/>
                        <a:t>Youtube</a:t>
                      </a:r>
                      <a:r>
                        <a:rPr lang="ja-JP" altLang="en-US" sz="1400" dirty="0" smtClean="0"/>
                        <a:t>ビデオは許可する。</a:t>
                      </a:r>
                      <a:endParaRPr lang="en-US" sz="1400" dirty="0" smtClean="0"/>
                    </a:p>
                  </a:txBody>
                  <a:tcPr anchor="ctr"/>
                </a:tc>
                <a:extLst>
                  <a:ext uri="{0D108BD9-81ED-4DB2-BD59-A6C34878D82A}">
                    <a16:rowId xmlns="" xmlns:a16="http://schemas.microsoft.com/office/drawing/2014/main" val="10001"/>
                  </a:ext>
                </a:extLst>
              </a:tr>
              <a:tr h="756899">
                <a:tc>
                  <a:txBody>
                    <a:bodyPr/>
                    <a:lstStyle/>
                    <a:p>
                      <a:r>
                        <a:rPr lang="en-US" sz="1400" dirty="0" smtClean="0"/>
                        <a:t>AVC</a:t>
                      </a:r>
                      <a:endParaRPr lang="en-US" sz="1400" dirty="0"/>
                    </a:p>
                  </a:txBody>
                  <a:tcPr anchor="ct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ja-JP" altLang="en-US" sz="1400" dirty="0" smtClean="0"/>
                        <a:t>通常はブロックしているアプリケーションが存在するが、特定のカテゴリーから参照された場合のみアクセスを許可する。</a:t>
                      </a:r>
                      <a:endParaRPr lang="en-US" sz="1400" dirty="0" smtClean="0"/>
                    </a:p>
                  </a:txBody>
                  <a:tcPr anchor="ct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400" dirty="0" smtClean="0"/>
                        <a:t>E.g.</a:t>
                      </a:r>
                      <a:r>
                        <a:rPr lang="en-US" sz="1400" baseline="0" dirty="0" smtClean="0"/>
                        <a:t> </a:t>
                      </a:r>
                      <a:r>
                        <a:rPr lang="ja-JP" altLang="en-US" sz="1400" baseline="0" dirty="0" smtClean="0"/>
                        <a:t>企業ポリシーとして</a:t>
                      </a:r>
                      <a:r>
                        <a:rPr lang="en-US" altLang="ja-JP" sz="1400" baseline="0" dirty="0" smtClean="0"/>
                        <a:t> </a:t>
                      </a:r>
                      <a:r>
                        <a:rPr lang="en-US" sz="1400" dirty="0" smtClean="0"/>
                        <a:t>Facebook</a:t>
                      </a:r>
                      <a:r>
                        <a:rPr lang="ja-JP" altLang="en-US" sz="1400" dirty="0" smtClean="0"/>
                        <a:t>はブロックする。</a:t>
                      </a:r>
                      <a:r>
                        <a:rPr lang="en-US" altLang="ja-JP" sz="1400" dirty="0" err="1" smtClean="0"/>
                        <a:t>Cisco.com</a:t>
                      </a:r>
                      <a:r>
                        <a:rPr lang="ja-JP" altLang="en-US" sz="1400" dirty="0" smtClean="0"/>
                        <a:t>から参照された</a:t>
                      </a:r>
                      <a:r>
                        <a:rPr lang="en-US" altLang="ja-JP" sz="1400" dirty="0" smtClean="0"/>
                        <a:t> </a:t>
                      </a:r>
                      <a:r>
                        <a:rPr lang="en-US" altLang="ja-JP" sz="1400" dirty="0" err="1" smtClean="0"/>
                        <a:t>Facebook.com</a:t>
                      </a:r>
                      <a:r>
                        <a:rPr lang="ja-JP" altLang="en-US" sz="1400" dirty="0" smtClean="0"/>
                        <a:t>上のサイトのみ許可する。</a:t>
                      </a:r>
                      <a:endParaRPr lang="en-US" sz="1400" dirty="0" smtClean="0"/>
                    </a:p>
                  </a:txBody>
                  <a:tcPr anchor="ctr"/>
                </a:tc>
                <a:extLst>
                  <a:ext uri="{0D108BD9-81ED-4DB2-BD59-A6C34878D82A}">
                    <a16:rowId xmlns="" xmlns:a16="http://schemas.microsoft.com/office/drawing/2014/main" val="10002"/>
                  </a:ext>
                </a:extLst>
              </a:tr>
            </a:tbl>
          </a:graphicData>
        </a:graphic>
      </p:graphicFrame>
    </p:spTree>
    <p:extLst>
      <p:ext uri="{BB962C8B-B14F-4D97-AF65-F5344CB8AC3E}">
        <p14:creationId xmlns:p14="http://schemas.microsoft.com/office/powerpoint/2010/main" val="1310489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4294967295"/>
          </p:nvPr>
        </p:nvSpPr>
        <p:spPr>
          <a:xfrm>
            <a:off x="118156" y="862188"/>
            <a:ext cx="4568825" cy="1419225"/>
          </a:xfrm>
          <a:prstGeom prst="rect">
            <a:avLst/>
          </a:prstGeom>
        </p:spPr>
        <p:txBody>
          <a:bodyPr/>
          <a:lstStyle/>
          <a:p>
            <a:r>
              <a:rPr lang="ja-JP" altLang="en-US" dirty="0" smtClean="0"/>
              <a:t>いくつかの</a:t>
            </a:r>
            <a:r>
              <a:rPr lang="en-US" altLang="ja-JP" dirty="0" smtClean="0"/>
              <a:t>Web</a:t>
            </a:r>
            <a:r>
              <a:rPr lang="ja-JP" altLang="en-US" dirty="0" smtClean="0"/>
              <a:t>サーバーはサーバ証明書のみ送信</a:t>
            </a:r>
            <a:endParaRPr lang="en-US" dirty="0" smtClean="0"/>
          </a:p>
          <a:p>
            <a:r>
              <a:rPr lang="ja-JP" altLang="en-US" dirty="0" smtClean="0"/>
              <a:t>クライアントはトラストチェーンが不完全なためエラーを起こす</a:t>
            </a:r>
            <a:endParaRPr lang="en-US" dirty="0" smtClean="0"/>
          </a:p>
          <a:p>
            <a:endParaRPr lang="en-US" dirty="0"/>
          </a:p>
        </p:txBody>
      </p:sp>
      <p:sp>
        <p:nvSpPr>
          <p:cNvPr id="4" name="Rounded Rectangle 3"/>
          <p:cNvSpPr/>
          <p:nvPr/>
        </p:nvSpPr>
        <p:spPr>
          <a:xfrm>
            <a:off x="1168566" y="4725593"/>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pic>
        <p:nvPicPr>
          <p:cNvPr id="58370" name="Picture 2" descr="http://blogs.cisco.com/wp-content/uploads/TLS-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4686977" y="680936"/>
            <a:ext cx="4032572" cy="399068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4804" y="2002971"/>
            <a:ext cx="4382177" cy="2668647"/>
          </a:xfrm>
          <a:prstGeom prst="rect">
            <a:avLst/>
          </a:prstGeom>
        </p:spPr>
      </p:pic>
      <p:sp>
        <p:nvSpPr>
          <p:cNvPr id="12" name="Title 1"/>
          <p:cNvSpPr>
            <a:spLocks noGrp="1"/>
          </p:cNvSpPr>
          <p:nvPr>
            <p:ph type="title"/>
          </p:nvPr>
        </p:nvSpPr>
        <p:spPr>
          <a:xfrm>
            <a:off x="437766" y="341314"/>
            <a:ext cx="8345488" cy="520874"/>
          </a:xfrm>
        </p:spPr>
        <p:txBody>
          <a:bodyPr/>
          <a:lstStyle/>
          <a:p>
            <a:r>
              <a:rPr lang="en-US" altLang="ja-JP" dirty="0" smtClean="0"/>
              <a:t>HTTPS: Intermediate Cert Support</a:t>
            </a:r>
            <a:endParaRPr lang="en-US" dirty="0"/>
          </a:p>
        </p:txBody>
      </p:sp>
      <p:sp>
        <p:nvSpPr>
          <p:cNvPr id="13" name="Rectangle 12"/>
          <p:cNvSpPr/>
          <p:nvPr/>
        </p:nvSpPr>
        <p:spPr>
          <a:xfrm>
            <a:off x="2817450" y="4548021"/>
            <a:ext cx="4572000" cy="261610"/>
          </a:xfrm>
          <a:prstGeom prst="rect">
            <a:avLst/>
          </a:prstGeom>
        </p:spPr>
        <p:txBody>
          <a:bodyPr>
            <a:spAutoFit/>
          </a:bodyPr>
          <a:lstStyle/>
          <a:p>
            <a:r>
              <a:rPr lang="en-US" sz="1100" dirty="0"/>
              <a:t>https://</a:t>
            </a:r>
            <a:r>
              <a:rPr lang="en-US" sz="1100" dirty="0" err="1"/>
              <a:t>www.trustworthyinternet.org</a:t>
            </a:r>
            <a:r>
              <a:rPr lang="en-US" sz="1100" dirty="0"/>
              <a:t>/</a:t>
            </a:r>
            <a:r>
              <a:rPr lang="en-US" sz="1100" dirty="0" err="1"/>
              <a:t>ssl</a:t>
            </a:r>
            <a:r>
              <a:rPr lang="en-US" sz="1100" dirty="0"/>
              <a:t>-pulse/</a:t>
            </a:r>
          </a:p>
        </p:txBody>
      </p:sp>
    </p:spTree>
    <p:extLst>
      <p:ext uri="{BB962C8B-B14F-4D97-AF65-F5344CB8AC3E}">
        <p14:creationId xmlns:p14="http://schemas.microsoft.com/office/powerpoint/2010/main" val="3574423278"/>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prstGeom prst="rect">
            <a:avLst/>
          </a:prstGeom>
        </p:spPr>
        <p:txBody>
          <a:bodyPr/>
          <a:lstStyle/>
          <a:p>
            <a:r>
              <a:rPr lang="en-US" dirty="0" smtClean="0"/>
              <a:t> </a:t>
            </a:r>
            <a:r>
              <a:rPr lang="en-US" dirty="0"/>
              <a:t>“Authority Information </a:t>
            </a:r>
            <a:r>
              <a:rPr lang="en-US" dirty="0" smtClean="0"/>
              <a:t>Access” </a:t>
            </a:r>
            <a:r>
              <a:rPr lang="ja-JP" altLang="en-US" dirty="0" smtClean="0"/>
              <a:t>フィールドをチェック</a:t>
            </a:r>
            <a:endParaRPr lang="en-US" dirty="0" smtClean="0"/>
          </a:p>
          <a:p>
            <a:r>
              <a:rPr lang="ja-JP" altLang="en-US" dirty="0" smtClean="0"/>
              <a:t>自動的に中間</a:t>
            </a:r>
            <a:r>
              <a:rPr lang="en-US" altLang="ja-JP" dirty="0" smtClean="0"/>
              <a:t>CA</a:t>
            </a:r>
            <a:r>
              <a:rPr lang="ja-JP" altLang="en-US" dirty="0" smtClean="0"/>
              <a:t>を</a:t>
            </a:r>
            <a:r>
              <a:rPr lang="en-US" altLang="ja-JP" dirty="0" smtClean="0"/>
              <a:t> CA</a:t>
            </a:r>
            <a:r>
              <a:rPr lang="ja-JP" altLang="en-US" dirty="0" smtClean="0"/>
              <a:t>発行元からダウンロード</a:t>
            </a:r>
            <a:endParaRPr lang="en-US" dirty="0" smtClean="0"/>
          </a:p>
          <a:p>
            <a:r>
              <a:rPr lang="ja-JP" altLang="en-US" dirty="0" smtClean="0"/>
              <a:t>トラストチェーンの完全性を証明</a:t>
            </a:r>
            <a:endParaRPr lang="en-US" altLang="ja-JP" dirty="0" smtClean="0"/>
          </a:p>
        </p:txBody>
      </p:sp>
      <p:sp>
        <p:nvSpPr>
          <p:cNvPr id="4" name="Rounded Rectangle 3"/>
          <p:cNvSpPr/>
          <p:nvPr/>
        </p:nvSpPr>
        <p:spPr>
          <a:xfrm>
            <a:off x="1205326" y="4616128"/>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sp>
        <p:nvSpPr>
          <p:cNvPr id="2" name="AutoShape 2" descr="LS_3"/>
          <p:cNvSpPr>
            <a:spLocks noChangeAspect="1" noChangeArrowheads="1"/>
          </p:cNvSpPr>
          <p:nvPr/>
        </p:nvSpPr>
        <p:spPr bwMode="auto">
          <a:xfrm>
            <a:off x="0" y="2"/>
            <a:ext cx="3733800" cy="36766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0420" name="Picture 4" descr="LS_3"/>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49454" y="951055"/>
            <a:ext cx="3733800" cy="367665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295598" y="3784551"/>
            <a:ext cx="4572000" cy="338554"/>
          </a:xfrm>
          <a:prstGeom prst="rect">
            <a:avLst/>
          </a:prstGeom>
        </p:spPr>
        <p:txBody>
          <a:bodyPr>
            <a:spAutoFit/>
          </a:bodyPr>
          <a:lstStyle/>
          <a:p>
            <a:r>
              <a:rPr lang="en-US" sz="1600" dirty="0"/>
              <a:t>https://</a:t>
            </a:r>
            <a:r>
              <a:rPr lang="en-US" sz="1600" dirty="0" err="1"/>
              <a:t>www.trustworthyinternet.org</a:t>
            </a:r>
            <a:r>
              <a:rPr lang="en-US" sz="1600" dirty="0"/>
              <a:t>/</a:t>
            </a:r>
            <a:r>
              <a:rPr lang="en-US" sz="1600" dirty="0" err="1"/>
              <a:t>ssl</a:t>
            </a:r>
            <a:r>
              <a:rPr lang="en-US" sz="1600" dirty="0"/>
              <a:t>-pulse/</a:t>
            </a:r>
          </a:p>
        </p:txBody>
      </p:sp>
      <p:sp>
        <p:nvSpPr>
          <p:cNvPr id="12" name="Title 1"/>
          <p:cNvSpPr>
            <a:spLocks noGrp="1"/>
          </p:cNvSpPr>
          <p:nvPr>
            <p:ph type="title"/>
          </p:nvPr>
        </p:nvSpPr>
        <p:spPr>
          <a:xfrm>
            <a:off x="437766" y="341314"/>
            <a:ext cx="8345488" cy="520874"/>
          </a:xfrm>
        </p:spPr>
        <p:txBody>
          <a:bodyPr/>
          <a:lstStyle/>
          <a:p>
            <a:r>
              <a:rPr lang="en-US" altLang="ja-JP" dirty="0" smtClean="0"/>
              <a:t>HTTPS: Intermediate Cert Support</a:t>
            </a:r>
            <a:endParaRPr lang="en-US" dirty="0"/>
          </a:p>
        </p:txBody>
      </p:sp>
    </p:spTree>
    <p:extLst>
      <p:ext uri="{BB962C8B-B14F-4D97-AF65-F5344CB8AC3E}">
        <p14:creationId xmlns:p14="http://schemas.microsoft.com/office/powerpoint/2010/main" val="3624429739"/>
      </p:ext>
    </p:extLst>
  </p:cSld>
  <p:clrMapOvr>
    <a:masterClrMapping/>
  </p:clrMapOvr>
  <p:transition xmlns:p14="http://schemas.microsoft.com/office/powerpoint/2010/main">
    <p:wipe dir="r"/>
  </p:transitio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rot="16200000">
            <a:off x="5097935" y="744437"/>
            <a:ext cx="3509560" cy="4138506"/>
          </a:xfrm>
          <a:prstGeom prst="round2SameRect">
            <a:avLst>
              <a:gd name="adj1" fmla="val 0"/>
              <a:gd name="adj2" fmla="val 0"/>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buClr>
                <a:schemeClr val="tx2"/>
              </a:buClr>
              <a:buSzPct val="90000"/>
              <a:defRPr/>
            </a:pPr>
            <a:endParaRPr lang="en-US" sz="1400" kern="0" dirty="0">
              <a:solidFill>
                <a:schemeClr val="accent1">
                  <a:lumMod val="50000"/>
                </a:schemeClr>
              </a:solidFill>
              <a:latin typeface="+mj-lt"/>
              <a:ea typeface="+mn-ea"/>
              <a:cs typeface="+mn-cs"/>
            </a:endParaRPr>
          </a:p>
        </p:txBody>
      </p:sp>
      <p:sp>
        <p:nvSpPr>
          <p:cNvPr id="123" name="Rectangle 29"/>
          <p:cNvSpPr>
            <a:spLocks noChangeArrowheads="1"/>
          </p:cNvSpPr>
          <p:nvPr/>
        </p:nvSpPr>
        <p:spPr bwMode="auto">
          <a:xfrm rot="16200000">
            <a:off x="668711" y="570991"/>
            <a:ext cx="3516622" cy="4478336"/>
          </a:xfrm>
          <a:prstGeom prst="rect">
            <a:avLst/>
          </a:prstGeom>
          <a:solidFill>
            <a:schemeClr val="accent1">
              <a:lumMod val="20000"/>
              <a:lumOff val="8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274213" tIns="0" rIns="0" bIns="0" rtlCol="0" anchor="ctr"/>
          <a:lstStyle/>
          <a:p>
            <a:endParaRPr lang="en-US" dirty="0">
              <a:latin typeface="+mj-lt"/>
            </a:endParaRPr>
          </a:p>
        </p:txBody>
      </p:sp>
      <p:sp>
        <p:nvSpPr>
          <p:cNvPr id="57" name="Rectangle 56"/>
          <p:cNvSpPr/>
          <p:nvPr/>
        </p:nvSpPr>
        <p:spPr>
          <a:xfrm>
            <a:off x="8347688" y="130445"/>
            <a:ext cx="715350" cy="722044"/>
          </a:xfrm>
          <a:prstGeom prst="rect">
            <a:avLst/>
          </a:prstGeom>
          <a:solidFill>
            <a:schemeClr val="bg1">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914362" fontAlgn="base">
              <a:spcBef>
                <a:spcPct val="0"/>
              </a:spcBef>
              <a:spcAft>
                <a:spcPct val="0"/>
              </a:spcAft>
            </a:pPr>
            <a:endParaRPr lang="en-US">
              <a:solidFill>
                <a:prstClr val="white"/>
              </a:solidFill>
              <a:latin typeface="+mj-lt"/>
            </a:endParaRPr>
          </a:p>
        </p:txBody>
      </p:sp>
      <p:grpSp>
        <p:nvGrpSpPr>
          <p:cNvPr id="3" name="Group 55"/>
          <p:cNvGrpSpPr/>
          <p:nvPr/>
        </p:nvGrpSpPr>
        <p:grpSpPr>
          <a:xfrm>
            <a:off x="507453" y="1390852"/>
            <a:ext cx="3864981" cy="594360"/>
            <a:chOff x="4647647" y="1656056"/>
            <a:chExt cx="3864981" cy="594360"/>
          </a:xfrm>
        </p:grpSpPr>
        <p:sp>
          <p:nvSpPr>
            <p:cNvPr id="111" name="Rectangle 110"/>
            <p:cNvSpPr/>
            <p:nvPr/>
          </p:nvSpPr>
          <p:spPr>
            <a:xfrm>
              <a:off x="4647647" y="1656056"/>
              <a:ext cx="3864981" cy="59436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4292" rIns="68583" bIns="34292" rtlCol="0" anchor="ctr">
              <a:noAutofit/>
            </a:bodyPr>
            <a:lstStyle/>
            <a:p>
              <a:pPr algn="ctr"/>
              <a:endParaRPr lang="en-US" sz="1300" dirty="0" smtClean="0">
                <a:latin typeface="+mj-lt"/>
              </a:endParaRPr>
            </a:p>
          </p:txBody>
        </p:sp>
        <p:sp>
          <p:nvSpPr>
            <p:cNvPr id="112" name="Rectangle 111"/>
            <p:cNvSpPr/>
            <p:nvPr>
              <p:custDataLst>
                <p:tags r:id="rId4"/>
              </p:custDataLst>
            </p:nvPr>
          </p:nvSpPr>
          <p:spPr>
            <a:xfrm>
              <a:off x="4647647" y="1703710"/>
              <a:ext cx="3792609" cy="499053"/>
            </a:xfrm>
            <a:prstGeom prst="rect">
              <a:avLst/>
            </a:prstGeom>
          </p:spPr>
          <p:txBody>
            <a:bodyPr wrap="square" lIns="68562" tIns="34282" rIns="68562" bIns="34282" anchor="ctr" anchorCtr="0">
              <a:noAutofit/>
            </a:bodyPr>
            <a:lstStyle/>
            <a:p>
              <a:pPr defTabSz="685862"/>
              <a:r>
                <a:rPr lang="en-US" sz="1300" dirty="0" smtClean="0">
                  <a:solidFill>
                    <a:srgbClr val="FFFFFF"/>
                  </a:solidFill>
                  <a:latin typeface="+mj-lt"/>
                  <a:cs typeface="Arial"/>
                </a:rPr>
                <a:t>block IP address, domain or URLs</a:t>
              </a:r>
              <a:r>
                <a:rPr lang="ja-JP" altLang="en-US" sz="1300" dirty="0" smtClean="0">
                  <a:solidFill>
                    <a:srgbClr val="FFFFFF"/>
                  </a:solidFill>
                  <a:latin typeface="+mj-lt"/>
                  <a:cs typeface="Arial"/>
                </a:rPr>
                <a:t>など外部から定期的に取得する機能</a:t>
              </a:r>
              <a:r>
                <a:rPr lang="en-US" sz="1300" dirty="0" smtClean="0">
                  <a:solidFill>
                    <a:srgbClr val="FFFFFF"/>
                  </a:solidFill>
                  <a:latin typeface="+mj-lt"/>
                  <a:cs typeface="Arial"/>
                </a:rPr>
                <a:t>  </a:t>
              </a:r>
            </a:p>
          </p:txBody>
        </p:sp>
      </p:grpSp>
      <p:grpSp>
        <p:nvGrpSpPr>
          <p:cNvPr id="4" name="Group 124"/>
          <p:cNvGrpSpPr/>
          <p:nvPr/>
        </p:nvGrpSpPr>
        <p:grpSpPr>
          <a:xfrm>
            <a:off x="507449" y="2173415"/>
            <a:ext cx="3864982" cy="594360"/>
            <a:chOff x="4974566" y="2244092"/>
            <a:chExt cx="3700041" cy="522320"/>
          </a:xfrm>
        </p:grpSpPr>
        <p:sp>
          <p:nvSpPr>
            <p:cNvPr id="113" name="Rectangle 112"/>
            <p:cNvSpPr/>
            <p:nvPr/>
          </p:nvSpPr>
          <p:spPr>
            <a:xfrm>
              <a:off x="4974567" y="2244092"/>
              <a:ext cx="3700040" cy="522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4292" rIns="68583" bIns="34292" rtlCol="0" anchor="ctr">
              <a:noAutofit/>
            </a:bodyPr>
            <a:lstStyle/>
            <a:p>
              <a:pPr algn="ctr"/>
              <a:endParaRPr lang="en-US" sz="1300" dirty="0" smtClean="0">
                <a:latin typeface="+mj-lt"/>
              </a:endParaRPr>
            </a:p>
          </p:txBody>
        </p:sp>
        <p:sp>
          <p:nvSpPr>
            <p:cNvPr id="114" name="TextBox 113"/>
            <p:cNvSpPr txBox="1"/>
            <p:nvPr/>
          </p:nvSpPr>
          <p:spPr>
            <a:xfrm>
              <a:off x="4974566" y="2285970"/>
              <a:ext cx="3581292" cy="438565"/>
            </a:xfrm>
            <a:prstGeom prst="rect">
              <a:avLst/>
            </a:prstGeom>
            <a:noFill/>
          </p:spPr>
          <p:txBody>
            <a:bodyPr wrap="square" lIns="68562" tIns="34282" rIns="68562" bIns="34282" rtlCol="0" anchor="ctr" anchorCtr="0">
              <a:noAutofit/>
            </a:bodyPr>
            <a:lstStyle/>
            <a:p>
              <a:r>
                <a:rPr lang="ja-JP" altLang="en-US" sz="1300" dirty="0" smtClean="0">
                  <a:solidFill>
                    <a:srgbClr val="FFFFFF"/>
                  </a:solidFill>
                  <a:latin typeface="+mj-lt"/>
                  <a:cs typeface="Arial"/>
                </a:rPr>
                <a:t>再起動やサービスの停止を伴うことなく、動的にアクセスポリシーをアップデートする</a:t>
              </a:r>
              <a:endParaRPr lang="en-US" sz="1300" dirty="0" smtClean="0">
                <a:solidFill>
                  <a:srgbClr val="FFFFFF"/>
                </a:solidFill>
                <a:latin typeface="+mj-lt"/>
                <a:cs typeface="Arial"/>
              </a:endParaRPr>
            </a:p>
          </p:txBody>
        </p:sp>
      </p:grpSp>
      <p:grpSp>
        <p:nvGrpSpPr>
          <p:cNvPr id="6" name="Group 125"/>
          <p:cNvGrpSpPr/>
          <p:nvPr/>
        </p:nvGrpSpPr>
        <p:grpSpPr>
          <a:xfrm>
            <a:off x="507453" y="2955978"/>
            <a:ext cx="3864981" cy="594360"/>
            <a:chOff x="4974567" y="2874006"/>
            <a:chExt cx="3700040" cy="522320"/>
          </a:xfrm>
        </p:grpSpPr>
        <p:sp>
          <p:nvSpPr>
            <p:cNvPr id="121" name="Rectangle 120"/>
            <p:cNvSpPr/>
            <p:nvPr/>
          </p:nvSpPr>
          <p:spPr>
            <a:xfrm>
              <a:off x="4974567" y="2874006"/>
              <a:ext cx="3700040" cy="522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4292" rIns="68583" bIns="34292" rtlCol="0" anchor="ctr">
              <a:noAutofit/>
            </a:bodyPr>
            <a:lstStyle/>
            <a:p>
              <a:pPr algn="ctr"/>
              <a:endParaRPr lang="en-US" sz="1300" dirty="0" smtClean="0">
                <a:latin typeface="+mj-lt"/>
              </a:endParaRPr>
            </a:p>
          </p:txBody>
        </p:sp>
        <p:sp>
          <p:nvSpPr>
            <p:cNvPr id="122" name="Rectangle 121"/>
            <p:cNvSpPr/>
            <p:nvPr>
              <p:custDataLst>
                <p:tags r:id="rId3"/>
              </p:custDataLst>
            </p:nvPr>
          </p:nvSpPr>
          <p:spPr>
            <a:xfrm>
              <a:off x="4974568" y="2915884"/>
              <a:ext cx="3581291" cy="438565"/>
            </a:xfrm>
            <a:prstGeom prst="rect">
              <a:avLst/>
            </a:prstGeom>
          </p:spPr>
          <p:txBody>
            <a:bodyPr wrap="square" lIns="68562" tIns="34282" rIns="68562" bIns="34282" anchor="ctr" anchorCtr="0">
              <a:noAutofit/>
            </a:bodyPr>
            <a:lstStyle/>
            <a:p>
              <a:pPr defTabSz="685862"/>
              <a:r>
                <a:rPr lang="en-US" altLang="ja-JP" sz="1300" dirty="0" smtClean="0">
                  <a:solidFill>
                    <a:srgbClr val="FFFFFF"/>
                  </a:solidFill>
                  <a:latin typeface="+mj-lt"/>
                  <a:cs typeface="Arial"/>
                </a:rPr>
                <a:t>Microsoft</a:t>
              </a:r>
              <a:r>
                <a:rPr lang="ja-JP" altLang="en-US" sz="1300" dirty="0" smtClean="0">
                  <a:solidFill>
                    <a:srgbClr val="FFFFFF"/>
                  </a:solidFill>
                  <a:latin typeface="+mj-lt"/>
                  <a:cs typeface="Arial"/>
                </a:rPr>
                <a:t>からアップデートされる</a:t>
              </a:r>
              <a:r>
                <a:rPr lang="en-US" altLang="ja-JP" sz="1300" dirty="0" smtClean="0">
                  <a:solidFill>
                    <a:srgbClr val="FFFFFF"/>
                  </a:solidFill>
                  <a:latin typeface="+mj-lt"/>
                  <a:cs typeface="Arial"/>
                </a:rPr>
                <a:t> O365 xml</a:t>
              </a:r>
              <a:r>
                <a:rPr lang="ja-JP" altLang="en-US" sz="1300" dirty="0" smtClean="0">
                  <a:solidFill>
                    <a:srgbClr val="FFFFFF"/>
                  </a:solidFill>
                  <a:latin typeface="+mj-lt"/>
                  <a:cs typeface="Arial"/>
                </a:rPr>
                <a:t>フィードを</a:t>
              </a:r>
              <a:r>
                <a:rPr lang="en-US" altLang="ja-JP" sz="1300" dirty="0" smtClean="0">
                  <a:solidFill>
                    <a:srgbClr val="FFFFFF"/>
                  </a:solidFill>
                  <a:latin typeface="+mj-lt"/>
                  <a:cs typeface="Arial"/>
                </a:rPr>
                <a:t>WSA Proxy</a:t>
              </a:r>
              <a:r>
                <a:rPr lang="ja-JP" altLang="en-US" sz="1300" dirty="0" smtClean="0">
                  <a:solidFill>
                    <a:srgbClr val="FFFFFF"/>
                  </a:solidFill>
                  <a:latin typeface="+mj-lt"/>
                  <a:cs typeface="Arial"/>
                </a:rPr>
                <a:t>エンジン外部に実装</a:t>
              </a:r>
              <a:endParaRPr lang="en-US" sz="1300" dirty="0" smtClean="0">
                <a:solidFill>
                  <a:srgbClr val="FFFFFF"/>
                </a:solidFill>
                <a:latin typeface="+mj-lt"/>
                <a:cs typeface="Arial"/>
              </a:endParaRPr>
            </a:p>
          </p:txBody>
        </p:sp>
      </p:grpSp>
      <p:cxnSp>
        <p:nvCxnSpPr>
          <p:cNvPr id="60" name="Elbow Connector 59"/>
          <p:cNvCxnSpPr>
            <a:stCxn id="80" idx="0"/>
            <a:endCxn id="120" idx="3"/>
          </p:cNvCxnSpPr>
          <p:nvPr/>
        </p:nvCxnSpPr>
        <p:spPr>
          <a:xfrm rot="16200000" flipV="1">
            <a:off x="8259732" y="2471746"/>
            <a:ext cx="164091" cy="284630"/>
          </a:xfrm>
          <a:prstGeom prst="bentConnector2">
            <a:avLst/>
          </a:prstGeom>
          <a:ln w="38100" cmpd="sng">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61" name="Rounded Rectangle 60"/>
          <p:cNvSpPr/>
          <p:nvPr/>
        </p:nvSpPr>
        <p:spPr>
          <a:xfrm>
            <a:off x="4864860" y="1420730"/>
            <a:ext cx="1963619" cy="2045667"/>
          </a:xfrm>
          <a:prstGeom prst="roundRect">
            <a:avLst>
              <a:gd name="adj" fmla="val 0"/>
            </a:avLst>
          </a:prstGeom>
          <a:solidFill>
            <a:schemeClr val="accent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smtClean="0">
              <a:latin typeface="+mj-lt"/>
            </a:endParaRPr>
          </a:p>
        </p:txBody>
      </p:sp>
      <p:sp>
        <p:nvSpPr>
          <p:cNvPr id="63" name="Rounded Rectangle 62"/>
          <p:cNvSpPr/>
          <p:nvPr/>
        </p:nvSpPr>
        <p:spPr>
          <a:xfrm>
            <a:off x="5004439" y="1717195"/>
            <a:ext cx="1652444" cy="639823"/>
          </a:xfrm>
          <a:prstGeom prst="roundRect">
            <a:avLst>
              <a:gd name="adj" fmla="val 0"/>
            </a:avLst>
          </a:prstGeom>
          <a:solidFill>
            <a:srgbClr val="3434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latin typeface="+mj-lt"/>
              </a:rPr>
              <a:t>Web Proxy</a:t>
            </a:r>
          </a:p>
        </p:txBody>
      </p:sp>
      <p:cxnSp>
        <p:nvCxnSpPr>
          <p:cNvPr id="66" name="Elbow Connector 65"/>
          <p:cNvCxnSpPr>
            <a:endCxn id="120" idx="2"/>
          </p:cNvCxnSpPr>
          <p:nvPr/>
        </p:nvCxnSpPr>
        <p:spPr>
          <a:xfrm flipV="1">
            <a:off x="6670557" y="2631795"/>
            <a:ext cx="1159723" cy="505695"/>
          </a:xfrm>
          <a:prstGeom prst="bentConnector2">
            <a:avLst/>
          </a:prstGeom>
          <a:ln w="381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83" name="TextBox 82"/>
          <p:cNvSpPr txBox="1"/>
          <p:nvPr/>
        </p:nvSpPr>
        <p:spPr bwMode="auto">
          <a:xfrm>
            <a:off x="4894022" y="1413159"/>
            <a:ext cx="1802064" cy="276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r>
              <a:rPr lang="en-US" sz="1200" dirty="0" smtClean="0">
                <a:latin typeface="+mj-lt"/>
                <a:cs typeface="Arial"/>
              </a:rPr>
              <a:t>Web Security Appliance</a:t>
            </a:r>
          </a:p>
        </p:txBody>
      </p:sp>
      <p:cxnSp>
        <p:nvCxnSpPr>
          <p:cNvPr id="101" name="Elbow Connector 100"/>
          <p:cNvCxnSpPr/>
          <p:nvPr/>
        </p:nvCxnSpPr>
        <p:spPr>
          <a:xfrm>
            <a:off x="5452868" y="3148845"/>
            <a:ext cx="405363" cy="1"/>
          </a:xfrm>
          <a:prstGeom prst="bentConnector3">
            <a:avLst>
              <a:gd name="adj1" fmla="val 50000"/>
            </a:avLst>
          </a:prstGeom>
          <a:ln w="381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10" name="TextBox 109"/>
          <p:cNvSpPr txBox="1"/>
          <p:nvPr/>
        </p:nvSpPr>
        <p:spPr bwMode="auto">
          <a:xfrm>
            <a:off x="7339107" y="2189781"/>
            <a:ext cx="954075" cy="215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r>
              <a:rPr lang="en-US" sz="800" b="1" dirty="0" smtClean="0">
                <a:latin typeface="+mj-lt"/>
                <a:cs typeface="Arial"/>
              </a:rPr>
              <a:t>HTTP(S) Server</a:t>
            </a:r>
          </a:p>
        </p:txBody>
      </p:sp>
      <p:pic>
        <p:nvPicPr>
          <p:cNvPr id="120" name="Picture 11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461094" y="2432238"/>
            <a:ext cx="738364" cy="199557"/>
          </a:xfrm>
          <a:prstGeom prst="rect">
            <a:avLst/>
          </a:prstGeom>
        </p:spPr>
      </p:pic>
      <p:sp>
        <p:nvSpPr>
          <p:cNvPr id="124" name="Oval 123"/>
          <p:cNvSpPr/>
          <p:nvPr/>
        </p:nvSpPr>
        <p:spPr>
          <a:xfrm>
            <a:off x="7461094" y="2375709"/>
            <a:ext cx="733536" cy="119637"/>
          </a:xfrm>
          <a:prstGeom prst="ellipse">
            <a:avLst/>
          </a:prstGeom>
          <a:solidFill>
            <a:srgbClr val="3434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smtClean="0">
              <a:latin typeface="+mj-lt"/>
            </a:endParaRPr>
          </a:p>
        </p:txBody>
      </p:sp>
      <p:pic>
        <p:nvPicPr>
          <p:cNvPr id="125" name="Picture 124"/>
          <p:cNvPicPr>
            <a:picLocks noChangeAspect="1"/>
          </p:cNvPicPr>
          <p:nvPr/>
        </p:nvPicPr>
        <p:blipFill>
          <a:blip r:embed="rId8"/>
          <a:stretch>
            <a:fillRect/>
          </a:stretch>
        </p:blipFill>
        <p:spPr>
          <a:xfrm>
            <a:off x="4872165" y="3563391"/>
            <a:ext cx="1943174" cy="725364"/>
          </a:xfrm>
          <a:prstGeom prst="rect">
            <a:avLst/>
          </a:prstGeom>
        </p:spPr>
      </p:pic>
      <p:sp>
        <p:nvSpPr>
          <p:cNvPr id="84" name="Rectangle 83"/>
          <p:cNvSpPr/>
          <p:nvPr/>
        </p:nvSpPr>
        <p:spPr>
          <a:xfrm>
            <a:off x="5848395" y="3008795"/>
            <a:ext cx="812460" cy="280101"/>
          </a:xfrm>
          <a:prstGeom prst="rect">
            <a:avLst/>
          </a:prstGeom>
          <a:solidFill>
            <a:schemeClr val="accent1"/>
          </a:solidFill>
          <a:ln w="12700"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atin typeface="+mj-lt"/>
              </a:rPr>
              <a:t>HTTP Feed daemon</a:t>
            </a:r>
          </a:p>
        </p:txBody>
      </p:sp>
      <p:sp>
        <p:nvSpPr>
          <p:cNvPr id="85" name="Rounded Rectangle 84"/>
          <p:cNvSpPr/>
          <p:nvPr/>
        </p:nvSpPr>
        <p:spPr>
          <a:xfrm>
            <a:off x="5009153" y="2670286"/>
            <a:ext cx="485454" cy="639823"/>
          </a:xfrm>
          <a:prstGeom prst="roundRect">
            <a:avLst>
              <a:gd name="adj" fmla="val 0"/>
            </a:avLst>
          </a:prstGeom>
          <a:solidFill>
            <a:srgbClr val="3434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latin typeface="+mj-lt"/>
              </a:rPr>
              <a:t>ACL Rules</a:t>
            </a:r>
          </a:p>
        </p:txBody>
      </p:sp>
      <p:cxnSp>
        <p:nvCxnSpPr>
          <p:cNvPr id="86" name="Elbow Connector 85"/>
          <p:cNvCxnSpPr/>
          <p:nvPr/>
        </p:nvCxnSpPr>
        <p:spPr>
          <a:xfrm rot="16200000" flipV="1">
            <a:off x="5077365" y="2514061"/>
            <a:ext cx="329610" cy="4"/>
          </a:xfrm>
          <a:prstGeom prst="bentConnector3">
            <a:avLst>
              <a:gd name="adj1" fmla="val -21592"/>
            </a:avLst>
          </a:prstGeom>
          <a:ln w="381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90" name="Rounded Rectangle 89"/>
          <p:cNvSpPr/>
          <p:nvPr/>
        </p:nvSpPr>
        <p:spPr>
          <a:xfrm>
            <a:off x="5047777" y="1777267"/>
            <a:ext cx="485454" cy="523526"/>
          </a:xfrm>
          <a:prstGeom prst="roundRect">
            <a:avLst>
              <a:gd name="adj"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smtClean="0">
                <a:latin typeface="+mj-lt"/>
              </a:rPr>
              <a:t>ACL Engine</a:t>
            </a:r>
          </a:p>
        </p:txBody>
      </p:sp>
      <p:grpSp>
        <p:nvGrpSpPr>
          <p:cNvPr id="39" name="Group 38"/>
          <p:cNvGrpSpPr/>
          <p:nvPr/>
        </p:nvGrpSpPr>
        <p:grpSpPr>
          <a:xfrm>
            <a:off x="8092369" y="2696106"/>
            <a:ext cx="783438" cy="728406"/>
            <a:chOff x="3664739" y="2893006"/>
            <a:chExt cx="783438" cy="728406"/>
          </a:xfrm>
        </p:grpSpPr>
        <p:grpSp>
          <p:nvGrpSpPr>
            <p:cNvPr id="78" name="Group 16"/>
            <p:cNvGrpSpPr/>
            <p:nvPr/>
          </p:nvGrpSpPr>
          <p:grpSpPr>
            <a:xfrm>
              <a:off x="3664739" y="2893006"/>
              <a:ext cx="783438" cy="722465"/>
              <a:chOff x="4935515" y="3029873"/>
              <a:chExt cx="2152441" cy="2152441"/>
            </a:xfrm>
          </p:grpSpPr>
          <p:sp>
            <p:nvSpPr>
              <p:cNvPr id="80" name="Oval 79"/>
              <p:cNvSpPr/>
              <p:nvPr/>
            </p:nvSpPr>
            <p:spPr>
              <a:xfrm>
                <a:off x="4935515" y="3029873"/>
                <a:ext cx="2152441" cy="2152441"/>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1" name="Freeform 20"/>
              <p:cNvSpPr>
                <a:spLocks noEditPoints="1"/>
              </p:cNvSpPr>
              <p:nvPr/>
            </p:nvSpPr>
            <p:spPr bwMode="auto">
              <a:xfrm>
                <a:off x="5528073" y="3392214"/>
                <a:ext cx="1082552" cy="12024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117" name="TextBox 116"/>
            <p:cNvSpPr txBox="1"/>
            <p:nvPr/>
          </p:nvSpPr>
          <p:spPr>
            <a:xfrm>
              <a:off x="3800716" y="3382875"/>
              <a:ext cx="595227" cy="238537"/>
            </a:xfrm>
            <a:prstGeom prst="rect">
              <a:avLst/>
            </a:prstGeom>
            <a:noFill/>
          </p:spPr>
          <p:txBody>
            <a:bodyPr wrap="square" lIns="68589" tIns="34295" rIns="68589" bIns="34295" rtlCol="0">
              <a:spAutoFit/>
            </a:bodyPr>
            <a:lstStyle/>
            <a:p>
              <a:r>
                <a:rPr lang="en-US" sz="1100" dirty="0">
                  <a:solidFill>
                    <a:schemeClr val="bg1"/>
                  </a:solidFill>
                  <a:latin typeface="+mj-lt"/>
                </a:rPr>
                <a:t>Admin</a:t>
              </a:r>
            </a:p>
          </p:txBody>
        </p:sp>
      </p:grpSp>
      <p:grpSp>
        <p:nvGrpSpPr>
          <p:cNvPr id="49" name="Group 48"/>
          <p:cNvGrpSpPr/>
          <p:nvPr/>
        </p:nvGrpSpPr>
        <p:grpSpPr>
          <a:xfrm>
            <a:off x="5480469" y="1197999"/>
            <a:ext cx="2210010" cy="1731235"/>
            <a:chOff x="5480469" y="1197997"/>
            <a:chExt cx="2210010" cy="1731235"/>
          </a:xfrm>
        </p:grpSpPr>
        <p:grpSp>
          <p:nvGrpSpPr>
            <p:cNvPr id="48" name="Group 47"/>
            <p:cNvGrpSpPr/>
            <p:nvPr/>
          </p:nvGrpSpPr>
          <p:grpSpPr>
            <a:xfrm>
              <a:off x="5480469" y="1197997"/>
              <a:ext cx="2210010" cy="1731235"/>
              <a:chOff x="5480469" y="1197997"/>
              <a:chExt cx="2210010" cy="1731235"/>
            </a:xfrm>
          </p:grpSpPr>
          <p:cxnSp>
            <p:nvCxnSpPr>
              <p:cNvPr id="62" name="Elbow Connector 1371"/>
              <p:cNvCxnSpPr/>
              <p:nvPr/>
            </p:nvCxnSpPr>
            <p:spPr>
              <a:xfrm rot="5400000" flipH="1" flipV="1">
                <a:off x="6308736" y="1883892"/>
                <a:ext cx="1198386" cy="677493"/>
              </a:xfrm>
              <a:prstGeom prst="bentConnector3">
                <a:avLst>
                  <a:gd name="adj1" fmla="val 2413"/>
                </a:avLst>
              </a:prstGeom>
              <a:ln w="38100" cmpd="sng">
                <a:solidFill>
                  <a:schemeClr val="accent1"/>
                </a:solidFill>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95" name="Rectangle 94"/>
              <p:cNvSpPr/>
              <p:nvPr/>
            </p:nvSpPr>
            <p:spPr>
              <a:xfrm>
                <a:off x="5844423" y="2649131"/>
                <a:ext cx="812460" cy="280101"/>
              </a:xfrm>
              <a:prstGeom prst="rect">
                <a:avLst/>
              </a:prstGeom>
              <a:solidFill>
                <a:schemeClr val="accent1"/>
              </a:solidFill>
              <a:ln w="12700" cmpd="sng">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latin typeface="+mj-lt"/>
                  </a:rPr>
                  <a:t>O365 Feed daemon</a:t>
                </a:r>
              </a:p>
            </p:txBody>
          </p:sp>
          <p:cxnSp>
            <p:nvCxnSpPr>
              <p:cNvPr id="102" name="Elbow Connector 101"/>
              <p:cNvCxnSpPr/>
              <p:nvPr/>
            </p:nvCxnSpPr>
            <p:spPr>
              <a:xfrm>
                <a:off x="5480469" y="2786063"/>
                <a:ext cx="373786" cy="3119"/>
              </a:xfrm>
              <a:prstGeom prst="bentConnector3">
                <a:avLst>
                  <a:gd name="adj1" fmla="val 50000"/>
                </a:avLst>
              </a:prstGeom>
              <a:ln w="38100" cmpd="sng">
                <a:solidFill>
                  <a:schemeClr val="bg1">
                    <a:lumMod val="5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grpSp>
            <p:nvGrpSpPr>
              <p:cNvPr id="31" name="Group 30"/>
              <p:cNvGrpSpPr/>
              <p:nvPr/>
            </p:nvGrpSpPr>
            <p:grpSpPr>
              <a:xfrm>
                <a:off x="6909429" y="1197997"/>
                <a:ext cx="781050" cy="488950"/>
                <a:chOff x="2771555" y="1525855"/>
                <a:chExt cx="781050" cy="488950"/>
              </a:xfrm>
            </p:grpSpPr>
            <p:sp>
              <p:nvSpPr>
                <p:cNvPr id="92166" name="Freeform 6"/>
                <p:cNvSpPr>
                  <a:spLocks/>
                </p:cNvSpPr>
                <p:nvPr/>
              </p:nvSpPr>
              <p:spPr bwMode="auto">
                <a:xfrm>
                  <a:off x="2771555" y="1525855"/>
                  <a:ext cx="781050" cy="488950"/>
                </a:xfrm>
                <a:custGeom>
                  <a:avLst/>
                  <a:gdLst/>
                  <a:ahLst/>
                  <a:cxnLst>
                    <a:cxn ang="0">
                      <a:pos x="174" y="59"/>
                    </a:cxn>
                    <a:cxn ang="0">
                      <a:pos x="174" y="59"/>
                    </a:cxn>
                    <a:cxn ang="0">
                      <a:pos x="175" y="46"/>
                    </a:cxn>
                    <a:cxn ang="0">
                      <a:pos x="129" y="0"/>
                    </a:cxn>
                    <a:cxn ang="0">
                      <a:pos x="84" y="34"/>
                    </a:cxn>
                    <a:cxn ang="0">
                      <a:pos x="66" y="30"/>
                    </a:cxn>
                    <a:cxn ang="0">
                      <a:pos x="26" y="71"/>
                    </a:cxn>
                    <a:cxn ang="0">
                      <a:pos x="26" y="75"/>
                    </a:cxn>
                    <a:cxn ang="0">
                      <a:pos x="26" y="75"/>
                    </a:cxn>
                    <a:cxn ang="0">
                      <a:pos x="0" y="103"/>
                    </a:cxn>
                    <a:cxn ang="0">
                      <a:pos x="26" y="130"/>
                    </a:cxn>
                    <a:cxn ang="0">
                      <a:pos x="173" y="130"/>
                    </a:cxn>
                    <a:cxn ang="0">
                      <a:pos x="208" y="94"/>
                    </a:cxn>
                    <a:cxn ang="0">
                      <a:pos x="174" y="59"/>
                    </a:cxn>
                  </a:cxnLst>
                  <a:rect l="0" t="0" r="r" b="b"/>
                  <a:pathLst>
                    <a:path w="208" h="130">
                      <a:moveTo>
                        <a:pt x="174" y="59"/>
                      </a:moveTo>
                      <a:cubicBezTo>
                        <a:pt x="174" y="59"/>
                        <a:pt x="174" y="59"/>
                        <a:pt x="174" y="59"/>
                      </a:cubicBezTo>
                      <a:cubicBezTo>
                        <a:pt x="175" y="55"/>
                        <a:pt x="175" y="50"/>
                        <a:pt x="175" y="46"/>
                      </a:cubicBezTo>
                      <a:cubicBezTo>
                        <a:pt x="175" y="21"/>
                        <a:pt x="154" y="0"/>
                        <a:pt x="129" y="0"/>
                      </a:cubicBezTo>
                      <a:cubicBezTo>
                        <a:pt x="108" y="0"/>
                        <a:pt x="89" y="15"/>
                        <a:pt x="84" y="34"/>
                      </a:cubicBezTo>
                      <a:cubicBezTo>
                        <a:pt x="79" y="31"/>
                        <a:pt x="73" y="30"/>
                        <a:pt x="66" y="30"/>
                      </a:cubicBezTo>
                      <a:cubicBezTo>
                        <a:pt x="44" y="30"/>
                        <a:pt x="26" y="48"/>
                        <a:pt x="26" y="71"/>
                      </a:cubicBezTo>
                      <a:cubicBezTo>
                        <a:pt x="26" y="72"/>
                        <a:pt x="26" y="74"/>
                        <a:pt x="26" y="75"/>
                      </a:cubicBezTo>
                      <a:cubicBezTo>
                        <a:pt x="26" y="75"/>
                        <a:pt x="26" y="75"/>
                        <a:pt x="26" y="75"/>
                      </a:cubicBezTo>
                      <a:cubicBezTo>
                        <a:pt x="11" y="75"/>
                        <a:pt x="0" y="88"/>
                        <a:pt x="0" y="103"/>
                      </a:cubicBezTo>
                      <a:cubicBezTo>
                        <a:pt x="0" y="117"/>
                        <a:pt x="11" y="130"/>
                        <a:pt x="26" y="130"/>
                      </a:cubicBezTo>
                      <a:cubicBezTo>
                        <a:pt x="173" y="130"/>
                        <a:pt x="173" y="130"/>
                        <a:pt x="173" y="130"/>
                      </a:cubicBezTo>
                      <a:cubicBezTo>
                        <a:pt x="192" y="130"/>
                        <a:pt x="208" y="113"/>
                        <a:pt x="208" y="94"/>
                      </a:cubicBezTo>
                      <a:cubicBezTo>
                        <a:pt x="208" y="75"/>
                        <a:pt x="192" y="59"/>
                        <a:pt x="174" y="59"/>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108" name="TextBox 107"/>
                <p:cNvSpPr txBox="1"/>
                <p:nvPr/>
              </p:nvSpPr>
              <p:spPr bwMode="auto">
                <a:xfrm>
                  <a:off x="3002688" y="1612765"/>
                  <a:ext cx="453938" cy="33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pPr algn="ctr"/>
                  <a:r>
                    <a:rPr lang="en-US" sz="800" dirty="0" smtClean="0">
                      <a:solidFill>
                        <a:schemeClr val="bg1"/>
                      </a:solidFill>
                      <a:latin typeface="+mj-lt"/>
                      <a:cs typeface="Arial"/>
                    </a:rPr>
                    <a:t>O365</a:t>
                  </a:r>
                </a:p>
                <a:p>
                  <a:pPr algn="ctr"/>
                  <a:r>
                    <a:rPr lang="en-US" sz="800" dirty="0" smtClean="0">
                      <a:solidFill>
                        <a:schemeClr val="bg1"/>
                      </a:solidFill>
                      <a:latin typeface="+mj-lt"/>
                      <a:cs typeface="Arial"/>
                    </a:rPr>
                    <a:t>Cloud</a:t>
                  </a:r>
                </a:p>
              </p:txBody>
            </p:sp>
          </p:grpSp>
        </p:grpSp>
        <p:sp>
          <p:nvSpPr>
            <p:cNvPr id="118" name="TextBox 117"/>
            <p:cNvSpPr txBox="1"/>
            <p:nvPr/>
          </p:nvSpPr>
          <p:spPr bwMode="auto">
            <a:xfrm rot="16200000">
              <a:off x="6689423" y="2067791"/>
              <a:ext cx="979724" cy="23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pPr algn="ctr"/>
              <a:r>
                <a:rPr lang="en-US" sz="900" b="1" dirty="0" smtClean="0">
                  <a:solidFill>
                    <a:schemeClr val="tx1"/>
                  </a:solidFill>
                  <a:latin typeface="+mj-lt"/>
                </a:rPr>
                <a:t>Periodic Fetch</a:t>
              </a:r>
            </a:p>
          </p:txBody>
        </p:sp>
      </p:grpSp>
      <p:sp>
        <p:nvSpPr>
          <p:cNvPr id="126" name="TextBox 125"/>
          <p:cNvSpPr txBox="1"/>
          <p:nvPr/>
        </p:nvSpPr>
        <p:spPr bwMode="auto">
          <a:xfrm>
            <a:off x="6845720" y="2908975"/>
            <a:ext cx="979724" cy="23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pPr algn="ctr"/>
            <a:r>
              <a:rPr lang="en-US" sz="900" b="1" dirty="0" smtClean="0">
                <a:solidFill>
                  <a:schemeClr val="tx1"/>
                </a:solidFill>
                <a:latin typeface="+mj-lt"/>
              </a:rPr>
              <a:t>Periodic Fetch</a:t>
            </a:r>
          </a:p>
        </p:txBody>
      </p:sp>
      <p:grpSp>
        <p:nvGrpSpPr>
          <p:cNvPr id="47" name="Group 46"/>
          <p:cNvGrpSpPr/>
          <p:nvPr/>
        </p:nvGrpSpPr>
        <p:grpSpPr>
          <a:xfrm>
            <a:off x="507453" y="3738541"/>
            <a:ext cx="3864981" cy="594360"/>
            <a:chOff x="4754855" y="3758105"/>
            <a:chExt cx="3864981" cy="594360"/>
          </a:xfrm>
        </p:grpSpPr>
        <p:grpSp>
          <p:nvGrpSpPr>
            <p:cNvPr id="5" name="Group 126"/>
            <p:cNvGrpSpPr/>
            <p:nvPr/>
          </p:nvGrpSpPr>
          <p:grpSpPr>
            <a:xfrm>
              <a:off x="4754855" y="3758105"/>
              <a:ext cx="3864981" cy="594360"/>
              <a:chOff x="4974567" y="3503920"/>
              <a:chExt cx="3700040" cy="522320"/>
            </a:xfrm>
          </p:grpSpPr>
          <p:sp>
            <p:nvSpPr>
              <p:cNvPr id="115" name="Rectangle 114"/>
              <p:cNvSpPr/>
              <p:nvPr/>
            </p:nvSpPr>
            <p:spPr>
              <a:xfrm>
                <a:off x="4974567" y="3503920"/>
                <a:ext cx="3700040" cy="5223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4292" rIns="68583" bIns="34292" rtlCol="0" anchor="ctr">
                <a:noAutofit/>
              </a:bodyPr>
              <a:lstStyle/>
              <a:p>
                <a:pPr algn="ctr"/>
                <a:endParaRPr lang="en-US" sz="1300" dirty="0" smtClean="0">
                  <a:latin typeface="+mj-lt"/>
                </a:endParaRPr>
              </a:p>
            </p:txBody>
          </p:sp>
          <p:sp>
            <p:nvSpPr>
              <p:cNvPr id="116" name="Rectangle 115"/>
              <p:cNvSpPr/>
              <p:nvPr>
                <p:custDataLst>
                  <p:tags r:id="rId2"/>
                </p:custDataLst>
              </p:nvPr>
            </p:nvSpPr>
            <p:spPr>
              <a:xfrm>
                <a:off x="5093316" y="3545798"/>
                <a:ext cx="3462541" cy="438565"/>
              </a:xfrm>
              <a:prstGeom prst="rect">
                <a:avLst/>
              </a:prstGeom>
            </p:spPr>
            <p:txBody>
              <a:bodyPr wrap="square" lIns="68562" tIns="34282" rIns="68562" bIns="34282" anchor="ctr" anchorCtr="0">
                <a:noAutofit/>
              </a:bodyPr>
              <a:lstStyle/>
              <a:p>
                <a:pPr defTabSz="685862"/>
                <a:endParaRPr lang="en-US" sz="1300" dirty="0" smtClean="0">
                  <a:solidFill>
                    <a:srgbClr val="FFFFFF"/>
                  </a:solidFill>
                  <a:latin typeface="+mj-lt"/>
                  <a:cs typeface="Arial"/>
                </a:endParaRPr>
              </a:p>
            </p:txBody>
          </p:sp>
        </p:grpSp>
        <p:sp>
          <p:nvSpPr>
            <p:cNvPr id="128" name="Rectangle 127"/>
            <p:cNvSpPr/>
            <p:nvPr>
              <p:custDataLst>
                <p:tags r:id="rId1"/>
              </p:custDataLst>
            </p:nvPr>
          </p:nvSpPr>
          <p:spPr>
            <a:xfrm>
              <a:off x="4754855" y="3768083"/>
              <a:ext cx="3689267" cy="499053"/>
            </a:xfrm>
            <a:prstGeom prst="rect">
              <a:avLst/>
            </a:prstGeom>
          </p:spPr>
          <p:txBody>
            <a:bodyPr wrap="square" lIns="68562" tIns="34282" rIns="68562" bIns="34282" anchor="ctr" anchorCtr="0">
              <a:noAutofit/>
            </a:bodyPr>
            <a:lstStyle/>
            <a:p>
              <a:pPr defTabSz="685862"/>
              <a:r>
                <a:rPr lang="ja-JP" altLang="en-US" sz="1300" dirty="0" smtClean="0">
                  <a:solidFill>
                    <a:srgbClr val="FFFFFF"/>
                  </a:solidFill>
                  <a:latin typeface="+mj-lt"/>
                  <a:cs typeface="Arial"/>
                </a:rPr>
                <a:t>今後外部のセキュリティサービスや公共サービスとのインテグレーションも期待できる</a:t>
              </a:r>
              <a:endParaRPr lang="en-US" sz="1300" dirty="0" smtClean="0">
                <a:solidFill>
                  <a:srgbClr val="FFFFFF"/>
                </a:solidFill>
                <a:latin typeface="+mj-lt"/>
                <a:cs typeface="Arial"/>
              </a:endParaRPr>
            </a:p>
          </p:txBody>
        </p:sp>
      </p:grpSp>
      <p:grpSp>
        <p:nvGrpSpPr>
          <p:cNvPr id="92169" name="Group 92168"/>
          <p:cNvGrpSpPr/>
          <p:nvPr/>
        </p:nvGrpSpPr>
        <p:grpSpPr>
          <a:xfrm>
            <a:off x="7845283" y="1261168"/>
            <a:ext cx="1069492" cy="1143486"/>
            <a:chOff x="7845283" y="1261166"/>
            <a:chExt cx="1069492" cy="1143486"/>
          </a:xfrm>
        </p:grpSpPr>
        <p:grpSp>
          <p:nvGrpSpPr>
            <p:cNvPr id="92168" name="Group 92167"/>
            <p:cNvGrpSpPr/>
            <p:nvPr/>
          </p:nvGrpSpPr>
          <p:grpSpPr>
            <a:xfrm>
              <a:off x="8155488" y="1261166"/>
              <a:ext cx="418200" cy="1143486"/>
              <a:chOff x="8155488" y="1261166"/>
              <a:chExt cx="418200" cy="1143486"/>
            </a:xfrm>
          </p:grpSpPr>
          <p:grpSp>
            <p:nvGrpSpPr>
              <p:cNvPr id="130" name="Group 129"/>
              <p:cNvGrpSpPr/>
              <p:nvPr/>
            </p:nvGrpSpPr>
            <p:grpSpPr>
              <a:xfrm>
                <a:off x="8228346" y="1261166"/>
                <a:ext cx="345342" cy="456027"/>
                <a:chOff x="5690588" y="4517755"/>
                <a:chExt cx="501520" cy="625745"/>
              </a:xfrm>
              <a:solidFill>
                <a:schemeClr val="accent2"/>
              </a:solidFill>
            </p:grpSpPr>
            <p:sp>
              <p:nvSpPr>
                <p:cNvPr id="131" name="Freeform 65"/>
                <p:cNvSpPr>
                  <a:spLocks/>
                </p:cNvSpPr>
                <p:nvPr/>
              </p:nvSpPr>
              <p:spPr bwMode="auto">
                <a:xfrm>
                  <a:off x="5857761" y="4681234"/>
                  <a:ext cx="175024" cy="163017"/>
                </a:xfrm>
                <a:custGeom>
                  <a:avLst/>
                  <a:gdLst>
                    <a:gd name="T0" fmla="*/ 8 w 160"/>
                    <a:gd name="T1" fmla="*/ 149 h 149"/>
                    <a:gd name="T2" fmla="*/ 8 w 160"/>
                    <a:gd name="T3" fmla="*/ 8 h 149"/>
                    <a:gd name="T4" fmla="*/ 92 w 160"/>
                    <a:gd name="T5" fmla="*/ 8 h 149"/>
                    <a:gd name="T6" fmla="*/ 92 w 160"/>
                    <a:gd name="T7" fmla="*/ 64 h 149"/>
                    <a:gd name="T8" fmla="*/ 96 w 160"/>
                    <a:gd name="T9" fmla="*/ 68 h 149"/>
                    <a:gd name="T10" fmla="*/ 152 w 160"/>
                    <a:gd name="T11" fmla="*/ 68 h 149"/>
                    <a:gd name="T12" fmla="*/ 152 w 160"/>
                    <a:gd name="T13" fmla="*/ 149 h 149"/>
                    <a:gd name="T14" fmla="*/ 160 w 160"/>
                    <a:gd name="T15" fmla="*/ 149 h 149"/>
                    <a:gd name="T16" fmla="*/ 160 w 160"/>
                    <a:gd name="T17" fmla="*/ 64 h 149"/>
                    <a:gd name="T18" fmla="*/ 160 w 160"/>
                    <a:gd name="T19" fmla="*/ 64 h 149"/>
                    <a:gd name="T20" fmla="*/ 160 w 160"/>
                    <a:gd name="T21" fmla="*/ 63 h 149"/>
                    <a:gd name="T22" fmla="*/ 160 w 160"/>
                    <a:gd name="T23" fmla="*/ 62 h 149"/>
                    <a:gd name="T24" fmla="*/ 159 w 160"/>
                    <a:gd name="T25" fmla="*/ 61 h 149"/>
                    <a:gd name="T26" fmla="*/ 159 w 160"/>
                    <a:gd name="T27" fmla="*/ 61 h 149"/>
                    <a:gd name="T28" fmla="*/ 159 w 160"/>
                    <a:gd name="T29" fmla="*/ 61 h 149"/>
                    <a:gd name="T30" fmla="*/ 99 w 160"/>
                    <a:gd name="T31" fmla="*/ 1 h 149"/>
                    <a:gd name="T32" fmla="*/ 99 w 160"/>
                    <a:gd name="T33" fmla="*/ 1 h 149"/>
                    <a:gd name="T34" fmla="*/ 99 w 160"/>
                    <a:gd name="T35" fmla="*/ 1 h 149"/>
                    <a:gd name="T36" fmla="*/ 98 w 160"/>
                    <a:gd name="T37" fmla="*/ 0 h 149"/>
                    <a:gd name="T38" fmla="*/ 97 w 160"/>
                    <a:gd name="T39" fmla="*/ 0 h 149"/>
                    <a:gd name="T40" fmla="*/ 96 w 160"/>
                    <a:gd name="T41" fmla="*/ 0 h 149"/>
                    <a:gd name="T42" fmla="*/ 96 w 160"/>
                    <a:gd name="T43" fmla="*/ 0 h 149"/>
                    <a:gd name="T44" fmla="*/ 4 w 160"/>
                    <a:gd name="T45" fmla="*/ 0 h 149"/>
                    <a:gd name="T46" fmla="*/ 0 w 160"/>
                    <a:gd name="T47" fmla="*/ 4 h 149"/>
                    <a:gd name="T48" fmla="*/ 0 w 160"/>
                    <a:gd name="T49" fmla="*/ 149 h 149"/>
                    <a:gd name="T50" fmla="*/ 8 w 160"/>
                    <a:gd name="T51"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0" h="149">
                      <a:moveTo>
                        <a:pt x="8" y="149"/>
                      </a:moveTo>
                      <a:cubicBezTo>
                        <a:pt x="8" y="8"/>
                        <a:pt x="8" y="8"/>
                        <a:pt x="8" y="8"/>
                      </a:cubicBezTo>
                      <a:cubicBezTo>
                        <a:pt x="92" y="8"/>
                        <a:pt x="92" y="8"/>
                        <a:pt x="92" y="8"/>
                      </a:cubicBezTo>
                      <a:cubicBezTo>
                        <a:pt x="92" y="64"/>
                        <a:pt x="92" y="64"/>
                        <a:pt x="92" y="64"/>
                      </a:cubicBezTo>
                      <a:cubicBezTo>
                        <a:pt x="92" y="66"/>
                        <a:pt x="94" y="68"/>
                        <a:pt x="96" y="68"/>
                      </a:cubicBezTo>
                      <a:cubicBezTo>
                        <a:pt x="152" y="68"/>
                        <a:pt x="152" y="68"/>
                        <a:pt x="152" y="68"/>
                      </a:cubicBezTo>
                      <a:cubicBezTo>
                        <a:pt x="152" y="149"/>
                        <a:pt x="152" y="149"/>
                        <a:pt x="152" y="149"/>
                      </a:cubicBezTo>
                      <a:cubicBezTo>
                        <a:pt x="160" y="149"/>
                        <a:pt x="160" y="149"/>
                        <a:pt x="160" y="149"/>
                      </a:cubicBezTo>
                      <a:cubicBezTo>
                        <a:pt x="160" y="64"/>
                        <a:pt x="160" y="64"/>
                        <a:pt x="160" y="64"/>
                      </a:cubicBezTo>
                      <a:cubicBezTo>
                        <a:pt x="160" y="64"/>
                        <a:pt x="160" y="64"/>
                        <a:pt x="160" y="64"/>
                      </a:cubicBezTo>
                      <a:cubicBezTo>
                        <a:pt x="160" y="63"/>
                        <a:pt x="160" y="63"/>
                        <a:pt x="160" y="63"/>
                      </a:cubicBezTo>
                      <a:cubicBezTo>
                        <a:pt x="160" y="62"/>
                        <a:pt x="160" y="62"/>
                        <a:pt x="160" y="62"/>
                      </a:cubicBezTo>
                      <a:cubicBezTo>
                        <a:pt x="160" y="62"/>
                        <a:pt x="160" y="61"/>
                        <a:pt x="159" y="61"/>
                      </a:cubicBezTo>
                      <a:cubicBezTo>
                        <a:pt x="159" y="61"/>
                        <a:pt x="159" y="61"/>
                        <a:pt x="159" y="61"/>
                      </a:cubicBezTo>
                      <a:cubicBezTo>
                        <a:pt x="159" y="61"/>
                        <a:pt x="159" y="61"/>
                        <a:pt x="159" y="61"/>
                      </a:cubicBezTo>
                      <a:cubicBezTo>
                        <a:pt x="99" y="1"/>
                        <a:pt x="99" y="1"/>
                        <a:pt x="99" y="1"/>
                      </a:cubicBezTo>
                      <a:cubicBezTo>
                        <a:pt x="99" y="1"/>
                        <a:pt x="99" y="1"/>
                        <a:pt x="99" y="1"/>
                      </a:cubicBezTo>
                      <a:cubicBezTo>
                        <a:pt x="99" y="1"/>
                        <a:pt x="99" y="1"/>
                        <a:pt x="99" y="1"/>
                      </a:cubicBezTo>
                      <a:cubicBezTo>
                        <a:pt x="98" y="1"/>
                        <a:pt x="98" y="0"/>
                        <a:pt x="98" y="0"/>
                      </a:cubicBezTo>
                      <a:cubicBezTo>
                        <a:pt x="98" y="0"/>
                        <a:pt x="97" y="0"/>
                        <a:pt x="97" y="0"/>
                      </a:cubicBezTo>
                      <a:cubicBezTo>
                        <a:pt x="97" y="0"/>
                        <a:pt x="97" y="0"/>
                        <a:pt x="96" y="0"/>
                      </a:cubicBezTo>
                      <a:cubicBezTo>
                        <a:pt x="96" y="0"/>
                        <a:pt x="96" y="0"/>
                        <a:pt x="96" y="0"/>
                      </a:cubicBezTo>
                      <a:cubicBezTo>
                        <a:pt x="4" y="0"/>
                        <a:pt x="4" y="0"/>
                        <a:pt x="4" y="0"/>
                      </a:cubicBezTo>
                      <a:cubicBezTo>
                        <a:pt x="1" y="0"/>
                        <a:pt x="0" y="2"/>
                        <a:pt x="0" y="4"/>
                      </a:cubicBezTo>
                      <a:cubicBezTo>
                        <a:pt x="0" y="149"/>
                        <a:pt x="0" y="149"/>
                        <a:pt x="0" y="149"/>
                      </a:cubicBezTo>
                      <a:lnTo>
                        <a:pt x="8" y="149"/>
                      </a:ln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2" name="Freeform 66"/>
                <p:cNvSpPr>
                  <a:spLocks/>
                </p:cNvSpPr>
                <p:nvPr/>
              </p:nvSpPr>
              <p:spPr bwMode="auto">
                <a:xfrm>
                  <a:off x="5882699" y="4776365"/>
                  <a:ext cx="124687" cy="8774"/>
                </a:xfrm>
                <a:custGeom>
                  <a:avLst/>
                  <a:gdLst>
                    <a:gd name="T0" fmla="*/ 4 w 114"/>
                    <a:gd name="T1" fmla="*/ 8 h 8"/>
                    <a:gd name="T2" fmla="*/ 110 w 114"/>
                    <a:gd name="T3" fmla="*/ 8 h 8"/>
                    <a:gd name="T4" fmla="*/ 114 w 114"/>
                    <a:gd name="T5" fmla="*/ 4 h 8"/>
                    <a:gd name="T6" fmla="*/ 110 w 114"/>
                    <a:gd name="T7" fmla="*/ 0 h 8"/>
                    <a:gd name="T8" fmla="*/ 4 w 114"/>
                    <a:gd name="T9" fmla="*/ 0 h 8"/>
                    <a:gd name="T10" fmla="*/ 0 w 114"/>
                    <a:gd name="T11" fmla="*/ 4 h 8"/>
                    <a:gd name="T12" fmla="*/ 4 w 11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14" h="8">
                      <a:moveTo>
                        <a:pt x="4" y="8"/>
                      </a:moveTo>
                      <a:cubicBezTo>
                        <a:pt x="110" y="8"/>
                        <a:pt x="110" y="8"/>
                        <a:pt x="110" y="8"/>
                      </a:cubicBezTo>
                      <a:cubicBezTo>
                        <a:pt x="112" y="8"/>
                        <a:pt x="114" y="7"/>
                        <a:pt x="114" y="4"/>
                      </a:cubicBezTo>
                      <a:cubicBezTo>
                        <a:pt x="114" y="2"/>
                        <a:pt x="112" y="0"/>
                        <a:pt x="110" y="0"/>
                      </a:cubicBezTo>
                      <a:cubicBezTo>
                        <a:pt x="4" y="0"/>
                        <a:pt x="4" y="0"/>
                        <a:pt x="4" y="0"/>
                      </a:cubicBezTo>
                      <a:cubicBezTo>
                        <a:pt x="2" y="0"/>
                        <a:pt x="0" y="2"/>
                        <a:pt x="0" y="4"/>
                      </a:cubicBezTo>
                      <a:cubicBezTo>
                        <a:pt x="0" y="7"/>
                        <a:pt x="2" y="8"/>
                        <a:pt x="4" y="8"/>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3" name="Freeform 67"/>
                <p:cNvSpPr>
                  <a:spLocks/>
                </p:cNvSpPr>
                <p:nvPr/>
              </p:nvSpPr>
              <p:spPr bwMode="auto">
                <a:xfrm>
                  <a:off x="5882699" y="4812848"/>
                  <a:ext cx="124687" cy="8774"/>
                </a:xfrm>
                <a:custGeom>
                  <a:avLst/>
                  <a:gdLst>
                    <a:gd name="T0" fmla="*/ 110 w 114"/>
                    <a:gd name="T1" fmla="*/ 0 h 8"/>
                    <a:gd name="T2" fmla="*/ 4 w 114"/>
                    <a:gd name="T3" fmla="*/ 0 h 8"/>
                    <a:gd name="T4" fmla="*/ 0 w 114"/>
                    <a:gd name="T5" fmla="*/ 4 h 8"/>
                    <a:gd name="T6" fmla="*/ 4 w 114"/>
                    <a:gd name="T7" fmla="*/ 8 h 8"/>
                    <a:gd name="T8" fmla="*/ 110 w 114"/>
                    <a:gd name="T9" fmla="*/ 8 h 8"/>
                    <a:gd name="T10" fmla="*/ 114 w 114"/>
                    <a:gd name="T11" fmla="*/ 4 h 8"/>
                    <a:gd name="T12" fmla="*/ 110 w 11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4" h="8">
                      <a:moveTo>
                        <a:pt x="110" y="0"/>
                      </a:moveTo>
                      <a:cubicBezTo>
                        <a:pt x="4" y="0"/>
                        <a:pt x="4" y="0"/>
                        <a:pt x="4" y="0"/>
                      </a:cubicBezTo>
                      <a:cubicBezTo>
                        <a:pt x="2" y="0"/>
                        <a:pt x="0" y="1"/>
                        <a:pt x="0" y="4"/>
                      </a:cubicBezTo>
                      <a:cubicBezTo>
                        <a:pt x="0" y="6"/>
                        <a:pt x="2" y="8"/>
                        <a:pt x="4" y="8"/>
                      </a:cubicBezTo>
                      <a:cubicBezTo>
                        <a:pt x="110" y="8"/>
                        <a:pt x="110" y="8"/>
                        <a:pt x="110" y="8"/>
                      </a:cubicBezTo>
                      <a:cubicBezTo>
                        <a:pt x="112" y="8"/>
                        <a:pt x="114" y="6"/>
                        <a:pt x="114" y="4"/>
                      </a:cubicBezTo>
                      <a:cubicBezTo>
                        <a:pt x="114" y="1"/>
                        <a:pt x="112" y="0"/>
                        <a:pt x="110"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4" name="Freeform 68"/>
                <p:cNvSpPr>
                  <a:spLocks noEditPoints="1"/>
                </p:cNvSpPr>
                <p:nvPr/>
              </p:nvSpPr>
              <p:spPr bwMode="auto">
                <a:xfrm>
                  <a:off x="5730765" y="4598109"/>
                  <a:ext cx="109448" cy="145469"/>
                </a:xfrm>
                <a:custGeom>
                  <a:avLst/>
                  <a:gdLst>
                    <a:gd name="T0" fmla="*/ 100 w 100"/>
                    <a:gd name="T1" fmla="*/ 39 h 133"/>
                    <a:gd name="T2" fmla="*/ 100 w 100"/>
                    <a:gd name="T3" fmla="*/ 39 h 133"/>
                    <a:gd name="T4" fmla="*/ 99 w 100"/>
                    <a:gd name="T5" fmla="*/ 38 h 133"/>
                    <a:gd name="T6" fmla="*/ 99 w 100"/>
                    <a:gd name="T7" fmla="*/ 38 h 133"/>
                    <a:gd name="T8" fmla="*/ 61 w 100"/>
                    <a:gd name="T9" fmla="*/ 0 h 133"/>
                    <a:gd name="T10" fmla="*/ 61 w 100"/>
                    <a:gd name="T11" fmla="*/ 0 h 133"/>
                    <a:gd name="T12" fmla="*/ 60 w 100"/>
                    <a:gd name="T13" fmla="*/ 0 h 133"/>
                    <a:gd name="T14" fmla="*/ 60 w 100"/>
                    <a:gd name="T15" fmla="*/ 0 h 133"/>
                    <a:gd name="T16" fmla="*/ 60 w 100"/>
                    <a:gd name="T17" fmla="*/ 0 h 133"/>
                    <a:gd name="T18" fmla="*/ 2 w 100"/>
                    <a:gd name="T19" fmla="*/ 0 h 133"/>
                    <a:gd name="T20" fmla="*/ 0 w 100"/>
                    <a:gd name="T21" fmla="*/ 2 h 133"/>
                    <a:gd name="T22" fmla="*/ 0 w 100"/>
                    <a:gd name="T23" fmla="*/ 131 h 133"/>
                    <a:gd name="T24" fmla="*/ 2 w 100"/>
                    <a:gd name="T25" fmla="*/ 133 h 133"/>
                    <a:gd name="T26" fmla="*/ 98 w 100"/>
                    <a:gd name="T27" fmla="*/ 133 h 133"/>
                    <a:gd name="T28" fmla="*/ 100 w 100"/>
                    <a:gd name="T29" fmla="*/ 131 h 133"/>
                    <a:gd name="T30" fmla="*/ 100 w 100"/>
                    <a:gd name="T31" fmla="*/ 39 h 133"/>
                    <a:gd name="T32" fmla="*/ 100 w 100"/>
                    <a:gd name="T33" fmla="*/ 39 h 133"/>
                    <a:gd name="T34" fmla="*/ 96 w 100"/>
                    <a:gd name="T35" fmla="*/ 129 h 133"/>
                    <a:gd name="T36" fmla="*/ 4 w 100"/>
                    <a:gd name="T37" fmla="*/ 129 h 133"/>
                    <a:gd name="T38" fmla="*/ 4 w 100"/>
                    <a:gd name="T39" fmla="*/ 4 h 133"/>
                    <a:gd name="T40" fmla="*/ 58 w 100"/>
                    <a:gd name="T41" fmla="*/ 4 h 133"/>
                    <a:gd name="T42" fmla="*/ 58 w 100"/>
                    <a:gd name="T43" fmla="*/ 39 h 133"/>
                    <a:gd name="T44" fmla="*/ 60 w 100"/>
                    <a:gd name="T45" fmla="*/ 41 h 133"/>
                    <a:gd name="T46" fmla="*/ 96 w 100"/>
                    <a:gd name="T47" fmla="*/ 41 h 133"/>
                    <a:gd name="T48" fmla="*/ 96 w 100"/>
                    <a:gd name="T49" fmla="*/ 12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0" h="133">
                      <a:moveTo>
                        <a:pt x="100" y="39"/>
                      </a:moveTo>
                      <a:cubicBezTo>
                        <a:pt x="100" y="39"/>
                        <a:pt x="100" y="39"/>
                        <a:pt x="100" y="39"/>
                      </a:cubicBezTo>
                      <a:cubicBezTo>
                        <a:pt x="100" y="39"/>
                        <a:pt x="100" y="38"/>
                        <a:pt x="99" y="38"/>
                      </a:cubicBezTo>
                      <a:cubicBezTo>
                        <a:pt x="99" y="38"/>
                        <a:pt x="99" y="38"/>
                        <a:pt x="99" y="38"/>
                      </a:cubicBezTo>
                      <a:cubicBezTo>
                        <a:pt x="61" y="0"/>
                        <a:pt x="61" y="0"/>
                        <a:pt x="61" y="0"/>
                      </a:cubicBezTo>
                      <a:cubicBezTo>
                        <a:pt x="61" y="0"/>
                        <a:pt x="61" y="0"/>
                        <a:pt x="61" y="0"/>
                      </a:cubicBezTo>
                      <a:cubicBezTo>
                        <a:pt x="61" y="0"/>
                        <a:pt x="61" y="0"/>
                        <a:pt x="60" y="0"/>
                      </a:cubicBezTo>
                      <a:cubicBezTo>
                        <a:pt x="60" y="0"/>
                        <a:pt x="60" y="0"/>
                        <a:pt x="60" y="0"/>
                      </a:cubicBezTo>
                      <a:cubicBezTo>
                        <a:pt x="60" y="0"/>
                        <a:pt x="60" y="0"/>
                        <a:pt x="60" y="0"/>
                      </a:cubicBezTo>
                      <a:cubicBezTo>
                        <a:pt x="2" y="0"/>
                        <a:pt x="2" y="0"/>
                        <a:pt x="2" y="0"/>
                      </a:cubicBezTo>
                      <a:cubicBezTo>
                        <a:pt x="1" y="0"/>
                        <a:pt x="0" y="1"/>
                        <a:pt x="0" y="2"/>
                      </a:cubicBezTo>
                      <a:cubicBezTo>
                        <a:pt x="0" y="131"/>
                        <a:pt x="0" y="131"/>
                        <a:pt x="0" y="131"/>
                      </a:cubicBezTo>
                      <a:cubicBezTo>
                        <a:pt x="0" y="132"/>
                        <a:pt x="1" y="133"/>
                        <a:pt x="2" y="133"/>
                      </a:cubicBezTo>
                      <a:cubicBezTo>
                        <a:pt x="98" y="133"/>
                        <a:pt x="98" y="133"/>
                        <a:pt x="98" y="133"/>
                      </a:cubicBezTo>
                      <a:cubicBezTo>
                        <a:pt x="99" y="133"/>
                        <a:pt x="100" y="132"/>
                        <a:pt x="100" y="131"/>
                      </a:cubicBezTo>
                      <a:cubicBezTo>
                        <a:pt x="100" y="39"/>
                        <a:pt x="100" y="39"/>
                        <a:pt x="100" y="39"/>
                      </a:cubicBezTo>
                      <a:cubicBezTo>
                        <a:pt x="100" y="39"/>
                        <a:pt x="100" y="39"/>
                        <a:pt x="100" y="39"/>
                      </a:cubicBezTo>
                      <a:close/>
                      <a:moveTo>
                        <a:pt x="96" y="129"/>
                      </a:moveTo>
                      <a:cubicBezTo>
                        <a:pt x="4" y="129"/>
                        <a:pt x="4" y="129"/>
                        <a:pt x="4" y="129"/>
                      </a:cubicBezTo>
                      <a:cubicBezTo>
                        <a:pt x="4" y="4"/>
                        <a:pt x="4" y="4"/>
                        <a:pt x="4" y="4"/>
                      </a:cubicBezTo>
                      <a:cubicBezTo>
                        <a:pt x="58" y="4"/>
                        <a:pt x="58" y="4"/>
                        <a:pt x="58" y="4"/>
                      </a:cubicBezTo>
                      <a:cubicBezTo>
                        <a:pt x="58" y="39"/>
                        <a:pt x="58" y="39"/>
                        <a:pt x="58" y="39"/>
                      </a:cubicBezTo>
                      <a:cubicBezTo>
                        <a:pt x="58" y="41"/>
                        <a:pt x="59" y="41"/>
                        <a:pt x="60" y="41"/>
                      </a:cubicBezTo>
                      <a:cubicBezTo>
                        <a:pt x="96" y="41"/>
                        <a:pt x="96" y="41"/>
                        <a:pt x="96" y="41"/>
                      </a:cubicBezTo>
                      <a:lnTo>
                        <a:pt x="96" y="129"/>
                      </a:ln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5" name="Freeform 69"/>
                <p:cNvSpPr>
                  <a:spLocks noEditPoints="1"/>
                </p:cNvSpPr>
                <p:nvPr/>
              </p:nvSpPr>
              <p:spPr bwMode="auto">
                <a:xfrm>
                  <a:off x="6031400" y="4517755"/>
                  <a:ext cx="134847" cy="178718"/>
                </a:xfrm>
                <a:custGeom>
                  <a:avLst/>
                  <a:gdLst>
                    <a:gd name="T0" fmla="*/ 123 w 123"/>
                    <a:gd name="T1" fmla="*/ 48 h 163"/>
                    <a:gd name="T2" fmla="*/ 123 w 123"/>
                    <a:gd name="T3" fmla="*/ 47 h 163"/>
                    <a:gd name="T4" fmla="*/ 123 w 123"/>
                    <a:gd name="T5" fmla="*/ 47 h 163"/>
                    <a:gd name="T6" fmla="*/ 122 w 123"/>
                    <a:gd name="T7" fmla="*/ 46 h 163"/>
                    <a:gd name="T8" fmla="*/ 122 w 123"/>
                    <a:gd name="T9" fmla="*/ 46 h 163"/>
                    <a:gd name="T10" fmla="*/ 122 w 123"/>
                    <a:gd name="T11" fmla="*/ 46 h 163"/>
                    <a:gd name="T12" fmla="*/ 76 w 123"/>
                    <a:gd name="T13" fmla="*/ 1 h 163"/>
                    <a:gd name="T14" fmla="*/ 76 w 123"/>
                    <a:gd name="T15" fmla="*/ 1 h 163"/>
                    <a:gd name="T16" fmla="*/ 76 w 123"/>
                    <a:gd name="T17" fmla="*/ 1 h 163"/>
                    <a:gd name="T18" fmla="*/ 75 w 123"/>
                    <a:gd name="T19" fmla="*/ 0 h 163"/>
                    <a:gd name="T20" fmla="*/ 75 w 123"/>
                    <a:gd name="T21" fmla="*/ 0 h 163"/>
                    <a:gd name="T22" fmla="*/ 74 w 123"/>
                    <a:gd name="T23" fmla="*/ 0 h 163"/>
                    <a:gd name="T24" fmla="*/ 74 w 123"/>
                    <a:gd name="T25" fmla="*/ 0 h 163"/>
                    <a:gd name="T26" fmla="*/ 3 w 123"/>
                    <a:gd name="T27" fmla="*/ 0 h 163"/>
                    <a:gd name="T28" fmla="*/ 0 w 123"/>
                    <a:gd name="T29" fmla="*/ 3 h 163"/>
                    <a:gd name="T30" fmla="*/ 0 w 123"/>
                    <a:gd name="T31" fmla="*/ 160 h 163"/>
                    <a:gd name="T32" fmla="*/ 3 w 123"/>
                    <a:gd name="T33" fmla="*/ 163 h 163"/>
                    <a:gd name="T34" fmla="*/ 120 w 123"/>
                    <a:gd name="T35" fmla="*/ 163 h 163"/>
                    <a:gd name="T36" fmla="*/ 123 w 123"/>
                    <a:gd name="T37" fmla="*/ 160 h 163"/>
                    <a:gd name="T38" fmla="*/ 123 w 123"/>
                    <a:gd name="T39" fmla="*/ 48 h 163"/>
                    <a:gd name="T40" fmla="*/ 123 w 123"/>
                    <a:gd name="T41" fmla="*/ 48 h 163"/>
                    <a:gd name="T42" fmla="*/ 117 w 123"/>
                    <a:gd name="T43" fmla="*/ 157 h 163"/>
                    <a:gd name="T44" fmla="*/ 6 w 123"/>
                    <a:gd name="T45" fmla="*/ 157 h 163"/>
                    <a:gd name="T46" fmla="*/ 6 w 123"/>
                    <a:gd name="T47" fmla="*/ 6 h 163"/>
                    <a:gd name="T48" fmla="*/ 71 w 123"/>
                    <a:gd name="T49" fmla="*/ 6 h 163"/>
                    <a:gd name="T50" fmla="*/ 71 w 123"/>
                    <a:gd name="T51" fmla="*/ 48 h 163"/>
                    <a:gd name="T52" fmla="*/ 74 w 123"/>
                    <a:gd name="T53" fmla="*/ 51 h 163"/>
                    <a:gd name="T54" fmla="*/ 117 w 123"/>
                    <a:gd name="T55" fmla="*/ 51 h 163"/>
                    <a:gd name="T56" fmla="*/ 117 w 123"/>
                    <a:gd name="T57" fmla="*/ 15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63">
                      <a:moveTo>
                        <a:pt x="123" y="48"/>
                      </a:moveTo>
                      <a:cubicBezTo>
                        <a:pt x="123" y="48"/>
                        <a:pt x="123" y="48"/>
                        <a:pt x="123" y="47"/>
                      </a:cubicBezTo>
                      <a:cubicBezTo>
                        <a:pt x="123" y="47"/>
                        <a:pt x="123" y="47"/>
                        <a:pt x="123" y="47"/>
                      </a:cubicBezTo>
                      <a:cubicBezTo>
                        <a:pt x="123" y="47"/>
                        <a:pt x="122" y="47"/>
                        <a:pt x="122" y="46"/>
                      </a:cubicBezTo>
                      <a:cubicBezTo>
                        <a:pt x="122" y="46"/>
                        <a:pt x="122" y="46"/>
                        <a:pt x="122" y="46"/>
                      </a:cubicBezTo>
                      <a:cubicBezTo>
                        <a:pt x="122" y="46"/>
                        <a:pt x="122" y="46"/>
                        <a:pt x="122" y="46"/>
                      </a:cubicBezTo>
                      <a:cubicBezTo>
                        <a:pt x="76" y="1"/>
                        <a:pt x="76" y="1"/>
                        <a:pt x="76" y="1"/>
                      </a:cubicBezTo>
                      <a:cubicBezTo>
                        <a:pt x="76" y="1"/>
                        <a:pt x="76" y="1"/>
                        <a:pt x="76" y="1"/>
                      </a:cubicBezTo>
                      <a:cubicBezTo>
                        <a:pt x="76" y="1"/>
                        <a:pt x="76" y="1"/>
                        <a:pt x="76" y="1"/>
                      </a:cubicBezTo>
                      <a:cubicBezTo>
                        <a:pt x="76" y="0"/>
                        <a:pt x="75" y="0"/>
                        <a:pt x="75" y="0"/>
                      </a:cubicBezTo>
                      <a:cubicBezTo>
                        <a:pt x="75" y="0"/>
                        <a:pt x="75" y="0"/>
                        <a:pt x="75" y="0"/>
                      </a:cubicBezTo>
                      <a:cubicBezTo>
                        <a:pt x="75" y="0"/>
                        <a:pt x="74" y="0"/>
                        <a:pt x="74" y="0"/>
                      </a:cubicBezTo>
                      <a:cubicBezTo>
                        <a:pt x="74" y="0"/>
                        <a:pt x="74" y="0"/>
                        <a:pt x="74" y="0"/>
                      </a:cubicBezTo>
                      <a:cubicBezTo>
                        <a:pt x="3" y="0"/>
                        <a:pt x="3" y="0"/>
                        <a:pt x="3" y="0"/>
                      </a:cubicBezTo>
                      <a:cubicBezTo>
                        <a:pt x="2" y="0"/>
                        <a:pt x="0" y="1"/>
                        <a:pt x="0" y="3"/>
                      </a:cubicBezTo>
                      <a:cubicBezTo>
                        <a:pt x="0" y="160"/>
                        <a:pt x="0" y="160"/>
                        <a:pt x="0" y="160"/>
                      </a:cubicBezTo>
                      <a:cubicBezTo>
                        <a:pt x="0" y="162"/>
                        <a:pt x="2" y="163"/>
                        <a:pt x="3" y="163"/>
                      </a:cubicBezTo>
                      <a:cubicBezTo>
                        <a:pt x="120" y="163"/>
                        <a:pt x="120" y="163"/>
                        <a:pt x="120" y="163"/>
                      </a:cubicBezTo>
                      <a:cubicBezTo>
                        <a:pt x="122" y="163"/>
                        <a:pt x="123" y="162"/>
                        <a:pt x="123" y="160"/>
                      </a:cubicBezTo>
                      <a:cubicBezTo>
                        <a:pt x="123" y="48"/>
                        <a:pt x="123" y="48"/>
                        <a:pt x="123" y="48"/>
                      </a:cubicBezTo>
                      <a:cubicBezTo>
                        <a:pt x="123" y="48"/>
                        <a:pt x="123" y="48"/>
                        <a:pt x="123" y="48"/>
                      </a:cubicBezTo>
                      <a:close/>
                      <a:moveTo>
                        <a:pt x="117" y="157"/>
                      </a:moveTo>
                      <a:cubicBezTo>
                        <a:pt x="6" y="157"/>
                        <a:pt x="6" y="157"/>
                        <a:pt x="6" y="157"/>
                      </a:cubicBezTo>
                      <a:cubicBezTo>
                        <a:pt x="6" y="6"/>
                        <a:pt x="6" y="6"/>
                        <a:pt x="6" y="6"/>
                      </a:cubicBezTo>
                      <a:cubicBezTo>
                        <a:pt x="71" y="6"/>
                        <a:pt x="71" y="6"/>
                        <a:pt x="71" y="6"/>
                      </a:cubicBezTo>
                      <a:cubicBezTo>
                        <a:pt x="71" y="48"/>
                        <a:pt x="71" y="48"/>
                        <a:pt x="71" y="48"/>
                      </a:cubicBezTo>
                      <a:cubicBezTo>
                        <a:pt x="71" y="50"/>
                        <a:pt x="72" y="51"/>
                        <a:pt x="74" y="51"/>
                      </a:cubicBezTo>
                      <a:cubicBezTo>
                        <a:pt x="117" y="51"/>
                        <a:pt x="117" y="51"/>
                        <a:pt x="117" y="51"/>
                      </a:cubicBezTo>
                      <a:lnTo>
                        <a:pt x="117" y="157"/>
                      </a:ln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6" name="Freeform 70"/>
                <p:cNvSpPr>
                  <a:spLocks/>
                </p:cNvSpPr>
                <p:nvPr/>
              </p:nvSpPr>
              <p:spPr bwMode="auto">
                <a:xfrm>
                  <a:off x="5747390" y="4658144"/>
                  <a:ext cx="76198" cy="4618"/>
                </a:xfrm>
                <a:custGeom>
                  <a:avLst/>
                  <a:gdLst>
                    <a:gd name="T0" fmla="*/ 68 w 70"/>
                    <a:gd name="T1" fmla="*/ 0 h 4"/>
                    <a:gd name="T2" fmla="*/ 2 w 70"/>
                    <a:gd name="T3" fmla="*/ 0 h 4"/>
                    <a:gd name="T4" fmla="*/ 0 w 70"/>
                    <a:gd name="T5" fmla="*/ 2 h 4"/>
                    <a:gd name="T6" fmla="*/ 2 w 70"/>
                    <a:gd name="T7" fmla="*/ 4 h 4"/>
                    <a:gd name="T8" fmla="*/ 68 w 70"/>
                    <a:gd name="T9" fmla="*/ 4 h 4"/>
                    <a:gd name="T10" fmla="*/ 70 w 70"/>
                    <a:gd name="T11" fmla="*/ 2 h 4"/>
                    <a:gd name="T12" fmla="*/ 68 w 7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0" h="4">
                      <a:moveTo>
                        <a:pt x="68" y="0"/>
                      </a:moveTo>
                      <a:cubicBezTo>
                        <a:pt x="2" y="0"/>
                        <a:pt x="2" y="0"/>
                        <a:pt x="2" y="0"/>
                      </a:cubicBezTo>
                      <a:cubicBezTo>
                        <a:pt x="1" y="0"/>
                        <a:pt x="0" y="1"/>
                        <a:pt x="0" y="2"/>
                      </a:cubicBezTo>
                      <a:cubicBezTo>
                        <a:pt x="0" y="3"/>
                        <a:pt x="1" y="4"/>
                        <a:pt x="2" y="4"/>
                      </a:cubicBezTo>
                      <a:cubicBezTo>
                        <a:pt x="68" y="4"/>
                        <a:pt x="68" y="4"/>
                        <a:pt x="68" y="4"/>
                      </a:cubicBezTo>
                      <a:cubicBezTo>
                        <a:pt x="69" y="4"/>
                        <a:pt x="70" y="3"/>
                        <a:pt x="70" y="2"/>
                      </a:cubicBezTo>
                      <a:cubicBezTo>
                        <a:pt x="70" y="1"/>
                        <a:pt x="69" y="0"/>
                        <a:pt x="68"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7" name="Freeform 71"/>
                <p:cNvSpPr>
                  <a:spLocks/>
                </p:cNvSpPr>
                <p:nvPr/>
              </p:nvSpPr>
              <p:spPr bwMode="auto">
                <a:xfrm>
                  <a:off x="5747390" y="4680310"/>
                  <a:ext cx="76198" cy="4156"/>
                </a:xfrm>
                <a:custGeom>
                  <a:avLst/>
                  <a:gdLst>
                    <a:gd name="T0" fmla="*/ 68 w 70"/>
                    <a:gd name="T1" fmla="*/ 0 h 4"/>
                    <a:gd name="T2" fmla="*/ 2 w 70"/>
                    <a:gd name="T3" fmla="*/ 0 h 4"/>
                    <a:gd name="T4" fmla="*/ 0 w 70"/>
                    <a:gd name="T5" fmla="*/ 2 h 4"/>
                    <a:gd name="T6" fmla="*/ 2 w 70"/>
                    <a:gd name="T7" fmla="*/ 4 h 4"/>
                    <a:gd name="T8" fmla="*/ 68 w 70"/>
                    <a:gd name="T9" fmla="*/ 4 h 4"/>
                    <a:gd name="T10" fmla="*/ 70 w 70"/>
                    <a:gd name="T11" fmla="*/ 2 h 4"/>
                    <a:gd name="T12" fmla="*/ 68 w 7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0" h="4">
                      <a:moveTo>
                        <a:pt x="68" y="0"/>
                      </a:moveTo>
                      <a:cubicBezTo>
                        <a:pt x="2" y="0"/>
                        <a:pt x="2" y="0"/>
                        <a:pt x="2" y="0"/>
                      </a:cubicBezTo>
                      <a:cubicBezTo>
                        <a:pt x="1" y="0"/>
                        <a:pt x="0" y="1"/>
                        <a:pt x="0" y="2"/>
                      </a:cubicBezTo>
                      <a:cubicBezTo>
                        <a:pt x="0" y="3"/>
                        <a:pt x="1" y="4"/>
                        <a:pt x="2" y="4"/>
                      </a:cubicBezTo>
                      <a:cubicBezTo>
                        <a:pt x="68" y="4"/>
                        <a:pt x="68" y="4"/>
                        <a:pt x="68" y="4"/>
                      </a:cubicBezTo>
                      <a:cubicBezTo>
                        <a:pt x="69" y="4"/>
                        <a:pt x="70" y="3"/>
                        <a:pt x="70" y="2"/>
                      </a:cubicBezTo>
                      <a:cubicBezTo>
                        <a:pt x="70" y="1"/>
                        <a:pt x="69" y="0"/>
                        <a:pt x="68"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8" name="Freeform 72"/>
                <p:cNvSpPr>
                  <a:spLocks/>
                </p:cNvSpPr>
                <p:nvPr/>
              </p:nvSpPr>
              <p:spPr bwMode="auto">
                <a:xfrm>
                  <a:off x="5747390" y="4702015"/>
                  <a:ext cx="76198" cy="4618"/>
                </a:xfrm>
                <a:custGeom>
                  <a:avLst/>
                  <a:gdLst>
                    <a:gd name="T0" fmla="*/ 68 w 70"/>
                    <a:gd name="T1" fmla="*/ 0 h 4"/>
                    <a:gd name="T2" fmla="*/ 2 w 70"/>
                    <a:gd name="T3" fmla="*/ 0 h 4"/>
                    <a:gd name="T4" fmla="*/ 0 w 70"/>
                    <a:gd name="T5" fmla="*/ 2 h 4"/>
                    <a:gd name="T6" fmla="*/ 2 w 70"/>
                    <a:gd name="T7" fmla="*/ 4 h 4"/>
                    <a:gd name="T8" fmla="*/ 68 w 70"/>
                    <a:gd name="T9" fmla="*/ 4 h 4"/>
                    <a:gd name="T10" fmla="*/ 70 w 70"/>
                    <a:gd name="T11" fmla="*/ 2 h 4"/>
                    <a:gd name="T12" fmla="*/ 68 w 7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0" h="4">
                      <a:moveTo>
                        <a:pt x="68" y="0"/>
                      </a:moveTo>
                      <a:cubicBezTo>
                        <a:pt x="2" y="0"/>
                        <a:pt x="2" y="0"/>
                        <a:pt x="2" y="0"/>
                      </a:cubicBezTo>
                      <a:cubicBezTo>
                        <a:pt x="1" y="0"/>
                        <a:pt x="0" y="1"/>
                        <a:pt x="0" y="2"/>
                      </a:cubicBezTo>
                      <a:cubicBezTo>
                        <a:pt x="0" y="3"/>
                        <a:pt x="1" y="4"/>
                        <a:pt x="2" y="4"/>
                      </a:cubicBezTo>
                      <a:cubicBezTo>
                        <a:pt x="68" y="4"/>
                        <a:pt x="68" y="4"/>
                        <a:pt x="68" y="4"/>
                      </a:cubicBezTo>
                      <a:cubicBezTo>
                        <a:pt x="69" y="4"/>
                        <a:pt x="70" y="3"/>
                        <a:pt x="70" y="2"/>
                      </a:cubicBezTo>
                      <a:cubicBezTo>
                        <a:pt x="70" y="1"/>
                        <a:pt x="69" y="0"/>
                        <a:pt x="68"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39" name="Freeform 73"/>
                <p:cNvSpPr>
                  <a:spLocks/>
                </p:cNvSpPr>
                <p:nvPr/>
              </p:nvSpPr>
              <p:spPr bwMode="auto">
                <a:xfrm>
                  <a:off x="5747390" y="4725105"/>
                  <a:ext cx="76198" cy="4156"/>
                </a:xfrm>
                <a:custGeom>
                  <a:avLst/>
                  <a:gdLst>
                    <a:gd name="T0" fmla="*/ 68 w 70"/>
                    <a:gd name="T1" fmla="*/ 0 h 4"/>
                    <a:gd name="T2" fmla="*/ 2 w 70"/>
                    <a:gd name="T3" fmla="*/ 0 h 4"/>
                    <a:gd name="T4" fmla="*/ 0 w 70"/>
                    <a:gd name="T5" fmla="*/ 2 h 4"/>
                    <a:gd name="T6" fmla="*/ 2 w 70"/>
                    <a:gd name="T7" fmla="*/ 4 h 4"/>
                    <a:gd name="T8" fmla="*/ 68 w 70"/>
                    <a:gd name="T9" fmla="*/ 4 h 4"/>
                    <a:gd name="T10" fmla="*/ 70 w 70"/>
                    <a:gd name="T11" fmla="*/ 2 h 4"/>
                    <a:gd name="T12" fmla="*/ 68 w 70"/>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0" h="4">
                      <a:moveTo>
                        <a:pt x="68" y="0"/>
                      </a:moveTo>
                      <a:cubicBezTo>
                        <a:pt x="2" y="0"/>
                        <a:pt x="2" y="0"/>
                        <a:pt x="2" y="0"/>
                      </a:cubicBezTo>
                      <a:cubicBezTo>
                        <a:pt x="1" y="0"/>
                        <a:pt x="0" y="1"/>
                        <a:pt x="0" y="2"/>
                      </a:cubicBezTo>
                      <a:cubicBezTo>
                        <a:pt x="0" y="3"/>
                        <a:pt x="1" y="4"/>
                        <a:pt x="2" y="4"/>
                      </a:cubicBezTo>
                      <a:cubicBezTo>
                        <a:pt x="68" y="4"/>
                        <a:pt x="68" y="4"/>
                        <a:pt x="68" y="4"/>
                      </a:cubicBezTo>
                      <a:cubicBezTo>
                        <a:pt x="69" y="4"/>
                        <a:pt x="70" y="3"/>
                        <a:pt x="70" y="2"/>
                      </a:cubicBezTo>
                      <a:cubicBezTo>
                        <a:pt x="70" y="1"/>
                        <a:pt x="69" y="0"/>
                        <a:pt x="68"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0" name="Freeform 74"/>
                <p:cNvSpPr>
                  <a:spLocks/>
                </p:cNvSpPr>
                <p:nvPr/>
              </p:nvSpPr>
              <p:spPr bwMode="auto">
                <a:xfrm>
                  <a:off x="6051258" y="4591182"/>
                  <a:ext cx="95132" cy="6927"/>
                </a:xfrm>
                <a:custGeom>
                  <a:avLst/>
                  <a:gdLst>
                    <a:gd name="T0" fmla="*/ 3 w 87"/>
                    <a:gd name="T1" fmla="*/ 6 h 6"/>
                    <a:gd name="T2" fmla="*/ 84 w 87"/>
                    <a:gd name="T3" fmla="*/ 6 h 6"/>
                    <a:gd name="T4" fmla="*/ 87 w 87"/>
                    <a:gd name="T5" fmla="*/ 3 h 6"/>
                    <a:gd name="T6" fmla="*/ 84 w 87"/>
                    <a:gd name="T7" fmla="*/ 0 h 6"/>
                    <a:gd name="T8" fmla="*/ 3 w 87"/>
                    <a:gd name="T9" fmla="*/ 0 h 6"/>
                    <a:gd name="T10" fmla="*/ 0 w 87"/>
                    <a:gd name="T11" fmla="*/ 3 h 6"/>
                    <a:gd name="T12" fmla="*/ 3 w 8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3" y="6"/>
                      </a:moveTo>
                      <a:cubicBezTo>
                        <a:pt x="84" y="6"/>
                        <a:pt x="84" y="6"/>
                        <a:pt x="84" y="6"/>
                      </a:cubicBezTo>
                      <a:cubicBezTo>
                        <a:pt x="86" y="6"/>
                        <a:pt x="87" y="4"/>
                        <a:pt x="87" y="3"/>
                      </a:cubicBezTo>
                      <a:cubicBezTo>
                        <a:pt x="87" y="1"/>
                        <a:pt x="86" y="0"/>
                        <a:pt x="84" y="0"/>
                      </a:cubicBezTo>
                      <a:cubicBezTo>
                        <a:pt x="3" y="0"/>
                        <a:pt x="3" y="0"/>
                        <a:pt x="3" y="0"/>
                      </a:cubicBezTo>
                      <a:cubicBezTo>
                        <a:pt x="2" y="0"/>
                        <a:pt x="0" y="1"/>
                        <a:pt x="0" y="3"/>
                      </a:cubicBezTo>
                      <a:cubicBezTo>
                        <a:pt x="0" y="4"/>
                        <a:pt x="2" y="6"/>
                        <a:pt x="3" y="6"/>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1" name="Freeform 75"/>
                <p:cNvSpPr>
                  <a:spLocks/>
                </p:cNvSpPr>
                <p:nvPr/>
              </p:nvSpPr>
              <p:spPr bwMode="auto">
                <a:xfrm>
                  <a:off x="6051258" y="4617505"/>
                  <a:ext cx="95132" cy="6927"/>
                </a:xfrm>
                <a:custGeom>
                  <a:avLst/>
                  <a:gdLst>
                    <a:gd name="T0" fmla="*/ 84 w 87"/>
                    <a:gd name="T1" fmla="*/ 0 h 6"/>
                    <a:gd name="T2" fmla="*/ 3 w 87"/>
                    <a:gd name="T3" fmla="*/ 0 h 6"/>
                    <a:gd name="T4" fmla="*/ 0 w 87"/>
                    <a:gd name="T5" fmla="*/ 3 h 6"/>
                    <a:gd name="T6" fmla="*/ 3 w 87"/>
                    <a:gd name="T7" fmla="*/ 6 h 6"/>
                    <a:gd name="T8" fmla="*/ 84 w 87"/>
                    <a:gd name="T9" fmla="*/ 6 h 6"/>
                    <a:gd name="T10" fmla="*/ 87 w 87"/>
                    <a:gd name="T11" fmla="*/ 3 h 6"/>
                    <a:gd name="T12" fmla="*/ 84 w 8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4" y="0"/>
                      </a:moveTo>
                      <a:cubicBezTo>
                        <a:pt x="3" y="0"/>
                        <a:pt x="3" y="0"/>
                        <a:pt x="3" y="0"/>
                      </a:cubicBezTo>
                      <a:cubicBezTo>
                        <a:pt x="2" y="0"/>
                        <a:pt x="0" y="2"/>
                        <a:pt x="0" y="3"/>
                      </a:cubicBezTo>
                      <a:cubicBezTo>
                        <a:pt x="0" y="5"/>
                        <a:pt x="2" y="6"/>
                        <a:pt x="3" y="6"/>
                      </a:cubicBezTo>
                      <a:cubicBezTo>
                        <a:pt x="84" y="6"/>
                        <a:pt x="84" y="6"/>
                        <a:pt x="84" y="6"/>
                      </a:cubicBezTo>
                      <a:cubicBezTo>
                        <a:pt x="86" y="6"/>
                        <a:pt x="87" y="5"/>
                        <a:pt x="87" y="3"/>
                      </a:cubicBezTo>
                      <a:cubicBezTo>
                        <a:pt x="87" y="2"/>
                        <a:pt x="86" y="0"/>
                        <a:pt x="84"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2" name="Freeform 76"/>
                <p:cNvSpPr>
                  <a:spLocks/>
                </p:cNvSpPr>
                <p:nvPr/>
              </p:nvSpPr>
              <p:spPr bwMode="auto">
                <a:xfrm>
                  <a:off x="6051258" y="4645213"/>
                  <a:ext cx="95132" cy="6465"/>
                </a:xfrm>
                <a:custGeom>
                  <a:avLst/>
                  <a:gdLst>
                    <a:gd name="T0" fmla="*/ 84 w 87"/>
                    <a:gd name="T1" fmla="*/ 0 h 6"/>
                    <a:gd name="T2" fmla="*/ 3 w 87"/>
                    <a:gd name="T3" fmla="*/ 0 h 6"/>
                    <a:gd name="T4" fmla="*/ 0 w 87"/>
                    <a:gd name="T5" fmla="*/ 3 h 6"/>
                    <a:gd name="T6" fmla="*/ 3 w 87"/>
                    <a:gd name="T7" fmla="*/ 6 h 6"/>
                    <a:gd name="T8" fmla="*/ 84 w 87"/>
                    <a:gd name="T9" fmla="*/ 6 h 6"/>
                    <a:gd name="T10" fmla="*/ 87 w 87"/>
                    <a:gd name="T11" fmla="*/ 3 h 6"/>
                    <a:gd name="T12" fmla="*/ 84 w 8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4" y="0"/>
                      </a:moveTo>
                      <a:cubicBezTo>
                        <a:pt x="3" y="0"/>
                        <a:pt x="3" y="0"/>
                        <a:pt x="3" y="0"/>
                      </a:cubicBezTo>
                      <a:cubicBezTo>
                        <a:pt x="2" y="0"/>
                        <a:pt x="0" y="1"/>
                        <a:pt x="0" y="3"/>
                      </a:cubicBezTo>
                      <a:cubicBezTo>
                        <a:pt x="0" y="5"/>
                        <a:pt x="2" y="6"/>
                        <a:pt x="3" y="6"/>
                      </a:cubicBezTo>
                      <a:cubicBezTo>
                        <a:pt x="84" y="6"/>
                        <a:pt x="84" y="6"/>
                        <a:pt x="84" y="6"/>
                      </a:cubicBezTo>
                      <a:cubicBezTo>
                        <a:pt x="86" y="6"/>
                        <a:pt x="87" y="5"/>
                        <a:pt x="87" y="3"/>
                      </a:cubicBezTo>
                      <a:cubicBezTo>
                        <a:pt x="87" y="1"/>
                        <a:pt x="86" y="0"/>
                        <a:pt x="84"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3" name="Freeform 77"/>
                <p:cNvSpPr>
                  <a:spLocks/>
                </p:cNvSpPr>
                <p:nvPr/>
              </p:nvSpPr>
              <p:spPr bwMode="auto">
                <a:xfrm>
                  <a:off x="6051258" y="4671536"/>
                  <a:ext cx="95132" cy="6465"/>
                </a:xfrm>
                <a:custGeom>
                  <a:avLst/>
                  <a:gdLst>
                    <a:gd name="T0" fmla="*/ 84 w 87"/>
                    <a:gd name="T1" fmla="*/ 0 h 6"/>
                    <a:gd name="T2" fmla="*/ 3 w 87"/>
                    <a:gd name="T3" fmla="*/ 0 h 6"/>
                    <a:gd name="T4" fmla="*/ 0 w 87"/>
                    <a:gd name="T5" fmla="*/ 3 h 6"/>
                    <a:gd name="T6" fmla="*/ 3 w 87"/>
                    <a:gd name="T7" fmla="*/ 6 h 6"/>
                    <a:gd name="T8" fmla="*/ 84 w 87"/>
                    <a:gd name="T9" fmla="*/ 6 h 6"/>
                    <a:gd name="T10" fmla="*/ 87 w 87"/>
                    <a:gd name="T11" fmla="*/ 3 h 6"/>
                    <a:gd name="T12" fmla="*/ 84 w 87"/>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87" h="6">
                      <a:moveTo>
                        <a:pt x="84" y="0"/>
                      </a:moveTo>
                      <a:cubicBezTo>
                        <a:pt x="3" y="0"/>
                        <a:pt x="3" y="0"/>
                        <a:pt x="3" y="0"/>
                      </a:cubicBezTo>
                      <a:cubicBezTo>
                        <a:pt x="2" y="0"/>
                        <a:pt x="0" y="2"/>
                        <a:pt x="0" y="3"/>
                      </a:cubicBezTo>
                      <a:cubicBezTo>
                        <a:pt x="0" y="5"/>
                        <a:pt x="2" y="6"/>
                        <a:pt x="3" y="6"/>
                      </a:cubicBezTo>
                      <a:cubicBezTo>
                        <a:pt x="84" y="6"/>
                        <a:pt x="84" y="6"/>
                        <a:pt x="84" y="6"/>
                      </a:cubicBezTo>
                      <a:cubicBezTo>
                        <a:pt x="86" y="6"/>
                        <a:pt x="87" y="5"/>
                        <a:pt x="87" y="3"/>
                      </a:cubicBezTo>
                      <a:cubicBezTo>
                        <a:pt x="87" y="2"/>
                        <a:pt x="86" y="0"/>
                        <a:pt x="84"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4" name="Freeform 86"/>
                <p:cNvSpPr>
                  <a:spLocks/>
                </p:cNvSpPr>
                <p:nvPr/>
              </p:nvSpPr>
              <p:spPr bwMode="auto">
                <a:xfrm>
                  <a:off x="5885932" y="4552852"/>
                  <a:ext cx="63729" cy="97903"/>
                </a:xfrm>
                <a:custGeom>
                  <a:avLst/>
                  <a:gdLst>
                    <a:gd name="T0" fmla="*/ 93 w 138"/>
                    <a:gd name="T1" fmla="*/ 0 h 212"/>
                    <a:gd name="T2" fmla="*/ 45 w 138"/>
                    <a:gd name="T3" fmla="*/ 0 h 212"/>
                    <a:gd name="T4" fmla="*/ 45 w 138"/>
                    <a:gd name="T5" fmla="*/ 143 h 212"/>
                    <a:gd name="T6" fmla="*/ 0 w 138"/>
                    <a:gd name="T7" fmla="*/ 143 h 212"/>
                    <a:gd name="T8" fmla="*/ 69 w 138"/>
                    <a:gd name="T9" fmla="*/ 212 h 212"/>
                    <a:gd name="T10" fmla="*/ 138 w 138"/>
                    <a:gd name="T11" fmla="*/ 143 h 212"/>
                    <a:gd name="T12" fmla="*/ 93 w 138"/>
                    <a:gd name="T13" fmla="*/ 143 h 212"/>
                    <a:gd name="T14" fmla="*/ 93 w 138"/>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212">
                      <a:moveTo>
                        <a:pt x="93" y="0"/>
                      </a:moveTo>
                      <a:lnTo>
                        <a:pt x="45" y="0"/>
                      </a:lnTo>
                      <a:lnTo>
                        <a:pt x="45" y="143"/>
                      </a:lnTo>
                      <a:lnTo>
                        <a:pt x="0" y="143"/>
                      </a:lnTo>
                      <a:lnTo>
                        <a:pt x="69" y="212"/>
                      </a:lnTo>
                      <a:lnTo>
                        <a:pt x="138" y="143"/>
                      </a:lnTo>
                      <a:lnTo>
                        <a:pt x="93" y="143"/>
                      </a:lnTo>
                      <a:lnTo>
                        <a:pt x="93" y="0"/>
                      </a:ln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5" name="Freeform 87"/>
                <p:cNvSpPr>
                  <a:spLocks/>
                </p:cNvSpPr>
                <p:nvPr/>
              </p:nvSpPr>
              <p:spPr bwMode="auto">
                <a:xfrm>
                  <a:off x="6096053" y="4709553"/>
                  <a:ext cx="63267" cy="97441"/>
                </a:xfrm>
                <a:custGeom>
                  <a:avLst/>
                  <a:gdLst>
                    <a:gd name="T0" fmla="*/ 92 w 137"/>
                    <a:gd name="T1" fmla="*/ 142 h 211"/>
                    <a:gd name="T2" fmla="*/ 92 w 137"/>
                    <a:gd name="T3" fmla="*/ 0 h 211"/>
                    <a:gd name="T4" fmla="*/ 45 w 137"/>
                    <a:gd name="T5" fmla="*/ 0 h 211"/>
                    <a:gd name="T6" fmla="*/ 45 w 137"/>
                    <a:gd name="T7" fmla="*/ 142 h 211"/>
                    <a:gd name="T8" fmla="*/ 0 w 137"/>
                    <a:gd name="T9" fmla="*/ 142 h 211"/>
                    <a:gd name="T10" fmla="*/ 69 w 137"/>
                    <a:gd name="T11" fmla="*/ 211 h 211"/>
                    <a:gd name="T12" fmla="*/ 137 w 137"/>
                    <a:gd name="T13" fmla="*/ 142 h 211"/>
                    <a:gd name="T14" fmla="*/ 92 w 137"/>
                    <a:gd name="T15" fmla="*/ 142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211">
                      <a:moveTo>
                        <a:pt x="92" y="142"/>
                      </a:moveTo>
                      <a:lnTo>
                        <a:pt x="92" y="0"/>
                      </a:lnTo>
                      <a:lnTo>
                        <a:pt x="45" y="0"/>
                      </a:lnTo>
                      <a:lnTo>
                        <a:pt x="45" y="142"/>
                      </a:lnTo>
                      <a:lnTo>
                        <a:pt x="0" y="142"/>
                      </a:lnTo>
                      <a:lnTo>
                        <a:pt x="69" y="211"/>
                      </a:lnTo>
                      <a:lnTo>
                        <a:pt x="137" y="142"/>
                      </a:lnTo>
                      <a:lnTo>
                        <a:pt x="92" y="142"/>
                      </a:ln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6" name="Freeform 88"/>
                <p:cNvSpPr>
                  <a:spLocks noEditPoints="1"/>
                </p:cNvSpPr>
                <p:nvPr/>
              </p:nvSpPr>
              <p:spPr bwMode="auto">
                <a:xfrm>
                  <a:off x="5690588" y="4811463"/>
                  <a:ext cx="501520" cy="332037"/>
                </a:xfrm>
                <a:custGeom>
                  <a:avLst/>
                  <a:gdLst>
                    <a:gd name="T0" fmla="*/ 457 w 459"/>
                    <a:gd name="T1" fmla="*/ 70 h 303"/>
                    <a:gd name="T2" fmla="*/ 389 w 459"/>
                    <a:gd name="T3" fmla="*/ 2 h 303"/>
                    <a:gd name="T4" fmla="*/ 385 w 459"/>
                    <a:gd name="T5" fmla="*/ 0 h 303"/>
                    <a:gd name="T6" fmla="*/ 324 w 459"/>
                    <a:gd name="T7" fmla="*/ 0 h 303"/>
                    <a:gd name="T8" fmla="*/ 318 w 459"/>
                    <a:gd name="T9" fmla="*/ 6 h 303"/>
                    <a:gd name="T10" fmla="*/ 324 w 459"/>
                    <a:gd name="T11" fmla="*/ 12 h 303"/>
                    <a:gd name="T12" fmla="*/ 382 w 459"/>
                    <a:gd name="T13" fmla="*/ 12 h 303"/>
                    <a:gd name="T14" fmla="*/ 438 w 459"/>
                    <a:gd name="T15" fmla="*/ 69 h 303"/>
                    <a:gd name="T16" fmla="*/ 21 w 459"/>
                    <a:gd name="T17" fmla="*/ 69 h 303"/>
                    <a:gd name="T18" fmla="*/ 77 w 459"/>
                    <a:gd name="T19" fmla="*/ 12 h 303"/>
                    <a:gd name="T20" fmla="*/ 142 w 459"/>
                    <a:gd name="T21" fmla="*/ 12 h 303"/>
                    <a:gd name="T22" fmla="*/ 148 w 459"/>
                    <a:gd name="T23" fmla="*/ 6 h 303"/>
                    <a:gd name="T24" fmla="*/ 142 w 459"/>
                    <a:gd name="T25" fmla="*/ 0 h 303"/>
                    <a:gd name="T26" fmla="*/ 75 w 459"/>
                    <a:gd name="T27" fmla="*/ 0 h 303"/>
                    <a:gd name="T28" fmla="*/ 70 w 459"/>
                    <a:gd name="T29" fmla="*/ 2 h 303"/>
                    <a:gd name="T30" fmla="*/ 2 w 459"/>
                    <a:gd name="T31" fmla="*/ 70 h 303"/>
                    <a:gd name="T32" fmla="*/ 1 w 459"/>
                    <a:gd name="T33" fmla="*/ 77 h 303"/>
                    <a:gd name="T34" fmla="*/ 6 w 459"/>
                    <a:gd name="T35" fmla="*/ 81 h 303"/>
                    <a:gd name="T36" fmla="*/ 20 w 459"/>
                    <a:gd name="T37" fmla="*/ 81 h 303"/>
                    <a:gd name="T38" fmla="*/ 20 w 459"/>
                    <a:gd name="T39" fmla="*/ 297 h 303"/>
                    <a:gd name="T40" fmla="*/ 26 w 459"/>
                    <a:gd name="T41" fmla="*/ 303 h 303"/>
                    <a:gd name="T42" fmla="*/ 434 w 459"/>
                    <a:gd name="T43" fmla="*/ 303 h 303"/>
                    <a:gd name="T44" fmla="*/ 440 w 459"/>
                    <a:gd name="T45" fmla="*/ 297 h 303"/>
                    <a:gd name="T46" fmla="*/ 440 w 459"/>
                    <a:gd name="T47" fmla="*/ 81 h 303"/>
                    <a:gd name="T48" fmla="*/ 453 w 459"/>
                    <a:gd name="T49" fmla="*/ 81 h 303"/>
                    <a:gd name="T50" fmla="*/ 458 w 459"/>
                    <a:gd name="T51" fmla="*/ 77 h 303"/>
                    <a:gd name="T52" fmla="*/ 457 w 459"/>
                    <a:gd name="T53" fmla="*/ 70 h 303"/>
                    <a:gd name="T54" fmla="*/ 428 w 459"/>
                    <a:gd name="T55" fmla="*/ 291 h 303"/>
                    <a:gd name="T56" fmla="*/ 32 w 459"/>
                    <a:gd name="T57" fmla="*/ 291 h 303"/>
                    <a:gd name="T58" fmla="*/ 32 w 459"/>
                    <a:gd name="T59" fmla="*/ 81 h 303"/>
                    <a:gd name="T60" fmla="*/ 428 w 459"/>
                    <a:gd name="T61" fmla="*/ 81 h 303"/>
                    <a:gd name="T62" fmla="*/ 428 w 459"/>
                    <a:gd name="T63" fmla="*/ 29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9" h="303">
                      <a:moveTo>
                        <a:pt x="457" y="70"/>
                      </a:moveTo>
                      <a:cubicBezTo>
                        <a:pt x="389" y="2"/>
                        <a:pt x="389" y="2"/>
                        <a:pt x="389" y="2"/>
                      </a:cubicBezTo>
                      <a:cubicBezTo>
                        <a:pt x="388" y="1"/>
                        <a:pt x="386" y="0"/>
                        <a:pt x="385" y="0"/>
                      </a:cubicBezTo>
                      <a:cubicBezTo>
                        <a:pt x="324" y="0"/>
                        <a:pt x="324" y="0"/>
                        <a:pt x="324" y="0"/>
                      </a:cubicBezTo>
                      <a:cubicBezTo>
                        <a:pt x="320" y="0"/>
                        <a:pt x="318" y="3"/>
                        <a:pt x="318" y="6"/>
                      </a:cubicBezTo>
                      <a:cubicBezTo>
                        <a:pt x="318" y="10"/>
                        <a:pt x="320" y="12"/>
                        <a:pt x="324" y="12"/>
                      </a:cubicBezTo>
                      <a:cubicBezTo>
                        <a:pt x="382" y="12"/>
                        <a:pt x="382" y="12"/>
                        <a:pt x="382" y="12"/>
                      </a:cubicBezTo>
                      <a:cubicBezTo>
                        <a:pt x="438" y="69"/>
                        <a:pt x="438" y="69"/>
                        <a:pt x="438" y="69"/>
                      </a:cubicBezTo>
                      <a:cubicBezTo>
                        <a:pt x="21" y="69"/>
                        <a:pt x="21" y="69"/>
                        <a:pt x="21" y="69"/>
                      </a:cubicBezTo>
                      <a:cubicBezTo>
                        <a:pt x="77" y="12"/>
                        <a:pt x="77" y="12"/>
                        <a:pt x="77" y="12"/>
                      </a:cubicBezTo>
                      <a:cubicBezTo>
                        <a:pt x="142" y="12"/>
                        <a:pt x="142" y="12"/>
                        <a:pt x="142" y="12"/>
                      </a:cubicBezTo>
                      <a:cubicBezTo>
                        <a:pt x="145" y="12"/>
                        <a:pt x="148" y="10"/>
                        <a:pt x="148" y="6"/>
                      </a:cubicBezTo>
                      <a:cubicBezTo>
                        <a:pt x="148" y="3"/>
                        <a:pt x="145" y="0"/>
                        <a:pt x="142" y="0"/>
                      </a:cubicBezTo>
                      <a:cubicBezTo>
                        <a:pt x="75" y="0"/>
                        <a:pt x="75" y="0"/>
                        <a:pt x="75" y="0"/>
                      </a:cubicBezTo>
                      <a:cubicBezTo>
                        <a:pt x="73" y="0"/>
                        <a:pt x="72" y="1"/>
                        <a:pt x="70" y="2"/>
                      </a:cubicBezTo>
                      <a:cubicBezTo>
                        <a:pt x="2" y="70"/>
                        <a:pt x="2" y="70"/>
                        <a:pt x="2" y="70"/>
                      </a:cubicBezTo>
                      <a:cubicBezTo>
                        <a:pt x="0" y="72"/>
                        <a:pt x="0" y="75"/>
                        <a:pt x="1" y="77"/>
                      </a:cubicBezTo>
                      <a:cubicBezTo>
                        <a:pt x="2" y="79"/>
                        <a:pt x="4" y="81"/>
                        <a:pt x="6" y="81"/>
                      </a:cubicBezTo>
                      <a:cubicBezTo>
                        <a:pt x="20" y="81"/>
                        <a:pt x="20" y="81"/>
                        <a:pt x="20" y="81"/>
                      </a:cubicBezTo>
                      <a:cubicBezTo>
                        <a:pt x="20" y="297"/>
                        <a:pt x="20" y="297"/>
                        <a:pt x="20" y="297"/>
                      </a:cubicBezTo>
                      <a:cubicBezTo>
                        <a:pt x="20" y="301"/>
                        <a:pt x="22" y="303"/>
                        <a:pt x="26" y="303"/>
                      </a:cubicBezTo>
                      <a:cubicBezTo>
                        <a:pt x="434" y="303"/>
                        <a:pt x="434" y="303"/>
                        <a:pt x="434" y="303"/>
                      </a:cubicBezTo>
                      <a:cubicBezTo>
                        <a:pt x="437" y="303"/>
                        <a:pt x="440" y="301"/>
                        <a:pt x="440" y="297"/>
                      </a:cubicBezTo>
                      <a:cubicBezTo>
                        <a:pt x="440" y="81"/>
                        <a:pt x="440" y="81"/>
                        <a:pt x="440" y="81"/>
                      </a:cubicBezTo>
                      <a:cubicBezTo>
                        <a:pt x="453" y="81"/>
                        <a:pt x="453" y="81"/>
                        <a:pt x="453" y="81"/>
                      </a:cubicBezTo>
                      <a:cubicBezTo>
                        <a:pt x="455" y="81"/>
                        <a:pt x="458" y="79"/>
                        <a:pt x="458" y="77"/>
                      </a:cubicBezTo>
                      <a:cubicBezTo>
                        <a:pt x="459" y="75"/>
                        <a:pt x="459" y="72"/>
                        <a:pt x="457" y="70"/>
                      </a:cubicBezTo>
                      <a:close/>
                      <a:moveTo>
                        <a:pt x="428" y="291"/>
                      </a:moveTo>
                      <a:cubicBezTo>
                        <a:pt x="32" y="291"/>
                        <a:pt x="32" y="291"/>
                        <a:pt x="32" y="291"/>
                      </a:cubicBezTo>
                      <a:cubicBezTo>
                        <a:pt x="32" y="81"/>
                        <a:pt x="32" y="81"/>
                        <a:pt x="32" y="81"/>
                      </a:cubicBezTo>
                      <a:cubicBezTo>
                        <a:pt x="428" y="81"/>
                        <a:pt x="428" y="81"/>
                        <a:pt x="428" y="81"/>
                      </a:cubicBezTo>
                      <a:lnTo>
                        <a:pt x="428" y="291"/>
                      </a:ln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7" name="Freeform 89"/>
                <p:cNvSpPr>
                  <a:spLocks/>
                </p:cNvSpPr>
                <p:nvPr/>
              </p:nvSpPr>
              <p:spPr bwMode="auto">
                <a:xfrm>
                  <a:off x="5759397" y="4867341"/>
                  <a:ext cx="365288" cy="8774"/>
                </a:xfrm>
                <a:custGeom>
                  <a:avLst/>
                  <a:gdLst>
                    <a:gd name="T0" fmla="*/ 330 w 334"/>
                    <a:gd name="T1" fmla="*/ 0 h 8"/>
                    <a:gd name="T2" fmla="*/ 4 w 334"/>
                    <a:gd name="T3" fmla="*/ 0 h 8"/>
                    <a:gd name="T4" fmla="*/ 0 w 334"/>
                    <a:gd name="T5" fmla="*/ 4 h 8"/>
                    <a:gd name="T6" fmla="*/ 4 w 334"/>
                    <a:gd name="T7" fmla="*/ 8 h 8"/>
                    <a:gd name="T8" fmla="*/ 330 w 334"/>
                    <a:gd name="T9" fmla="*/ 8 h 8"/>
                    <a:gd name="T10" fmla="*/ 334 w 334"/>
                    <a:gd name="T11" fmla="*/ 4 h 8"/>
                    <a:gd name="T12" fmla="*/ 330 w 33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34" h="8">
                      <a:moveTo>
                        <a:pt x="330" y="0"/>
                      </a:moveTo>
                      <a:cubicBezTo>
                        <a:pt x="4" y="0"/>
                        <a:pt x="4" y="0"/>
                        <a:pt x="4" y="0"/>
                      </a:cubicBezTo>
                      <a:cubicBezTo>
                        <a:pt x="2" y="0"/>
                        <a:pt x="0" y="1"/>
                        <a:pt x="0" y="4"/>
                      </a:cubicBezTo>
                      <a:cubicBezTo>
                        <a:pt x="0" y="6"/>
                        <a:pt x="2" y="8"/>
                        <a:pt x="4" y="8"/>
                      </a:cubicBezTo>
                      <a:cubicBezTo>
                        <a:pt x="330" y="8"/>
                        <a:pt x="330" y="8"/>
                        <a:pt x="330" y="8"/>
                      </a:cubicBezTo>
                      <a:cubicBezTo>
                        <a:pt x="332" y="8"/>
                        <a:pt x="334" y="6"/>
                        <a:pt x="334" y="4"/>
                      </a:cubicBezTo>
                      <a:cubicBezTo>
                        <a:pt x="334" y="1"/>
                        <a:pt x="332" y="0"/>
                        <a:pt x="330" y="0"/>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sp>
              <p:nvSpPr>
                <p:cNvPr id="148" name="Freeform 90"/>
                <p:cNvSpPr>
                  <a:spLocks/>
                </p:cNvSpPr>
                <p:nvPr/>
              </p:nvSpPr>
              <p:spPr bwMode="auto">
                <a:xfrm>
                  <a:off x="5790800" y="4843327"/>
                  <a:ext cx="302020" cy="8774"/>
                </a:xfrm>
                <a:custGeom>
                  <a:avLst/>
                  <a:gdLst>
                    <a:gd name="T0" fmla="*/ 4 w 276"/>
                    <a:gd name="T1" fmla="*/ 8 h 8"/>
                    <a:gd name="T2" fmla="*/ 272 w 276"/>
                    <a:gd name="T3" fmla="*/ 8 h 8"/>
                    <a:gd name="T4" fmla="*/ 276 w 276"/>
                    <a:gd name="T5" fmla="*/ 4 h 8"/>
                    <a:gd name="T6" fmla="*/ 272 w 276"/>
                    <a:gd name="T7" fmla="*/ 0 h 8"/>
                    <a:gd name="T8" fmla="*/ 4 w 276"/>
                    <a:gd name="T9" fmla="*/ 0 h 8"/>
                    <a:gd name="T10" fmla="*/ 0 w 276"/>
                    <a:gd name="T11" fmla="*/ 4 h 8"/>
                    <a:gd name="T12" fmla="*/ 4 w 27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76" h="8">
                      <a:moveTo>
                        <a:pt x="4" y="8"/>
                      </a:moveTo>
                      <a:cubicBezTo>
                        <a:pt x="272" y="8"/>
                        <a:pt x="272" y="8"/>
                        <a:pt x="272" y="8"/>
                      </a:cubicBezTo>
                      <a:cubicBezTo>
                        <a:pt x="274" y="8"/>
                        <a:pt x="276" y="6"/>
                        <a:pt x="276" y="4"/>
                      </a:cubicBezTo>
                      <a:cubicBezTo>
                        <a:pt x="276" y="2"/>
                        <a:pt x="274" y="0"/>
                        <a:pt x="272" y="0"/>
                      </a:cubicBezTo>
                      <a:cubicBezTo>
                        <a:pt x="4" y="0"/>
                        <a:pt x="4" y="0"/>
                        <a:pt x="4" y="0"/>
                      </a:cubicBezTo>
                      <a:cubicBezTo>
                        <a:pt x="1" y="0"/>
                        <a:pt x="0" y="2"/>
                        <a:pt x="0" y="4"/>
                      </a:cubicBezTo>
                      <a:cubicBezTo>
                        <a:pt x="0" y="6"/>
                        <a:pt x="1" y="8"/>
                        <a:pt x="4" y="8"/>
                      </a:cubicBezTo>
                      <a:close/>
                    </a:path>
                  </a:pathLst>
                </a:custGeom>
                <a:grpFill/>
                <a:ln w="12700">
                  <a:solidFill>
                    <a:schemeClr val="accent2"/>
                  </a:solidFill>
                </a:ln>
              </p:spPr>
              <p:txBody>
                <a:bodyPr vert="horz" wrap="square" lIns="91440" tIns="45720" rIns="91440" bIns="45720" numCol="1" anchor="t" anchorCtr="0" compatLnSpc="1">
                  <a:prstTxWarp prst="textNoShape">
                    <a:avLst/>
                  </a:prstTxWarp>
                </a:bodyPr>
                <a:lstStyle/>
                <a:p>
                  <a:pPr defTabSz="457200"/>
                  <a:endParaRPr lang="en-US">
                    <a:solidFill>
                      <a:srgbClr val="435153"/>
                    </a:solidFill>
                    <a:latin typeface="CiscoSansTT Light"/>
                    <a:cs typeface="CiscoSansTT Light"/>
                  </a:endParaRPr>
                </a:p>
              </p:txBody>
            </p:sp>
          </p:grpSp>
          <p:cxnSp>
            <p:nvCxnSpPr>
              <p:cNvPr id="149" name="Elbow Connector 148"/>
              <p:cNvCxnSpPr/>
              <p:nvPr/>
            </p:nvCxnSpPr>
            <p:spPr>
              <a:xfrm rot="5400000">
                <a:off x="7927649" y="1931886"/>
                <a:ext cx="700605" cy="244928"/>
              </a:xfrm>
              <a:prstGeom prst="bentConnector3">
                <a:avLst>
                  <a:gd name="adj1" fmla="val 97714"/>
                </a:avLst>
              </a:prstGeom>
              <a:ln w="38100" cmpd="sng">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grpSp>
        <p:sp>
          <p:nvSpPr>
            <p:cNvPr id="158" name="TextBox 157"/>
            <p:cNvSpPr txBox="1"/>
            <p:nvPr/>
          </p:nvSpPr>
          <p:spPr bwMode="auto">
            <a:xfrm>
              <a:off x="7845283" y="1692157"/>
              <a:ext cx="1069492" cy="23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pPr algn="ctr"/>
              <a:r>
                <a:rPr lang="en-US" sz="900" b="1" dirty="0" smtClean="0">
                  <a:solidFill>
                    <a:schemeClr val="tx1"/>
                  </a:solidFill>
                  <a:latin typeface="+mj-lt"/>
                </a:rPr>
                <a:t>External system</a:t>
              </a:r>
            </a:p>
          </p:txBody>
        </p:sp>
      </p:grpSp>
      <p:sp>
        <p:nvSpPr>
          <p:cNvPr id="72" name="Rounded Rectangle 71"/>
          <p:cNvSpPr/>
          <p:nvPr/>
        </p:nvSpPr>
        <p:spPr>
          <a:xfrm>
            <a:off x="1169083" y="4595373"/>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sp>
        <p:nvSpPr>
          <p:cNvPr id="76" name="Title 1"/>
          <p:cNvSpPr>
            <a:spLocks noGrp="1"/>
          </p:cNvSpPr>
          <p:nvPr>
            <p:ph type="title"/>
          </p:nvPr>
        </p:nvSpPr>
        <p:spPr>
          <a:xfrm>
            <a:off x="437766" y="341314"/>
            <a:ext cx="8345488" cy="520874"/>
          </a:xfrm>
        </p:spPr>
        <p:txBody>
          <a:bodyPr/>
          <a:lstStyle/>
          <a:p>
            <a:r>
              <a:rPr lang="en-US" dirty="0" smtClean="0"/>
              <a:t>外部フィードの利用</a:t>
            </a:r>
            <a:endParaRPr lang="en-US" dirty="0"/>
          </a:p>
        </p:txBody>
      </p:sp>
    </p:spTree>
    <p:extLst>
      <p:ext uri="{BB962C8B-B14F-4D97-AF65-F5344CB8AC3E}">
        <p14:creationId xmlns:p14="http://schemas.microsoft.com/office/powerpoint/2010/main" val="19101154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21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p:cNvGrpSpPr/>
          <p:nvPr/>
        </p:nvGrpSpPr>
        <p:grpSpPr>
          <a:xfrm>
            <a:off x="6773205" y="2343330"/>
            <a:ext cx="2181581" cy="808492"/>
            <a:chOff x="6773201" y="2343328"/>
            <a:chExt cx="2181581" cy="808492"/>
          </a:xfrm>
        </p:grpSpPr>
        <p:grpSp>
          <p:nvGrpSpPr>
            <p:cNvPr id="17" name="Group 6"/>
            <p:cNvGrpSpPr/>
            <p:nvPr/>
          </p:nvGrpSpPr>
          <p:grpSpPr>
            <a:xfrm>
              <a:off x="7866071" y="2811043"/>
              <a:ext cx="1038014" cy="340777"/>
              <a:chOff x="9860211" y="2800831"/>
              <a:chExt cx="1384019" cy="454369"/>
            </a:xfrm>
          </p:grpSpPr>
          <p:sp>
            <p:nvSpPr>
              <p:cNvPr id="18" name="Rectangle 17"/>
              <p:cNvSpPr/>
              <p:nvPr/>
            </p:nvSpPr>
            <p:spPr bwMode="auto">
              <a:xfrm>
                <a:off x="10447849" y="2864466"/>
                <a:ext cx="796381" cy="327094"/>
              </a:xfrm>
              <a:prstGeom prst="rect">
                <a:avLst/>
              </a:prstGeom>
              <a:noFill/>
              <a:ln w="19050" cap="flat">
                <a:noFill/>
                <a:round/>
                <a:headEnd type="none" w="med" len="med"/>
                <a:tailEnd type="none" w="med" len="med"/>
              </a:ln>
              <a:effectLst/>
            </p:spPr>
            <p:txBody>
              <a:bodyPr lIns="0" tIns="0" rIns="0" bIns="0" anchor="ctr"/>
              <a:lstStyle/>
              <a:p>
                <a:pPr defTabSz="685234">
                  <a:defRPr/>
                </a:pPr>
                <a:r>
                  <a:rPr lang="en-US" sz="1000" kern="0" dirty="0">
                    <a:solidFill>
                      <a:srgbClr val="FF0000"/>
                    </a:solidFill>
                    <a:latin typeface="+mj-lt"/>
                    <a:cs typeface="Arial" pitchFamily="34" charset="0"/>
                  </a:rPr>
                  <a:t>Block</a:t>
                </a:r>
              </a:p>
            </p:txBody>
          </p:sp>
          <p:sp>
            <p:nvSpPr>
              <p:cNvPr id="19" name="Rectangle 18"/>
              <p:cNvSpPr/>
              <p:nvPr/>
            </p:nvSpPr>
            <p:spPr>
              <a:xfrm>
                <a:off x="9878862" y="2825948"/>
                <a:ext cx="467028" cy="358774"/>
              </a:xfrm>
              <a:prstGeom prst="rect">
                <a:avLst/>
              </a:prstGeom>
              <a:pattFill prst="wdUpDiag">
                <a:fgClr>
                  <a:srgbClr val="C00000"/>
                </a:fgClr>
                <a:bgClr>
                  <a:srgbClr val="7A0000"/>
                </a:bgClr>
              </a:pattFill>
              <a:ln w="50800">
                <a:noFill/>
                <a:round/>
                <a:headEnd/>
                <a:tailEnd/>
              </a:ln>
              <a:effectLst/>
            </p:spPr>
            <p:txBody>
              <a:bodyPr lIns="91416" tIns="0" rIns="91416" bIns="0" anchor="ctr" anchorCtr="0"/>
              <a:lstStyle/>
              <a:p>
                <a:pPr algn="ctr" defTabSz="914296" eaLnBrk="0" hangingPunct="0">
                  <a:lnSpc>
                    <a:spcPct val="90000"/>
                  </a:lnSpc>
                  <a:defRPr/>
                </a:pPr>
                <a:endParaRPr lang="en-US" sz="1050" kern="0" dirty="0">
                  <a:solidFill>
                    <a:srgbClr val="00B0F0"/>
                  </a:solidFill>
                  <a:latin typeface="+mj-lt"/>
                </a:endParaRPr>
              </a:p>
            </p:txBody>
          </p:sp>
          <p:grpSp>
            <p:nvGrpSpPr>
              <p:cNvPr id="20" name="Group 58"/>
              <p:cNvGrpSpPr/>
              <p:nvPr/>
            </p:nvGrpSpPr>
            <p:grpSpPr>
              <a:xfrm>
                <a:off x="9860211" y="2800831"/>
                <a:ext cx="513731" cy="454369"/>
                <a:chOff x="-2600579" y="3801150"/>
                <a:chExt cx="638949" cy="565119"/>
              </a:xfrm>
            </p:grpSpPr>
            <p:sp>
              <p:nvSpPr>
                <p:cNvPr id="22" name="Freeform 21"/>
                <p:cNvSpPr>
                  <a:spLocks noEditPoints="1"/>
                </p:cNvSpPr>
                <p:nvPr/>
              </p:nvSpPr>
              <p:spPr bwMode="auto">
                <a:xfrm>
                  <a:off x="-2600579" y="3801150"/>
                  <a:ext cx="638949" cy="505633"/>
                </a:xfrm>
                <a:custGeom>
                  <a:avLst/>
                  <a:gdLst>
                    <a:gd name="T0" fmla="*/ 155 w 1397"/>
                    <a:gd name="T1" fmla="*/ 0 h 1105"/>
                    <a:gd name="T2" fmla="*/ 138 w 1397"/>
                    <a:gd name="T3" fmla="*/ 0 h 1105"/>
                    <a:gd name="T4" fmla="*/ 109 w 1397"/>
                    <a:gd name="T5" fmla="*/ 6 h 1105"/>
                    <a:gd name="T6" fmla="*/ 81 w 1397"/>
                    <a:gd name="T7" fmla="*/ 18 h 1105"/>
                    <a:gd name="T8" fmla="*/ 57 w 1397"/>
                    <a:gd name="T9" fmla="*/ 35 h 1105"/>
                    <a:gd name="T10" fmla="*/ 35 w 1397"/>
                    <a:gd name="T11" fmla="*/ 55 h 1105"/>
                    <a:gd name="T12" fmla="*/ 18 w 1397"/>
                    <a:gd name="T13" fmla="*/ 80 h 1105"/>
                    <a:gd name="T14" fmla="*/ 6 w 1397"/>
                    <a:gd name="T15" fmla="*/ 107 h 1105"/>
                    <a:gd name="T16" fmla="*/ 0 w 1397"/>
                    <a:gd name="T17" fmla="*/ 138 h 1105"/>
                    <a:gd name="T18" fmla="*/ 0 w 1397"/>
                    <a:gd name="T19" fmla="*/ 950 h 1105"/>
                    <a:gd name="T20" fmla="*/ 0 w 1397"/>
                    <a:gd name="T21" fmla="*/ 965 h 1105"/>
                    <a:gd name="T22" fmla="*/ 6 w 1397"/>
                    <a:gd name="T23" fmla="*/ 996 h 1105"/>
                    <a:gd name="T24" fmla="*/ 18 w 1397"/>
                    <a:gd name="T25" fmla="*/ 1023 h 1105"/>
                    <a:gd name="T26" fmla="*/ 35 w 1397"/>
                    <a:gd name="T27" fmla="*/ 1048 h 1105"/>
                    <a:gd name="T28" fmla="*/ 57 w 1397"/>
                    <a:gd name="T29" fmla="*/ 1069 h 1105"/>
                    <a:gd name="T30" fmla="*/ 81 w 1397"/>
                    <a:gd name="T31" fmla="*/ 1086 h 1105"/>
                    <a:gd name="T32" fmla="*/ 109 w 1397"/>
                    <a:gd name="T33" fmla="*/ 1097 h 1105"/>
                    <a:gd name="T34" fmla="*/ 138 w 1397"/>
                    <a:gd name="T35" fmla="*/ 1103 h 1105"/>
                    <a:gd name="T36" fmla="*/ 1242 w 1397"/>
                    <a:gd name="T37" fmla="*/ 1105 h 1105"/>
                    <a:gd name="T38" fmla="*/ 1259 w 1397"/>
                    <a:gd name="T39" fmla="*/ 1103 h 1105"/>
                    <a:gd name="T40" fmla="*/ 1289 w 1397"/>
                    <a:gd name="T41" fmla="*/ 1097 h 1105"/>
                    <a:gd name="T42" fmla="*/ 1316 w 1397"/>
                    <a:gd name="T43" fmla="*/ 1086 h 1105"/>
                    <a:gd name="T44" fmla="*/ 1341 w 1397"/>
                    <a:gd name="T45" fmla="*/ 1069 h 1105"/>
                    <a:gd name="T46" fmla="*/ 1362 w 1397"/>
                    <a:gd name="T47" fmla="*/ 1048 h 1105"/>
                    <a:gd name="T48" fmla="*/ 1379 w 1397"/>
                    <a:gd name="T49" fmla="*/ 1023 h 1105"/>
                    <a:gd name="T50" fmla="*/ 1391 w 1397"/>
                    <a:gd name="T51" fmla="*/ 996 h 1105"/>
                    <a:gd name="T52" fmla="*/ 1397 w 1397"/>
                    <a:gd name="T53" fmla="*/ 965 h 1105"/>
                    <a:gd name="T54" fmla="*/ 1397 w 1397"/>
                    <a:gd name="T55" fmla="*/ 153 h 1105"/>
                    <a:gd name="T56" fmla="*/ 1397 w 1397"/>
                    <a:gd name="T57" fmla="*/ 138 h 1105"/>
                    <a:gd name="T58" fmla="*/ 1391 w 1397"/>
                    <a:gd name="T59" fmla="*/ 107 h 1105"/>
                    <a:gd name="T60" fmla="*/ 1379 w 1397"/>
                    <a:gd name="T61" fmla="*/ 80 h 1105"/>
                    <a:gd name="T62" fmla="*/ 1362 w 1397"/>
                    <a:gd name="T63" fmla="*/ 55 h 1105"/>
                    <a:gd name="T64" fmla="*/ 1341 w 1397"/>
                    <a:gd name="T65" fmla="*/ 35 h 1105"/>
                    <a:gd name="T66" fmla="*/ 1316 w 1397"/>
                    <a:gd name="T67" fmla="*/ 18 h 1105"/>
                    <a:gd name="T68" fmla="*/ 1289 w 1397"/>
                    <a:gd name="T69" fmla="*/ 6 h 1105"/>
                    <a:gd name="T70" fmla="*/ 1259 w 1397"/>
                    <a:gd name="T71" fmla="*/ 0 h 1105"/>
                    <a:gd name="T72" fmla="*/ 1242 w 1397"/>
                    <a:gd name="T73" fmla="*/ 0 h 1105"/>
                    <a:gd name="T74" fmla="*/ 1318 w 1397"/>
                    <a:gd name="T75" fmla="*/ 950 h 1105"/>
                    <a:gd name="T76" fmla="*/ 1312 w 1397"/>
                    <a:gd name="T77" fmla="*/ 979 h 1105"/>
                    <a:gd name="T78" fmla="*/ 1296 w 1397"/>
                    <a:gd name="T79" fmla="*/ 1003 h 1105"/>
                    <a:gd name="T80" fmla="*/ 1272 w 1397"/>
                    <a:gd name="T81" fmla="*/ 1019 h 1105"/>
                    <a:gd name="T82" fmla="*/ 1242 w 1397"/>
                    <a:gd name="T83" fmla="*/ 1025 h 1105"/>
                    <a:gd name="T84" fmla="*/ 155 w 1397"/>
                    <a:gd name="T85" fmla="*/ 1025 h 1105"/>
                    <a:gd name="T86" fmla="*/ 126 w 1397"/>
                    <a:gd name="T87" fmla="*/ 1019 h 1105"/>
                    <a:gd name="T88" fmla="*/ 101 w 1397"/>
                    <a:gd name="T89" fmla="*/ 1003 h 1105"/>
                    <a:gd name="T90" fmla="*/ 86 w 1397"/>
                    <a:gd name="T91" fmla="*/ 979 h 1105"/>
                    <a:gd name="T92" fmla="*/ 80 w 1397"/>
                    <a:gd name="T93" fmla="*/ 950 h 1105"/>
                    <a:gd name="T94" fmla="*/ 80 w 1397"/>
                    <a:gd name="T95" fmla="*/ 153 h 1105"/>
                    <a:gd name="T96" fmla="*/ 86 w 1397"/>
                    <a:gd name="T97" fmla="*/ 126 h 1105"/>
                    <a:gd name="T98" fmla="*/ 101 w 1397"/>
                    <a:gd name="T99" fmla="*/ 101 h 1105"/>
                    <a:gd name="T100" fmla="*/ 126 w 1397"/>
                    <a:gd name="T101" fmla="*/ 86 h 1105"/>
                    <a:gd name="T102" fmla="*/ 155 w 1397"/>
                    <a:gd name="T103" fmla="*/ 80 h 1105"/>
                    <a:gd name="T104" fmla="*/ 1242 w 1397"/>
                    <a:gd name="T105" fmla="*/ 80 h 1105"/>
                    <a:gd name="T106" fmla="*/ 1272 w 1397"/>
                    <a:gd name="T107" fmla="*/ 86 h 1105"/>
                    <a:gd name="T108" fmla="*/ 1296 w 1397"/>
                    <a:gd name="T109" fmla="*/ 101 h 1105"/>
                    <a:gd name="T110" fmla="*/ 1312 w 1397"/>
                    <a:gd name="T111" fmla="*/ 126 h 1105"/>
                    <a:gd name="T112" fmla="*/ 1318 w 1397"/>
                    <a:gd name="T113" fmla="*/ 15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7" h="1105">
                      <a:moveTo>
                        <a:pt x="1242" y="0"/>
                      </a:moveTo>
                      <a:lnTo>
                        <a:pt x="155" y="0"/>
                      </a:lnTo>
                      <a:lnTo>
                        <a:pt x="155" y="0"/>
                      </a:lnTo>
                      <a:lnTo>
                        <a:pt x="138" y="0"/>
                      </a:lnTo>
                      <a:lnTo>
                        <a:pt x="123" y="3"/>
                      </a:lnTo>
                      <a:lnTo>
                        <a:pt x="109" y="6"/>
                      </a:lnTo>
                      <a:lnTo>
                        <a:pt x="93" y="12"/>
                      </a:lnTo>
                      <a:lnTo>
                        <a:pt x="81" y="18"/>
                      </a:lnTo>
                      <a:lnTo>
                        <a:pt x="67" y="26"/>
                      </a:lnTo>
                      <a:lnTo>
                        <a:pt x="57" y="35"/>
                      </a:lnTo>
                      <a:lnTo>
                        <a:pt x="44" y="44"/>
                      </a:lnTo>
                      <a:lnTo>
                        <a:pt x="35" y="55"/>
                      </a:lnTo>
                      <a:lnTo>
                        <a:pt x="26" y="68"/>
                      </a:lnTo>
                      <a:lnTo>
                        <a:pt x="18" y="80"/>
                      </a:lnTo>
                      <a:lnTo>
                        <a:pt x="12" y="94"/>
                      </a:lnTo>
                      <a:lnTo>
                        <a:pt x="6" y="107"/>
                      </a:lnTo>
                      <a:lnTo>
                        <a:pt x="3" y="123"/>
                      </a:lnTo>
                      <a:lnTo>
                        <a:pt x="0" y="138"/>
                      </a:lnTo>
                      <a:lnTo>
                        <a:pt x="0" y="153"/>
                      </a:lnTo>
                      <a:lnTo>
                        <a:pt x="0" y="950"/>
                      </a:lnTo>
                      <a:lnTo>
                        <a:pt x="0" y="950"/>
                      </a:lnTo>
                      <a:lnTo>
                        <a:pt x="0" y="965"/>
                      </a:lnTo>
                      <a:lnTo>
                        <a:pt x="3" y="980"/>
                      </a:lnTo>
                      <a:lnTo>
                        <a:pt x="6" y="996"/>
                      </a:lnTo>
                      <a:lnTo>
                        <a:pt x="12" y="1009"/>
                      </a:lnTo>
                      <a:lnTo>
                        <a:pt x="18" y="1023"/>
                      </a:lnTo>
                      <a:lnTo>
                        <a:pt x="26" y="1037"/>
                      </a:lnTo>
                      <a:lnTo>
                        <a:pt x="35" y="1048"/>
                      </a:lnTo>
                      <a:lnTo>
                        <a:pt x="44" y="1059"/>
                      </a:lnTo>
                      <a:lnTo>
                        <a:pt x="57" y="1069"/>
                      </a:lnTo>
                      <a:lnTo>
                        <a:pt x="67" y="1078"/>
                      </a:lnTo>
                      <a:lnTo>
                        <a:pt x="81" y="1086"/>
                      </a:lnTo>
                      <a:lnTo>
                        <a:pt x="93" y="1092"/>
                      </a:lnTo>
                      <a:lnTo>
                        <a:pt x="109" y="1097"/>
                      </a:lnTo>
                      <a:lnTo>
                        <a:pt x="123" y="1101"/>
                      </a:lnTo>
                      <a:lnTo>
                        <a:pt x="138" y="1103"/>
                      </a:lnTo>
                      <a:lnTo>
                        <a:pt x="155" y="1105"/>
                      </a:lnTo>
                      <a:lnTo>
                        <a:pt x="1242" y="1105"/>
                      </a:lnTo>
                      <a:lnTo>
                        <a:pt x="1242" y="1105"/>
                      </a:lnTo>
                      <a:lnTo>
                        <a:pt x="1259" y="1103"/>
                      </a:lnTo>
                      <a:lnTo>
                        <a:pt x="1275" y="1101"/>
                      </a:lnTo>
                      <a:lnTo>
                        <a:pt x="1289" y="1097"/>
                      </a:lnTo>
                      <a:lnTo>
                        <a:pt x="1304" y="1092"/>
                      </a:lnTo>
                      <a:lnTo>
                        <a:pt x="1316" y="1086"/>
                      </a:lnTo>
                      <a:lnTo>
                        <a:pt x="1330" y="1078"/>
                      </a:lnTo>
                      <a:lnTo>
                        <a:pt x="1341" y="1069"/>
                      </a:lnTo>
                      <a:lnTo>
                        <a:pt x="1353" y="1059"/>
                      </a:lnTo>
                      <a:lnTo>
                        <a:pt x="1362" y="1048"/>
                      </a:lnTo>
                      <a:lnTo>
                        <a:pt x="1371" y="1037"/>
                      </a:lnTo>
                      <a:lnTo>
                        <a:pt x="1379" y="1023"/>
                      </a:lnTo>
                      <a:lnTo>
                        <a:pt x="1385" y="1009"/>
                      </a:lnTo>
                      <a:lnTo>
                        <a:pt x="1391" y="996"/>
                      </a:lnTo>
                      <a:lnTo>
                        <a:pt x="1394" y="980"/>
                      </a:lnTo>
                      <a:lnTo>
                        <a:pt x="1397" y="965"/>
                      </a:lnTo>
                      <a:lnTo>
                        <a:pt x="1397" y="950"/>
                      </a:lnTo>
                      <a:lnTo>
                        <a:pt x="1397" y="153"/>
                      </a:lnTo>
                      <a:lnTo>
                        <a:pt x="1397" y="153"/>
                      </a:lnTo>
                      <a:lnTo>
                        <a:pt x="1397" y="138"/>
                      </a:lnTo>
                      <a:lnTo>
                        <a:pt x="1394" y="123"/>
                      </a:lnTo>
                      <a:lnTo>
                        <a:pt x="1391" y="107"/>
                      </a:lnTo>
                      <a:lnTo>
                        <a:pt x="1385" y="94"/>
                      </a:lnTo>
                      <a:lnTo>
                        <a:pt x="1379" y="80"/>
                      </a:lnTo>
                      <a:lnTo>
                        <a:pt x="1371" y="68"/>
                      </a:lnTo>
                      <a:lnTo>
                        <a:pt x="1362" y="55"/>
                      </a:lnTo>
                      <a:lnTo>
                        <a:pt x="1353" y="44"/>
                      </a:lnTo>
                      <a:lnTo>
                        <a:pt x="1341" y="35"/>
                      </a:lnTo>
                      <a:lnTo>
                        <a:pt x="1330" y="26"/>
                      </a:lnTo>
                      <a:lnTo>
                        <a:pt x="1316" y="18"/>
                      </a:lnTo>
                      <a:lnTo>
                        <a:pt x="1304" y="12"/>
                      </a:lnTo>
                      <a:lnTo>
                        <a:pt x="1289" y="6"/>
                      </a:lnTo>
                      <a:lnTo>
                        <a:pt x="1275" y="3"/>
                      </a:lnTo>
                      <a:lnTo>
                        <a:pt x="1259" y="0"/>
                      </a:lnTo>
                      <a:lnTo>
                        <a:pt x="1242" y="0"/>
                      </a:lnTo>
                      <a:lnTo>
                        <a:pt x="1242" y="0"/>
                      </a:lnTo>
                      <a:close/>
                      <a:moveTo>
                        <a:pt x="1318" y="950"/>
                      </a:moveTo>
                      <a:lnTo>
                        <a:pt x="1318" y="950"/>
                      </a:lnTo>
                      <a:lnTo>
                        <a:pt x="1316" y="965"/>
                      </a:lnTo>
                      <a:lnTo>
                        <a:pt x="1312" y="979"/>
                      </a:lnTo>
                      <a:lnTo>
                        <a:pt x="1305" y="991"/>
                      </a:lnTo>
                      <a:lnTo>
                        <a:pt x="1296" y="1003"/>
                      </a:lnTo>
                      <a:lnTo>
                        <a:pt x="1284" y="1013"/>
                      </a:lnTo>
                      <a:lnTo>
                        <a:pt x="1272" y="1019"/>
                      </a:lnTo>
                      <a:lnTo>
                        <a:pt x="1258" y="1023"/>
                      </a:lnTo>
                      <a:lnTo>
                        <a:pt x="1242" y="1025"/>
                      </a:lnTo>
                      <a:lnTo>
                        <a:pt x="155" y="1025"/>
                      </a:lnTo>
                      <a:lnTo>
                        <a:pt x="155" y="1025"/>
                      </a:lnTo>
                      <a:lnTo>
                        <a:pt x="139" y="1023"/>
                      </a:lnTo>
                      <a:lnTo>
                        <a:pt x="126" y="1019"/>
                      </a:lnTo>
                      <a:lnTo>
                        <a:pt x="112" y="1013"/>
                      </a:lnTo>
                      <a:lnTo>
                        <a:pt x="101" y="1003"/>
                      </a:lnTo>
                      <a:lnTo>
                        <a:pt x="92" y="991"/>
                      </a:lnTo>
                      <a:lnTo>
                        <a:pt x="86" y="979"/>
                      </a:lnTo>
                      <a:lnTo>
                        <a:pt x="81" y="965"/>
                      </a:lnTo>
                      <a:lnTo>
                        <a:pt x="80" y="950"/>
                      </a:lnTo>
                      <a:lnTo>
                        <a:pt x="80" y="153"/>
                      </a:lnTo>
                      <a:lnTo>
                        <a:pt x="80" y="153"/>
                      </a:lnTo>
                      <a:lnTo>
                        <a:pt x="81" y="140"/>
                      </a:lnTo>
                      <a:lnTo>
                        <a:pt x="86" y="126"/>
                      </a:lnTo>
                      <a:lnTo>
                        <a:pt x="92" y="112"/>
                      </a:lnTo>
                      <a:lnTo>
                        <a:pt x="101" y="101"/>
                      </a:lnTo>
                      <a:lnTo>
                        <a:pt x="112" y="92"/>
                      </a:lnTo>
                      <a:lnTo>
                        <a:pt x="126" y="86"/>
                      </a:lnTo>
                      <a:lnTo>
                        <a:pt x="139" y="81"/>
                      </a:lnTo>
                      <a:lnTo>
                        <a:pt x="155" y="80"/>
                      </a:lnTo>
                      <a:lnTo>
                        <a:pt x="1242" y="80"/>
                      </a:lnTo>
                      <a:lnTo>
                        <a:pt x="1242" y="80"/>
                      </a:lnTo>
                      <a:lnTo>
                        <a:pt x="1258" y="81"/>
                      </a:lnTo>
                      <a:lnTo>
                        <a:pt x="1272" y="86"/>
                      </a:lnTo>
                      <a:lnTo>
                        <a:pt x="1284" y="92"/>
                      </a:lnTo>
                      <a:lnTo>
                        <a:pt x="1296" y="101"/>
                      </a:lnTo>
                      <a:lnTo>
                        <a:pt x="1305" y="112"/>
                      </a:lnTo>
                      <a:lnTo>
                        <a:pt x="1312" y="126"/>
                      </a:lnTo>
                      <a:lnTo>
                        <a:pt x="1316" y="140"/>
                      </a:lnTo>
                      <a:lnTo>
                        <a:pt x="1318" y="153"/>
                      </a:lnTo>
                      <a:lnTo>
                        <a:pt x="1318" y="950"/>
                      </a:ln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13">
                    <a:defRPr/>
                  </a:pPr>
                  <a:r>
                    <a:rPr lang="en-US" sz="800" kern="0">
                      <a:solidFill>
                        <a:srgbClr val="0096D6"/>
                      </a:solidFill>
                      <a:latin typeface="+mj-lt"/>
                      <a:ea typeface="Times New Roman"/>
                      <a:cs typeface="Times New Roman"/>
                    </a:rPr>
                    <a:t> </a:t>
                  </a:r>
                </a:p>
              </p:txBody>
            </p:sp>
            <p:sp>
              <p:nvSpPr>
                <p:cNvPr id="23" name="Freeform 22"/>
                <p:cNvSpPr>
                  <a:spLocks/>
                </p:cNvSpPr>
                <p:nvPr/>
              </p:nvSpPr>
              <p:spPr bwMode="auto">
                <a:xfrm>
                  <a:off x="-2382412" y="4329662"/>
                  <a:ext cx="222283" cy="36607"/>
                </a:xfrm>
                <a:custGeom>
                  <a:avLst/>
                  <a:gdLst>
                    <a:gd name="T0" fmla="*/ 446 w 486"/>
                    <a:gd name="T1" fmla="*/ 0 h 80"/>
                    <a:gd name="T2" fmla="*/ 40 w 486"/>
                    <a:gd name="T3" fmla="*/ 0 h 80"/>
                    <a:gd name="T4" fmla="*/ 40 w 486"/>
                    <a:gd name="T5" fmla="*/ 0 h 80"/>
                    <a:gd name="T6" fmla="*/ 31 w 486"/>
                    <a:gd name="T7" fmla="*/ 0 h 80"/>
                    <a:gd name="T8" fmla="*/ 24 w 486"/>
                    <a:gd name="T9" fmla="*/ 3 h 80"/>
                    <a:gd name="T10" fmla="*/ 17 w 486"/>
                    <a:gd name="T11" fmla="*/ 6 h 80"/>
                    <a:gd name="T12" fmla="*/ 11 w 486"/>
                    <a:gd name="T13" fmla="*/ 11 h 80"/>
                    <a:gd name="T14" fmla="*/ 6 w 486"/>
                    <a:gd name="T15" fmla="*/ 17 h 80"/>
                    <a:gd name="T16" fmla="*/ 3 w 486"/>
                    <a:gd name="T17" fmla="*/ 25 h 80"/>
                    <a:gd name="T18" fmla="*/ 0 w 486"/>
                    <a:gd name="T19" fmla="*/ 32 h 80"/>
                    <a:gd name="T20" fmla="*/ 0 w 486"/>
                    <a:gd name="T21" fmla="*/ 40 h 80"/>
                    <a:gd name="T22" fmla="*/ 0 w 486"/>
                    <a:gd name="T23" fmla="*/ 40 h 80"/>
                    <a:gd name="T24" fmla="*/ 0 w 486"/>
                    <a:gd name="T25" fmla="*/ 48 h 80"/>
                    <a:gd name="T26" fmla="*/ 3 w 486"/>
                    <a:gd name="T27" fmla="*/ 55 h 80"/>
                    <a:gd name="T28" fmla="*/ 6 w 486"/>
                    <a:gd name="T29" fmla="*/ 62 h 80"/>
                    <a:gd name="T30" fmla="*/ 11 w 486"/>
                    <a:gd name="T31" fmla="*/ 68 h 80"/>
                    <a:gd name="T32" fmla="*/ 17 w 486"/>
                    <a:gd name="T33" fmla="*/ 72 h 80"/>
                    <a:gd name="T34" fmla="*/ 24 w 486"/>
                    <a:gd name="T35" fmla="*/ 77 h 80"/>
                    <a:gd name="T36" fmla="*/ 31 w 486"/>
                    <a:gd name="T37" fmla="*/ 78 h 80"/>
                    <a:gd name="T38" fmla="*/ 40 w 486"/>
                    <a:gd name="T39" fmla="*/ 80 h 80"/>
                    <a:gd name="T40" fmla="*/ 446 w 486"/>
                    <a:gd name="T41" fmla="*/ 80 h 80"/>
                    <a:gd name="T42" fmla="*/ 446 w 486"/>
                    <a:gd name="T43" fmla="*/ 80 h 80"/>
                    <a:gd name="T44" fmla="*/ 456 w 486"/>
                    <a:gd name="T45" fmla="*/ 78 h 80"/>
                    <a:gd name="T46" fmla="*/ 462 w 486"/>
                    <a:gd name="T47" fmla="*/ 77 h 80"/>
                    <a:gd name="T48" fmla="*/ 469 w 486"/>
                    <a:gd name="T49" fmla="*/ 72 h 80"/>
                    <a:gd name="T50" fmla="*/ 476 w 486"/>
                    <a:gd name="T51" fmla="*/ 68 h 80"/>
                    <a:gd name="T52" fmla="*/ 480 w 486"/>
                    <a:gd name="T53" fmla="*/ 62 h 80"/>
                    <a:gd name="T54" fmla="*/ 483 w 486"/>
                    <a:gd name="T55" fmla="*/ 55 h 80"/>
                    <a:gd name="T56" fmla="*/ 486 w 486"/>
                    <a:gd name="T57" fmla="*/ 48 h 80"/>
                    <a:gd name="T58" fmla="*/ 486 w 486"/>
                    <a:gd name="T59" fmla="*/ 40 h 80"/>
                    <a:gd name="T60" fmla="*/ 486 w 486"/>
                    <a:gd name="T61" fmla="*/ 40 h 80"/>
                    <a:gd name="T62" fmla="*/ 486 w 486"/>
                    <a:gd name="T63" fmla="*/ 32 h 80"/>
                    <a:gd name="T64" fmla="*/ 483 w 486"/>
                    <a:gd name="T65" fmla="*/ 25 h 80"/>
                    <a:gd name="T66" fmla="*/ 480 w 486"/>
                    <a:gd name="T67" fmla="*/ 17 h 80"/>
                    <a:gd name="T68" fmla="*/ 476 w 486"/>
                    <a:gd name="T69" fmla="*/ 11 h 80"/>
                    <a:gd name="T70" fmla="*/ 469 w 486"/>
                    <a:gd name="T71" fmla="*/ 6 h 80"/>
                    <a:gd name="T72" fmla="*/ 462 w 486"/>
                    <a:gd name="T73" fmla="*/ 3 h 80"/>
                    <a:gd name="T74" fmla="*/ 456 w 486"/>
                    <a:gd name="T75" fmla="*/ 0 h 80"/>
                    <a:gd name="T76" fmla="*/ 446 w 486"/>
                    <a:gd name="T77" fmla="*/ 0 h 80"/>
                    <a:gd name="T78" fmla="*/ 446 w 486"/>
                    <a:gd name="T7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6" h="80">
                      <a:moveTo>
                        <a:pt x="446" y="0"/>
                      </a:moveTo>
                      <a:lnTo>
                        <a:pt x="40" y="0"/>
                      </a:lnTo>
                      <a:lnTo>
                        <a:pt x="40" y="0"/>
                      </a:lnTo>
                      <a:lnTo>
                        <a:pt x="31" y="0"/>
                      </a:lnTo>
                      <a:lnTo>
                        <a:pt x="24" y="3"/>
                      </a:lnTo>
                      <a:lnTo>
                        <a:pt x="17" y="6"/>
                      </a:lnTo>
                      <a:lnTo>
                        <a:pt x="11" y="11"/>
                      </a:lnTo>
                      <a:lnTo>
                        <a:pt x="6" y="17"/>
                      </a:lnTo>
                      <a:lnTo>
                        <a:pt x="3" y="25"/>
                      </a:lnTo>
                      <a:lnTo>
                        <a:pt x="0" y="32"/>
                      </a:lnTo>
                      <a:lnTo>
                        <a:pt x="0" y="40"/>
                      </a:lnTo>
                      <a:lnTo>
                        <a:pt x="0" y="40"/>
                      </a:lnTo>
                      <a:lnTo>
                        <a:pt x="0" y="48"/>
                      </a:lnTo>
                      <a:lnTo>
                        <a:pt x="3" y="55"/>
                      </a:lnTo>
                      <a:lnTo>
                        <a:pt x="6" y="62"/>
                      </a:lnTo>
                      <a:lnTo>
                        <a:pt x="11" y="68"/>
                      </a:lnTo>
                      <a:lnTo>
                        <a:pt x="17" y="72"/>
                      </a:lnTo>
                      <a:lnTo>
                        <a:pt x="24" y="77"/>
                      </a:lnTo>
                      <a:lnTo>
                        <a:pt x="31" y="78"/>
                      </a:lnTo>
                      <a:lnTo>
                        <a:pt x="40" y="80"/>
                      </a:lnTo>
                      <a:lnTo>
                        <a:pt x="446" y="80"/>
                      </a:lnTo>
                      <a:lnTo>
                        <a:pt x="446" y="80"/>
                      </a:lnTo>
                      <a:lnTo>
                        <a:pt x="456" y="78"/>
                      </a:lnTo>
                      <a:lnTo>
                        <a:pt x="462" y="77"/>
                      </a:lnTo>
                      <a:lnTo>
                        <a:pt x="469" y="72"/>
                      </a:lnTo>
                      <a:lnTo>
                        <a:pt x="476" y="68"/>
                      </a:lnTo>
                      <a:lnTo>
                        <a:pt x="480" y="62"/>
                      </a:lnTo>
                      <a:lnTo>
                        <a:pt x="483" y="55"/>
                      </a:lnTo>
                      <a:lnTo>
                        <a:pt x="486" y="48"/>
                      </a:lnTo>
                      <a:lnTo>
                        <a:pt x="486" y="40"/>
                      </a:lnTo>
                      <a:lnTo>
                        <a:pt x="486" y="40"/>
                      </a:lnTo>
                      <a:lnTo>
                        <a:pt x="486" y="32"/>
                      </a:lnTo>
                      <a:lnTo>
                        <a:pt x="483" y="25"/>
                      </a:lnTo>
                      <a:lnTo>
                        <a:pt x="480" y="17"/>
                      </a:lnTo>
                      <a:lnTo>
                        <a:pt x="476" y="11"/>
                      </a:lnTo>
                      <a:lnTo>
                        <a:pt x="469" y="6"/>
                      </a:lnTo>
                      <a:lnTo>
                        <a:pt x="462" y="3"/>
                      </a:lnTo>
                      <a:lnTo>
                        <a:pt x="456" y="0"/>
                      </a:lnTo>
                      <a:lnTo>
                        <a:pt x="446" y="0"/>
                      </a:lnTo>
                      <a:lnTo>
                        <a:pt x="446" y="0"/>
                      </a:ln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13">
                    <a:defRPr/>
                  </a:pPr>
                  <a:r>
                    <a:rPr lang="en-US" sz="800" kern="0">
                      <a:solidFill>
                        <a:srgbClr val="0096D6"/>
                      </a:solidFill>
                      <a:latin typeface="+mj-lt"/>
                      <a:ea typeface="Times New Roman"/>
                      <a:cs typeface="Times New Roman"/>
                    </a:rPr>
                    <a:t> </a:t>
                  </a:r>
                </a:p>
              </p:txBody>
            </p:sp>
          </p:grpSp>
          <p:sp>
            <p:nvSpPr>
              <p:cNvPr id="21" name="Oval 20"/>
              <p:cNvSpPr>
                <a:spLocks/>
              </p:cNvSpPr>
              <p:nvPr/>
            </p:nvSpPr>
            <p:spPr bwMode="auto">
              <a:xfrm>
                <a:off x="9982546" y="2869280"/>
                <a:ext cx="269068" cy="269420"/>
              </a:xfrm>
              <a:prstGeom prst="ellipse">
                <a:avLst/>
              </a:prstGeom>
              <a:solidFill>
                <a:srgbClr val="C00000"/>
              </a:solidFill>
              <a:ln w="9525" cap="flat">
                <a:solidFill>
                  <a:schemeClr val="bg1"/>
                </a:solidFill>
                <a:round/>
                <a:headEnd type="none" w="med" len="med"/>
                <a:tailEnd type="none" w="med" len="med"/>
              </a:ln>
              <a:effectLst/>
            </p:spPr>
            <p:txBody>
              <a:bodyPr wrap="none" lIns="0" tIns="0" rIns="0" bIns="0" anchor="ctr" anchorCtr="0"/>
              <a:lstStyle/>
              <a:p>
                <a:pPr algn="ctr" defTabSz="914022"/>
                <a:r>
                  <a:rPr lang="en-US" sz="400" dirty="0">
                    <a:solidFill>
                      <a:srgbClr val="FFFFFF"/>
                    </a:solidFill>
                    <a:latin typeface="+mj-lt"/>
                  </a:rPr>
                  <a:t>WWW</a:t>
                </a:r>
              </a:p>
            </p:txBody>
          </p:sp>
        </p:grpSp>
        <p:grpSp>
          <p:nvGrpSpPr>
            <p:cNvPr id="24" name="Group 10"/>
            <p:cNvGrpSpPr/>
            <p:nvPr/>
          </p:nvGrpSpPr>
          <p:grpSpPr>
            <a:xfrm>
              <a:off x="7866065" y="2343328"/>
              <a:ext cx="1088717" cy="340865"/>
              <a:chOff x="9860226" y="977643"/>
              <a:chExt cx="1451626" cy="454488"/>
            </a:xfrm>
          </p:grpSpPr>
          <p:sp>
            <p:nvSpPr>
              <p:cNvPr id="25" name="Rectangle 24"/>
              <p:cNvSpPr/>
              <p:nvPr/>
            </p:nvSpPr>
            <p:spPr bwMode="auto">
              <a:xfrm>
                <a:off x="10447688" y="1041298"/>
                <a:ext cx="864164" cy="327181"/>
              </a:xfrm>
              <a:prstGeom prst="rect">
                <a:avLst/>
              </a:prstGeom>
              <a:noFill/>
              <a:ln w="19050" cap="flat">
                <a:noFill/>
                <a:round/>
                <a:headEnd type="none" w="med" len="med"/>
                <a:tailEnd type="none" w="med" len="med"/>
              </a:ln>
              <a:effectLst/>
            </p:spPr>
            <p:txBody>
              <a:bodyPr lIns="0" tIns="0" rIns="0" bIns="0" anchor="ctr"/>
              <a:lstStyle/>
              <a:p>
                <a:pPr defTabSz="685439">
                  <a:defRPr/>
                </a:pPr>
                <a:r>
                  <a:rPr lang="en-US" sz="1000" kern="0" dirty="0">
                    <a:solidFill>
                      <a:srgbClr val="6DB344"/>
                    </a:solidFill>
                    <a:latin typeface="+mj-lt"/>
                    <a:cs typeface="Arial" pitchFamily="34" charset="0"/>
                  </a:rPr>
                  <a:t>Allow</a:t>
                </a:r>
              </a:p>
            </p:txBody>
          </p:sp>
          <p:sp>
            <p:nvSpPr>
              <p:cNvPr id="26" name="Rectangle 25"/>
              <p:cNvSpPr/>
              <p:nvPr/>
            </p:nvSpPr>
            <p:spPr>
              <a:xfrm>
                <a:off x="9878881" y="1002770"/>
                <a:ext cx="467150" cy="358869"/>
              </a:xfrm>
              <a:prstGeom prst="rect">
                <a:avLst/>
              </a:prstGeom>
              <a:pattFill prst="wdUpDiag">
                <a:fgClr>
                  <a:srgbClr val="6DB344"/>
                </a:fgClr>
                <a:bgClr>
                  <a:srgbClr val="6DB344">
                    <a:lumMod val="75000"/>
                  </a:srgbClr>
                </a:bgClr>
              </a:pattFill>
              <a:ln w="50800">
                <a:noFill/>
                <a:round/>
                <a:headEnd/>
                <a:tailEnd/>
              </a:ln>
              <a:effectLst/>
            </p:spPr>
            <p:txBody>
              <a:bodyPr lIns="91416" tIns="0" rIns="91416" bIns="0" anchor="ctr" anchorCtr="0"/>
              <a:lstStyle/>
              <a:p>
                <a:pPr algn="ctr" defTabSz="914400" eaLnBrk="0" hangingPunct="0">
                  <a:lnSpc>
                    <a:spcPct val="90000"/>
                  </a:lnSpc>
                </a:pPr>
                <a:endParaRPr lang="en-US" sz="1200" kern="0" dirty="0">
                  <a:solidFill>
                    <a:srgbClr val="00B0F0"/>
                  </a:solidFill>
                  <a:latin typeface="+mj-lt"/>
                </a:endParaRPr>
              </a:p>
            </p:txBody>
          </p:sp>
          <p:grpSp>
            <p:nvGrpSpPr>
              <p:cNvPr id="27" name="Group 124"/>
              <p:cNvGrpSpPr/>
              <p:nvPr/>
            </p:nvGrpSpPr>
            <p:grpSpPr>
              <a:xfrm>
                <a:off x="9860226" y="977643"/>
                <a:ext cx="513865" cy="454488"/>
                <a:chOff x="-2600579" y="3801150"/>
                <a:chExt cx="638949" cy="565119"/>
              </a:xfrm>
            </p:grpSpPr>
            <p:sp>
              <p:nvSpPr>
                <p:cNvPr id="29" name="Freeform 28"/>
                <p:cNvSpPr>
                  <a:spLocks noEditPoints="1"/>
                </p:cNvSpPr>
                <p:nvPr/>
              </p:nvSpPr>
              <p:spPr bwMode="auto">
                <a:xfrm>
                  <a:off x="-2600579" y="3801150"/>
                  <a:ext cx="638949" cy="505633"/>
                </a:xfrm>
                <a:custGeom>
                  <a:avLst/>
                  <a:gdLst>
                    <a:gd name="T0" fmla="*/ 155 w 1397"/>
                    <a:gd name="T1" fmla="*/ 0 h 1105"/>
                    <a:gd name="T2" fmla="*/ 138 w 1397"/>
                    <a:gd name="T3" fmla="*/ 0 h 1105"/>
                    <a:gd name="T4" fmla="*/ 109 w 1397"/>
                    <a:gd name="T5" fmla="*/ 6 h 1105"/>
                    <a:gd name="T6" fmla="*/ 81 w 1397"/>
                    <a:gd name="T7" fmla="*/ 18 h 1105"/>
                    <a:gd name="T8" fmla="*/ 57 w 1397"/>
                    <a:gd name="T9" fmla="*/ 35 h 1105"/>
                    <a:gd name="T10" fmla="*/ 35 w 1397"/>
                    <a:gd name="T11" fmla="*/ 55 h 1105"/>
                    <a:gd name="T12" fmla="*/ 18 w 1397"/>
                    <a:gd name="T13" fmla="*/ 80 h 1105"/>
                    <a:gd name="T14" fmla="*/ 6 w 1397"/>
                    <a:gd name="T15" fmla="*/ 107 h 1105"/>
                    <a:gd name="T16" fmla="*/ 0 w 1397"/>
                    <a:gd name="T17" fmla="*/ 138 h 1105"/>
                    <a:gd name="T18" fmla="*/ 0 w 1397"/>
                    <a:gd name="T19" fmla="*/ 950 h 1105"/>
                    <a:gd name="T20" fmla="*/ 0 w 1397"/>
                    <a:gd name="T21" fmla="*/ 965 h 1105"/>
                    <a:gd name="T22" fmla="*/ 6 w 1397"/>
                    <a:gd name="T23" fmla="*/ 996 h 1105"/>
                    <a:gd name="T24" fmla="*/ 18 w 1397"/>
                    <a:gd name="T25" fmla="*/ 1023 h 1105"/>
                    <a:gd name="T26" fmla="*/ 35 w 1397"/>
                    <a:gd name="T27" fmla="*/ 1048 h 1105"/>
                    <a:gd name="T28" fmla="*/ 57 w 1397"/>
                    <a:gd name="T29" fmla="*/ 1069 h 1105"/>
                    <a:gd name="T30" fmla="*/ 81 w 1397"/>
                    <a:gd name="T31" fmla="*/ 1086 h 1105"/>
                    <a:gd name="T32" fmla="*/ 109 w 1397"/>
                    <a:gd name="T33" fmla="*/ 1097 h 1105"/>
                    <a:gd name="T34" fmla="*/ 138 w 1397"/>
                    <a:gd name="T35" fmla="*/ 1103 h 1105"/>
                    <a:gd name="T36" fmla="*/ 1242 w 1397"/>
                    <a:gd name="T37" fmla="*/ 1105 h 1105"/>
                    <a:gd name="T38" fmla="*/ 1259 w 1397"/>
                    <a:gd name="T39" fmla="*/ 1103 h 1105"/>
                    <a:gd name="T40" fmla="*/ 1289 w 1397"/>
                    <a:gd name="T41" fmla="*/ 1097 h 1105"/>
                    <a:gd name="T42" fmla="*/ 1316 w 1397"/>
                    <a:gd name="T43" fmla="*/ 1086 h 1105"/>
                    <a:gd name="T44" fmla="*/ 1341 w 1397"/>
                    <a:gd name="T45" fmla="*/ 1069 h 1105"/>
                    <a:gd name="T46" fmla="*/ 1362 w 1397"/>
                    <a:gd name="T47" fmla="*/ 1048 h 1105"/>
                    <a:gd name="T48" fmla="*/ 1379 w 1397"/>
                    <a:gd name="T49" fmla="*/ 1023 h 1105"/>
                    <a:gd name="T50" fmla="*/ 1391 w 1397"/>
                    <a:gd name="T51" fmla="*/ 996 h 1105"/>
                    <a:gd name="T52" fmla="*/ 1397 w 1397"/>
                    <a:gd name="T53" fmla="*/ 965 h 1105"/>
                    <a:gd name="T54" fmla="*/ 1397 w 1397"/>
                    <a:gd name="T55" fmla="*/ 153 h 1105"/>
                    <a:gd name="T56" fmla="*/ 1397 w 1397"/>
                    <a:gd name="T57" fmla="*/ 138 h 1105"/>
                    <a:gd name="T58" fmla="*/ 1391 w 1397"/>
                    <a:gd name="T59" fmla="*/ 107 h 1105"/>
                    <a:gd name="T60" fmla="*/ 1379 w 1397"/>
                    <a:gd name="T61" fmla="*/ 80 h 1105"/>
                    <a:gd name="T62" fmla="*/ 1362 w 1397"/>
                    <a:gd name="T63" fmla="*/ 55 h 1105"/>
                    <a:gd name="T64" fmla="*/ 1341 w 1397"/>
                    <a:gd name="T65" fmla="*/ 35 h 1105"/>
                    <a:gd name="T66" fmla="*/ 1316 w 1397"/>
                    <a:gd name="T67" fmla="*/ 18 h 1105"/>
                    <a:gd name="T68" fmla="*/ 1289 w 1397"/>
                    <a:gd name="T69" fmla="*/ 6 h 1105"/>
                    <a:gd name="T70" fmla="*/ 1259 w 1397"/>
                    <a:gd name="T71" fmla="*/ 0 h 1105"/>
                    <a:gd name="T72" fmla="*/ 1242 w 1397"/>
                    <a:gd name="T73" fmla="*/ 0 h 1105"/>
                    <a:gd name="T74" fmla="*/ 1318 w 1397"/>
                    <a:gd name="T75" fmla="*/ 950 h 1105"/>
                    <a:gd name="T76" fmla="*/ 1312 w 1397"/>
                    <a:gd name="T77" fmla="*/ 979 h 1105"/>
                    <a:gd name="T78" fmla="*/ 1296 w 1397"/>
                    <a:gd name="T79" fmla="*/ 1003 h 1105"/>
                    <a:gd name="T80" fmla="*/ 1272 w 1397"/>
                    <a:gd name="T81" fmla="*/ 1019 h 1105"/>
                    <a:gd name="T82" fmla="*/ 1242 w 1397"/>
                    <a:gd name="T83" fmla="*/ 1025 h 1105"/>
                    <a:gd name="T84" fmla="*/ 155 w 1397"/>
                    <a:gd name="T85" fmla="*/ 1025 h 1105"/>
                    <a:gd name="T86" fmla="*/ 126 w 1397"/>
                    <a:gd name="T87" fmla="*/ 1019 h 1105"/>
                    <a:gd name="T88" fmla="*/ 101 w 1397"/>
                    <a:gd name="T89" fmla="*/ 1003 h 1105"/>
                    <a:gd name="T90" fmla="*/ 86 w 1397"/>
                    <a:gd name="T91" fmla="*/ 979 h 1105"/>
                    <a:gd name="T92" fmla="*/ 80 w 1397"/>
                    <a:gd name="T93" fmla="*/ 950 h 1105"/>
                    <a:gd name="T94" fmla="*/ 80 w 1397"/>
                    <a:gd name="T95" fmla="*/ 153 h 1105"/>
                    <a:gd name="T96" fmla="*/ 86 w 1397"/>
                    <a:gd name="T97" fmla="*/ 126 h 1105"/>
                    <a:gd name="T98" fmla="*/ 101 w 1397"/>
                    <a:gd name="T99" fmla="*/ 101 h 1105"/>
                    <a:gd name="T100" fmla="*/ 126 w 1397"/>
                    <a:gd name="T101" fmla="*/ 86 h 1105"/>
                    <a:gd name="T102" fmla="*/ 155 w 1397"/>
                    <a:gd name="T103" fmla="*/ 80 h 1105"/>
                    <a:gd name="T104" fmla="*/ 1242 w 1397"/>
                    <a:gd name="T105" fmla="*/ 80 h 1105"/>
                    <a:gd name="T106" fmla="*/ 1272 w 1397"/>
                    <a:gd name="T107" fmla="*/ 86 h 1105"/>
                    <a:gd name="T108" fmla="*/ 1296 w 1397"/>
                    <a:gd name="T109" fmla="*/ 101 h 1105"/>
                    <a:gd name="T110" fmla="*/ 1312 w 1397"/>
                    <a:gd name="T111" fmla="*/ 126 h 1105"/>
                    <a:gd name="T112" fmla="*/ 1318 w 1397"/>
                    <a:gd name="T113" fmla="*/ 15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7" h="1105">
                      <a:moveTo>
                        <a:pt x="1242" y="0"/>
                      </a:moveTo>
                      <a:lnTo>
                        <a:pt x="155" y="0"/>
                      </a:lnTo>
                      <a:lnTo>
                        <a:pt x="155" y="0"/>
                      </a:lnTo>
                      <a:lnTo>
                        <a:pt x="138" y="0"/>
                      </a:lnTo>
                      <a:lnTo>
                        <a:pt x="123" y="3"/>
                      </a:lnTo>
                      <a:lnTo>
                        <a:pt x="109" y="6"/>
                      </a:lnTo>
                      <a:lnTo>
                        <a:pt x="93" y="12"/>
                      </a:lnTo>
                      <a:lnTo>
                        <a:pt x="81" y="18"/>
                      </a:lnTo>
                      <a:lnTo>
                        <a:pt x="67" y="26"/>
                      </a:lnTo>
                      <a:lnTo>
                        <a:pt x="57" y="35"/>
                      </a:lnTo>
                      <a:lnTo>
                        <a:pt x="44" y="44"/>
                      </a:lnTo>
                      <a:lnTo>
                        <a:pt x="35" y="55"/>
                      </a:lnTo>
                      <a:lnTo>
                        <a:pt x="26" y="68"/>
                      </a:lnTo>
                      <a:lnTo>
                        <a:pt x="18" y="80"/>
                      </a:lnTo>
                      <a:lnTo>
                        <a:pt x="12" y="94"/>
                      </a:lnTo>
                      <a:lnTo>
                        <a:pt x="6" y="107"/>
                      </a:lnTo>
                      <a:lnTo>
                        <a:pt x="3" y="123"/>
                      </a:lnTo>
                      <a:lnTo>
                        <a:pt x="0" y="138"/>
                      </a:lnTo>
                      <a:lnTo>
                        <a:pt x="0" y="153"/>
                      </a:lnTo>
                      <a:lnTo>
                        <a:pt x="0" y="950"/>
                      </a:lnTo>
                      <a:lnTo>
                        <a:pt x="0" y="950"/>
                      </a:lnTo>
                      <a:lnTo>
                        <a:pt x="0" y="965"/>
                      </a:lnTo>
                      <a:lnTo>
                        <a:pt x="3" y="980"/>
                      </a:lnTo>
                      <a:lnTo>
                        <a:pt x="6" y="996"/>
                      </a:lnTo>
                      <a:lnTo>
                        <a:pt x="12" y="1009"/>
                      </a:lnTo>
                      <a:lnTo>
                        <a:pt x="18" y="1023"/>
                      </a:lnTo>
                      <a:lnTo>
                        <a:pt x="26" y="1037"/>
                      </a:lnTo>
                      <a:lnTo>
                        <a:pt x="35" y="1048"/>
                      </a:lnTo>
                      <a:lnTo>
                        <a:pt x="44" y="1059"/>
                      </a:lnTo>
                      <a:lnTo>
                        <a:pt x="57" y="1069"/>
                      </a:lnTo>
                      <a:lnTo>
                        <a:pt x="67" y="1078"/>
                      </a:lnTo>
                      <a:lnTo>
                        <a:pt x="81" y="1086"/>
                      </a:lnTo>
                      <a:lnTo>
                        <a:pt x="93" y="1092"/>
                      </a:lnTo>
                      <a:lnTo>
                        <a:pt x="109" y="1097"/>
                      </a:lnTo>
                      <a:lnTo>
                        <a:pt x="123" y="1101"/>
                      </a:lnTo>
                      <a:lnTo>
                        <a:pt x="138" y="1103"/>
                      </a:lnTo>
                      <a:lnTo>
                        <a:pt x="155" y="1105"/>
                      </a:lnTo>
                      <a:lnTo>
                        <a:pt x="1242" y="1105"/>
                      </a:lnTo>
                      <a:lnTo>
                        <a:pt x="1242" y="1105"/>
                      </a:lnTo>
                      <a:lnTo>
                        <a:pt x="1259" y="1103"/>
                      </a:lnTo>
                      <a:lnTo>
                        <a:pt x="1275" y="1101"/>
                      </a:lnTo>
                      <a:lnTo>
                        <a:pt x="1289" y="1097"/>
                      </a:lnTo>
                      <a:lnTo>
                        <a:pt x="1304" y="1092"/>
                      </a:lnTo>
                      <a:lnTo>
                        <a:pt x="1316" y="1086"/>
                      </a:lnTo>
                      <a:lnTo>
                        <a:pt x="1330" y="1078"/>
                      </a:lnTo>
                      <a:lnTo>
                        <a:pt x="1341" y="1069"/>
                      </a:lnTo>
                      <a:lnTo>
                        <a:pt x="1353" y="1059"/>
                      </a:lnTo>
                      <a:lnTo>
                        <a:pt x="1362" y="1048"/>
                      </a:lnTo>
                      <a:lnTo>
                        <a:pt x="1371" y="1037"/>
                      </a:lnTo>
                      <a:lnTo>
                        <a:pt x="1379" y="1023"/>
                      </a:lnTo>
                      <a:lnTo>
                        <a:pt x="1385" y="1009"/>
                      </a:lnTo>
                      <a:lnTo>
                        <a:pt x="1391" y="996"/>
                      </a:lnTo>
                      <a:lnTo>
                        <a:pt x="1394" y="980"/>
                      </a:lnTo>
                      <a:lnTo>
                        <a:pt x="1397" y="965"/>
                      </a:lnTo>
                      <a:lnTo>
                        <a:pt x="1397" y="950"/>
                      </a:lnTo>
                      <a:lnTo>
                        <a:pt x="1397" y="153"/>
                      </a:lnTo>
                      <a:lnTo>
                        <a:pt x="1397" y="153"/>
                      </a:lnTo>
                      <a:lnTo>
                        <a:pt x="1397" y="138"/>
                      </a:lnTo>
                      <a:lnTo>
                        <a:pt x="1394" y="123"/>
                      </a:lnTo>
                      <a:lnTo>
                        <a:pt x="1391" y="107"/>
                      </a:lnTo>
                      <a:lnTo>
                        <a:pt x="1385" y="94"/>
                      </a:lnTo>
                      <a:lnTo>
                        <a:pt x="1379" y="80"/>
                      </a:lnTo>
                      <a:lnTo>
                        <a:pt x="1371" y="68"/>
                      </a:lnTo>
                      <a:lnTo>
                        <a:pt x="1362" y="55"/>
                      </a:lnTo>
                      <a:lnTo>
                        <a:pt x="1353" y="44"/>
                      </a:lnTo>
                      <a:lnTo>
                        <a:pt x="1341" y="35"/>
                      </a:lnTo>
                      <a:lnTo>
                        <a:pt x="1330" y="26"/>
                      </a:lnTo>
                      <a:lnTo>
                        <a:pt x="1316" y="18"/>
                      </a:lnTo>
                      <a:lnTo>
                        <a:pt x="1304" y="12"/>
                      </a:lnTo>
                      <a:lnTo>
                        <a:pt x="1289" y="6"/>
                      </a:lnTo>
                      <a:lnTo>
                        <a:pt x="1275" y="3"/>
                      </a:lnTo>
                      <a:lnTo>
                        <a:pt x="1259" y="0"/>
                      </a:lnTo>
                      <a:lnTo>
                        <a:pt x="1242" y="0"/>
                      </a:lnTo>
                      <a:lnTo>
                        <a:pt x="1242" y="0"/>
                      </a:lnTo>
                      <a:close/>
                      <a:moveTo>
                        <a:pt x="1318" y="950"/>
                      </a:moveTo>
                      <a:lnTo>
                        <a:pt x="1318" y="950"/>
                      </a:lnTo>
                      <a:lnTo>
                        <a:pt x="1316" y="965"/>
                      </a:lnTo>
                      <a:lnTo>
                        <a:pt x="1312" y="979"/>
                      </a:lnTo>
                      <a:lnTo>
                        <a:pt x="1305" y="991"/>
                      </a:lnTo>
                      <a:lnTo>
                        <a:pt x="1296" y="1003"/>
                      </a:lnTo>
                      <a:lnTo>
                        <a:pt x="1284" y="1013"/>
                      </a:lnTo>
                      <a:lnTo>
                        <a:pt x="1272" y="1019"/>
                      </a:lnTo>
                      <a:lnTo>
                        <a:pt x="1258" y="1023"/>
                      </a:lnTo>
                      <a:lnTo>
                        <a:pt x="1242" y="1025"/>
                      </a:lnTo>
                      <a:lnTo>
                        <a:pt x="155" y="1025"/>
                      </a:lnTo>
                      <a:lnTo>
                        <a:pt x="155" y="1025"/>
                      </a:lnTo>
                      <a:lnTo>
                        <a:pt x="139" y="1023"/>
                      </a:lnTo>
                      <a:lnTo>
                        <a:pt x="126" y="1019"/>
                      </a:lnTo>
                      <a:lnTo>
                        <a:pt x="112" y="1013"/>
                      </a:lnTo>
                      <a:lnTo>
                        <a:pt x="101" y="1003"/>
                      </a:lnTo>
                      <a:lnTo>
                        <a:pt x="92" y="991"/>
                      </a:lnTo>
                      <a:lnTo>
                        <a:pt x="86" y="979"/>
                      </a:lnTo>
                      <a:lnTo>
                        <a:pt x="81" y="965"/>
                      </a:lnTo>
                      <a:lnTo>
                        <a:pt x="80" y="950"/>
                      </a:lnTo>
                      <a:lnTo>
                        <a:pt x="80" y="153"/>
                      </a:lnTo>
                      <a:lnTo>
                        <a:pt x="80" y="153"/>
                      </a:lnTo>
                      <a:lnTo>
                        <a:pt x="81" y="140"/>
                      </a:lnTo>
                      <a:lnTo>
                        <a:pt x="86" y="126"/>
                      </a:lnTo>
                      <a:lnTo>
                        <a:pt x="92" y="112"/>
                      </a:lnTo>
                      <a:lnTo>
                        <a:pt x="101" y="101"/>
                      </a:lnTo>
                      <a:lnTo>
                        <a:pt x="112" y="92"/>
                      </a:lnTo>
                      <a:lnTo>
                        <a:pt x="126" y="86"/>
                      </a:lnTo>
                      <a:lnTo>
                        <a:pt x="139" y="81"/>
                      </a:lnTo>
                      <a:lnTo>
                        <a:pt x="155" y="80"/>
                      </a:lnTo>
                      <a:lnTo>
                        <a:pt x="1242" y="80"/>
                      </a:lnTo>
                      <a:lnTo>
                        <a:pt x="1242" y="80"/>
                      </a:lnTo>
                      <a:lnTo>
                        <a:pt x="1258" y="81"/>
                      </a:lnTo>
                      <a:lnTo>
                        <a:pt x="1272" y="86"/>
                      </a:lnTo>
                      <a:lnTo>
                        <a:pt x="1284" y="92"/>
                      </a:lnTo>
                      <a:lnTo>
                        <a:pt x="1296" y="101"/>
                      </a:lnTo>
                      <a:lnTo>
                        <a:pt x="1305" y="112"/>
                      </a:lnTo>
                      <a:lnTo>
                        <a:pt x="1312" y="126"/>
                      </a:lnTo>
                      <a:lnTo>
                        <a:pt x="1316" y="140"/>
                      </a:lnTo>
                      <a:lnTo>
                        <a:pt x="1318" y="153"/>
                      </a:lnTo>
                      <a:lnTo>
                        <a:pt x="1318" y="950"/>
                      </a:ln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13">
                    <a:defRPr/>
                  </a:pPr>
                  <a:r>
                    <a:rPr lang="en-US" sz="800" kern="0">
                      <a:solidFill>
                        <a:srgbClr val="0096D6"/>
                      </a:solidFill>
                      <a:latin typeface="+mj-lt"/>
                      <a:ea typeface="Times New Roman"/>
                      <a:cs typeface="Times New Roman"/>
                    </a:rPr>
                    <a:t> </a:t>
                  </a:r>
                </a:p>
              </p:txBody>
            </p:sp>
            <p:sp>
              <p:nvSpPr>
                <p:cNvPr id="30" name="Freeform 29"/>
                <p:cNvSpPr>
                  <a:spLocks/>
                </p:cNvSpPr>
                <p:nvPr/>
              </p:nvSpPr>
              <p:spPr bwMode="auto">
                <a:xfrm>
                  <a:off x="-2382412" y="4329662"/>
                  <a:ext cx="222283" cy="36607"/>
                </a:xfrm>
                <a:custGeom>
                  <a:avLst/>
                  <a:gdLst>
                    <a:gd name="T0" fmla="*/ 446 w 486"/>
                    <a:gd name="T1" fmla="*/ 0 h 80"/>
                    <a:gd name="T2" fmla="*/ 40 w 486"/>
                    <a:gd name="T3" fmla="*/ 0 h 80"/>
                    <a:gd name="T4" fmla="*/ 40 w 486"/>
                    <a:gd name="T5" fmla="*/ 0 h 80"/>
                    <a:gd name="T6" fmla="*/ 31 w 486"/>
                    <a:gd name="T7" fmla="*/ 0 h 80"/>
                    <a:gd name="T8" fmla="*/ 24 w 486"/>
                    <a:gd name="T9" fmla="*/ 3 h 80"/>
                    <a:gd name="T10" fmla="*/ 17 w 486"/>
                    <a:gd name="T11" fmla="*/ 6 h 80"/>
                    <a:gd name="T12" fmla="*/ 11 w 486"/>
                    <a:gd name="T13" fmla="*/ 11 h 80"/>
                    <a:gd name="T14" fmla="*/ 6 w 486"/>
                    <a:gd name="T15" fmla="*/ 17 h 80"/>
                    <a:gd name="T16" fmla="*/ 3 w 486"/>
                    <a:gd name="T17" fmla="*/ 25 h 80"/>
                    <a:gd name="T18" fmla="*/ 0 w 486"/>
                    <a:gd name="T19" fmla="*/ 32 h 80"/>
                    <a:gd name="T20" fmla="*/ 0 w 486"/>
                    <a:gd name="T21" fmla="*/ 40 h 80"/>
                    <a:gd name="T22" fmla="*/ 0 w 486"/>
                    <a:gd name="T23" fmla="*/ 40 h 80"/>
                    <a:gd name="T24" fmla="*/ 0 w 486"/>
                    <a:gd name="T25" fmla="*/ 48 h 80"/>
                    <a:gd name="T26" fmla="*/ 3 w 486"/>
                    <a:gd name="T27" fmla="*/ 55 h 80"/>
                    <a:gd name="T28" fmla="*/ 6 w 486"/>
                    <a:gd name="T29" fmla="*/ 62 h 80"/>
                    <a:gd name="T30" fmla="*/ 11 w 486"/>
                    <a:gd name="T31" fmla="*/ 68 h 80"/>
                    <a:gd name="T32" fmla="*/ 17 w 486"/>
                    <a:gd name="T33" fmla="*/ 72 h 80"/>
                    <a:gd name="T34" fmla="*/ 24 w 486"/>
                    <a:gd name="T35" fmla="*/ 77 h 80"/>
                    <a:gd name="T36" fmla="*/ 31 w 486"/>
                    <a:gd name="T37" fmla="*/ 78 h 80"/>
                    <a:gd name="T38" fmla="*/ 40 w 486"/>
                    <a:gd name="T39" fmla="*/ 80 h 80"/>
                    <a:gd name="T40" fmla="*/ 446 w 486"/>
                    <a:gd name="T41" fmla="*/ 80 h 80"/>
                    <a:gd name="T42" fmla="*/ 446 w 486"/>
                    <a:gd name="T43" fmla="*/ 80 h 80"/>
                    <a:gd name="T44" fmla="*/ 456 w 486"/>
                    <a:gd name="T45" fmla="*/ 78 h 80"/>
                    <a:gd name="T46" fmla="*/ 462 w 486"/>
                    <a:gd name="T47" fmla="*/ 77 h 80"/>
                    <a:gd name="T48" fmla="*/ 469 w 486"/>
                    <a:gd name="T49" fmla="*/ 72 h 80"/>
                    <a:gd name="T50" fmla="*/ 476 w 486"/>
                    <a:gd name="T51" fmla="*/ 68 h 80"/>
                    <a:gd name="T52" fmla="*/ 480 w 486"/>
                    <a:gd name="T53" fmla="*/ 62 h 80"/>
                    <a:gd name="T54" fmla="*/ 483 w 486"/>
                    <a:gd name="T55" fmla="*/ 55 h 80"/>
                    <a:gd name="T56" fmla="*/ 486 w 486"/>
                    <a:gd name="T57" fmla="*/ 48 h 80"/>
                    <a:gd name="T58" fmla="*/ 486 w 486"/>
                    <a:gd name="T59" fmla="*/ 40 h 80"/>
                    <a:gd name="T60" fmla="*/ 486 w 486"/>
                    <a:gd name="T61" fmla="*/ 40 h 80"/>
                    <a:gd name="T62" fmla="*/ 486 w 486"/>
                    <a:gd name="T63" fmla="*/ 32 h 80"/>
                    <a:gd name="T64" fmla="*/ 483 w 486"/>
                    <a:gd name="T65" fmla="*/ 25 h 80"/>
                    <a:gd name="T66" fmla="*/ 480 w 486"/>
                    <a:gd name="T67" fmla="*/ 17 h 80"/>
                    <a:gd name="T68" fmla="*/ 476 w 486"/>
                    <a:gd name="T69" fmla="*/ 11 h 80"/>
                    <a:gd name="T70" fmla="*/ 469 w 486"/>
                    <a:gd name="T71" fmla="*/ 6 h 80"/>
                    <a:gd name="T72" fmla="*/ 462 w 486"/>
                    <a:gd name="T73" fmla="*/ 3 h 80"/>
                    <a:gd name="T74" fmla="*/ 456 w 486"/>
                    <a:gd name="T75" fmla="*/ 0 h 80"/>
                    <a:gd name="T76" fmla="*/ 446 w 486"/>
                    <a:gd name="T77" fmla="*/ 0 h 80"/>
                    <a:gd name="T78" fmla="*/ 446 w 486"/>
                    <a:gd name="T7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6" h="80">
                      <a:moveTo>
                        <a:pt x="446" y="0"/>
                      </a:moveTo>
                      <a:lnTo>
                        <a:pt x="40" y="0"/>
                      </a:lnTo>
                      <a:lnTo>
                        <a:pt x="40" y="0"/>
                      </a:lnTo>
                      <a:lnTo>
                        <a:pt x="31" y="0"/>
                      </a:lnTo>
                      <a:lnTo>
                        <a:pt x="24" y="3"/>
                      </a:lnTo>
                      <a:lnTo>
                        <a:pt x="17" y="6"/>
                      </a:lnTo>
                      <a:lnTo>
                        <a:pt x="11" y="11"/>
                      </a:lnTo>
                      <a:lnTo>
                        <a:pt x="6" y="17"/>
                      </a:lnTo>
                      <a:lnTo>
                        <a:pt x="3" y="25"/>
                      </a:lnTo>
                      <a:lnTo>
                        <a:pt x="0" y="32"/>
                      </a:lnTo>
                      <a:lnTo>
                        <a:pt x="0" y="40"/>
                      </a:lnTo>
                      <a:lnTo>
                        <a:pt x="0" y="40"/>
                      </a:lnTo>
                      <a:lnTo>
                        <a:pt x="0" y="48"/>
                      </a:lnTo>
                      <a:lnTo>
                        <a:pt x="3" y="55"/>
                      </a:lnTo>
                      <a:lnTo>
                        <a:pt x="6" y="62"/>
                      </a:lnTo>
                      <a:lnTo>
                        <a:pt x="11" y="68"/>
                      </a:lnTo>
                      <a:lnTo>
                        <a:pt x="17" y="72"/>
                      </a:lnTo>
                      <a:lnTo>
                        <a:pt x="24" y="77"/>
                      </a:lnTo>
                      <a:lnTo>
                        <a:pt x="31" y="78"/>
                      </a:lnTo>
                      <a:lnTo>
                        <a:pt x="40" y="80"/>
                      </a:lnTo>
                      <a:lnTo>
                        <a:pt x="446" y="80"/>
                      </a:lnTo>
                      <a:lnTo>
                        <a:pt x="446" y="80"/>
                      </a:lnTo>
                      <a:lnTo>
                        <a:pt x="456" y="78"/>
                      </a:lnTo>
                      <a:lnTo>
                        <a:pt x="462" y="77"/>
                      </a:lnTo>
                      <a:lnTo>
                        <a:pt x="469" y="72"/>
                      </a:lnTo>
                      <a:lnTo>
                        <a:pt x="476" y="68"/>
                      </a:lnTo>
                      <a:lnTo>
                        <a:pt x="480" y="62"/>
                      </a:lnTo>
                      <a:lnTo>
                        <a:pt x="483" y="55"/>
                      </a:lnTo>
                      <a:lnTo>
                        <a:pt x="486" y="48"/>
                      </a:lnTo>
                      <a:lnTo>
                        <a:pt x="486" y="40"/>
                      </a:lnTo>
                      <a:lnTo>
                        <a:pt x="486" y="40"/>
                      </a:lnTo>
                      <a:lnTo>
                        <a:pt x="486" y="32"/>
                      </a:lnTo>
                      <a:lnTo>
                        <a:pt x="483" y="25"/>
                      </a:lnTo>
                      <a:lnTo>
                        <a:pt x="480" y="17"/>
                      </a:lnTo>
                      <a:lnTo>
                        <a:pt x="476" y="11"/>
                      </a:lnTo>
                      <a:lnTo>
                        <a:pt x="469" y="6"/>
                      </a:lnTo>
                      <a:lnTo>
                        <a:pt x="462" y="3"/>
                      </a:lnTo>
                      <a:lnTo>
                        <a:pt x="456" y="0"/>
                      </a:lnTo>
                      <a:lnTo>
                        <a:pt x="446" y="0"/>
                      </a:lnTo>
                      <a:lnTo>
                        <a:pt x="446" y="0"/>
                      </a:ln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813">
                    <a:defRPr/>
                  </a:pPr>
                  <a:r>
                    <a:rPr lang="en-US" sz="800" kern="0">
                      <a:solidFill>
                        <a:srgbClr val="0096D6"/>
                      </a:solidFill>
                      <a:latin typeface="+mj-lt"/>
                      <a:ea typeface="Times New Roman"/>
                      <a:cs typeface="Times New Roman"/>
                    </a:rPr>
                    <a:t> </a:t>
                  </a:r>
                </a:p>
              </p:txBody>
            </p:sp>
          </p:grpSp>
          <p:sp>
            <p:nvSpPr>
              <p:cNvPr id="28" name="Oval 86"/>
              <p:cNvSpPr>
                <a:spLocks/>
              </p:cNvSpPr>
              <p:nvPr/>
            </p:nvSpPr>
            <p:spPr bwMode="auto">
              <a:xfrm>
                <a:off x="9982577" y="1046109"/>
                <a:ext cx="269139" cy="269490"/>
              </a:xfrm>
              <a:prstGeom prst="ellipse">
                <a:avLst/>
              </a:prstGeom>
              <a:solidFill>
                <a:srgbClr val="6DB344"/>
              </a:solidFill>
              <a:ln w="9525" cap="flat">
                <a:solidFill>
                  <a:schemeClr val="bg1"/>
                </a:solidFill>
                <a:round/>
                <a:headEnd type="none" w="med" len="med"/>
                <a:tailEnd type="none" w="med" len="med"/>
              </a:ln>
              <a:effectLst/>
            </p:spPr>
            <p:txBody>
              <a:bodyPr wrap="none" lIns="0" tIns="0" rIns="0" bIns="0" anchor="ctr" anchorCtr="0"/>
              <a:lstStyle/>
              <a:p>
                <a:pPr lvl="0" algn="ctr" defTabSz="914400">
                  <a:lnSpc>
                    <a:spcPct val="90000"/>
                  </a:lnSpc>
                </a:pPr>
                <a:r>
                  <a:rPr lang="en-US" sz="400" kern="0" dirty="0">
                    <a:solidFill>
                      <a:srgbClr val="FFFFFF"/>
                    </a:solidFill>
                    <a:latin typeface="+mj-lt"/>
                  </a:rPr>
                  <a:t>WWW</a:t>
                </a:r>
              </a:p>
            </p:txBody>
          </p:sp>
        </p:grpSp>
        <p:cxnSp>
          <p:nvCxnSpPr>
            <p:cNvPr id="31" name="Elbow Connector 30"/>
            <p:cNvCxnSpPr/>
            <p:nvPr/>
          </p:nvCxnSpPr>
          <p:spPr>
            <a:xfrm>
              <a:off x="6773201" y="2743085"/>
              <a:ext cx="1106855" cy="221337"/>
            </a:xfrm>
            <a:prstGeom prst="bentConnector3">
              <a:avLst/>
            </a:prstGeom>
            <a:ln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flipV="1">
              <a:off x="6773201" y="2496749"/>
              <a:ext cx="1106858" cy="246336"/>
            </a:xfrm>
            <a:prstGeom prst="bentConnector3">
              <a:avLst>
                <a:gd name="adj1" fmla="val 50000"/>
              </a:avLst>
            </a:prstGeom>
            <a:ln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grpSp>
      <p:grpSp>
        <p:nvGrpSpPr>
          <p:cNvPr id="33" name="Group 32"/>
          <p:cNvGrpSpPr/>
          <p:nvPr/>
        </p:nvGrpSpPr>
        <p:grpSpPr>
          <a:xfrm>
            <a:off x="595080" y="1078498"/>
            <a:ext cx="783438" cy="728406"/>
            <a:chOff x="3664739" y="2893006"/>
            <a:chExt cx="783438" cy="728406"/>
          </a:xfrm>
        </p:grpSpPr>
        <p:grpSp>
          <p:nvGrpSpPr>
            <p:cNvPr id="34" name="Group 16"/>
            <p:cNvGrpSpPr/>
            <p:nvPr/>
          </p:nvGrpSpPr>
          <p:grpSpPr>
            <a:xfrm>
              <a:off x="3664739" y="2893006"/>
              <a:ext cx="783438" cy="722465"/>
              <a:chOff x="4935515" y="3029873"/>
              <a:chExt cx="2152441" cy="2152441"/>
            </a:xfrm>
          </p:grpSpPr>
          <p:sp>
            <p:nvSpPr>
              <p:cNvPr id="36" name="Oval 35"/>
              <p:cNvSpPr/>
              <p:nvPr/>
            </p:nvSpPr>
            <p:spPr>
              <a:xfrm>
                <a:off x="4935515" y="3029873"/>
                <a:ext cx="2152441" cy="2152441"/>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37" name="Freeform 20"/>
              <p:cNvSpPr>
                <a:spLocks noEditPoints="1"/>
              </p:cNvSpPr>
              <p:nvPr/>
            </p:nvSpPr>
            <p:spPr bwMode="auto">
              <a:xfrm>
                <a:off x="5528073" y="3392214"/>
                <a:ext cx="1082552" cy="12024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grpSp>
        <p:sp>
          <p:nvSpPr>
            <p:cNvPr id="35" name="TextBox 34"/>
            <p:cNvSpPr txBox="1"/>
            <p:nvPr/>
          </p:nvSpPr>
          <p:spPr>
            <a:xfrm>
              <a:off x="3800716" y="3382875"/>
              <a:ext cx="595227" cy="238537"/>
            </a:xfrm>
            <a:prstGeom prst="rect">
              <a:avLst/>
            </a:prstGeom>
            <a:noFill/>
          </p:spPr>
          <p:txBody>
            <a:bodyPr wrap="square" lIns="68589" tIns="34295" rIns="68589" bIns="34295" rtlCol="0">
              <a:spAutoFit/>
            </a:bodyPr>
            <a:lstStyle/>
            <a:p>
              <a:r>
                <a:rPr lang="en-US" sz="1100" dirty="0">
                  <a:solidFill>
                    <a:schemeClr val="bg1"/>
                  </a:solidFill>
                  <a:latin typeface="+mj-lt"/>
                </a:rPr>
                <a:t>Admin</a:t>
              </a:r>
            </a:p>
          </p:txBody>
        </p:sp>
      </p:grpSp>
      <p:grpSp>
        <p:nvGrpSpPr>
          <p:cNvPr id="59" name="Group 58"/>
          <p:cNvGrpSpPr/>
          <p:nvPr/>
        </p:nvGrpSpPr>
        <p:grpSpPr>
          <a:xfrm>
            <a:off x="4582593" y="2195127"/>
            <a:ext cx="2409641" cy="1095920"/>
            <a:chOff x="4582589" y="2195125"/>
            <a:chExt cx="2409641" cy="1095920"/>
          </a:xfrm>
        </p:grpSpPr>
        <p:pic>
          <p:nvPicPr>
            <p:cNvPr id="6" name="Picture 2" descr="\\psf\Host\Volumes\EP File Share\Touch\C13598-Cisco Web Security Project\Development\T3895\Artwork\mouse cursor.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835123" y="2489587"/>
              <a:ext cx="157107" cy="22747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4852961" y="2195125"/>
              <a:ext cx="1920240" cy="1095920"/>
            </a:xfrm>
            <a:prstGeom prst="rect">
              <a:avLst/>
            </a:prstGeom>
            <a:solidFill>
              <a:schemeClr val="accent1">
                <a:lumMod val="20000"/>
                <a:lumOff val="80000"/>
              </a:schemeClr>
            </a:solidFill>
            <a:ln w="50800">
              <a:noFill/>
              <a:round/>
              <a:headEnd/>
              <a:tailEnd/>
            </a:ln>
            <a:effectLst/>
          </p:spPr>
          <p:txBody>
            <a:bodyPr lIns="91392" tIns="91440" rIns="91392" bIns="91440" anchor="t" anchorCtr="0"/>
            <a:lstStyle/>
            <a:p>
              <a:pPr marL="128605" indent="-128605" defTabSz="685608" eaLnBrk="0" hangingPunct="0">
                <a:lnSpc>
                  <a:spcPct val="90000"/>
                </a:lnSpc>
                <a:tabLst>
                  <a:tab pos="128605" algn="l"/>
                </a:tabLst>
              </a:pPr>
              <a:r>
                <a:rPr lang="en-US" sz="1000" dirty="0" smtClean="0">
                  <a:solidFill>
                    <a:schemeClr val="accent1"/>
                  </a:solidFill>
                  <a:latin typeface="+mj-lt"/>
                </a:rPr>
                <a:t>3. Converts content from feed file into access policies</a:t>
              </a:r>
              <a:endParaRPr lang="en-US" sz="1000" dirty="0">
                <a:solidFill>
                  <a:schemeClr val="accent1"/>
                </a:solidFill>
                <a:latin typeface="+mj-lt"/>
              </a:endParaRPr>
            </a:p>
          </p:txBody>
        </p:sp>
        <p:cxnSp>
          <p:nvCxnSpPr>
            <p:cNvPr id="9" name="Straight Arrow Connector 8"/>
            <p:cNvCxnSpPr/>
            <p:nvPr/>
          </p:nvCxnSpPr>
          <p:spPr>
            <a:xfrm>
              <a:off x="4582589" y="2754586"/>
              <a:ext cx="200026" cy="0"/>
            </a:xfrm>
            <a:prstGeom prst="straightConnector1">
              <a:avLst/>
            </a:prstGeom>
            <a:solidFill>
              <a:schemeClr val="tx2">
                <a:lumMod val="20000"/>
                <a:lumOff val="80000"/>
              </a:schemeClr>
            </a:solidFill>
            <a:ln cap="sq">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40" name="Group 83"/>
            <p:cNvGrpSpPr/>
            <p:nvPr/>
          </p:nvGrpSpPr>
          <p:grpSpPr>
            <a:xfrm>
              <a:off x="5515349" y="2748912"/>
              <a:ext cx="176290" cy="203020"/>
              <a:chOff x="4884440" y="5130445"/>
              <a:chExt cx="620974" cy="715124"/>
            </a:xfrm>
          </p:grpSpPr>
          <p:sp>
            <p:nvSpPr>
              <p:cNvPr id="41" name="Freeform 18"/>
              <p:cNvSpPr>
                <a:spLocks noEditPoints="1"/>
              </p:cNvSpPr>
              <p:nvPr/>
            </p:nvSpPr>
            <p:spPr bwMode="auto">
              <a:xfrm>
                <a:off x="4884440" y="5422507"/>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42" name="Freeform 18"/>
              <p:cNvSpPr>
                <a:spLocks noEditPoints="1"/>
              </p:cNvSpPr>
              <p:nvPr/>
            </p:nvSpPr>
            <p:spPr bwMode="auto">
              <a:xfrm>
                <a:off x="5085583" y="5130445"/>
                <a:ext cx="419831" cy="409374"/>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43" name="Freeform 18"/>
              <p:cNvSpPr>
                <a:spLocks noEditPoints="1"/>
              </p:cNvSpPr>
              <p:nvPr/>
            </p:nvSpPr>
            <p:spPr bwMode="auto">
              <a:xfrm rot="1904507">
                <a:off x="5147698" y="5573838"/>
                <a:ext cx="278672" cy="271731"/>
              </a:xfrm>
              <a:custGeom>
                <a:avLst/>
                <a:gdLst>
                  <a:gd name="T0" fmla="*/ 2359 w 2810"/>
                  <a:gd name="T1" fmla="*/ 1225 h 2740"/>
                  <a:gd name="T2" fmla="*/ 2331 w 2810"/>
                  <a:gd name="T3" fmla="*/ 1104 h 2740"/>
                  <a:gd name="T4" fmla="*/ 1899 w 2810"/>
                  <a:gd name="T5" fmla="*/ 565 h 2740"/>
                  <a:gd name="T6" fmla="*/ 1829 w 2810"/>
                  <a:gd name="T7" fmla="*/ 527 h 2740"/>
                  <a:gd name="T8" fmla="*/ 1596 w 2810"/>
                  <a:gd name="T9" fmla="*/ 0 h 2740"/>
                  <a:gd name="T10" fmla="*/ 1062 w 2810"/>
                  <a:gd name="T11" fmla="*/ 495 h 2740"/>
                  <a:gd name="T12" fmla="*/ 953 w 2810"/>
                  <a:gd name="T13" fmla="*/ 544 h 2740"/>
                  <a:gd name="T14" fmla="*/ 196 w 2810"/>
                  <a:gd name="T15" fmla="*/ 672 h 2740"/>
                  <a:gd name="T16" fmla="*/ 475 w 2810"/>
                  <a:gd name="T17" fmla="*/ 1141 h 2740"/>
                  <a:gd name="T18" fmla="*/ 451 w 2810"/>
                  <a:gd name="T19" fmla="*/ 1257 h 2740"/>
                  <a:gd name="T20" fmla="*/ 602 w 2810"/>
                  <a:gd name="T21" fmla="*/ 1933 h 2740"/>
                  <a:gd name="T22" fmla="*/ 649 w 2810"/>
                  <a:gd name="T23" fmla="*/ 1998 h 2740"/>
                  <a:gd name="T24" fmla="*/ 627 w 2810"/>
                  <a:gd name="T25" fmla="*/ 2575 h 2740"/>
                  <a:gd name="T26" fmla="*/ 1322 w 2810"/>
                  <a:gd name="T27" fmla="*/ 2361 h 2740"/>
                  <a:gd name="T28" fmla="*/ 1408 w 2810"/>
                  <a:gd name="T29" fmla="*/ 2366 h 2740"/>
                  <a:gd name="T30" fmla="*/ 1841 w 2810"/>
                  <a:gd name="T31" fmla="*/ 2740 h 2740"/>
                  <a:gd name="T32" fmla="*/ 2108 w 2810"/>
                  <a:gd name="T33" fmla="*/ 2065 h 2740"/>
                  <a:gd name="T34" fmla="*/ 2188 w 2810"/>
                  <a:gd name="T35" fmla="*/ 1971 h 2740"/>
                  <a:gd name="T36" fmla="*/ 2810 w 2810"/>
                  <a:gd name="T37" fmla="*/ 1527 h 2740"/>
                  <a:gd name="T38" fmla="*/ 1408 w 2810"/>
                  <a:gd name="T39" fmla="*/ 2042 h 2740"/>
                  <a:gd name="T40" fmla="*/ 1309 w 2810"/>
                  <a:gd name="T41" fmla="*/ 2036 h 2740"/>
                  <a:gd name="T42" fmla="*/ 1215 w 2810"/>
                  <a:gd name="T43" fmla="*/ 2014 h 2740"/>
                  <a:gd name="T44" fmla="*/ 1128 w 2810"/>
                  <a:gd name="T45" fmla="*/ 1979 h 2740"/>
                  <a:gd name="T46" fmla="*/ 1047 w 2810"/>
                  <a:gd name="T47" fmla="*/ 1932 h 2740"/>
                  <a:gd name="T48" fmla="*/ 974 w 2810"/>
                  <a:gd name="T49" fmla="*/ 1876 h 2740"/>
                  <a:gd name="T50" fmla="*/ 909 w 2810"/>
                  <a:gd name="T51" fmla="*/ 1808 h 2740"/>
                  <a:gd name="T52" fmla="*/ 856 w 2810"/>
                  <a:gd name="T53" fmla="*/ 1732 h 2740"/>
                  <a:gd name="T54" fmla="*/ 814 w 2810"/>
                  <a:gd name="T55" fmla="*/ 1649 h 2740"/>
                  <a:gd name="T56" fmla="*/ 783 w 2810"/>
                  <a:gd name="T57" fmla="*/ 1559 h 2740"/>
                  <a:gd name="T58" fmla="*/ 766 w 2810"/>
                  <a:gd name="T59" fmla="*/ 1464 h 2740"/>
                  <a:gd name="T60" fmla="*/ 762 w 2810"/>
                  <a:gd name="T61" fmla="*/ 1398 h 2740"/>
                  <a:gd name="T62" fmla="*/ 770 w 2810"/>
                  <a:gd name="T63" fmla="*/ 1300 h 2740"/>
                  <a:gd name="T64" fmla="*/ 792 w 2810"/>
                  <a:gd name="T65" fmla="*/ 1206 h 2740"/>
                  <a:gd name="T66" fmla="*/ 826 w 2810"/>
                  <a:gd name="T67" fmla="*/ 1118 h 2740"/>
                  <a:gd name="T68" fmla="*/ 872 w 2810"/>
                  <a:gd name="T69" fmla="*/ 1037 h 2740"/>
                  <a:gd name="T70" fmla="*/ 930 w 2810"/>
                  <a:gd name="T71" fmla="*/ 963 h 2740"/>
                  <a:gd name="T72" fmla="*/ 998 w 2810"/>
                  <a:gd name="T73" fmla="*/ 900 h 2740"/>
                  <a:gd name="T74" fmla="*/ 1073 w 2810"/>
                  <a:gd name="T75" fmla="*/ 846 h 2740"/>
                  <a:gd name="T76" fmla="*/ 1157 w 2810"/>
                  <a:gd name="T77" fmla="*/ 803 h 2740"/>
                  <a:gd name="T78" fmla="*/ 1246 w 2810"/>
                  <a:gd name="T79" fmla="*/ 773 h 2740"/>
                  <a:gd name="T80" fmla="*/ 1342 w 2810"/>
                  <a:gd name="T81" fmla="*/ 755 h 2740"/>
                  <a:gd name="T82" fmla="*/ 1408 w 2810"/>
                  <a:gd name="T83" fmla="*/ 752 h 2740"/>
                  <a:gd name="T84" fmla="*/ 1506 w 2810"/>
                  <a:gd name="T85" fmla="*/ 760 h 2740"/>
                  <a:gd name="T86" fmla="*/ 1600 w 2810"/>
                  <a:gd name="T87" fmla="*/ 782 h 2740"/>
                  <a:gd name="T88" fmla="*/ 1688 w 2810"/>
                  <a:gd name="T89" fmla="*/ 816 h 2740"/>
                  <a:gd name="T90" fmla="*/ 1769 w 2810"/>
                  <a:gd name="T91" fmla="*/ 863 h 2740"/>
                  <a:gd name="T92" fmla="*/ 1842 w 2810"/>
                  <a:gd name="T93" fmla="*/ 920 h 2740"/>
                  <a:gd name="T94" fmla="*/ 1906 w 2810"/>
                  <a:gd name="T95" fmla="*/ 987 h 2740"/>
                  <a:gd name="T96" fmla="*/ 1959 w 2810"/>
                  <a:gd name="T97" fmla="*/ 1064 h 2740"/>
                  <a:gd name="T98" fmla="*/ 2003 w 2810"/>
                  <a:gd name="T99" fmla="*/ 1146 h 2740"/>
                  <a:gd name="T100" fmla="*/ 2033 w 2810"/>
                  <a:gd name="T101" fmla="*/ 1237 h 2740"/>
                  <a:gd name="T102" fmla="*/ 2050 w 2810"/>
                  <a:gd name="T103" fmla="*/ 1331 h 2740"/>
                  <a:gd name="T104" fmla="*/ 2053 w 2810"/>
                  <a:gd name="T105" fmla="*/ 1398 h 2740"/>
                  <a:gd name="T106" fmla="*/ 2045 w 2810"/>
                  <a:gd name="T107" fmla="*/ 1496 h 2740"/>
                  <a:gd name="T108" fmla="*/ 2025 w 2810"/>
                  <a:gd name="T109" fmla="*/ 1589 h 2740"/>
                  <a:gd name="T110" fmla="*/ 1990 w 2810"/>
                  <a:gd name="T111" fmla="*/ 1678 h 2740"/>
                  <a:gd name="T112" fmla="*/ 1943 w 2810"/>
                  <a:gd name="T113" fmla="*/ 1758 h 2740"/>
                  <a:gd name="T114" fmla="*/ 1885 w 2810"/>
                  <a:gd name="T115" fmla="*/ 1831 h 2740"/>
                  <a:gd name="T116" fmla="*/ 1819 w 2810"/>
                  <a:gd name="T117" fmla="*/ 1895 h 2740"/>
                  <a:gd name="T118" fmla="*/ 1743 w 2810"/>
                  <a:gd name="T119" fmla="*/ 1950 h 2740"/>
                  <a:gd name="T120" fmla="*/ 1659 w 2810"/>
                  <a:gd name="T121" fmla="*/ 1992 h 2740"/>
                  <a:gd name="T122" fmla="*/ 1569 w 2810"/>
                  <a:gd name="T123" fmla="*/ 2023 h 2740"/>
                  <a:gd name="T124" fmla="*/ 1474 w 2810"/>
                  <a:gd name="T125" fmla="*/ 2039 h 2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0" h="2740">
                    <a:moveTo>
                      <a:pt x="2366" y="1265"/>
                    </a:moveTo>
                    <a:lnTo>
                      <a:pt x="2366" y="1265"/>
                    </a:lnTo>
                    <a:lnTo>
                      <a:pt x="2359" y="1225"/>
                    </a:lnTo>
                    <a:lnTo>
                      <a:pt x="2351" y="1183"/>
                    </a:lnTo>
                    <a:lnTo>
                      <a:pt x="2342" y="1144"/>
                    </a:lnTo>
                    <a:lnTo>
                      <a:pt x="2331" y="1104"/>
                    </a:lnTo>
                    <a:lnTo>
                      <a:pt x="2617" y="675"/>
                    </a:lnTo>
                    <a:lnTo>
                      <a:pt x="2383" y="381"/>
                    </a:lnTo>
                    <a:lnTo>
                      <a:pt x="1899" y="565"/>
                    </a:lnTo>
                    <a:lnTo>
                      <a:pt x="1899" y="565"/>
                    </a:lnTo>
                    <a:lnTo>
                      <a:pt x="1865" y="545"/>
                    </a:lnTo>
                    <a:lnTo>
                      <a:pt x="1829" y="527"/>
                    </a:lnTo>
                    <a:lnTo>
                      <a:pt x="1792" y="511"/>
                    </a:lnTo>
                    <a:lnTo>
                      <a:pt x="1754" y="495"/>
                    </a:lnTo>
                    <a:lnTo>
                      <a:pt x="1596" y="0"/>
                    </a:lnTo>
                    <a:lnTo>
                      <a:pt x="1220" y="0"/>
                    </a:lnTo>
                    <a:lnTo>
                      <a:pt x="1062" y="495"/>
                    </a:lnTo>
                    <a:lnTo>
                      <a:pt x="1062" y="495"/>
                    </a:lnTo>
                    <a:lnTo>
                      <a:pt x="1025" y="509"/>
                    </a:lnTo>
                    <a:lnTo>
                      <a:pt x="989" y="527"/>
                    </a:lnTo>
                    <a:lnTo>
                      <a:pt x="953" y="544"/>
                    </a:lnTo>
                    <a:lnTo>
                      <a:pt x="918" y="564"/>
                    </a:lnTo>
                    <a:lnTo>
                      <a:pt x="431" y="378"/>
                    </a:lnTo>
                    <a:lnTo>
                      <a:pt x="196" y="672"/>
                    </a:lnTo>
                    <a:lnTo>
                      <a:pt x="486" y="1104"/>
                    </a:lnTo>
                    <a:lnTo>
                      <a:pt x="486" y="1104"/>
                    </a:lnTo>
                    <a:lnTo>
                      <a:pt x="475" y="1141"/>
                    </a:lnTo>
                    <a:lnTo>
                      <a:pt x="465" y="1179"/>
                    </a:lnTo>
                    <a:lnTo>
                      <a:pt x="457" y="1218"/>
                    </a:lnTo>
                    <a:lnTo>
                      <a:pt x="451" y="1257"/>
                    </a:lnTo>
                    <a:lnTo>
                      <a:pt x="0" y="1523"/>
                    </a:lnTo>
                    <a:lnTo>
                      <a:pt x="84" y="1890"/>
                    </a:lnTo>
                    <a:lnTo>
                      <a:pt x="602" y="1933"/>
                    </a:lnTo>
                    <a:lnTo>
                      <a:pt x="602" y="1933"/>
                    </a:lnTo>
                    <a:lnTo>
                      <a:pt x="625" y="1966"/>
                    </a:lnTo>
                    <a:lnTo>
                      <a:pt x="649" y="1998"/>
                    </a:lnTo>
                    <a:lnTo>
                      <a:pt x="674" y="2028"/>
                    </a:lnTo>
                    <a:lnTo>
                      <a:pt x="701" y="2057"/>
                    </a:lnTo>
                    <a:lnTo>
                      <a:pt x="627" y="2575"/>
                    </a:lnTo>
                    <a:lnTo>
                      <a:pt x="967" y="2738"/>
                    </a:lnTo>
                    <a:lnTo>
                      <a:pt x="1322" y="2361"/>
                    </a:lnTo>
                    <a:lnTo>
                      <a:pt x="1322" y="2361"/>
                    </a:lnTo>
                    <a:lnTo>
                      <a:pt x="1365" y="2364"/>
                    </a:lnTo>
                    <a:lnTo>
                      <a:pt x="1408" y="2366"/>
                    </a:lnTo>
                    <a:lnTo>
                      <a:pt x="1408" y="2366"/>
                    </a:lnTo>
                    <a:lnTo>
                      <a:pt x="1446" y="2364"/>
                    </a:lnTo>
                    <a:lnTo>
                      <a:pt x="1483" y="2362"/>
                    </a:lnTo>
                    <a:lnTo>
                      <a:pt x="1841" y="2740"/>
                    </a:lnTo>
                    <a:lnTo>
                      <a:pt x="2180" y="2577"/>
                    </a:lnTo>
                    <a:lnTo>
                      <a:pt x="2108" y="2065"/>
                    </a:lnTo>
                    <a:lnTo>
                      <a:pt x="2108" y="2065"/>
                    </a:lnTo>
                    <a:lnTo>
                      <a:pt x="2136" y="2035"/>
                    </a:lnTo>
                    <a:lnTo>
                      <a:pt x="2162" y="2003"/>
                    </a:lnTo>
                    <a:lnTo>
                      <a:pt x="2188" y="1971"/>
                    </a:lnTo>
                    <a:lnTo>
                      <a:pt x="2211" y="1938"/>
                    </a:lnTo>
                    <a:lnTo>
                      <a:pt x="2726" y="1894"/>
                    </a:lnTo>
                    <a:lnTo>
                      <a:pt x="2810" y="1527"/>
                    </a:lnTo>
                    <a:lnTo>
                      <a:pt x="2366" y="1265"/>
                    </a:lnTo>
                    <a:close/>
                    <a:moveTo>
                      <a:pt x="1408" y="2042"/>
                    </a:moveTo>
                    <a:lnTo>
                      <a:pt x="1408" y="2042"/>
                    </a:lnTo>
                    <a:lnTo>
                      <a:pt x="1375" y="2042"/>
                    </a:lnTo>
                    <a:lnTo>
                      <a:pt x="1342" y="2039"/>
                    </a:lnTo>
                    <a:lnTo>
                      <a:pt x="1309" y="2036"/>
                    </a:lnTo>
                    <a:lnTo>
                      <a:pt x="1278" y="2029"/>
                    </a:lnTo>
                    <a:lnTo>
                      <a:pt x="1246" y="2023"/>
                    </a:lnTo>
                    <a:lnTo>
                      <a:pt x="1215" y="2014"/>
                    </a:lnTo>
                    <a:lnTo>
                      <a:pt x="1186" y="2004"/>
                    </a:lnTo>
                    <a:lnTo>
                      <a:pt x="1157" y="1992"/>
                    </a:lnTo>
                    <a:lnTo>
                      <a:pt x="1128" y="1979"/>
                    </a:lnTo>
                    <a:lnTo>
                      <a:pt x="1100" y="1965"/>
                    </a:lnTo>
                    <a:lnTo>
                      <a:pt x="1073" y="1950"/>
                    </a:lnTo>
                    <a:lnTo>
                      <a:pt x="1047" y="1932"/>
                    </a:lnTo>
                    <a:lnTo>
                      <a:pt x="1022" y="1915"/>
                    </a:lnTo>
                    <a:lnTo>
                      <a:pt x="998" y="1895"/>
                    </a:lnTo>
                    <a:lnTo>
                      <a:pt x="974" y="1876"/>
                    </a:lnTo>
                    <a:lnTo>
                      <a:pt x="951" y="1854"/>
                    </a:lnTo>
                    <a:lnTo>
                      <a:pt x="930" y="1831"/>
                    </a:lnTo>
                    <a:lnTo>
                      <a:pt x="909" y="1808"/>
                    </a:lnTo>
                    <a:lnTo>
                      <a:pt x="891" y="1783"/>
                    </a:lnTo>
                    <a:lnTo>
                      <a:pt x="872" y="1758"/>
                    </a:lnTo>
                    <a:lnTo>
                      <a:pt x="856" y="1732"/>
                    </a:lnTo>
                    <a:lnTo>
                      <a:pt x="840" y="1705"/>
                    </a:lnTo>
                    <a:lnTo>
                      <a:pt x="826" y="1678"/>
                    </a:lnTo>
                    <a:lnTo>
                      <a:pt x="814" y="1649"/>
                    </a:lnTo>
                    <a:lnTo>
                      <a:pt x="802" y="1620"/>
                    </a:lnTo>
                    <a:lnTo>
                      <a:pt x="792" y="1589"/>
                    </a:lnTo>
                    <a:lnTo>
                      <a:pt x="783" y="1559"/>
                    </a:lnTo>
                    <a:lnTo>
                      <a:pt x="775" y="1527"/>
                    </a:lnTo>
                    <a:lnTo>
                      <a:pt x="770" y="1496"/>
                    </a:lnTo>
                    <a:lnTo>
                      <a:pt x="766" y="1464"/>
                    </a:lnTo>
                    <a:lnTo>
                      <a:pt x="763" y="1430"/>
                    </a:lnTo>
                    <a:lnTo>
                      <a:pt x="762" y="1398"/>
                    </a:lnTo>
                    <a:lnTo>
                      <a:pt x="762" y="1398"/>
                    </a:lnTo>
                    <a:lnTo>
                      <a:pt x="763" y="1364"/>
                    </a:lnTo>
                    <a:lnTo>
                      <a:pt x="766" y="1331"/>
                    </a:lnTo>
                    <a:lnTo>
                      <a:pt x="770" y="1300"/>
                    </a:lnTo>
                    <a:lnTo>
                      <a:pt x="775" y="1268"/>
                    </a:lnTo>
                    <a:lnTo>
                      <a:pt x="783" y="1237"/>
                    </a:lnTo>
                    <a:lnTo>
                      <a:pt x="792" y="1206"/>
                    </a:lnTo>
                    <a:lnTo>
                      <a:pt x="802" y="1176"/>
                    </a:lnTo>
                    <a:lnTo>
                      <a:pt x="814" y="1146"/>
                    </a:lnTo>
                    <a:lnTo>
                      <a:pt x="826" y="1118"/>
                    </a:lnTo>
                    <a:lnTo>
                      <a:pt x="840" y="1090"/>
                    </a:lnTo>
                    <a:lnTo>
                      <a:pt x="856" y="1064"/>
                    </a:lnTo>
                    <a:lnTo>
                      <a:pt x="872" y="1037"/>
                    </a:lnTo>
                    <a:lnTo>
                      <a:pt x="891" y="1011"/>
                    </a:lnTo>
                    <a:lnTo>
                      <a:pt x="909" y="987"/>
                    </a:lnTo>
                    <a:lnTo>
                      <a:pt x="930" y="963"/>
                    </a:lnTo>
                    <a:lnTo>
                      <a:pt x="951" y="942"/>
                    </a:lnTo>
                    <a:lnTo>
                      <a:pt x="974" y="920"/>
                    </a:lnTo>
                    <a:lnTo>
                      <a:pt x="998" y="900"/>
                    </a:lnTo>
                    <a:lnTo>
                      <a:pt x="1022" y="881"/>
                    </a:lnTo>
                    <a:lnTo>
                      <a:pt x="1047" y="863"/>
                    </a:lnTo>
                    <a:lnTo>
                      <a:pt x="1073" y="846"/>
                    </a:lnTo>
                    <a:lnTo>
                      <a:pt x="1100" y="831"/>
                    </a:lnTo>
                    <a:lnTo>
                      <a:pt x="1128" y="816"/>
                    </a:lnTo>
                    <a:lnTo>
                      <a:pt x="1157" y="803"/>
                    </a:lnTo>
                    <a:lnTo>
                      <a:pt x="1186" y="791"/>
                    </a:lnTo>
                    <a:lnTo>
                      <a:pt x="1215" y="782"/>
                    </a:lnTo>
                    <a:lnTo>
                      <a:pt x="1246" y="773"/>
                    </a:lnTo>
                    <a:lnTo>
                      <a:pt x="1278" y="765"/>
                    </a:lnTo>
                    <a:lnTo>
                      <a:pt x="1309" y="760"/>
                    </a:lnTo>
                    <a:lnTo>
                      <a:pt x="1342" y="755"/>
                    </a:lnTo>
                    <a:lnTo>
                      <a:pt x="1375" y="753"/>
                    </a:lnTo>
                    <a:lnTo>
                      <a:pt x="1408" y="752"/>
                    </a:lnTo>
                    <a:lnTo>
                      <a:pt x="1408" y="752"/>
                    </a:lnTo>
                    <a:lnTo>
                      <a:pt x="1441" y="753"/>
                    </a:lnTo>
                    <a:lnTo>
                      <a:pt x="1474" y="755"/>
                    </a:lnTo>
                    <a:lnTo>
                      <a:pt x="1506" y="760"/>
                    </a:lnTo>
                    <a:lnTo>
                      <a:pt x="1538" y="765"/>
                    </a:lnTo>
                    <a:lnTo>
                      <a:pt x="1569" y="773"/>
                    </a:lnTo>
                    <a:lnTo>
                      <a:pt x="1600" y="782"/>
                    </a:lnTo>
                    <a:lnTo>
                      <a:pt x="1629" y="791"/>
                    </a:lnTo>
                    <a:lnTo>
                      <a:pt x="1659" y="803"/>
                    </a:lnTo>
                    <a:lnTo>
                      <a:pt x="1688" y="816"/>
                    </a:lnTo>
                    <a:lnTo>
                      <a:pt x="1715" y="831"/>
                    </a:lnTo>
                    <a:lnTo>
                      <a:pt x="1743" y="846"/>
                    </a:lnTo>
                    <a:lnTo>
                      <a:pt x="1769" y="863"/>
                    </a:lnTo>
                    <a:lnTo>
                      <a:pt x="1794" y="881"/>
                    </a:lnTo>
                    <a:lnTo>
                      <a:pt x="1819" y="900"/>
                    </a:lnTo>
                    <a:lnTo>
                      <a:pt x="1842" y="920"/>
                    </a:lnTo>
                    <a:lnTo>
                      <a:pt x="1865" y="942"/>
                    </a:lnTo>
                    <a:lnTo>
                      <a:pt x="1885" y="963"/>
                    </a:lnTo>
                    <a:lnTo>
                      <a:pt x="1906" y="987"/>
                    </a:lnTo>
                    <a:lnTo>
                      <a:pt x="1925" y="1011"/>
                    </a:lnTo>
                    <a:lnTo>
                      <a:pt x="1943" y="1037"/>
                    </a:lnTo>
                    <a:lnTo>
                      <a:pt x="1959" y="1064"/>
                    </a:lnTo>
                    <a:lnTo>
                      <a:pt x="1976" y="1090"/>
                    </a:lnTo>
                    <a:lnTo>
                      <a:pt x="1990" y="1118"/>
                    </a:lnTo>
                    <a:lnTo>
                      <a:pt x="2003" y="1146"/>
                    </a:lnTo>
                    <a:lnTo>
                      <a:pt x="2014" y="1176"/>
                    </a:lnTo>
                    <a:lnTo>
                      <a:pt x="2025" y="1206"/>
                    </a:lnTo>
                    <a:lnTo>
                      <a:pt x="2033" y="1237"/>
                    </a:lnTo>
                    <a:lnTo>
                      <a:pt x="2040" y="1268"/>
                    </a:lnTo>
                    <a:lnTo>
                      <a:pt x="2045" y="1300"/>
                    </a:lnTo>
                    <a:lnTo>
                      <a:pt x="2050" y="1331"/>
                    </a:lnTo>
                    <a:lnTo>
                      <a:pt x="2052" y="1364"/>
                    </a:lnTo>
                    <a:lnTo>
                      <a:pt x="2053" y="1398"/>
                    </a:lnTo>
                    <a:lnTo>
                      <a:pt x="2053" y="1398"/>
                    </a:lnTo>
                    <a:lnTo>
                      <a:pt x="2052" y="1430"/>
                    </a:lnTo>
                    <a:lnTo>
                      <a:pt x="2050" y="1464"/>
                    </a:lnTo>
                    <a:lnTo>
                      <a:pt x="2045" y="1496"/>
                    </a:lnTo>
                    <a:lnTo>
                      <a:pt x="2040" y="1527"/>
                    </a:lnTo>
                    <a:lnTo>
                      <a:pt x="2033" y="1559"/>
                    </a:lnTo>
                    <a:lnTo>
                      <a:pt x="2025" y="1589"/>
                    </a:lnTo>
                    <a:lnTo>
                      <a:pt x="2014" y="1620"/>
                    </a:lnTo>
                    <a:lnTo>
                      <a:pt x="2003" y="1649"/>
                    </a:lnTo>
                    <a:lnTo>
                      <a:pt x="1990" y="1678"/>
                    </a:lnTo>
                    <a:lnTo>
                      <a:pt x="1976" y="1705"/>
                    </a:lnTo>
                    <a:lnTo>
                      <a:pt x="1959" y="1732"/>
                    </a:lnTo>
                    <a:lnTo>
                      <a:pt x="1943" y="1758"/>
                    </a:lnTo>
                    <a:lnTo>
                      <a:pt x="1925" y="1783"/>
                    </a:lnTo>
                    <a:lnTo>
                      <a:pt x="1906" y="1808"/>
                    </a:lnTo>
                    <a:lnTo>
                      <a:pt x="1885" y="1831"/>
                    </a:lnTo>
                    <a:lnTo>
                      <a:pt x="1865" y="1854"/>
                    </a:lnTo>
                    <a:lnTo>
                      <a:pt x="1842" y="1876"/>
                    </a:lnTo>
                    <a:lnTo>
                      <a:pt x="1819" y="1895"/>
                    </a:lnTo>
                    <a:lnTo>
                      <a:pt x="1794" y="1915"/>
                    </a:lnTo>
                    <a:lnTo>
                      <a:pt x="1769" y="1932"/>
                    </a:lnTo>
                    <a:lnTo>
                      <a:pt x="1743" y="1950"/>
                    </a:lnTo>
                    <a:lnTo>
                      <a:pt x="1715" y="1965"/>
                    </a:lnTo>
                    <a:lnTo>
                      <a:pt x="1688" y="1979"/>
                    </a:lnTo>
                    <a:lnTo>
                      <a:pt x="1659" y="1992"/>
                    </a:lnTo>
                    <a:lnTo>
                      <a:pt x="1629" y="2004"/>
                    </a:lnTo>
                    <a:lnTo>
                      <a:pt x="1600" y="2014"/>
                    </a:lnTo>
                    <a:lnTo>
                      <a:pt x="1569" y="2023"/>
                    </a:lnTo>
                    <a:lnTo>
                      <a:pt x="1538" y="2029"/>
                    </a:lnTo>
                    <a:lnTo>
                      <a:pt x="1506" y="2036"/>
                    </a:lnTo>
                    <a:lnTo>
                      <a:pt x="1474" y="2039"/>
                    </a:lnTo>
                    <a:lnTo>
                      <a:pt x="1441" y="2042"/>
                    </a:lnTo>
                    <a:lnTo>
                      <a:pt x="1408" y="2042"/>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nvGrpSpPr>
            <p:cNvPr id="44" name="Group 56"/>
            <p:cNvGrpSpPr/>
            <p:nvPr/>
          </p:nvGrpSpPr>
          <p:grpSpPr>
            <a:xfrm>
              <a:off x="6096492" y="2714503"/>
              <a:ext cx="271856" cy="278500"/>
              <a:chOff x="854043" y="3974589"/>
              <a:chExt cx="590637" cy="751783"/>
            </a:xfrm>
            <a:solidFill>
              <a:schemeClr val="tx1"/>
            </a:solidFill>
          </p:grpSpPr>
          <p:sp>
            <p:nvSpPr>
              <p:cNvPr id="45" name="Freeform 5"/>
              <p:cNvSpPr>
                <a:spLocks/>
              </p:cNvSpPr>
              <p:nvPr/>
            </p:nvSpPr>
            <p:spPr bwMode="auto">
              <a:xfrm>
                <a:off x="854043" y="3974589"/>
                <a:ext cx="214571" cy="214921"/>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sp>
            <p:nvSpPr>
              <p:cNvPr id="46"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latin typeface="+mj-lt"/>
                </a:endParaRPr>
              </a:p>
            </p:txBody>
          </p:sp>
        </p:grpSp>
      </p:grpSp>
      <p:grpSp>
        <p:nvGrpSpPr>
          <p:cNvPr id="57" name="Group 56"/>
          <p:cNvGrpSpPr/>
          <p:nvPr/>
        </p:nvGrpSpPr>
        <p:grpSpPr>
          <a:xfrm>
            <a:off x="325024" y="1806904"/>
            <a:ext cx="1918628" cy="1484140"/>
            <a:chOff x="325024" y="1806904"/>
            <a:chExt cx="1918628" cy="1484140"/>
          </a:xfrm>
        </p:grpSpPr>
        <p:grpSp>
          <p:nvGrpSpPr>
            <p:cNvPr id="3" name="Group 49"/>
            <p:cNvGrpSpPr/>
            <p:nvPr/>
          </p:nvGrpSpPr>
          <p:grpSpPr>
            <a:xfrm>
              <a:off x="325024" y="2195124"/>
              <a:ext cx="1918628" cy="1095920"/>
              <a:chOff x="450851" y="3681384"/>
              <a:chExt cx="2558171" cy="1461227"/>
            </a:xfrm>
            <a:solidFill>
              <a:schemeClr val="tx2">
                <a:lumMod val="20000"/>
                <a:lumOff val="80000"/>
              </a:schemeClr>
            </a:solidFill>
          </p:grpSpPr>
          <p:sp>
            <p:nvSpPr>
              <p:cNvPr id="4" name="Rectangle 3"/>
              <p:cNvSpPr/>
              <p:nvPr/>
            </p:nvSpPr>
            <p:spPr>
              <a:xfrm>
                <a:off x="450851" y="3681384"/>
                <a:ext cx="2558171" cy="1461227"/>
              </a:xfrm>
              <a:prstGeom prst="rect">
                <a:avLst/>
              </a:prstGeom>
              <a:solidFill>
                <a:schemeClr val="accent1">
                  <a:lumMod val="20000"/>
                  <a:lumOff val="80000"/>
                </a:schemeClr>
              </a:solidFill>
              <a:ln w="50800">
                <a:noFill/>
                <a:round/>
                <a:headEnd/>
                <a:tailEnd/>
              </a:ln>
              <a:effectLst/>
            </p:spPr>
            <p:txBody>
              <a:bodyPr lIns="91392" tIns="91440" rIns="91392" bIns="91440" anchor="t" anchorCtr="0"/>
              <a:lstStyle/>
              <a:p>
                <a:pPr marL="128605" indent="-128605" defTabSz="685608" eaLnBrk="0" hangingPunct="0">
                  <a:lnSpc>
                    <a:spcPct val="90000"/>
                  </a:lnSpc>
                  <a:tabLst>
                    <a:tab pos="128605" algn="l"/>
                  </a:tabLst>
                </a:pPr>
                <a:r>
                  <a:rPr lang="en-US" sz="1000" dirty="0" smtClean="0">
                    <a:solidFill>
                      <a:schemeClr val="accent1"/>
                    </a:solidFill>
                    <a:latin typeface="+mj-lt"/>
                  </a:rPr>
                  <a:t>1. Configures external feed at WSA</a:t>
                </a:r>
                <a:endParaRPr lang="en-US" sz="1000" dirty="0">
                  <a:solidFill>
                    <a:schemeClr val="accent1"/>
                  </a:solidFill>
                  <a:latin typeface="+mj-lt"/>
                </a:endParaRPr>
              </a:p>
            </p:txBody>
          </p:sp>
          <p:pic>
            <p:nvPicPr>
              <p:cNvPr id="5" name="Picture 4"/>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22136" y="4233716"/>
                <a:ext cx="1035048" cy="817452"/>
              </a:xfrm>
              <a:prstGeom prst="rect">
                <a:avLst/>
              </a:prstGeom>
              <a:grpFill/>
            </p:spPr>
          </p:pic>
        </p:grpSp>
        <p:sp>
          <p:nvSpPr>
            <p:cNvPr id="10" name="Rectangle 9"/>
            <p:cNvSpPr/>
            <p:nvPr/>
          </p:nvSpPr>
          <p:spPr>
            <a:xfrm>
              <a:off x="859038" y="2800145"/>
              <a:ext cx="164197" cy="55620"/>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608"/>
              <a:endParaRPr lang="en-US" sz="1300" dirty="0">
                <a:solidFill>
                  <a:srgbClr val="652D89">
                    <a:lumMod val="60000"/>
                    <a:lumOff val="40000"/>
                  </a:srgbClr>
                </a:solidFill>
                <a:latin typeface="+mj-lt"/>
              </a:endParaRPr>
            </a:p>
          </p:txBody>
        </p:sp>
        <p:sp>
          <p:nvSpPr>
            <p:cNvPr id="11" name="Rectangle 10"/>
            <p:cNvSpPr/>
            <p:nvPr/>
          </p:nvSpPr>
          <p:spPr>
            <a:xfrm>
              <a:off x="997866" y="2951930"/>
              <a:ext cx="164197" cy="55620"/>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608"/>
              <a:endParaRPr lang="en-US" sz="1300" dirty="0">
                <a:solidFill>
                  <a:srgbClr val="652D89">
                    <a:lumMod val="60000"/>
                    <a:lumOff val="40000"/>
                  </a:srgbClr>
                </a:solidFill>
                <a:latin typeface="+mj-lt"/>
              </a:endParaRPr>
            </a:p>
          </p:txBody>
        </p:sp>
        <p:sp>
          <p:nvSpPr>
            <p:cNvPr id="12" name="Rectangle 11"/>
            <p:cNvSpPr/>
            <p:nvPr/>
          </p:nvSpPr>
          <p:spPr>
            <a:xfrm>
              <a:off x="666266" y="3057176"/>
              <a:ext cx="164197" cy="55620"/>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608"/>
              <a:endParaRPr lang="en-US" sz="1300" dirty="0">
                <a:solidFill>
                  <a:srgbClr val="652D89">
                    <a:lumMod val="60000"/>
                    <a:lumOff val="40000"/>
                  </a:srgbClr>
                </a:solidFill>
                <a:latin typeface="+mj-lt"/>
              </a:endParaRPr>
            </a:p>
          </p:txBody>
        </p:sp>
        <p:sp>
          <p:nvSpPr>
            <p:cNvPr id="13" name="Rectangle 12"/>
            <p:cNvSpPr/>
            <p:nvPr/>
          </p:nvSpPr>
          <p:spPr>
            <a:xfrm>
              <a:off x="528488" y="2609376"/>
              <a:ext cx="776286" cy="74702"/>
            </a:xfrm>
            <a:prstGeom prst="rect">
              <a:avLst/>
            </a:prstGeom>
            <a:gradFill flip="none" rotWithShape="1">
              <a:gsLst>
                <a:gs pos="833">
                  <a:schemeClr val="bg1">
                    <a:alpha val="0"/>
                  </a:schemeClr>
                </a:gs>
                <a:gs pos="50000">
                  <a:schemeClr val="accent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608"/>
              <a:endParaRPr lang="en-US" sz="1300" dirty="0">
                <a:solidFill>
                  <a:srgbClr val="FFFFFF"/>
                </a:solidFill>
                <a:latin typeface="+mj-lt"/>
              </a:endParaRPr>
            </a:p>
          </p:txBody>
        </p:sp>
        <p:cxnSp>
          <p:nvCxnSpPr>
            <p:cNvPr id="47" name="Straight Arrow Connector 46"/>
            <p:cNvCxnSpPr/>
            <p:nvPr/>
          </p:nvCxnSpPr>
          <p:spPr>
            <a:xfrm>
              <a:off x="989342" y="1806904"/>
              <a:ext cx="8524" cy="40831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58" name="Group 57"/>
          <p:cNvGrpSpPr/>
          <p:nvPr/>
        </p:nvGrpSpPr>
        <p:grpSpPr>
          <a:xfrm>
            <a:off x="2300804" y="2195127"/>
            <a:ext cx="2296215" cy="2275426"/>
            <a:chOff x="2300800" y="2195125"/>
            <a:chExt cx="2296215" cy="2275426"/>
          </a:xfrm>
        </p:grpSpPr>
        <p:grpSp>
          <p:nvGrpSpPr>
            <p:cNvPr id="14" name="Group 334"/>
            <p:cNvGrpSpPr/>
            <p:nvPr/>
          </p:nvGrpSpPr>
          <p:grpSpPr>
            <a:xfrm>
              <a:off x="2300800" y="2195125"/>
              <a:ext cx="2219867" cy="1095920"/>
              <a:chOff x="2921939" y="3681382"/>
              <a:chExt cx="2959823" cy="1461226"/>
            </a:xfrm>
            <a:solidFill>
              <a:schemeClr val="tx2">
                <a:lumMod val="20000"/>
                <a:lumOff val="80000"/>
              </a:schemeClr>
            </a:solidFill>
          </p:grpSpPr>
          <p:cxnSp>
            <p:nvCxnSpPr>
              <p:cNvPr id="15" name="Straight Arrow Connector 14"/>
              <p:cNvCxnSpPr/>
              <p:nvPr/>
            </p:nvCxnSpPr>
            <p:spPr>
              <a:xfrm>
                <a:off x="2921939" y="4411995"/>
                <a:ext cx="266701" cy="0"/>
              </a:xfrm>
              <a:prstGeom prst="straightConnector1">
                <a:avLst/>
              </a:prstGeom>
              <a:grpFill/>
              <a:ln cap="sq">
                <a:solidFill>
                  <a:schemeClr val="accent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321442" y="3681382"/>
                <a:ext cx="2560320" cy="1461226"/>
              </a:xfrm>
              <a:prstGeom prst="rect">
                <a:avLst/>
              </a:prstGeom>
              <a:solidFill>
                <a:schemeClr val="accent1">
                  <a:lumMod val="20000"/>
                  <a:lumOff val="80000"/>
                </a:schemeClr>
              </a:solidFill>
              <a:ln w="50800">
                <a:noFill/>
                <a:round/>
                <a:headEnd/>
                <a:tailEnd/>
              </a:ln>
              <a:effectLst/>
            </p:spPr>
            <p:txBody>
              <a:bodyPr lIns="91392" tIns="91440" rIns="91392" bIns="91440" anchor="t" anchorCtr="0"/>
              <a:lstStyle/>
              <a:p>
                <a:pPr marL="128605" indent="-128605" defTabSz="685608" eaLnBrk="0" hangingPunct="0">
                  <a:lnSpc>
                    <a:spcPct val="90000"/>
                  </a:lnSpc>
                  <a:tabLst>
                    <a:tab pos="128605" algn="l"/>
                  </a:tabLst>
                </a:pPr>
                <a:r>
                  <a:rPr lang="en-US" sz="1000" dirty="0" smtClean="0">
                    <a:solidFill>
                      <a:schemeClr val="accent1"/>
                    </a:solidFill>
                    <a:latin typeface="+mj-lt"/>
                  </a:rPr>
                  <a:t>2. WSA fetch external feed file periodically</a:t>
                </a:r>
                <a:endParaRPr lang="en-US" sz="1000" dirty="0">
                  <a:solidFill>
                    <a:schemeClr val="accent1"/>
                  </a:solidFill>
                  <a:latin typeface="+mj-lt"/>
                </a:endParaRPr>
              </a:p>
            </p:txBody>
          </p:sp>
        </p:grpSp>
        <p:pic>
          <p:nvPicPr>
            <p:cNvPr id="38" name="Picture 2" descr="http://4.bp.blogspot.com/-EQGRd8nafaw/Vflc2BxkHZI/AAAAAAAAAMo/9WKqE-wA99s/s1600/http-https-explorer-8.gif"/>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903323" y="2791429"/>
              <a:ext cx="1382758" cy="250027"/>
            </a:xfrm>
            <a:prstGeom prst="rect">
              <a:avLst/>
            </a:prstGeom>
            <a:noFill/>
            <a:extLst>
              <a:ext uri="{909E8E84-426E-40dd-AFC4-6F175D3DCCD1}">
                <a14:hiddenFill xmlns:a14="http://schemas.microsoft.com/office/drawing/2010/main">
                  <a:solidFill>
                    <a:srgbClr val="FFFFFF"/>
                  </a:solidFill>
                </a14:hiddenFill>
              </a:ext>
            </a:extLst>
          </p:spPr>
        </p:pic>
        <p:sp>
          <p:nvSpPr>
            <p:cNvPr id="39" name="icon 4"/>
            <p:cNvSpPr>
              <a:spLocks noChangeAspect="1"/>
            </p:cNvSpPr>
            <p:nvPr/>
          </p:nvSpPr>
          <p:spPr bwMode="auto">
            <a:xfrm>
              <a:off x="3608926" y="2457130"/>
              <a:ext cx="205698" cy="205475"/>
            </a:xfrm>
            <a:custGeom>
              <a:avLst/>
              <a:gdLst>
                <a:gd name="T0" fmla="*/ 408782 w 21600"/>
                <a:gd name="T1" fmla="*/ 407194 h 21600"/>
                <a:gd name="T2" fmla="*/ 0 60000 65536"/>
                <a:gd name="T3" fmla="*/ 0 w 21600"/>
                <a:gd name="T4" fmla="*/ 0 h 21600"/>
                <a:gd name="T5" fmla="*/ 21600 w 21600"/>
                <a:gd name="T6" fmla="*/ 21600 h 21600"/>
                <a:gd name="connsiteX0" fmla="*/ 10830 w 21600"/>
                <a:gd name="connsiteY0" fmla="*/ 10203 h 21600"/>
                <a:gd name="connsiteX1" fmla="*/ 10175 w 21600"/>
                <a:gd name="connsiteY1" fmla="*/ 10800 h 21600"/>
                <a:gd name="connsiteX2" fmla="*/ 10830 w 21600"/>
                <a:gd name="connsiteY2" fmla="*/ 11397 h 21600"/>
                <a:gd name="connsiteX3" fmla="*/ 11425 w 21600"/>
                <a:gd name="connsiteY3" fmla="*/ 10800 h 21600"/>
                <a:gd name="connsiteX4" fmla="*/ 10830 w 21600"/>
                <a:gd name="connsiteY4" fmla="*/ 10203 h 21600"/>
                <a:gd name="connsiteX5" fmla="*/ 10830 w 21600"/>
                <a:gd name="connsiteY5" fmla="*/ 0 h 21600"/>
                <a:gd name="connsiteX6" fmla="*/ 0 w 21600"/>
                <a:gd name="connsiteY6" fmla="*/ 10800 h 21600"/>
                <a:gd name="connsiteX7" fmla="*/ 10830 w 21600"/>
                <a:gd name="connsiteY7" fmla="*/ 21600 h 21600"/>
                <a:gd name="connsiteX8" fmla="*/ 21600 w 21600"/>
                <a:gd name="connsiteY8" fmla="*/ 10800 h 21600"/>
                <a:gd name="connsiteX9" fmla="*/ 10830 w 21600"/>
                <a:gd name="connsiteY9" fmla="*/ 0 h 21600"/>
                <a:gd name="connsiteX10" fmla="*/ 10830 w 21600"/>
                <a:gd name="connsiteY10" fmla="*/ 20168 h 21600"/>
                <a:gd name="connsiteX11" fmla="*/ 1488 w 21600"/>
                <a:gd name="connsiteY11" fmla="*/ 10800 h 21600"/>
                <a:gd name="connsiteX12" fmla="*/ 20112 w 21600"/>
                <a:gd name="connsiteY12" fmla="*/ 10800 h 21600"/>
                <a:gd name="connsiteX13" fmla="*/ 10830 w 21600"/>
                <a:gd name="connsiteY13" fmla="*/ 20168 h 21600"/>
                <a:gd name="connsiteX14" fmla="*/ 10830 w 21600"/>
                <a:gd name="connsiteY14" fmla="*/ 4594 h 21600"/>
                <a:gd name="connsiteX15" fmla="*/ 4582 w 21600"/>
                <a:gd name="connsiteY15" fmla="*/ 10800 h 21600"/>
                <a:gd name="connsiteX16" fmla="*/ 10830 w 21600"/>
                <a:gd name="connsiteY16" fmla="*/ 17065 h 21600"/>
                <a:gd name="connsiteX17" fmla="*/ 17018 w 21600"/>
                <a:gd name="connsiteY17" fmla="*/ 10800 h 21600"/>
                <a:gd name="connsiteX18" fmla="*/ 10830 w 21600"/>
                <a:gd name="connsiteY18" fmla="*/ 4594 h 21600"/>
                <a:gd name="connsiteX19" fmla="*/ 13626 w 21600"/>
                <a:gd name="connsiteY19" fmla="*/ 7578 h 21600"/>
                <a:gd name="connsiteX20" fmla="*/ 14221 w 21600"/>
                <a:gd name="connsiteY20" fmla="*/ 6922 h 21600"/>
                <a:gd name="connsiteX21" fmla="*/ 14698 w 21600"/>
                <a:gd name="connsiteY21" fmla="*/ 6922 h 21600"/>
                <a:gd name="connsiteX22" fmla="*/ 14698 w 21600"/>
                <a:gd name="connsiteY22" fmla="*/ 7399 h 21600"/>
                <a:gd name="connsiteX23" fmla="*/ 14043 w 21600"/>
                <a:gd name="connsiteY23" fmla="*/ 7996 h 21600"/>
                <a:gd name="connsiteX24" fmla="*/ 13626 w 21600"/>
                <a:gd name="connsiteY24" fmla="*/ 7996 h 21600"/>
                <a:gd name="connsiteX25" fmla="*/ 13626 w 21600"/>
                <a:gd name="connsiteY25" fmla="*/ 7578 h 21600"/>
                <a:gd name="connsiteX26" fmla="*/ 10473 w 21600"/>
                <a:gd name="connsiteY26" fmla="*/ 5669 h 21600"/>
                <a:gd name="connsiteX27" fmla="*/ 10830 w 21600"/>
                <a:gd name="connsiteY27" fmla="*/ 5310 h 21600"/>
                <a:gd name="connsiteX28" fmla="*/ 11127 w 21600"/>
                <a:gd name="connsiteY28" fmla="*/ 5669 h 21600"/>
                <a:gd name="connsiteX29" fmla="*/ 11127 w 21600"/>
                <a:gd name="connsiteY29" fmla="*/ 6564 h 21600"/>
                <a:gd name="connsiteX30" fmla="*/ 10830 w 21600"/>
                <a:gd name="connsiteY30" fmla="*/ 6862 h 21600"/>
                <a:gd name="connsiteX31" fmla="*/ 10473 w 21600"/>
                <a:gd name="connsiteY31" fmla="*/ 6564 h 21600"/>
                <a:gd name="connsiteX32" fmla="*/ 10473 w 21600"/>
                <a:gd name="connsiteY32" fmla="*/ 5669 h 21600"/>
                <a:gd name="connsiteX33" fmla="*/ 6545 w 21600"/>
                <a:gd name="connsiteY33" fmla="*/ 11158 h 21600"/>
                <a:gd name="connsiteX34" fmla="*/ 5653 w 21600"/>
                <a:gd name="connsiteY34" fmla="*/ 11158 h 21600"/>
                <a:gd name="connsiteX35" fmla="*/ 5296 w 21600"/>
                <a:gd name="connsiteY35" fmla="*/ 10800 h 21600"/>
                <a:gd name="connsiteX36" fmla="*/ 5653 w 21600"/>
                <a:gd name="connsiteY36" fmla="*/ 10502 h 21600"/>
                <a:gd name="connsiteX37" fmla="*/ 6545 w 21600"/>
                <a:gd name="connsiteY37" fmla="*/ 10502 h 21600"/>
                <a:gd name="connsiteX38" fmla="*/ 6843 w 21600"/>
                <a:gd name="connsiteY38" fmla="*/ 10800 h 21600"/>
                <a:gd name="connsiteX39" fmla="*/ 6545 w 21600"/>
                <a:gd name="connsiteY39" fmla="*/ 11158 h 21600"/>
                <a:gd name="connsiteX40" fmla="*/ 7974 w 21600"/>
                <a:gd name="connsiteY40" fmla="*/ 14082 h 21600"/>
                <a:gd name="connsiteX41" fmla="*/ 7379 w 21600"/>
                <a:gd name="connsiteY41" fmla="*/ 14678 h 21600"/>
                <a:gd name="connsiteX42" fmla="*/ 6902 w 21600"/>
                <a:gd name="connsiteY42" fmla="*/ 14678 h 21600"/>
                <a:gd name="connsiteX43" fmla="*/ 6902 w 21600"/>
                <a:gd name="connsiteY43" fmla="*/ 14261 h 21600"/>
                <a:gd name="connsiteX44" fmla="*/ 7557 w 21600"/>
                <a:gd name="connsiteY44" fmla="*/ 13604 h 21600"/>
                <a:gd name="connsiteX45" fmla="*/ 7974 w 21600"/>
                <a:gd name="connsiteY45" fmla="*/ 13604 h 21600"/>
                <a:gd name="connsiteX46" fmla="*/ 7974 w 21600"/>
                <a:gd name="connsiteY46" fmla="*/ 14082 h 21600"/>
                <a:gd name="connsiteX47" fmla="*/ 7974 w 21600"/>
                <a:gd name="connsiteY47" fmla="*/ 7996 h 21600"/>
                <a:gd name="connsiteX48" fmla="*/ 7557 w 21600"/>
                <a:gd name="connsiteY48" fmla="*/ 7996 h 21600"/>
                <a:gd name="connsiteX49" fmla="*/ 6902 w 21600"/>
                <a:gd name="connsiteY49" fmla="*/ 7399 h 21600"/>
                <a:gd name="connsiteX50" fmla="*/ 6902 w 21600"/>
                <a:gd name="connsiteY50" fmla="*/ 6922 h 21600"/>
                <a:gd name="connsiteX51" fmla="*/ 7379 w 21600"/>
                <a:gd name="connsiteY51" fmla="*/ 6922 h 21600"/>
                <a:gd name="connsiteX52" fmla="*/ 7974 w 21600"/>
                <a:gd name="connsiteY52" fmla="*/ 7578 h 21600"/>
                <a:gd name="connsiteX53" fmla="*/ 7974 w 21600"/>
                <a:gd name="connsiteY53" fmla="*/ 7996 h 21600"/>
                <a:gd name="connsiteX54" fmla="*/ 11127 w 21600"/>
                <a:gd name="connsiteY54" fmla="*/ 15991 h 21600"/>
                <a:gd name="connsiteX55" fmla="*/ 10830 w 21600"/>
                <a:gd name="connsiteY55" fmla="*/ 16290 h 21600"/>
                <a:gd name="connsiteX56" fmla="*/ 10473 w 21600"/>
                <a:gd name="connsiteY56" fmla="*/ 15991 h 21600"/>
                <a:gd name="connsiteX57" fmla="*/ 10473 w 21600"/>
                <a:gd name="connsiteY57" fmla="*/ 15096 h 21600"/>
                <a:gd name="connsiteX58" fmla="*/ 10830 w 21600"/>
                <a:gd name="connsiteY58" fmla="*/ 14798 h 21600"/>
                <a:gd name="connsiteX59" fmla="*/ 11127 w 21600"/>
                <a:gd name="connsiteY59" fmla="*/ 15096 h 21600"/>
                <a:gd name="connsiteX60" fmla="*/ 11127 w 21600"/>
                <a:gd name="connsiteY60" fmla="*/ 15991 h 21600"/>
                <a:gd name="connsiteX61" fmla="*/ 13031 w 21600"/>
                <a:gd name="connsiteY61" fmla="*/ 15514 h 21600"/>
                <a:gd name="connsiteX62" fmla="*/ 12436 w 21600"/>
                <a:gd name="connsiteY62" fmla="*/ 15335 h 21600"/>
                <a:gd name="connsiteX63" fmla="*/ 10889 w 21600"/>
                <a:gd name="connsiteY63" fmla="*/ 12053 h 21600"/>
                <a:gd name="connsiteX64" fmla="*/ 10830 w 21600"/>
                <a:gd name="connsiteY64" fmla="*/ 12053 h 21600"/>
                <a:gd name="connsiteX65" fmla="*/ 9521 w 21600"/>
                <a:gd name="connsiteY65" fmla="*/ 10800 h 21600"/>
                <a:gd name="connsiteX66" fmla="*/ 10294 w 21600"/>
                <a:gd name="connsiteY66" fmla="*/ 9666 h 21600"/>
                <a:gd name="connsiteX67" fmla="*/ 10294 w 21600"/>
                <a:gd name="connsiteY67" fmla="*/ 7936 h 21600"/>
                <a:gd name="connsiteX68" fmla="*/ 10770 w 21600"/>
                <a:gd name="connsiteY68" fmla="*/ 7459 h 21600"/>
                <a:gd name="connsiteX69" fmla="*/ 11246 w 21600"/>
                <a:gd name="connsiteY69" fmla="*/ 7936 h 21600"/>
                <a:gd name="connsiteX70" fmla="*/ 11246 w 21600"/>
                <a:gd name="connsiteY70" fmla="*/ 9607 h 21600"/>
                <a:gd name="connsiteX71" fmla="*/ 12079 w 21600"/>
                <a:gd name="connsiteY71" fmla="*/ 10800 h 21600"/>
                <a:gd name="connsiteX72" fmla="*/ 11722 w 21600"/>
                <a:gd name="connsiteY72" fmla="*/ 11695 h 21600"/>
                <a:gd name="connsiteX73" fmla="*/ 13269 w 21600"/>
                <a:gd name="connsiteY73" fmla="*/ 14917 h 21600"/>
                <a:gd name="connsiteX74" fmla="*/ 13031 w 21600"/>
                <a:gd name="connsiteY74" fmla="*/ 15514 h 21600"/>
                <a:gd name="connsiteX75" fmla="*/ 14698 w 21600"/>
                <a:gd name="connsiteY75" fmla="*/ 14678 h 21600"/>
                <a:gd name="connsiteX76" fmla="*/ 14221 w 21600"/>
                <a:gd name="connsiteY76" fmla="*/ 14678 h 21600"/>
                <a:gd name="connsiteX77" fmla="*/ 13626 w 21600"/>
                <a:gd name="connsiteY77" fmla="*/ 14082 h 21600"/>
                <a:gd name="connsiteX78" fmla="*/ 13626 w 21600"/>
                <a:gd name="connsiteY78" fmla="*/ 13604 h 21600"/>
                <a:gd name="connsiteX79" fmla="*/ 14043 w 21600"/>
                <a:gd name="connsiteY79" fmla="*/ 13604 h 21600"/>
                <a:gd name="connsiteX80" fmla="*/ 14698 w 21600"/>
                <a:gd name="connsiteY80" fmla="*/ 14261 h 21600"/>
                <a:gd name="connsiteX81" fmla="*/ 14698 w 21600"/>
                <a:gd name="connsiteY81" fmla="*/ 14678 h 21600"/>
                <a:gd name="connsiteX82" fmla="*/ 16304 w 21600"/>
                <a:gd name="connsiteY82" fmla="*/ 10800 h 21600"/>
                <a:gd name="connsiteX83" fmla="*/ 15947 w 21600"/>
                <a:gd name="connsiteY83" fmla="*/ 11158 h 21600"/>
                <a:gd name="connsiteX84" fmla="*/ 15055 w 21600"/>
                <a:gd name="connsiteY84" fmla="*/ 11158 h 21600"/>
                <a:gd name="connsiteX85" fmla="*/ 14757 w 21600"/>
                <a:gd name="connsiteY85" fmla="*/ 10800 h 21600"/>
                <a:gd name="connsiteX86" fmla="*/ 15055 w 21600"/>
                <a:gd name="connsiteY86" fmla="*/ 10502 h 21600"/>
                <a:gd name="connsiteX87" fmla="*/ 15947 w 21600"/>
                <a:gd name="connsiteY87" fmla="*/ 10502 h 21600"/>
                <a:gd name="connsiteX88" fmla="*/ 16304 w 21600"/>
                <a:gd name="connsiteY88" fmla="*/ 10800 h 21600"/>
                <a:gd name="connsiteX89" fmla="*/ 16304 w 21600"/>
                <a:gd name="connsiteY89" fmla="*/ 10800 h 21600"/>
                <a:gd name="connsiteX0" fmla="*/ 10830 w 21900"/>
                <a:gd name="connsiteY0" fmla="*/ 5609 h 17006"/>
                <a:gd name="connsiteX1" fmla="*/ 10175 w 21900"/>
                <a:gd name="connsiteY1" fmla="*/ 6206 h 17006"/>
                <a:gd name="connsiteX2" fmla="*/ 10830 w 21900"/>
                <a:gd name="connsiteY2" fmla="*/ 6803 h 17006"/>
                <a:gd name="connsiteX3" fmla="*/ 11425 w 21900"/>
                <a:gd name="connsiteY3" fmla="*/ 6206 h 17006"/>
                <a:gd name="connsiteX4" fmla="*/ 10830 w 21900"/>
                <a:gd name="connsiteY4" fmla="*/ 5609 h 17006"/>
                <a:gd name="connsiteX5" fmla="*/ 21600 w 21900"/>
                <a:gd name="connsiteY5" fmla="*/ 6206 h 17006"/>
                <a:gd name="connsiteX6" fmla="*/ 0 w 21900"/>
                <a:gd name="connsiteY6" fmla="*/ 6206 h 17006"/>
                <a:gd name="connsiteX7" fmla="*/ 10830 w 21900"/>
                <a:gd name="connsiteY7" fmla="*/ 17006 h 17006"/>
                <a:gd name="connsiteX8" fmla="*/ 21600 w 21900"/>
                <a:gd name="connsiteY8" fmla="*/ 6206 h 17006"/>
                <a:gd name="connsiteX9" fmla="*/ 10830 w 21900"/>
                <a:gd name="connsiteY9" fmla="*/ 15574 h 17006"/>
                <a:gd name="connsiteX10" fmla="*/ 1488 w 21900"/>
                <a:gd name="connsiteY10" fmla="*/ 6206 h 17006"/>
                <a:gd name="connsiteX11" fmla="*/ 20112 w 21900"/>
                <a:gd name="connsiteY11" fmla="*/ 6206 h 17006"/>
                <a:gd name="connsiteX12" fmla="*/ 10830 w 21900"/>
                <a:gd name="connsiteY12" fmla="*/ 15574 h 17006"/>
                <a:gd name="connsiteX13" fmla="*/ 10830 w 21900"/>
                <a:gd name="connsiteY13" fmla="*/ 0 h 17006"/>
                <a:gd name="connsiteX14" fmla="*/ 4582 w 21900"/>
                <a:gd name="connsiteY14" fmla="*/ 6206 h 17006"/>
                <a:gd name="connsiteX15" fmla="*/ 10830 w 21900"/>
                <a:gd name="connsiteY15" fmla="*/ 12471 h 17006"/>
                <a:gd name="connsiteX16" fmla="*/ 17018 w 21900"/>
                <a:gd name="connsiteY16" fmla="*/ 6206 h 17006"/>
                <a:gd name="connsiteX17" fmla="*/ 10830 w 21900"/>
                <a:gd name="connsiteY17" fmla="*/ 0 h 17006"/>
                <a:gd name="connsiteX18" fmla="*/ 13626 w 21900"/>
                <a:gd name="connsiteY18" fmla="*/ 2984 h 17006"/>
                <a:gd name="connsiteX19" fmla="*/ 14221 w 21900"/>
                <a:gd name="connsiteY19" fmla="*/ 2328 h 17006"/>
                <a:gd name="connsiteX20" fmla="*/ 14698 w 21900"/>
                <a:gd name="connsiteY20" fmla="*/ 2328 h 17006"/>
                <a:gd name="connsiteX21" fmla="*/ 14698 w 21900"/>
                <a:gd name="connsiteY21" fmla="*/ 2805 h 17006"/>
                <a:gd name="connsiteX22" fmla="*/ 14043 w 21900"/>
                <a:gd name="connsiteY22" fmla="*/ 3402 h 17006"/>
                <a:gd name="connsiteX23" fmla="*/ 13626 w 21900"/>
                <a:gd name="connsiteY23" fmla="*/ 3402 h 17006"/>
                <a:gd name="connsiteX24" fmla="*/ 13626 w 21900"/>
                <a:gd name="connsiteY24" fmla="*/ 2984 h 17006"/>
                <a:gd name="connsiteX25" fmla="*/ 10473 w 21900"/>
                <a:gd name="connsiteY25" fmla="*/ 1075 h 17006"/>
                <a:gd name="connsiteX26" fmla="*/ 10830 w 21900"/>
                <a:gd name="connsiteY26" fmla="*/ 716 h 17006"/>
                <a:gd name="connsiteX27" fmla="*/ 11127 w 21900"/>
                <a:gd name="connsiteY27" fmla="*/ 1075 h 17006"/>
                <a:gd name="connsiteX28" fmla="*/ 11127 w 21900"/>
                <a:gd name="connsiteY28" fmla="*/ 1970 h 17006"/>
                <a:gd name="connsiteX29" fmla="*/ 10830 w 21900"/>
                <a:gd name="connsiteY29" fmla="*/ 2268 h 17006"/>
                <a:gd name="connsiteX30" fmla="*/ 10473 w 21900"/>
                <a:gd name="connsiteY30" fmla="*/ 1970 h 17006"/>
                <a:gd name="connsiteX31" fmla="*/ 10473 w 21900"/>
                <a:gd name="connsiteY31" fmla="*/ 1075 h 17006"/>
                <a:gd name="connsiteX32" fmla="*/ 6545 w 21900"/>
                <a:gd name="connsiteY32" fmla="*/ 6564 h 17006"/>
                <a:gd name="connsiteX33" fmla="*/ 5653 w 21900"/>
                <a:gd name="connsiteY33" fmla="*/ 6564 h 17006"/>
                <a:gd name="connsiteX34" fmla="*/ 5296 w 21900"/>
                <a:gd name="connsiteY34" fmla="*/ 6206 h 17006"/>
                <a:gd name="connsiteX35" fmla="*/ 5653 w 21900"/>
                <a:gd name="connsiteY35" fmla="*/ 5908 h 17006"/>
                <a:gd name="connsiteX36" fmla="*/ 6545 w 21900"/>
                <a:gd name="connsiteY36" fmla="*/ 5908 h 17006"/>
                <a:gd name="connsiteX37" fmla="*/ 6843 w 21900"/>
                <a:gd name="connsiteY37" fmla="*/ 6206 h 17006"/>
                <a:gd name="connsiteX38" fmla="*/ 6545 w 21900"/>
                <a:gd name="connsiteY38" fmla="*/ 6564 h 17006"/>
                <a:gd name="connsiteX39" fmla="*/ 7974 w 21900"/>
                <a:gd name="connsiteY39" fmla="*/ 9488 h 17006"/>
                <a:gd name="connsiteX40" fmla="*/ 7379 w 21900"/>
                <a:gd name="connsiteY40" fmla="*/ 10084 h 17006"/>
                <a:gd name="connsiteX41" fmla="*/ 6902 w 21900"/>
                <a:gd name="connsiteY41" fmla="*/ 10084 h 17006"/>
                <a:gd name="connsiteX42" fmla="*/ 6902 w 21900"/>
                <a:gd name="connsiteY42" fmla="*/ 9667 h 17006"/>
                <a:gd name="connsiteX43" fmla="*/ 7557 w 21900"/>
                <a:gd name="connsiteY43" fmla="*/ 9010 h 17006"/>
                <a:gd name="connsiteX44" fmla="*/ 7974 w 21900"/>
                <a:gd name="connsiteY44" fmla="*/ 9010 h 17006"/>
                <a:gd name="connsiteX45" fmla="*/ 7974 w 21900"/>
                <a:gd name="connsiteY45" fmla="*/ 9488 h 17006"/>
                <a:gd name="connsiteX46" fmla="*/ 7974 w 21900"/>
                <a:gd name="connsiteY46" fmla="*/ 3402 h 17006"/>
                <a:gd name="connsiteX47" fmla="*/ 7557 w 21900"/>
                <a:gd name="connsiteY47" fmla="*/ 3402 h 17006"/>
                <a:gd name="connsiteX48" fmla="*/ 6902 w 21900"/>
                <a:gd name="connsiteY48" fmla="*/ 2805 h 17006"/>
                <a:gd name="connsiteX49" fmla="*/ 6902 w 21900"/>
                <a:gd name="connsiteY49" fmla="*/ 2328 h 17006"/>
                <a:gd name="connsiteX50" fmla="*/ 7379 w 21900"/>
                <a:gd name="connsiteY50" fmla="*/ 2328 h 17006"/>
                <a:gd name="connsiteX51" fmla="*/ 7974 w 21900"/>
                <a:gd name="connsiteY51" fmla="*/ 2984 h 17006"/>
                <a:gd name="connsiteX52" fmla="*/ 7974 w 21900"/>
                <a:gd name="connsiteY52" fmla="*/ 3402 h 17006"/>
                <a:gd name="connsiteX53" fmla="*/ 11127 w 21900"/>
                <a:gd name="connsiteY53" fmla="*/ 11397 h 17006"/>
                <a:gd name="connsiteX54" fmla="*/ 10830 w 21900"/>
                <a:gd name="connsiteY54" fmla="*/ 11696 h 17006"/>
                <a:gd name="connsiteX55" fmla="*/ 10473 w 21900"/>
                <a:gd name="connsiteY55" fmla="*/ 11397 h 17006"/>
                <a:gd name="connsiteX56" fmla="*/ 10473 w 21900"/>
                <a:gd name="connsiteY56" fmla="*/ 10502 h 17006"/>
                <a:gd name="connsiteX57" fmla="*/ 10830 w 21900"/>
                <a:gd name="connsiteY57" fmla="*/ 10204 h 17006"/>
                <a:gd name="connsiteX58" fmla="*/ 11127 w 21900"/>
                <a:gd name="connsiteY58" fmla="*/ 10502 h 17006"/>
                <a:gd name="connsiteX59" fmla="*/ 11127 w 21900"/>
                <a:gd name="connsiteY59" fmla="*/ 11397 h 17006"/>
                <a:gd name="connsiteX60" fmla="*/ 13031 w 21900"/>
                <a:gd name="connsiteY60" fmla="*/ 10920 h 17006"/>
                <a:gd name="connsiteX61" fmla="*/ 12436 w 21900"/>
                <a:gd name="connsiteY61" fmla="*/ 10741 h 17006"/>
                <a:gd name="connsiteX62" fmla="*/ 10889 w 21900"/>
                <a:gd name="connsiteY62" fmla="*/ 7459 h 17006"/>
                <a:gd name="connsiteX63" fmla="*/ 10830 w 21900"/>
                <a:gd name="connsiteY63" fmla="*/ 7459 h 17006"/>
                <a:gd name="connsiteX64" fmla="*/ 9521 w 21900"/>
                <a:gd name="connsiteY64" fmla="*/ 6206 h 17006"/>
                <a:gd name="connsiteX65" fmla="*/ 10294 w 21900"/>
                <a:gd name="connsiteY65" fmla="*/ 5072 h 17006"/>
                <a:gd name="connsiteX66" fmla="*/ 10294 w 21900"/>
                <a:gd name="connsiteY66" fmla="*/ 3342 h 17006"/>
                <a:gd name="connsiteX67" fmla="*/ 10770 w 21900"/>
                <a:gd name="connsiteY67" fmla="*/ 2865 h 17006"/>
                <a:gd name="connsiteX68" fmla="*/ 11246 w 21900"/>
                <a:gd name="connsiteY68" fmla="*/ 3342 h 17006"/>
                <a:gd name="connsiteX69" fmla="*/ 11246 w 21900"/>
                <a:gd name="connsiteY69" fmla="*/ 5013 h 17006"/>
                <a:gd name="connsiteX70" fmla="*/ 12079 w 21900"/>
                <a:gd name="connsiteY70" fmla="*/ 6206 h 17006"/>
                <a:gd name="connsiteX71" fmla="*/ 11722 w 21900"/>
                <a:gd name="connsiteY71" fmla="*/ 7101 h 17006"/>
                <a:gd name="connsiteX72" fmla="*/ 13269 w 21900"/>
                <a:gd name="connsiteY72" fmla="*/ 10323 h 17006"/>
                <a:gd name="connsiteX73" fmla="*/ 13031 w 21900"/>
                <a:gd name="connsiteY73" fmla="*/ 10920 h 17006"/>
                <a:gd name="connsiteX74" fmla="*/ 14698 w 21900"/>
                <a:gd name="connsiteY74" fmla="*/ 10084 h 17006"/>
                <a:gd name="connsiteX75" fmla="*/ 14221 w 21900"/>
                <a:gd name="connsiteY75" fmla="*/ 10084 h 17006"/>
                <a:gd name="connsiteX76" fmla="*/ 13626 w 21900"/>
                <a:gd name="connsiteY76" fmla="*/ 9488 h 17006"/>
                <a:gd name="connsiteX77" fmla="*/ 13626 w 21900"/>
                <a:gd name="connsiteY77" fmla="*/ 9010 h 17006"/>
                <a:gd name="connsiteX78" fmla="*/ 14043 w 21900"/>
                <a:gd name="connsiteY78" fmla="*/ 9010 h 17006"/>
                <a:gd name="connsiteX79" fmla="*/ 14698 w 21900"/>
                <a:gd name="connsiteY79" fmla="*/ 9667 h 17006"/>
                <a:gd name="connsiteX80" fmla="*/ 14698 w 21900"/>
                <a:gd name="connsiteY80" fmla="*/ 10084 h 17006"/>
                <a:gd name="connsiteX81" fmla="*/ 16304 w 21900"/>
                <a:gd name="connsiteY81" fmla="*/ 6206 h 17006"/>
                <a:gd name="connsiteX82" fmla="*/ 15947 w 21900"/>
                <a:gd name="connsiteY82" fmla="*/ 6564 h 17006"/>
                <a:gd name="connsiteX83" fmla="*/ 15055 w 21900"/>
                <a:gd name="connsiteY83" fmla="*/ 6564 h 17006"/>
                <a:gd name="connsiteX84" fmla="*/ 14757 w 21900"/>
                <a:gd name="connsiteY84" fmla="*/ 6206 h 17006"/>
                <a:gd name="connsiteX85" fmla="*/ 15055 w 21900"/>
                <a:gd name="connsiteY85" fmla="*/ 5908 h 17006"/>
                <a:gd name="connsiteX86" fmla="*/ 15947 w 21900"/>
                <a:gd name="connsiteY86" fmla="*/ 5908 h 17006"/>
                <a:gd name="connsiteX87" fmla="*/ 16304 w 21900"/>
                <a:gd name="connsiteY87" fmla="*/ 6206 h 17006"/>
                <a:gd name="connsiteX88" fmla="*/ 16304 w 21900"/>
                <a:gd name="connsiteY88" fmla="*/ 6206 h 17006"/>
                <a:gd name="connsiteX0" fmla="*/ 10830 w 21900"/>
                <a:gd name="connsiteY0" fmla="*/ 5609 h 17006"/>
                <a:gd name="connsiteX1" fmla="*/ 10175 w 21900"/>
                <a:gd name="connsiteY1" fmla="*/ 6206 h 17006"/>
                <a:gd name="connsiteX2" fmla="*/ 10830 w 21900"/>
                <a:gd name="connsiteY2" fmla="*/ 6803 h 17006"/>
                <a:gd name="connsiteX3" fmla="*/ 11425 w 21900"/>
                <a:gd name="connsiteY3" fmla="*/ 6206 h 17006"/>
                <a:gd name="connsiteX4" fmla="*/ 10830 w 21900"/>
                <a:gd name="connsiteY4" fmla="*/ 5609 h 17006"/>
                <a:gd name="connsiteX5" fmla="*/ 21600 w 21900"/>
                <a:gd name="connsiteY5" fmla="*/ 6206 h 17006"/>
                <a:gd name="connsiteX6" fmla="*/ 0 w 21900"/>
                <a:gd name="connsiteY6" fmla="*/ 6206 h 17006"/>
                <a:gd name="connsiteX7" fmla="*/ 10830 w 21900"/>
                <a:gd name="connsiteY7" fmla="*/ 17006 h 17006"/>
                <a:gd name="connsiteX8" fmla="*/ 21600 w 21900"/>
                <a:gd name="connsiteY8" fmla="*/ 6206 h 17006"/>
                <a:gd name="connsiteX9" fmla="*/ 10830 w 21900"/>
                <a:gd name="connsiteY9" fmla="*/ 15574 h 17006"/>
                <a:gd name="connsiteX10" fmla="*/ 1488 w 21900"/>
                <a:gd name="connsiteY10" fmla="*/ 6206 h 17006"/>
                <a:gd name="connsiteX11" fmla="*/ 10830 w 21900"/>
                <a:gd name="connsiteY11" fmla="*/ 15574 h 17006"/>
                <a:gd name="connsiteX12" fmla="*/ 10830 w 21900"/>
                <a:gd name="connsiteY12" fmla="*/ 0 h 17006"/>
                <a:gd name="connsiteX13" fmla="*/ 4582 w 21900"/>
                <a:gd name="connsiteY13" fmla="*/ 6206 h 17006"/>
                <a:gd name="connsiteX14" fmla="*/ 10830 w 21900"/>
                <a:gd name="connsiteY14" fmla="*/ 12471 h 17006"/>
                <a:gd name="connsiteX15" fmla="*/ 17018 w 21900"/>
                <a:gd name="connsiteY15" fmla="*/ 6206 h 17006"/>
                <a:gd name="connsiteX16" fmla="*/ 10830 w 21900"/>
                <a:gd name="connsiteY16" fmla="*/ 0 h 17006"/>
                <a:gd name="connsiteX17" fmla="*/ 13626 w 21900"/>
                <a:gd name="connsiteY17" fmla="*/ 2984 h 17006"/>
                <a:gd name="connsiteX18" fmla="*/ 14221 w 21900"/>
                <a:gd name="connsiteY18" fmla="*/ 2328 h 17006"/>
                <a:gd name="connsiteX19" fmla="*/ 14698 w 21900"/>
                <a:gd name="connsiteY19" fmla="*/ 2328 h 17006"/>
                <a:gd name="connsiteX20" fmla="*/ 14698 w 21900"/>
                <a:gd name="connsiteY20" fmla="*/ 2805 h 17006"/>
                <a:gd name="connsiteX21" fmla="*/ 14043 w 21900"/>
                <a:gd name="connsiteY21" fmla="*/ 3402 h 17006"/>
                <a:gd name="connsiteX22" fmla="*/ 13626 w 21900"/>
                <a:gd name="connsiteY22" fmla="*/ 3402 h 17006"/>
                <a:gd name="connsiteX23" fmla="*/ 13626 w 21900"/>
                <a:gd name="connsiteY23" fmla="*/ 2984 h 17006"/>
                <a:gd name="connsiteX24" fmla="*/ 10473 w 21900"/>
                <a:gd name="connsiteY24" fmla="*/ 1075 h 17006"/>
                <a:gd name="connsiteX25" fmla="*/ 10830 w 21900"/>
                <a:gd name="connsiteY25" fmla="*/ 716 h 17006"/>
                <a:gd name="connsiteX26" fmla="*/ 11127 w 21900"/>
                <a:gd name="connsiteY26" fmla="*/ 1075 h 17006"/>
                <a:gd name="connsiteX27" fmla="*/ 11127 w 21900"/>
                <a:gd name="connsiteY27" fmla="*/ 1970 h 17006"/>
                <a:gd name="connsiteX28" fmla="*/ 10830 w 21900"/>
                <a:gd name="connsiteY28" fmla="*/ 2268 h 17006"/>
                <a:gd name="connsiteX29" fmla="*/ 10473 w 21900"/>
                <a:gd name="connsiteY29" fmla="*/ 1970 h 17006"/>
                <a:gd name="connsiteX30" fmla="*/ 10473 w 21900"/>
                <a:gd name="connsiteY30" fmla="*/ 1075 h 17006"/>
                <a:gd name="connsiteX31" fmla="*/ 6545 w 21900"/>
                <a:gd name="connsiteY31" fmla="*/ 6564 h 17006"/>
                <a:gd name="connsiteX32" fmla="*/ 5653 w 21900"/>
                <a:gd name="connsiteY32" fmla="*/ 6564 h 17006"/>
                <a:gd name="connsiteX33" fmla="*/ 5296 w 21900"/>
                <a:gd name="connsiteY33" fmla="*/ 6206 h 17006"/>
                <a:gd name="connsiteX34" fmla="*/ 5653 w 21900"/>
                <a:gd name="connsiteY34" fmla="*/ 5908 h 17006"/>
                <a:gd name="connsiteX35" fmla="*/ 6545 w 21900"/>
                <a:gd name="connsiteY35" fmla="*/ 5908 h 17006"/>
                <a:gd name="connsiteX36" fmla="*/ 6843 w 21900"/>
                <a:gd name="connsiteY36" fmla="*/ 6206 h 17006"/>
                <a:gd name="connsiteX37" fmla="*/ 6545 w 21900"/>
                <a:gd name="connsiteY37" fmla="*/ 6564 h 17006"/>
                <a:gd name="connsiteX38" fmla="*/ 7974 w 21900"/>
                <a:gd name="connsiteY38" fmla="*/ 9488 h 17006"/>
                <a:gd name="connsiteX39" fmla="*/ 7379 w 21900"/>
                <a:gd name="connsiteY39" fmla="*/ 10084 h 17006"/>
                <a:gd name="connsiteX40" fmla="*/ 6902 w 21900"/>
                <a:gd name="connsiteY40" fmla="*/ 10084 h 17006"/>
                <a:gd name="connsiteX41" fmla="*/ 6902 w 21900"/>
                <a:gd name="connsiteY41" fmla="*/ 9667 h 17006"/>
                <a:gd name="connsiteX42" fmla="*/ 7557 w 21900"/>
                <a:gd name="connsiteY42" fmla="*/ 9010 h 17006"/>
                <a:gd name="connsiteX43" fmla="*/ 7974 w 21900"/>
                <a:gd name="connsiteY43" fmla="*/ 9010 h 17006"/>
                <a:gd name="connsiteX44" fmla="*/ 7974 w 21900"/>
                <a:gd name="connsiteY44" fmla="*/ 9488 h 17006"/>
                <a:gd name="connsiteX45" fmla="*/ 7974 w 21900"/>
                <a:gd name="connsiteY45" fmla="*/ 3402 h 17006"/>
                <a:gd name="connsiteX46" fmla="*/ 7557 w 21900"/>
                <a:gd name="connsiteY46" fmla="*/ 3402 h 17006"/>
                <a:gd name="connsiteX47" fmla="*/ 6902 w 21900"/>
                <a:gd name="connsiteY47" fmla="*/ 2805 h 17006"/>
                <a:gd name="connsiteX48" fmla="*/ 6902 w 21900"/>
                <a:gd name="connsiteY48" fmla="*/ 2328 h 17006"/>
                <a:gd name="connsiteX49" fmla="*/ 7379 w 21900"/>
                <a:gd name="connsiteY49" fmla="*/ 2328 h 17006"/>
                <a:gd name="connsiteX50" fmla="*/ 7974 w 21900"/>
                <a:gd name="connsiteY50" fmla="*/ 2984 h 17006"/>
                <a:gd name="connsiteX51" fmla="*/ 7974 w 21900"/>
                <a:gd name="connsiteY51" fmla="*/ 3402 h 17006"/>
                <a:gd name="connsiteX52" fmla="*/ 11127 w 21900"/>
                <a:gd name="connsiteY52" fmla="*/ 11397 h 17006"/>
                <a:gd name="connsiteX53" fmla="*/ 10830 w 21900"/>
                <a:gd name="connsiteY53" fmla="*/ 11696 h 17006"/>
                <a:gd name="connsiteX54" fmla="*/ 10473 w 21900"/>
                <a:gd name="connsiteY54" fmla="*/ 11397 h 17006"/>
                <a:gd name="connsiteX55" fmla="*/ 10473 w 21900"/>
                <a:gd name="connsiteY55" fmla="*/ 10502 h 17006"/>
                <a:gd name="connsiteX56" fmla="*/ 10830 w 21900"/>
                <a:gd name="connsiteY56" fmla="*/ 10204 h 17006"/>
                <a:gd name="connsiteX57" fmla="*/ 11127 w 21900"/>
                <a:gd name="connsiteY57" fmla="*/ 10502 h 17006"/>
                <a:gd name="connsiteX58" fmla="*/ 11127 w 21900"/>
                <a:gd name="connsiteY58" fmla="*/ 11397 h 17006"/>
                <a:gd name="connsiteX59" fmla="*/ 13031 w 21900"/>
                <a:gd name="connsiteY59" fmla="*/ 10920 h 17006"/>
                <a:gd name="connsiteX60" fmla="*/ 12436 w 21900"/>
                <a:gd name="connsiteY60" fmla="*/ 10741 h 17006"/>
                <a:gd name="connsiteX61" fmla="*/ 10889 w 21900"/>
                <a:gd name="connsiteY61" fmla="*/ 7459 h 17006"/>
                <a:gd name="connsiteX62" fmla="*/ 10830 w 21900"/>
                <a:gd name="connsiteY62" fmla="*/ 7459 h 17006"/>
                <a:gd name="connsiteX63" fmla="*/ 9521 w 21900"/>
                <a:gd name="connsiteY63" fmla="*/ 6206 h 17006"/>
                <a:gd name="connsiteX64" fmla="*/ 10294 w 21900"/>
                <a:gd name="connsiteY64" fmla="*/ 5072 h 17006"/>
                <a:gd name="connsiteX65" fmla="*/ 10294 w 21900"/>
                <a:gd name="connsiteY65" fmla="*/ 3342 h 17006"/>
                <a:gd name="connsiteX66" fmla="*/ 10770 w 21900"/>
                <a:gd name="connsiteY66" fmla="*/ 2865 h 17006"/>
                <a:gd name="connsiteX67" fmla="*/ 11246 w 21900"/>
                <a:gd name="connsiteY67" fmla="*/ 3342 h 17006"/>
                <a:gd name="connsiteX68" fmla="*/ 11246 w 21900"/>
                <a:gd name="connsiteY68" fmla="*/ 5013 h 17006"/>
                <a:gd name="connsiteX69" fmla="*/ 12079 w 21900"/>
                <a:gd name="connsiteY69" fmla="*/ 6206 h 17006"/>
                <a:gd name="connsiteX70" fmla="*/ 11722 w 21900"/>
                <a:gd name="connsiteY70" fmla="*/ 7101 h 17006"/>
                <a:gd name="connsiteX71" fmla="*/ 13269 w 21900"/>
                <a:gd name="connsiteY71" fmla="*/ 10323 h 17006"/>
                <a:gd name="connsiteX72" fmla="*/ 13031 w 21900"/>
                <a:gd name="connsiteY72" fmla="*/ 10920 h 17006"/>
                <a:gd name="connsiteX73" fmla="*/ 14698 w 21900"/>
                <a:gd name="connsiteY73" fmla="*/ 10084 h 17006"/>
                <a:gd name="connsiteX74" fmla="*/ 14221 w 21900"/>
                <a:gd name="connsiteY74" fmla="*/ 10084 h 17006"/>
                <a:gd name="connsiteX75" fmla="*/ 13626 w 21900"/>
                <a:gd name="connsiteY75" fmla="*/ 9488 h 17006"/>
                <a:gd name="connsiteX76" fmla="*/ 13626 w 21900"/>
                <a:gd name="connsiteY76" fmla="*/ 9010 h 17006"/>
                <a:gd name="connsiteX77" fmla="*/ 14043 w 21900"/>
                <a:gd name="connsiteY77" fmla="*/ 9010 h 17006"/>
                <a:gd name="connsiteX78" fmla="*/ 14698 w 21900"/>
                <a:gd name="connsiteY78" fmla="*/ 9667 h 17006"/>
                <a:gd name="connsiteX79" fmla="*/ 14698 w 21900"/>
                <a:gd name="connsiteY79" fmla="*/ 10084 h 17006"/>
                <a:gd name="connsiteX80" fmla="*/ 16304 w 21900"/>
                <a:gd name="connsiteY80" fmla="*/ 6206 h 17006"/>
                <a:gd name="connsiteX81" fmla="*/ 15947 w 21900"/>
                <a:gd name="connsiteY81" fmla="*/ 6564 h 17006"/>
                <a:gd name="connsiteX82" fmla="*/ 15055 w 21900"/>
                <a:gd name="connsiteY82" fmla="*/ 6564 h 17006"/>
                <a:gd name="connsiteX83" fmla="*/ 14757 w 21900"/>
                <a:gd name="connsiteY83" fmla="*/ 6206 h 17006"/>
                <a:gd name="connsiteX84" fmla="*/ 15055 w 21900"/>
                <a:gd name="connsiteY84" fmla="*/ 5908 h 17006"/>
                <a:gd name="connsiteX85" fmla="*/ 15947 w 21900"/>
                <a:gd name="connsiteY85" fmla="*/ 5908 h 17006"/>
                <a:gd name="connsiteX86" fmla="*/ 16304 w 21900"/>
                <a:gd name="connsiteY86" fmla="*/ 6206 h 17006"/>
                <a:gd name="connsiteX87" fmla="*/ 16304 w 21900"/>
                <a:gd name="connsiteY87" fmla="*/ 6206 h 17006"/>
                <a:gd name="connsiteX0" fmla="*/ 10830 w 17018"/>
                <a:gd name="connsiteY0" fmla="*/ 5609 h 17006"/>
                <a:gd name="connsiteX1" fmla="*/ 10175 w 17018"/>
                <a:gd name="connsiteY1" fmla="*/ 6206 h 17006"/>
                <a:gd name="connsiteX2" fmla="*/ 10830 w 17018"/>
                <a:gd name="connsiteY2" fmla="*/ 6803 h 17006"/>
                <a:gd name="connsiteX3" fmla="*/ 11425 w 17018"/>
                <a:gd name="connsiteY3" fmla="*/ 6206 h 17006"/>
                <a:gd name="connsiteX4" fmla="*/ 10830 w 17018"/>
                <a:gd name="connsiteY4" fmla="*/ 5609 h 17006"/>
                <a:gd name="connsiteX5" fmla="*/ 10830 w 17018"/>
                <a:gd name="connsiteY5" fmla="*/ 17006 h 17006"/>
                <a:gd name="connsiteX6" fmla="*/ 0 w 17018"/>
                <a:gd name="connsiteY6" fmla="*/ 6206 h 17006"/>
                <a:gd name="connsiteX7" fmla="*/ 10830 w 17018"/>
                <a:gd name="connsiteY7" fmla="*/ 17006 h 17006"/>
                <a:gd name="connsiteX8" fmla="*/ 10830 w 17018"/>
                <a:gd name="connsiteY8" fmla="*/ 15574 h 17006"/>
                <a:gd name="connsiteX9" fmla="*/ 1488 w 17018"/>
                <a:gd name="connsiteY9" fmla="*/ 6206 h 17006"/>
                <a:gd name="connsiteX10" fmla="*/ 10830 w 17018"/>
                <a:gd name="connsiteY10" fmla="*/ 15574 h 17006"/>
                <a:gd name="connsiteX11" fmla="*/ 10830 w 17018"/>
                <a:gd name="connsiteY11" fmla="*/ 0 h 17006"/>
                <a:gd name="connsiteX12" fmla="*/ 4582 w 17018"/>
                <a:gd name="connsiteY12" fmla="*/ 6206 h 17006"/>
                <a:gd name="connsiteX13" fmla="*/ 10830 w 17018"/>
                <a:gd name="connsiteY13" fmla="*/ 12471 h 17006"/>
                <a:gd name="connsiteX14" fmla="*/ 17018 w 17018"/>
                <a:gd name="connsiteY14" fmla="*/ 6206 h 17006"/>
                <a:gd name="connsiteX15" fmla="*/ 10830 w 17018"/>
                <a:gd name="connsiteY15" fmla="*/ 0 h 17006"/>
                <a:gd name="connsiteX16" fmla="*/ 13626 w 17018"/>
                <a:gd name="connsiteY16" fmla="*/ 2984 h 17006"/>
                <a:gd name="connsiteX17" fmla="*/ 14221 w 17018"/>
                <a:gd name="connsiteY17" fmla="*/ 2328 h 17006"/>
                <a:gd name="connsiteX18" fmla="*/ 14698 w 17018"/>
                <a:gd name="connsiteY18" fmla="*/ 2328 h 17006"/>
                <a:gd name="connsiteX19" fmla="*/ 14698 w 17018"/>
                <a:gd name="connsiteY19" fmla="*/ 2805 h 17006"/>
                <a:gd name="connsiteX20" fmla="*/ 14043 w 17018"/>
                <a:gd name="connsiteY20" fmla="*/ 3402 h 17006"/>
                <a:gd name="connsiteX21" fmla="*/ 13626 w 17018"/>
                <a:gd name="connsiteY21" fmla="*/ 3402 h 17006"/>
                <a:gd name="connsiteX22" fmla="*/ 13626 w 17018"/>
                <a:gd name="connsiteY22" fmla="*/ 2984 h 17006"/>
                <a:gd name="connsiteX23" fmla="*/ 10473 w 17018"/>
                <a:gd name="connsiteY23" fmla="*/ 1075 h 17006"/>
                <a:gd name="connsiteX24" fmla="*/ 10830 w 17018"/>
                <a:gd name="connsiteY24" fmla="*/ 716 h 17006"/>
                <a:gd name="connsiteX25" fmla="*/ 11127 w 17018"/>
                <a:gd name="connsiteY25" fmla="*/ 1075 h 17006"/>
                <a:gd name="connsiteX26" fmla="*/ 11127 w 17018"/>
                <a:gd name="connsiteY26" fmla="*/ 1970 h 17006"/>
                <a:gd name="connsiteX27" fmla="*/ 10830 w 17018"/>
                <a:gd name="connsiteY27" fmla="*/ 2268 h 17006"/>
                <a:gd name="connsiteX28" fmla="*/ 10473 w 17018"/>
                <a:gd name="connsiteY28" fmla="*/ 1970 h 17006"/>
                <a:gd name="connsiteX29" fmla="*/ 10473 w 17018"/>
                <a:gd name="connsiteY29" fmla="*/ 1075 h 17006"/>
                <a:gd name="connsiteX30" fmla="*/ 6545 w 17018"/>
                <a:gd name="connsiteY30" fmla="*/ 6564 h 17006"/>
                <a:gd name="connsiteX31" fmla="*/ 5653 w 17018"/>
                <a:gd name="connsiteY31" fmla="*/ 6564 h 17006"/>
                <a:gd name="connsiteX32" fmla="*/ 5296 w 17018"/>
                <a:gd name="connsiteY32" fmla="*/ 6206 h 17006"/>
                <a:gd name="connsiteX33" fmla="*/ 5653 w 17018"/>
                <a:gd name="connsiteY33" fmla="*/ 5908 h 17006"/>
                <a:gd name="connsiteX34" fmla="*/ 6545 w 17018"/>
                <a:gd name="connsiteY34" fmla="*/ 5908 h 17006"/>
                <a:gd name="connsiteX35" fmla="*/ 6843 w 17018"/>
                <a:gd name="connsiteY35" fmla="*/ 6206 h 17006"/>
                <a:gd name="connsiteX36" fmla="*/ 6545 w 17018"/>
                <a:gd name="connsiteY36" fmla="*/ 6564 h 17006"/>
                <a:gd name="connsiteX37" fmla="*/ 7974 w 17018"/>
                <a:gd name="connsiteY37" fmla="*/ 9488 h 17006"/>
                <a:gd name="connsiteX38" fmla="*/ 7379 w 17018"/>
                <a:gd name="connsiteY38" fmla="*/ 10084 h 17006"/>
                <a:gd name="connsiteX39" fmla="*/ 6902 w 17018"/>
                <a:gd name="connsiteY39" fmla="*/ 10084 h 17006"/>
                <a:gd name="connsiteX40" fmla="*/ 6902 w 17018"/>
                <a:gd name="connsiteY40" fmla="*/ 9667 h 17006"/>
                <a:gd name="connsiteX41" fmla="*/ 7557 w 17018"/>
                <a:gd name="connsiteY41" fmla="*/ 9010 h 17006"/>
                <a:gd name="connsiteX42" fmla="*/ 7974 w 17018"/>
                <a:gd name="connsiteY42" fmla="*/ 9010 h 17006"/>
                <a:gd name="connsiteX43" fmla="*/ 7974 w 17018"/>
                <a:gd name="connsiteY43" fmla="*/ 9488 h 17006"/>
                <a:gd name="connsiteX44" fmla="*/ 7974 w 17018"/>
                <a:gd name="connsiteY44" fmla="*/ 3402 h 17006"/>
                <a:gd name="connsiteX45" fmla="*/ 7557 w 17018"/>
                <a:gd name="connsiteY45" fmla="*/ 3402 h 17006"/>
                <a:gd name="connsiteX46" fmla="*/ 6902 w 17018"/>
                <a:gd name="connsiteY46" fmla="*/ 2805 h 17006"/>
                <a:gd name="connsiteX47" fmla="*/ 6902 w 17018"/>
                <a:gd name="connsiteY47" fmla="*/ 2328 h 17006"/>
                <a:gd name="connsiteX48" fmla="*/ 7379 w 17018"/>
                <a:gd name="connsiteY48" fmla="*/ 2328 h 17006"/>
                <a:gd name="connsiteX49" fmla="*/ 7974 w 17018"/>
                <a:gd name="connsiteY49" fmla="*/ 2984 h 17006"/>
                <a:gd name="connsiteX50" fmla="*/ 7974 w 17018"/>
                <a:gd name="connsiteY50" fmla="*/ 3402 h 17006"/>
                <a:gd name="connsiteX51" fmla="*/ 11127 w 17018"/>
                <a:gd name="connsiteY51" fmla="*/ 11397 h 17006"/>
                <a:gd name="connsiteX52" fmla="*/ 10830 w 17018"/>
                <a:gd name="connsiteY52" fmla="*/ 11696 h 17006"/>
                <a:gd name="connsiteX53" fmla="*/ 10473 w 17018"/>
                <a:gd name="connsiteY53" fmla="*/ 11397 h 17006"/>
                <a:gd name="connsiteX54" fmla="*/ 10473 w 17018"/>
                <a:gd name="connsiteY54" fmla="*/ 10502 h 17006"/>
                <a:gd name="connsiteX55" fmla="*/ 10830 w 17018"/>
                <a:gd name="connsiteY55" fmla="*/ 10204 h 17006"/>
                <a:gd name="connsiteX56" fmla="*/ 11127 w 17018"/>
                <a:gd name="connsiteY56" fmla="*/ 10502 h 17006"/>
                <a:gd name="connsiteX57" fmla="*/ 11127 w 17018"/>
                <a:gd name="connsiteY57" fmla="*/ 11397 h 17006"/>
                <a:gd name="connsiteX58" fmla="*/ 13031 w 17018"/>
                <a:gd name="connsiteY58" fmla="*/ 10920 h 17006"/>
                <a:gd name="connsiteX59" fmla="*/ 12436 w 17018"/>
                <a:gd name="connsiteY59" fmla="*/ 10741 h 17006"/>
                <a:gd name="connsiteX60" fmla="*/ 10889 w 17018"/>
                <a:gd name="connsiteY60" fmla="*/ 7459 h 17006"/>
                <a:gd name="connsiteX61" fmla="*/ 10830 w 17018"/>
                <a:gd name="connsiteY61" fmla="*/ 7459 h 17006"/>
                <a:gd name="connsiteX62" fmla="*/ 9521 w 17018"/>
                <a:gd name="connsiteY62" fmla="*/ 6206 h 17006"/>
                <a:gd name="connsiteX63" fmla="*/ 10294 w 17018"/>
                <a:gd name="connsiteY63" fmla="*/ 5072 h 17006"/>
                <a:gd name="connsiteX64" fmla="*/ 10294 w 17018"/>
                <a:gd name="connsiteY64" fmla="*/ 3342 h 17006"/>
                <a:gd name="connsiteX65" fmla="*/ 10770 w 17018"/>
                <a:gd name="connsiteY65" fmla="*/ 2865 h 17006"/>
                <a:gd name="connsiteX66" fmla="*/ 11246 w 17018"/>
                <a:gd name="connsiteY66" fmla="*/ 3342 h 17006"/>
                <a:gd name="connsiteX67" fmla="*/ 11246 w 17018"/>
                <a:gd name="connsiteY67" fmla="*/ 5013 h 17006"/>
                <a:gd name="connsiteX68" fmla="*/ 12079 w 17018"/>
                <a:gd name="connsiteY68" fmla="*/ 6206 h 17006"/>
                <a:gd name="connsiteX69" fmla="*/ 11722 w 17018"/>
                <a:gd name="connsiteY69" fmla="*/ 7101 h 17006"/>
                <a:gd name="connsiteX70" fmla="*/ 13269 w 17018"/>
                <a:gd name="connsiteY70" fmla="*/ 10323 h 17006"/>
                <a:gd name="connsiteX71" fmla="*/ 13031 w 17018"/>
                <a:gd name="connsiteY71" fmla="*/ 10920 h 17006"/>
                <a:gd name="connsiteX72" fmla="*/ 14698 w 17018"/>
                <a:gd name="connsiteY72" fmla="*/ 10084 h 17006"/>
                <a:gd name="connsiteX73" fmla="*/ 14221 w 17018"/>
                <a:gd name="connsiteY73" fmla="*/ 10084 h 17006"/>
                <a:gd name="connsiteX74" fmla="*/ 13626 w 17018"/>
                <a:gd name="connsiteY74" fmla="*/ 9488 h 17006"/>
                <a:gd name="connsiteX75" fmla="*/ 13626 w 17018"/>
                <a:gd name="connsiteY75" fmla="*/ 9010 h 17006"/>
                <a:gd name="connsiteX76" fmla="*/ 14043 w 17018"/>
                <a:gd name="connsiteY76" fmla="*/ 9010 h 17006"/>
                <a:gd name="connsiteX77" fmla="*/ 14698 w 17018"/>
                <a:gd name="connsiteY77" fmla="*/ 9667 h 17006"/>
                <a:gd name="connsiteX78" fmla="*/ 14698 w 17018"/>
                <a:gd name="connsiteY78" fmla="*/ 10084 h 17006"/>
                <a:gd name="connsiteX79" fmla="*/ 16304 w 17018"/>
                <a:gd name="connsiteY79" fmla="*/ 6206 h 17006"/>
                <a:gd name="connsiteX80" fmla="*/ 15947 w 17018"/>
                <a:gd name="connsiteY80" fmla="*/ 6564 h 17006"/>
                <a:gd name="connsiteX81" fmla="*/ 15055 w 17018"/>
                <a:gd name="connsiteY81" fmla="*/ 6564 h 17006"/>
                <a:gd name="connsiteX82" fmla="*/ 14757 w 17018"/>
                <a:gd name="connsiteY82" fmla="*/ 6206 h 17006"/>
                <a:gd name="connsiteX83" fmla="*/ 15055 w 17018"/>
                <a:gd name="connsiteY83" fmla="*/ 5908 h 17006"/>
                <a:gd name="connsiteX84" fmla="*/ 15947 w 17018"/>
                <a:gd name="connsiteY84" fmla="*/ 5908 h 17006"/>
                <a:gd name="connsiteX85" fmla="*/ 16304 w 17018"/>
                <a:gd name="connsiteY85" fmla="*/ 6206 h 17006"/>
                <a:gd name="connsiteX86" fmla="*/ 16304 w 17018"/>
                <a:gd name="connsiteY86" fmla="*/ 6206 h 17006"/>
                <a:gd name="connsiteX0" fmla="*/ 10830 w 17018"/>
                <a:gd name="connsiteY0" fmla="*/ 5609 h 17006"/>
                <a:gd name="connsiteX1" fmla="*/ 10175 w 17018"/>
                <a:gd name="connsiteY1" fmla="*/ 6206 h 17006"/>
                <a:gd name="connsiteX2" fmla="*/ 10830 w 17018"/>
                <a:gd name="connsiteY2" fmla="*/ 6803 h 17006"/>
                <a:gd name="connsiteX3" fmla="*/ 11425 w 17018"/>
                <a:gd name="connsiteY3" fmla="*/ 6206 h 17006"/>
                <a:gd name="connsiteX4" fmla="*/ 10830 w 17018"/>
                <a:gd name="connsiteY4" fmla="*/ 5609 h 17006"/>
                <a:gd name="connsiteX5" fmla="*/ 10830 w 17018"/>
                <a:gd name="connsiteY5" fmla="*/ 17006 h 17006"/>
                <a:gd name="connsiteX6" fmla="*/ 0 w 17018"/>
                <a:gd name="connsiteY6" fmla="*/ 6206 h 17006"/>
                <a:gd name="connsiteX7" fmla="*/ 10830 w 17018"/>
                <a:gd name="connsiteY7" fmla="*/ 17006 h 17006"/>
                <a:gd name="connsiteX8" fmla="*/ 10830 w 17018"/>
                <a:gd name="connsiteY8" fmla="*/ 0 h 17006"/>
                <a:gd name="connsiteX9" fmla="*/ 4582 w 17018"/>
                <a:gd name="connsiteY9" fmla="*/ 6206 h 17006"/>
                <a:gd name="connsiteX10" fmla="*/ 10830 w 17018"/>
                <a:gd name="connsiteY10" fmla="*/ 12471 h 17006"/>
                <a:gd name="connsiteX11" fmla="*/ 17018 w 17018"/>
                <a:gd name="connsiteY11" fmla="*/ 6206 h 17006"/>
                <a:gd name="connsiteX12" fmla="*/ 10830 w 17018"/>
                <a:gd name="connsiteY12" fmla="*/ 0 h 17006"/>
                <a:gd name="connsiteX13" fmla="*/ 13626 w 17018"/>
                <a:gd name="connsiteY13" fmla="*/ 2984 h 17006"/>
                <a:gd name="connsiteX14" fmla="*/ 14221 w 17018"/>
                <a:gd name="connsiteY14" fmla="*/ 2328 h 17006"/>
                <a:gd name="connsiteX15" fmla="*/ 14698 w 17018"/>
                <a:gd name="connsiteY15" fmla="*/ 2328 h 17006"/>
                <a:gd name="connsiteX16" fmla="*/ 14698 w 17018"/>
                <a:gd name="connsiteY16" fmla="*/ 2805 h 17006"/>
                <a:gd name="connsiteX17" fmla="*/ 14043 w 17018"/>
                <a:gd name="connsiteY17" fmla="*/ 3402 h 17006"/>
                <a:gd name="connsiteX18" fmla="*/ 13626 w 17018"/>
                <a:gd name="connsiteY18" fmla="*/ 3402 h 17006"/>
                <a:gd name="connsiteX19" fmla="*/ 13626 w 17018"/>
                <a:gd name="connsiteY19" fmla="*/ 2984 h 17006"/>
                <a:gd name="connsiteX20" fmla="*/ 10473 w 17018"/>
                <a:gd name="connsiteY20" fmla="*/ 1075 h 17006"/>
                <a:gd name="connsiteX21" fmla="*/ 10830 w 17018"/>
                <a:gd name="connsiteY21" fmla="*/ 716 h 17006"/>
                <a:gd name="connsiteX22" fmla="*/ 11127 w 17018"/>
                <a:gd name="connsiteY22" fmla="*/ 1075 h 17006"/>
                <a:gd name="connsiteX23" fmla="*/ 11127 w 17018"/>
                <a:gd name="connsiteY23" fmla="*/ 1970 h 17006"/>
                <a:gd name="connsiteX24" fmla="*/ 10830 w 17018"/>
                <a:gd name="connsiteY24" fmla="*/ 2268 h 17006"/>
                <a:gd name="connsiteX25" fmla="*/ 10473 w 17018"/>
                <a:gd name="connsiteY25" fmla="*/ 1970 h 17006"/>
                <a:gd name="connsiteX26" fmla="*/ 10473 w 17018"/>
                <a:gd name="connsiteY26" fmla="*/ 1075 h 17006"/>
                <a:gd name="connsiteX27" fmla="*/ 6545 w 17018"/>
                <a:gd name="connsiteY27" fmla="*/ 6564 h 17006"/>
                <a:gd name="connsiteX28" fmla="*/ 5653 w 17018"/>
                <a:gd name="connsiteY28" fmla="*/ 6564 h 17006"/>
                <a:gd name="connsiteX29" fmla="*/ 5296 w 17018"/>
                <a:gd name="connsiteY29" fmla="*/ 6206 h 17006"/>
                <a:gd name="connsiteX30" fmla="*/ 5653 w 17018"/>
                <a:gd name="connsiteY30" fmla="*/ 5908 h 17006"/>
                <a:gd name="connsiteX31" fmla="*/ 6545 w 17018"/>
                <a:gd name="connsiteY31" fmla="*/ 5908 h 17006"/>
                <a:gd name="connsiteX32" fmla="*/ 6843 w 17018"/>
                <a:gd name="connsiteY32" fmla="*/ 6206 h 17006"/>
                <a:gd name="connsiteX33" fmla="*/ 6545 w 17018"/>
                <a:gd name="connsiteY33" fmla="*/ 6564 h 17006"/>
                <a:gd name="connsiteX34" fmla="*/ 7974 w 17018"/>
                <a:gd name="connsiteY34" fmla="*/ 9488 h 17006"/>
                <a:gd name="connsiteX35" fmla="*/ 7379 w 17018"/>
                <a:gd name="connsiteY35" fmla="*/ 10084 h 17006"/>
                <a:gd name="connsiteX36" fmla="*/ 6902 w 17018"/>
                <a:gd name="connsiteY36" fmla="*/ 10084 h 17006"/>
                <a:gd name="connsiteX37" fmla="*/ 6902 w 17018"/>
                <a:gd name="connsiteY37" fmla="*/ 9667 h 17006"/>
                <a:gd name="connsiteX38" fmla="*/ 7557 w 17018"/>
                <a:gd name="connsiteY38" fmla="*/ 9010 h 17006"/>
                <a:gd name="connsiteX39" fmla="*/ 7974 w 17018"/>
                <a:gd name="connsiteY39" fmla="*/ 9010 h 17006"/>
                <a:gd name="connsiteX40" fmla="*/ 7974 w 17018"/>
                <a:gd name="connsiteY40" fmla="*/ 9488 h 17006"/>
                <a:gd name="connsiteX41" fmla="*/ 7974 w 17018"/>
                <a:gd name="connsiteY41" fmla="*/ 3402 h 17006"/>
                <a:gd name="connsiteX42" fmla="*/ 7557 w 17018"/>
                <a:gd name="connsiteY42" fmla="*/ 3402 h 17006"/>
                <a:gd name="connsiteX43" fmla="*/ 6902 w 17018"/>
                <a:gd name="connsiteY43" fmla="*/ 2805 h 17006"/>
                <a:gd name="connsiteX44" fmla="*/ 6902 w 17018"/>
                <a:gd name="connsiteY44" fmla="*/ 2328 h 17006"/>
                <a:gd name="connsiteX45" fmla="*/ 7379 w 17018"/>
                <a:gd name="connsiteY45" fmla="*/ 2328 h 17006"/>
                <a:gd name="connsiteX46" fmla="*/ 7974 w 17018"/>
                <a:gd name="connsiteY46" fmla="*/ 2984 h 17006"/>
                <a:gd name="connsiteX47" fmla="*/ 7974 w 17018"/>
                <a:gd name="connsiteY47" fmla="*/ 3402 h 17006"/>
                <a:gd name="connsiteX48" fmla="*/ 11127 w 17018"/>
                <a:gd name="connsiteY48" fmla="*/ 11397 h 17006"/>
                <a:gd name="connsiteX49" fmla="*/ 10830 w 17018"/>
                <a:gd name="connsiteY49" fmla="*/ 11696 h 17006"/>
                <a:gd name="connsiteX50" fmla="*/ 10473 w 17018"/>
                <a:gd name="connsiteY50" fmla="*/ 11397 h 17006"/>
                <a:gd name="connsiteX51" fmla="*/ 10473 w 17018"/>
                <a:gd name="connsiteY51" fmla="*/ 10502 h 17006"/>
                <a:gd name="connsiteX52" fmla="*/ 10830 w 17018"/>
                <a:gd name="connsiteY52" fmla="*/ 10204 h 17006"/>
                <a:gd name="connsiteX53" fmla="*/ 11127 w 17018"/>
                <a:gd name="connsiteY53" fmla="*/ 10502 h 17006"/>
                <a:gd name="connsiteX54" fmla="*/ 11127 w 17018"/>
                <a:gd name="connsiteY54" fmla="*/ 11397 h 17006"/>
                <a:gd name="connsiteX55" fmla="*/ 13031 w 17018"/>
                <a:gd name="connsiteY55" fmla="*/ 10920 h 17006"/>
                <a:gd name="connsiteX56" fmla="*/ 12436 w 17018"/>
                <a:gd name="connsiteY56" fmla="*/ 10741 h 17006"/>
                <a:gd name="connsiteX57" fmla="*/ 10889 w 17018"/>
                <a:gd name="connsiteY57" fmla="*/ 7459 h 17006"/>
                <a:gd name="connsiteX58" fmla="*/ 10830 w 17018"/>
                <a:gd name="connsiteY58" fmla="*/ 7459 h 17006"/>
                <a:gd name="connsiteX59" fmla="*/ 9521 w 17018"/>
                <a:gd name="connsiteY59" fmla="*/ 6206 h 17006"/>
                <a:gd name="connsiteX60" fmla="*/ 10294 w 17018"/>
                <a:gd name="connsiteY60" fmla="*/ 5072 h 17006"/>
                <a:gd name="connsiteX61" fmla="*/ 10294 w 17018"/>
                <a:gd name="connsiteY61" fmla="*/ 3342 h 17006"/>
                <a:gd name="connsiteX62" fmla="*/ 10770 w 17018"/>
                <a:gd name="connsiteY62" fmla="*/ 2865 h 17006"/>
                <a:gd name="connsiteX63" fmla="*/ 11246 w 17018"/>
                <a:gd name="connsiteY63" fmla="*/ 3342 h 17006"/>
                <a:gd name="connsiteX64" fmla="*/ 11246 w 17018"/>
                <a:gd name="connsiteY64" fmla="*/ 5013 h 17006"/>
                <a:gd name="connsiteX65" fmla="*/ 12079 w 17018"/>
                <a:gd name="connsiteY65" fmla="*/ 6206 h 17006"/>
                <a:gd name="connsiteX66" fmla="*/ 11722 w 17018"/>
                <a:gd name="connsiteY66" fmla="*/ 7101 h 17006"/>
                <a:gd name="connsiteX67" fmla="*/ 13269 w 17018"/>
                <a:gd name="connsiteY67" fmla="*/ 10323 h 17006"/>
                <a:gd name="connsiteX68" fmla="*/ 13031 w 17018"/>
                <a:gd name="connsiteY68" fmla="*/ 10920 h 17006"/>
                <a:gd name="connsiteX69" fmla="*/ 14698 w 17018"/>
                <a:gd name="connsiteY69" fmla="*/ 10084 h 17006"/>
                <a:gd name="connsiteX70" fmla="*/ 14221 w 17018"/>
                <a:gd name="connsiteY70" fmla="*/ 10084 h 17006"/>
                <a:gd name="connsiteX71" fmla="*/ 13626 w 17018"/>
                <a:gd name="connsiteY71" fmla="*/ 9488 h 17006"/>
                <a:gd name="connsiteX72" fmla="*/ 13626 w 17018"/>
                <a:gd name="connsiteY72" fmla="*/ 9010 h 17006"/>
                <a:gd name="connsiteX73" fmla="*/ 14043 w 17018"/>
                <a:gd name="connsiteY73" fmla="*/ 9010 h 17006"/>
                <a:gd name="connsiteX74" fmla="*/ 14698 w 17018"/>
                <a:gd name="connsiteY74" fmla="*/ 9667 h 17006"/>
                <a:gd name="connsiteX75" fmla="*/ 14698 w 17018"/>
                <a:gd name="connsiteY75" fmla="*/ 10084 h 17006"/>
                <a:gd name="connsiteX76" fmla="*/ 16304 w 17018"/>
                <a:gd name="connsiteY76" fmla="*/ 6206 h 17006"/>
                <a:gd name="connsiteX77" fmla="*/ 15947 w 17018"/>
                <a:gd name="connsiteY77" fmla="*/ 6564 h 17006"/>
                <a:gd name="connsiteX78" fmla="*/ 15055 w 17018"/>
                <a:gd name="connsiteY78" fmla="*/ 6564 h 17006"/>
                <a:gd name="connsiteX79" fmla="*/ 14757 w 17018"/>
                <a:gd name="connsiteY79" fmla="*/ 6206 h 17006"/>
                <a:gd name="connsiteX80" fmla="*/ 15055 w 17018"/>
                <a:gd name="connsiteY80" fmla="*/ 5908 h 17006"/>
                <a:gd name="connsiteX81" fmla="*/ 15947 w 17018"/>
                <a:gd name="connsiteY81" fmla="*/ 5908 h 17006"/>
                <a:gd name="connsiteX82" fmla="*/ 16304 w 17018"/>
                <a:gd name="connsiteY82" fmla="*/ 6206 h 17006"/>
                <a:gd name="connsiteX83" fmla="*/ 16304 w 17018"/>
                <a:gd name="connsiteY83" fmla="*/ 6206 h 17006"/>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8449 w 12436"/>
                <a:gd name="connsiteY52" fmla="*/ 10920 h 12471"/>
                <a:gd name="connsiteX53" fmla="*/ 7854 w 12436"/>
                <a:gd name="connsiteY53" fmla="*/ 10741 h 12471"/>
                <a:gd name="connsiteX54" fmla="*/ 6307 w 12436"/>
                <a:gd name="connsiteY54" fmla="*/ 7459 h 12471"/>
                <a:gd name="connsiteX55" fmla="*/ 6248 w 12436"/>
                <a:gd name="connsiteY55" fmla="*/ 7459 h 12471"/>
                <a:gd name="connsiteX56" fmla="*/ 4939 w 12436"/>
                <a:gd name="connsiteY56" fmla="*/ 6206 h 12471"/>
                <a:gd name="connsiteX57" fmla="*/ 5712 w 12436"/>
                <a:gd name="connsiteY57" fmla="*/ 5072 h 12471"/>
                <a:gd name="connsiteX58" fmla="*/ 5712 w 12436"/>
                <a:gd name="connsiteY58" fmla="*/ 3342 h 12471"/>
                <a:gd name="connsiteX59" fmla="*/ 6188 w 12436"/>
                <a:gd name="connsiteY59" fmla="*/ 2865 h 12471"/>
                <a:gd name="connsiteX60" fmla="*/ 6664 w 12436"/>
                <a:gd name="connsiteY60" fmla="*/ 3342 h 12471"/>
                <a:gd name="connsiteX61" fmla="*/ 6664 w 12436"/>
                <a:gd name="connsiteY61" fmla="*/ 5013 h 12471"/>
                <a:gd name="connsiteX62" fmla="*/ 7497 w 12436"/>
                <a:gd name="connsiteY62" fmla="*/ 6206 h 12471"/>
                <a:gd name="connsiteX63" fmla="*/ 7140 w 12436"/>
                <a:gd name="connsiteY63" fmla="*/ 7101 h 12471"/>
                <a:gd name="connsiteX64" fmla="*/ 8687 w 12436"/>
                <a:gd name="connsiteY64" fmla="*/ 10323 h 12471"/>
                <a:gd name="connsiteX65" fmla="*/ 8449 w 12436"/>
                <a:gd name="connsiteY65" fmla="*/ 10920 h 12471"/>
                <a:gd name="connsiteX66" fmla="*/ 10116 w 12436"/>
                <a:gd name="connsiteY66" fmla="*/ 10084 h 12471"/>
                <a:gd name="connsiteX67" fmla="*/ 9639 w 12436"/>
                <a:gd name="connsiteY67" fmla="*/ 10084 h 12471"/>
                <a:gd name="connsiteX68" fmla="*/ 9044 w 12436"/>
                <a:gd name="connsiteY68" fmla="*/ 9488 h 12471"/>
                <a:gd name="connsiteX69" fmla="*/ 9044 w 12436"/>
                <a:gd name="connsiteY69" fmla="*/ 9010 h 12471"/>
                <a:gd name="connsiteX70" fmla="*/ 9461 w 12436"/>
                <a:gd name="connsiteY70" fmla="*/ 9010 h 12471"/>
                <a:gd name="connsiteX71" fmla="*/ 10116 w 12436"/>
                <a:gd name="connsiteY71" fmla="*/ 9667 h 12471"/>
                <a:gd name="connsiteX72" fmla="*/ 10116 w 12436"/>
                <a:gd name="connsiteY72" fmla="*/ 10084 h 12471"/>
                <a:gd name="connsiteX73" fmla="*/ 11722 w 12436"/>
                <a:gd name="connsiteY73" fmla="*/ 6206 h 12471"/>
                <a:gd name="connsiteX74" fmla="*/ 11365 w 12436"/>
                <a:gd name="connsiteY74" fmla="*/ 6564 h 12471"/>
                <a:gd name="connsiteX75" fmla="*/ 10473 w 12436"/>
                <a:gd name="connsiteY75" fmla="*/ 6564 h 12471"/>
                <a:gd name="connsiteX76" fmla="*/ 10175 w 12436"/>
                <a:gd name="connsiteY76" fmla="*/ 6206 h 12471"/>
                <a:gd name="connsiteX77" fmla="*/ 10473 w 12436"/>
                <a:gd name="connsiteY77" fmla="*/ 5908 h 12471"/>
                <a:gd name="connsiteX78" fmla="*/ 11365 w 12436"/>
                <a:gd name="connsiteY78" fmla="*/ 5908 h 12471"/>
                <a:gd name="connsiteX79" fmla="*/ 11722 w 12436"/>
                <a:gd name="connsiteY79" fmla="*/ 6206 h 12471"/>
                <a:gd name="connsiteX80" fmla="*/ 11722 w 12436"/>
                <a:gd name="connsiteY80"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8449 w 12436"/>
                <a:gd name="connsiteY52" fmla="*/ 10920 h 12471"/>
                <a:gd name="connsiteX53" fmla="*/ 7854 w 12436"/>
                <a:gd name="connsiteY53" fmla="*/ 10741 h 12471"/>
                <a:gd name="connsiteX54" fmla="*/ 6307 w 12436"/>
                <a:gd name="connsiteY54" fmla="*/ 7459 h 12471"/>
                <a:gd name="connsiteX55" fmla="*/ 6248 w 12436"/>
                <a:gd name="connsiteY55" fmla="*/ 7459 h 12471"/>
                <a:gd name="connsiteX56" fmla="*/ 4939 w 12436"/>
                <a:gd name="connsiteY56" fmla="*/ 6206 h 12471"/>
                <a:gd name="connsiteX57" fmla="*/ 5712 w 12436"/>
                <a:gd name="connsiteY57" fmla="*/ 5072 h 12471"/>
                <a:gd name="connsiteX58" fmla="*/ 5712 w 12436"/>
                <a:gd name="connsiteY58" fmla="*/ 3342 h 12471"/>
                <a:gd name="connsiteX59" fmla="*/ 6188 w 12436"/>
                <a:gd name="connsiteY59" fmla="*/ 2865 h 12471"/>
                <a:gd name="connsiteX60" fmla="*/ 6664 w 12436"/>
                <a:gd name="connsiteY60" fmla="*/ 3342 h 12471"/>
                <a:gd name="connsiteX61" fmla="*/ 6664 w 12436"/>
                <a:gd name="connsiteY61" fmla="*/ 5013 h 12471"/>
                <a:gd name="connsiteX62" fmla="*/ 7497 w 12436"/>
                <a:gd name="connsiteY62" fmla="*/ 6206 h 12471"/>
                <a:gd name="connsiteX63" fmla="*/ 7140 w 12436"/>
                <a:gd name="connsiteY63" fmla="*/ 7101 h 12471"/>
                <a:gd name="connsiteX64" fmla="*/ 8449 w 12436"/>
                <a:gd name="connsiteY64" fmla="*/ 10920 h 12471"/>
                <a:gd name="connsiteX65" fmla="*/ 10116 w 12436"/>
                <a:gd name="connsiteY65" fmla="*/ 10084 h 12471"/>
                <a:gd name="connsiteX66" fmla="*/ 9639 w 12436"/>
                <a:gd name="connsiteY66" fmla="*/ 10084 h 12471"/>
                <a:gd name="connsiteX67" fmla="*/ 9044 w 12436"/>
                <a:gd name="connsiteY67" fmla="*/ 9488 h 12471"/>
                <a:gd name="connsiteX68" fmla="*/ 9044 w 12436"/>
                <a:gd name="connsiteY68" fmla="*/ 9010 h 12471"/>
                <a:gd name="connsiteX69" fmla="*/ 9461 w 12436"/>
                <a:gd name="connsiteY69" fmla="*/ 9010 h 12471"/>
                <a:gd name="connsiteX70" fmla="*/ 10116 w 12436"/>
                <a:gd name="connsiteY70" fmla="*/ 9667 h 12471"/>
                <a:gd name="connsiteX71" fmla="*/ 10116 w 12436"/>
                <a:gd name="connsiteY71" fmla="*/ 10084 h 12471"/>
                <a:gd name="connsiteX72" fmla="*/ 11722 w 12436"/>
                <a:gd name="connsiteY72" fmla="*/ 6206 h 12471"/>
                <a:gd name="connsiteX73" fmla="*/ 11365 w 12436"/>
                <a:gd name="connsiteY73" fmla="*/ 6564 h 12471"/>
                <a:gd name="connsiteX74" fmla="*/ 10473 w 12436"/>
                <a:gd name="connsiteY74" fmla="*/ 6564 h 12471"/>
                <a:gd name="connsiteX75" fmla="*/ 10175 w 12436"/>
                <a:gd name="connsiteY75" fmla="*/ 6206 h 12471"/>
                <a:gd name="connsiteX76" fmla="*/ 10473 w 12436"/>
                <a:gd name="connsiteY76" fmla="*/ 5908 h 12471"/>
                <a:gd name="connsiteX77" fmla="*/ 11365 w 12436"/>
                <a:gd name="connsiteY77" fmla="*/ 5908 h 12471"/>
                <a:gd name="connsiteX78" fmla="*/ 11722 w 12436"/>
                <a:gd name="connsiteY78" fmla="*/ 6206 h 12471"/>
                <a:gd name="connsiteX79" fmla="*/ 11722 w 12436"/>
                <a:gd name="connsiteY79"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7854 w 12436"/>
                <a:gd name="connsiteY53" fmla="*/ 10741 h 12471"/>
                <a:gd name="connsiteX54" fmla="*/ 6307 w 12436"/>
                <a:gd name="connsiteY54" fmla="*/ 7459 h 12471"/>
                <a:gd name="connsiteX55" fmla="*/ 6248 w 12436"/>
                <a:gd name="connsiteY55" fmla="*/ 7459 h 12471"/>
                <a:gd name="connsiteX56" fmla="*/ 4939 w 12436"/>
                <a:gd name="connsiteY56" fmla="*/ 6206 h 12471"/>
                <a:gd name="connsiteX57" fmla="*/ 5712 w 12436"/>
                <a:gd name="connsiteY57" fmla="*/ 5072 h 12471"/>
                <a:gd name="connsiteX58" fmla="*/ 5712 w 12436"/>
                <a:gd name="connsiteY58" fmla="*/ 3342 h 12471"/>
                <a:gd name="connsiteX59" fmla="*/ 6188 w 12436"/>
                <a:gd name="connsiteY59" fmla="*/ 2865 h 12471"/>
                <a:gd name="connsiteX60" fmla="*/ 6664 w 12436"/>
                <a:gd name="connsiteY60" fmla="*/ 3342 h 12471"/>
                <a:gd name="connsiteX61" fmla="*/ 6664 w 12436"/>
                <a:gd name="connsiteY61" fmla="*/ 5013 h 12471"/>
                <a:gd name="connsiteX62" fmla="*/ 7497 w 12436"/>
                <a:gd name="connsiteY62" fmla="*/ 6206 h 12471"/>
                <a:gd name="connsiteX63" fmla="*/ 7140 w 12436"/>
                <a:gd name="connsiteY63" fmla="*/ 7101 h 12471"/>
                <a:gd name="connsiteX64" fmla="*/ 10116 w 12436"/>
                <a:gd name="connsiteY64" fmla="*/ 10084 h 12471"/>
                <a:gd name="connsiteX65" fmla="*/ 9639 w 12436"/>
                <a:gd name="connsiteY65" fmla="*/ 10084 h 12471"/>
                <a:gd name="connsiteX66" fmla="*/ 9044 w 12436"/>
                <a:gd name="connsiteY66" fmla="*/ 9488 h 12471"/>
                <a:gd name="connsiteX67" fmla="*/ 9044 w 12436"/>
                <a:gd name="connsiteY67" fmla="*/ 9010 h 12471"/>
                <a:gd name="connsiteX68" fmla="*/ 9461 w 12436"/>
                <a:gd name="connsiteY68" fmla="*/ 9010 h 12471"/>
                <a:gd name="connsiteX69" fmla="*/ 10116 w 12436"/>
                <a:gd name="connsiteY69" fmla="*/ 9667 h 12471"/>
                <a:gd name="connsiteX70" fmla="*/ 10116 w 12436"/>
                <a:gd name="connsiteY70" fmla="*/ 10084 h 12471"/>
                <a:gd name="connsiteX71" fmla="*/ 11722 w 12436"/>
                <a:gd name="connsiteY71" fmla="*/ 6206 h 12471"/>
                <a:gd name="connsiteX72" fmla="*/ 11365 w 12436"/>
                <a:gd name="connsiteY72" fmla="*/ 6564 h 12471"/>
                <a:gd name="connsiteX73" fmla="*/ 10473 w 12436"/>
                <a:gd name="connsiteY73" fmla="*/ 6564 h 12471"/>
                <a:gd name="connsiteX74" fmla="*/ 10175 w 12436"/>
                <a:gd name="connsiteY74" fmla="*/ 6206 h 12471"/>
                <a:gd name="connsiteX75" fmla="*/ 10473 w 12436"/>
                <a:gd name="connsiteY75" fmla="*/ 5908 h 12471"/>
                <a:gd name="connsiteX76" fmla="*/ 11365 w 12436"/>
                <a:gd name="connsiteY76" fmla="*/ 5908 h 12471"/>
                <a:gd name="connsiteX77" fmla="*/ 11722 w 12436"/>
                <a:gd name="connsiteY77" fmla="*/ 6206 h 12471"/>
                <a:gd name="connsiteX78" fmla="*/ 11722 w 12436"/>
                <a:gd name="connsiteY78"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 name="connsiteX0" fmla="*/ 6248 w 12436"/>
                <a:gd name="connsiteY0" fmla="*/ 5609 h 12471"/>
                <a:gd name="connsiteX1" fmla="*/ 5593 w 12436"/>
                <a:gd name="connsiteY1" fmla="*/ 6206 h 12471"/>
                <a:gd name="connsiteX2" fmla="*/ 6248 w 12436"/>
                <a:gd name="connsiteY2" fmla="*/ 6803 h 12471"/>
                <a:gd name="connsiteX3" fmla="*/ 6843 w 12436"/>
                <a:gd name="connsiteY3" fmla="*/ 6206 h 12471"/>
                <a:gd name="connsiteX4" fmla="*/ 6248 w 12436"/>
                <a:gd name="connsiteY4" fmla="*/ 5609 h 12471"/>
                <a:gd name="connsiteX5" fmla="*/ 6248 w 12436"/>
                <a:gd name="connsiteY5" fmla="*/ 0 h 12471"/>
                <a:gd name="connsiteX6" fmla="*/ 0 w 12436"/>
                <a:gd name="connsiteY6" fmla="*/ 6206 h 12471"/>
                <a:gd name="connsiteX7" fmla="*/ 6248 w 12436"/>
                <a:gd name="connsiteY7" fmla="*/ 12471 h 12471"/>
                <a:gd name="connsiteX8" fmla="*/ 12436 w 12436"/>
                <a:gd name="connsiteY8" fmla="*/ 6206 h 12471"/>
                <a:gd name="connsiteX9" fmla="*/ 6248 w 12436"/>
                <a:gd name="connsiteY9" fmla="*/ 0 h 12471"/>
                <a:gd name="connsiteX10" fmla="*/ 9044 w 12436"/>
                <a:gd name="connsiteY10" fmla="*/ 2984 h 12471"/>
                <a:gd name="connsiteX11" fmla="*/ 9639 w 12436"/>
                <a:gd name="connsiteY11" fmla="*/ 2328 h 12471"/>
                <a:gd name="connsiteX12" fmla="*/ 10116 w 12436"/>
                <a:gd name="connsiteY12" fmla="*/ 2328 h 12471"/>
                <a:gd name="connsiteX13" fmla="*/ 10116 w 12436"/>
                <a:gd name="connsiteY13" fmla="*/ 2805 h 12471"/>
                <a:gd name="connsiteX14" fmla="*/ 9461 w 12436"/>
                <a:gd name="connsiteY14" fmla="*/ 3402 h 12471"/>
                <a:gd name="connsiteX15" fmla="*/ 9044 w 12436"/>
                <a:gd name="connsiteY15" fmla="*/ 3402 h 12471"/>
                <a:gd name="connsiteX16" fmla="*/ 9044 w 12436"/>
                <a:gd name="connsiteY16" fmla="*/ 2984 h 12471"/>
                <a:gd name="connsiteX17" fmla="*/ 5891 w 12436"/>
                <a:gd name="connsiteY17" fmla="*/ 1075 h 12471"/>
                <a:gd name="connsiteX18" fmla="*/ 6248 w 12436"/>
                <a:gd name="connsiteY18" fmla="*/ 716 h 12471"/>
                <a:gd name="connsiteX19" fmla="*/ 6545 w 12436"/>
                <a:gd name="connsiteY19" fmla="*/ 1075 h 12471"/>
                <a:gd name="connsiteX20" fmla="*/ 6545 w 12436"/>
                <a:gd name="connsiteY20" fmla="*/ 1970 h 12471"/>
                <a:gd name="connsiteX21" fmla="*/ 6248 w 12436"/>
                <a:gd name="connsiteY21" fmla="*/ 2268 h 12471"/>
                <a:gd name="connsiteX22" fmla="*/ 5891 w 12436"/>
                <a:gd name="connsiteY22" fmla="*/ 1970 h 12471"/>
                <a:gd name="connsiteX23" fmla="*/ 5891 w 12436"/>
                <a:gd name="connsiteY23" fmla="*/ 1075 h 12471"/>
                <a:gd name="connsiteX24" fmla="*/ 1963 w 12436"/>
                <a:gd name="connsiteY24" fmla="*/ 6564 h 12471"/>
                <a:gd name="connsiteX25" fmla="*/ 1071 w 12436"/>
                <a:gd name="connsiteY25" fmla="*/ 6564 h 12471"/>
                <a:gd name="connsiteX26" fmla="*/ 714 w 12436"/>
                <a:gd name="connsiteY26" fmla="*/ 6206 h 12471"/>
                <a:gd name="connsiteX27" fmla="*/ 1071 w 12436"/>
                <a:gd name="connsiteY27" fmla="*/ 5908 h 12471"/>
                <a:gd name="connsiteX28" fmla="*/ 1963 w 12436"/>
                <a:gd name="connsiteY28" fmla="*/ 5908 h 12471"/>
                <a:gd name="connsiteX29" fmla="*/ 2261 w 12436"/>
                <a:gd name="connsiteY29" fmla="*/ 6206 h 12471"/>
                <a:gd name="connsiteX30" fmla="*/ 1963 w 12436"/>
                <a:gd name="connsiteY30" fmla="*/ 6564 h 12471"/>
                <a:gd name="connsiteX31" fmla="*/ 3392 w 12436"/>
                <a:gd name="connsiteY31" fmla="*/ 9488 h 12471"/>
                <a:gd name="connsiteX32" fmla="*/ 2797 w 12436"/>
                <a:gd name="connsiteY32" fmla="*/ 10084 h 12471"/>
                <a:gd name="connsiteX33" fmla="*/ 2320 w 12436"/>
                <a:gd name="connsiteY33" fmla="*/ 10084 h 12471"/>
                <a:gd name="connsiteX34" fmla="*/ 2320 w 12436"/>
                <a:gd name="connsiteY34" fmla="*/ 9667 h 12471"/>
                <a:gd name="connsiteX35" fmla="*/ 2975 w 12436"/>
                <a:gd name="connsiteY35" fmla="*/ 9010 h 12471"/>
                <a:gd name="connsiteX36" fmla="*/ 3392 w 12436"/>
                <a:gd name="connsiteY36" fmla="*/ 9010 h 12471"/>
                <a:gd name="connsiteX37" fmla="*/ 3392 w 12436"/>
                <a:gd name="connsiteY37" fmla="*/ 9488 h 12471"/>
                <a:gd name="connsiteX38" fmla="*/ 3392 w 12436"/>
                <a:gd name="connsiteY38" fmla="*/ 3402 h 12471"/>
                <a:gd name="connsiteX39" fmla="*/ 2975 w 12436"/>
                <a:gd name="connsiteY39" fmla="*/ 3402 h 12471"/>
                <a:gd name="connsiteX40" fmla="*/ 2320 w 12436"/>
                <a:gd name="connsiteY40" fmla="*/ 2805 h 12471"/>
                <a:gd name="connsiteX41" fmla="*/ 2320 w 12436"/>
                <a:gd name="connsiteY41" fmla="*/ 2328 h 12471"/>
                <a:gd name="connsiteX42" fmla="*/ 2797 w 12436"/>
                <a:gd name="connsiteY42" fmla="*/ 2328 h 12471"/>
                <a:gd name="connsiteX43" fmla="*/ 3392 w 12436"/>
                <a:gd name="connsiteY43" fmla="*/ 2984 h 12471"/>
                <a:gd name="connsiteX44" fmla="*/ 3392 w 12436"/>
                <a:gd name="connsiteY44" fmla="*/ 3402 h 12471"/>
                <a:gd name="connsiteX45" fmla="*/ 6545 w 12436"/>
                <a:gd name="connsiteY45" fmla="*/ 11397 h 12471"/>
                <a:gd name="connsiteX46" fmla="*/ 6248 w 12436"/>
                <a:gd name="connsiteY46" fmla="*/ 11696 h 12471"/>
                <a:gd name="connsiteX47" fmla="*/ 5891 w 12436"/>
                <a:gd name="connsiteY47" fmla="*/ 11397 h 12471"/>
                <a:gd name="connsiteX48" fmla="*/ 5891 w 12436"/>
                <a:gd name="connsiteY48" fmla="*/ 10502 h 12471"/>
                <a:gd name="connsiteX49" fmla="*/ 6248 w 12436"/>
                <a:gd name="connsiteY49" fmla="*/ 10204 h 12471"/>
                <a:gd name="connsiteX50" fmla="*/ 6545 w 12436"/>
                <a:gd name="connsiteY50" fmla="*/ 10502 h 12471"/>
                <a:gd name="connsiteX51" fmla="*/ 6545 w 12436"/>
                <a:gd name="connsiteY51" fmla="*/ 11397 h 12471"/>
                <a:gd name="connsiteX52" fmla="*/ 7140 w 12436"/>
                <a:gd name="connsiteY52" fmla="*/ 7101 h 12471"/>
                <a:gd name="connsiteX53" fmla="*/ 6307 w 12436"/>
                <a:gd name="connsiteY53" fmla="*/ 7459 h 12471"/>
                <a:gd name="connsiteX54" fmla="*/ 6248 w 12436"/>
                <a:gd name="connsiteY54" fmla="*/ 7459 h 12471"/>
                <a:gd name="connsiteX55" fmla="*/ 4939 w 12436"/>
                <a:gd name="connsiteY55" fmla="*/ 6206 h 12471"/>
                <a:gd name="connsiteX56" fmla="*/ 5712 w 12436"/>
                <a:gd name="connsiteY56" fmla="*/ 5072 h 12471"/>
                <a:gd name="connsiteX57" fmla="*/ 5712 w 12436"/>
                <a:gd name="connsiteY57" fmla="*/ 3342 h 12471"/>
                <a:gd name="connsiteX58" fmla="*/ 6188 w 12436"/>
                <a:gd name="connsiteY58" fmla="*/ 2865 h 12471"/>
                <a:gd name="connsiteX59" fmla="*/ 6664 w 12436"/>
                <a:gd name="connsiteY59" fmla="*/ 3342 h 12471"/>
                <a:gd name="connsiteX60" fmla="*/ 6664 w 12436"/>
                <a:gd name="connsiteY60" fmla="*/ 5013 h 12471"/>
                <a:gd name="connsiteX61" fmla="*/ 7497 w 12436"/>
                <a:gd name="connsiteY61" fmla="*/ 6206 h 12471"/>
                <a:gd name="connsiteX62" fmla="*/ 7140 w 12436"/>
                <a:gd name="connsiteY62" fmla="*/ 7101 h 12471"/>
                <a:gd name="connsiteX63" fmla="*/ 10116 w 12436"/>
                <a:gd name="connsiteY63" fmla="*/ 10084 h 12471"/>
                <a:gd name="connsiteX64" fmla="*/ 9639 w 12436"/>
                <a:gd name="connsiteY64" fmla="*/ 10084 h 12471"/>
                <a:gd name="connsiteX65" fmla="*/ 9044 w 12436"/>
                <a:gd name="connsiteY65" fmla="*/ 9488 h 12471"/>
                <a:gd name="connsiteX66" fmla="*/ 9044 w 12436"/>
                <a:gd name="connsiteY66" fmla="*/ 9010 h 12471"/>
                <a:gd name="connsiteX67" fmla="*/ 9461 w 12436"/>
                <a:gd name="connsiteY67" fmla="*/ 9010 h 12471"/>
                <a:gd name="connsiteX68" fmla="*/ 10116 w 12436"/>
                <a:gd name="connsiteY68" fmla="*/ 9667 h 12471"/>
                <a:gd name="connsiteX69" fmla="*/ 10116 w 12436"/>
                <a:gd name="connsiteY69" fmla="*/ 10084 h 12471"/>
                <a:gd name="connsiteX70" fmla="*/ 11722 w 12436"/>
                <a:gd name="connsiteY70" fmla="*/ 6206 h 12471"/>
                <a:gd name="connsiteX71" fmla="*/ 11365 w 12436"/>
                <a:gd name="connsiteY71" fmla="*/ 6564 h 12471"/>
                <a:gd name="connsiteX72" fmla="*/ 10473 w 12436"/>
                <a:gd name="connsiteY72" fmla="*/ 6564 h 12471"/>
                <a:gd name="connsiteX73" fmla="*/ 10175 w 12436"/>
                <a:gd name="connsiteY73" fmla="*/ 6206 h 12471"/>
                <a:gd name="connsiteX74" fmla="*/ 10473 w 12436"/>
                <a:gd name="connsiteY74" fmla="*/ 5908 h 12471"/>
                <a:gd name="connsiteX75" fmla="*/ 11365 w 12436"/>
                <a:gd name="connsiteY75" fmla="*/ 5908 h 12471"/>
                <a:gd name="connsiteX76" fmla="*/ 11722 w 12436"/>
                <a:gd name="connsiteY76" fmla="*/ 6206 h 12471"/>
                <a:gd name="connsiteX77" fmla="*/ 11722 w 12436"/>
                <a:gd name="connsiteY77" fmla="*/ 6206 h 12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2436" h="12471">
                  <a:moveTo>
                    <a:pt x="6248" y="5609"/>
                  </a:moveTo>
                  <a:cubicBezTo>
                    <a:pt x="5891" y="5609"/>
                    <a:pt x="5593" y="5908"/>
                    <a:pt x="5593" y="6206"/>
                  </a:cubicBezTo>
                  <a:cubicBezTo>
                    <a:pt x="5593" y="6564"/>
                    <a:pt x="5891" y="6803"/>
                    <a:pt x="6248" y="6803"/>
                  </a:cubicBezTo>
                  <a:cubicBezTo>
                    <a:pt x="6545" y="6803"/>
                    <a:pt x="6843" y="6564"/>
                    <a:pt x="6843" y="6206"/>
                  </a:cubicBezTo>
                  <a:cubicBezTo>
                    <a:pt x="6843" y="5908"/>
                    <a:pt x="6545" y="5609"/>
                    <a:pt x="6248" y="5609"/>
                  </a:cubicBezTo>
                  <a:close/>
                  <a:moveTo>
                    <a:pt x="6248" y="0"/>
                  </a:moveTo>
                  <a:cubicBezTo>
                    <a:pt x="2797" y="0"/>
                    <a:pt x="0" y="2805"/>
                    <a:pt x="0" y="6206"/>
                  </a:cubicBezTo>
                  <a:cubicBezTo>
                    <a:pt x="0" y="9667"/>
                    <a:pt x="2797" y="12471"/>
                    <a:pt x="6248" y="12471"/>
                  </a:cubicBezTo>
                  <a:cubicBezTo>
                    <a:pt x="9639" y="12471"/>
                    <a:pt x="12436" y="9667"/>
                    <a:pt x="12436" y="6206"/>
                  </a:cubicBezTo>
                  <a:cubicBezTo>
                    <a:pt x="12436" y="2805"/>
                    <a:pt x="9639" y="0"/>
                    <a:pt x="6248" y="0"/>
                  </a:cubicBezTo>
                  <a:close/>
                  <a:moveTo>
                    <a:pt x="9044" y="2984"/>
                  </a:moveTo>
                  <a:lnTo>
                    <a:pt x="9639" y="2328"/>
                  </a:lnTo>
                  <a:cubicBezTo>
                    <a:pt x="9759" y="2208"/>
                    <a:pt x="9997" y="2208"/>
                    <a:pt x="10116" y="2328"/>
                  </a:cubicBezTo>
                  <a:cubicBezTo>
                    <a:pt x="10235" y="2447"/>
                    <a:pt x="10235" y="2686"/>
                    <a:pt x="10116" y="2805"/>
                  </a:cubicBezTo>
                  <a:lnTo>
                    <a:pt x="9461" y="3402"/>
                  </a:lnTo>
                  <a:cubicBezTo>
                    <a:pt x="9342" y="3521"/>
                    <a:pt x="9163" y="3521"/>
                    <a:pt x="9044" y="3402"/>
                  </a:cubicBezTo>
                  <a:cubicBezTo>
                    <a:pt x="8866" y="3282"/>
                    <a:pt x="8866" y="3103"/>
                    <a:pt x="9044" y="2984"/>
                  </a:cubicBezTo>
                  <a:close/>
                  <a:moveTo>
                    <a:pt x="5891" y="1075"/>
                  </a:moveTo>
                  <a:cubicBezTo>
                    <a:pt x="5891" y="896"/>
                    <a:pt x="6069" y="716"/>
                    <a:pt x="6248" y="716"/>
                  </a:cubicBezTo>
                  <a:cubicBezTo>
                    <a:pt x="6367" y="716"/>
                    <a:pt x="6545" y="896"/>
                    <a:pt x="6545" y="1075"/>
                  </a:cubicBezTo>
                  <a:lnTo>
                    <a:pt x="6545" y="1970"/>
                  </a:lnTo>
                  <a:cubicBezTo>
                    <a:pt x="6545" y="2089"/>
                    <a:pt x="6367" y="2268"/>
                    <a:pt x="6248" y="2268"/>
                  </a:cubicBezTo>
                  <a:cubicBezTo>
                    <a:pt x="6069" y="2268"/>
                    <a:pt x="5891" y="2089"/>
                    <a:pt x="5891" y="1970"/>
                  </a:cubicBezTo>
                  <a:lnTo>
                    <a:pt x="5891" y="1075"/>
                  </a:lnTo>
                  <a:close/>
                  <a:moveTo>
                    <a:pt x="1963" y="6564"/>
                  </a:moveTo>
                  <a:lnTo>
                    <a:pt x="1071" y="6564"/>
                  </a:lnTo>
                  <a:cubicBezTo>
                    <a:pt x="892" y="6564"/>
                    <a:pt x="714" y="6385"/>
                    <a:pt x="714" y="6206"/>
                  </a:cubicBezTo>
                  <a:cubicBezTo>
                    <a:pt x="714" y="6027"/>
                    <a:pt x="892" y="5908"/>
                    <a:pt x="1071" y="5908"/>
                  </a:cubicBezTo>
                  <a:lnTo>
                    <a:pt x="1963" y="5908"/>
                  </a:lnTo>
                  <a:cubicBezTo>
                    <a:pt x="2142" y="5908"/>
                    <a:pt x="2261" y="6027"/>
                    <a:pt x="2261" y="6206"/>
                  </a:cubicBezTo>
                  <a:cubicBezTo>
                    <a:pt x="2261" y="6385"/>
                    <a:pt x="2142" y="6564"/>
                    <a:pt x="1963" y="6564"/>
                  </a:cubicBezTo>
                  <a:close/>
                  <a:moveTo>
                    <a:pt x="3392" y="9488"/>
                  </a:moveTo>
                  <a:lnTo>
                    <a:pt x="2797" y="10084"/>
                  </a:lnTo>
                  <a:cubicBezTo>
                    <a:pt x="2678" y="10263"/>
                    <a:pt x="2499" y="10263"/>
                    <a:pt x="2320" y="10084"/>
                  </a:cubicBezTo>
                  <a:cubicBezTo>
                    <a:pt x="2201" y="9965"/>
                    <a:pt x="2201" y="9786"/>
                    <a:pt x="2320" y="9667"/>
                  </a:cubicBezTo>
                  <a:lnTo>
                    <a:pt x="2975" y="9010"/>
                  </a:lnTo>
                  <a:cubicBezTo>
                    <a:pt x="3094" y="8891"/>
                    <a:pt x="3273" y="8891"/>
                    <a:pt x="3392" y="9010"/>
                  </a:cubicBezTo>
                  <a:cubicBezTo>
                    <a:pt x="3570" y="9130"/>
                    <a:pt x="3570" y="9368"/>
                    <a:pt x="3392" y="9488"/>
                  </a:cubicBezTo>
                  <a:close/>
                  <a:moveTo>
                    <a:pt x="3392" y="3402"/>
                  </a:moveTo>
                  <a:cubicBezTo>
                    <a:pt x="3273" y="3521"/>
                    <a:pt x="3094" y="3521"/>
                    <a:pt x="2975" y="3402"/>
                  </a:cubicBezTo>
                  <a:lnTo>
                    <a:pt x="2320" y="2805"/>
                  </a:lnTo>
                  <a:cubicBezTo>
                    <a:pt x="2201" y="2686"/>
                    <a:pt x="2201" y="2447"/>
                    <a:pt x="2320" y="2328"/>
                  </a:cubicBezTo>
                  <a:cubicBezTo>
                    <a:pt x="2439" y="2208"/>
                    <a:pt x="2678" y="2208"/>
                    <a:pt x="2797" y="2328"/>
                  </a:cubicBezTo>
                  <a:lnTo>
                    <a:pt x="3392" y="2984"/>
                  </a:lnTo>
                  <a:cubicBezTo>
                    <a:pt x="3570" y="3103"/>
                    <a:pt x="3570" y="3282"/>
                    <a:pt x="3392" y="3402"/>
                  </a:cubicBezTo>
                  <a:close/>
                  <a:moveTo>
                    <a:pt x="6545" y="11397"/>
                  </a:moveTo>
                  <a:cubicBezTo>
                    <a:pt x="6545" y="11576"/>
                    <a:pt x="6367" y="11696"/>
                    <a:pt x="6248" y="11696"/>
                  </a:cubicBezTo>
                  <a:cubicBezTo>
                    <a:pt x="6069" y="11696"/>
                    <a:pt x="5891" y="11576"/>
                    <a:pt x="5891" y="11397"/>
                  </a:cubicBezTo>
                  <a:lnTo>
                    <a:pt x="5891" y="10502"/>
                  </a:lnTo>
                  <a:cubicBezTo>
                    <a:pt x="5891" y="10323"/>
                    <a:pt x="6069" y="10204"/>
                    <a:pt x="6248" y="10204"/>
                  </a:cubicBezTo>
                  <a:cubicBezTo>
                    <a:pt x="6367" y="10204"/>
                    <a:pt x="6545" y="10323"/>
                    <a:pt x="6545" y="10502"/>
                  </a:cubicBezTo>
                  <a:lnTo>
                    <a:pt x="6545" y="11397"/>
                  </a:lnTo>
                  <a:close/>
                  <a:moveTo>
                    <a:pt x="7140" y="7101"/>
                  </a:moveTo>
                  <a:cubicBezTo>
                    <a:pt x="6818" y="7428"/>
                    <a:pt x="6766" y="7418"/>
                    <a:pt x="6307" y="7459"/>
                  </a:cubicBezTo>
                  <a:lnTo>
                    <a:pt x="6248" y="7459"/>
                  </a:lnTo>
                  <a:cubicBezTo>
                    <a:pt x="5534" y="7459"/>
                    <a:pt x="4939" y="6922"/>
                    <a:pt x="4939" y="6206"/>
                  </a:cubicBezTo>
                  <a:cubicBezTo>
                    <a:pt x="4939" y="5729"/>
                    <a:pt x="5296" y="5251"/>
                    <a:pt x="5712" y="5072"/>
                  </a:cubicBezTo>
                  <a:lnTo>
                    <a:pt x="5712" y="3342"/>
                  </a:lnTo>
                  <a:cubicBezTo>
                    <a:pt x="5712" y="3103"/>
                    <a:pt x="5950" y="2865"/>
                    <a:pt x="6188" y="2865"/>
                  </a:cubicBezTo>
                  <a:cubicBezTo>
                    <a:pt x="6426" y="2865"/>
                    <a:pt x="6664" y="3103"/>
                    <a:pt x="6664" y="3342"/>
                  </a:cubicBezTo>
                  <a:lnTo>
                    <a:pt x="6664" y="5013"/>
                  </a:lnTo>
                  <a:cubicBezTo>
                    <a:pt x="7140" y="5192"/>
                    <a:pt x="7497" y="5669"/>
                    <a:pt x="7497" y="6206"/>
                  </a:cubicBezTo>
                  <a:cubicBezTo>
                    <a:pt x="7497" y="6564"/>
                    <a:pt x="7319" y="6862"/>
                    <a:pt x="7140" y="7101"/>
                  </a:cubicBezTo>
                  <a:close/>
                  <a:moveTo>
                    <a:pt x="10116" y="10084"/>
                  </a:moveTo>
                  <a:cubicBezTo>
                    <a:pt x="9997" y="10263"/>
                    <a:pt x="9759" y="10263"/>
                    <a:pt x="9639" y="10084"/>
                  </a:cubicBezTo>
                  <a:lnTo>
                    <a:pt x="9044" y="9488"/>
                  </a:lnTo>
                  <a:cubicBezTo>
                    <a:pt x="8866" y="9368"/>
                    <a:pt x="8866" y="9130"/>
                    <a:pt x="9044" y="9010"/>
                  </a:cubicBezTo>
                  <a:cubicBezTo>
                    <a:pt x="9163" y="8891"/>
                    <a:pt x="9342" y="8891"/>
                    <a:pt x="9461" y="9010"/>
                  </a:cubicBezTo>
                  <a:lnTo>
                    <a:pt x="10116" y="9667"/>
                  </a:lnTo>
                  <a:cubicBezTo>
                    <a:pt x="10235" y="9786"/>
                    <a:pt x="10235" y="9965"/>
                    <a:pt x="10116" y="10084"/>
                  </a:cubicBezTo>
                  <a:close/>
                  <a:moveTo>
                    <a:pt x="11722" y="6206"/>
                  </a:moveTo>
                  <a:cubicBezTo>
                    <a:pt x="11722" y="6385"/>
                    <a:pt x="11544" y="6564"/>
                    <a:pt x="11365" y="6564"/>
                  </a:cubicBezTo>
                  <a:lnTo>
                    <a:pt x="10473" y="6564"/>
                  </a:lnTo>
                  <a:cubicBezTo>
                    <a:pt x="10294" y="6564"/>
                    <a:pt x="10175" y="6385"/>
                    <a:pt x="10175" y="6206"/>
                  </a:cubicBezTo>
                  <a:cubicBezTo>
                    <a:pt x="10175" y="6027"/>
                    <a:pt x="10294" y="5908"/>
                    <a:pt x="10473" y="5908"/>
                  </a:cubicBezTo>
                  <a:lnTo>
                    <a:pt x="11365" y="5908"/>
                  </a:lnTo>
                  <a:cubicBezTo>
                    <a:pt x="11544" y="5908"/>
                    <a:pt x="11722" y="6027"/>
                    <a:pt x="11722" y="6206"/>
                  </a:cubicBezTo>
                  <a:close/>
                  <a:moveTo>
                    <a:pt x="11722" y="6206"/>
                  </a:moveTo>
                </a:path>
              </a:pathLst>
            </a:custGeom>
            <a:solidFill>
              <a:schemeClr val="bg1"/>
            </a:solidFill>
            <a:ln w="9525">
              <a:noFill/>
              <a:round/>
              <a:headEnd/>
              <a:tailEnd/>
            </a:ln>
            <a:effectLst/>
          </p:spPr>
          <p:txBody>
            <a:bodyPr lIns="0" tIns="0" rIns="0" bIns="0"/>
            <a:lstStyle/>
            <a:p>
              <a:pPr defTabSz="685722">
                <a:defRPr/>
              </a:pPr>
              <a:endParaRPr lang="en-US" sz="525" kern="0">
                <a:solidFill>
                  <a:srgbClr val="0096D6"/>
                </a:solidFill>
                <a:latin typeface="+mj-lt"/>
              </a:endParaRPr>
            </a:p>
          </p:txBody>
        </p:sp>
        <p:grpSp>
          <p:nvGrpSpPr>
            <p:cNvPr id="48" name="Group 47"/>
            <p:cNvGrpSpPr/>
            <p:nvPr/>
          </p:nvGrpSpPr>
          <p:grpSpPr>
            <a:xfrm>
              <a:off x="2629146" y="3921531"/>
              <a:ext cx="781050" cy="488950"/>
              <a:chOff x="2771555" y="1525855"/>
              <a:chExt cx="781050" cy="488950"/>
            </a:xfrm>
          </p:grpSpPr>
          <p:sp>
            <p:nvSpPr>
              <p:cNvPr id="49" name="Freeform 6"/>
              <p:cNvSpPr>
                <a:spLocks/>
              </p:cNvSpPr>
              <p:nvPr/>
            </p:nvSpPr>
            <p:spPr bwMode="auto">
              <a:xfrm>
                <a:off x="2771555" y="1525855"/>
                <a:ext cx="781050" cy="488950"/>
              </a:xfrm>
              <a:custGeom>
                <a:avLst/>
                <a:gdLst/>
                <a:ahLst/>
                <a:cxnLst>
                  <a:cxn ang="0">
                    <a:pos x="174" y="59"/>
                  </a:cxn>
                  <a:cxn ang="0">
                    <a:pos x="174" y="59"/>
                  </a:cxn>
                  <a:cxn ang="0">
                    <a:pos x="175" y="46"/>
                  </a:cxn>
                  <a:cxn ang="0">
                    <a:pos x="129" y="0"/>
                  </a:cxn>
                  <a:cxn ang="0">
                    <a:pos x="84" y="34"/>
                  </a:cxn>
                  <a:cxn ang="0">
                    <a:pos x="66" y="30"/>
                  </a:cxn>
                  <a:cxn ang="0">
                    <a:pos x="26" y="71"/>
                  </a:cxn>
                  <a:cxn ang="0">
                    <a:pos x="26" y="75"/>
                  </a:cxn>
                  <a:cxn ang="0">
                    <a:pos x="26" y="75"/>
                  </a:cxn>
                  <a:cxn ang="0">
                    <a:pos x="0" y="103"/>
                  </a:cxn>
                  <a:cxn ang="0">
                    <a:pos x="26" y="130"/>
                  </a:cxn>
                  <a:cxn ang="0">
                    <a:pos x="173" y="130"/>
                  </a:cxn>
                  <a:cxn ang="0">
                    <a:pos x="208" y="94"/>
                  </a:cxn>
                  <a:cxn ang="0">
                    <a:pos x="174" y="59"/>
                  </a:cxn>
                </a:cxnLst>
                <a:rect l="0" t="0" r="r" b="b"/>
                <a:pathLst>
                  <a:path w="208" h="130">
                    <a:moveTo>
                      <a:pt x="174" y="59"/>
                    </a:moveTo>
                    <a:cubicBezTo>
                      <a:pt x="174" y="59"/>
                      <a:pt x="174" y="59"/>
                      <a:pt x="174" y="59"/>
                    </a:cubicBezTo>
                    <a:cubicBezTo>
                      <a:pt x="175" y="55"/>
                      <a:pt x="175" y="50"/>
                      <a:pt x="175" y="46"/>
                    </a:cubicBezTo>
                    <a:cubicBezTo>
                      <a:pt x="175" y="21"/>
                      <a:pt x="154" y="0"/>
                      <a:pt x="129" y="0"/>
                    </a:cubicBezTo>
                    <a:cubicBezTo>
                      <a:pt x="108" y="0"/>
                      <a:pt x="89" y="15"/>
                      <a:pt x="84" y="34"/>
                    </a:cubicBezTo>
                    <a:cubicBezTo>
                      <a:pt x="79" y="31"/>
                      <a:pt x="73" y="30"/>
                      <a:pt x="66" y="30"/>
                    </a:cubicBezTo>
                    <a:cubicBezTo>
                      <a:pt x="44" y="30"/>
                      <a:pt x="26" y="48"/>
                      <a:pt x="26" y="71"/>
                    </a:cubicBezTo>
                    <a:cubicBezTo>
                      <a:pt x="26" y="72"/>
                      <a:pt x="26" y="74"/>
                      <a:pt x="26" y="75"/>
                    </a:cubicBezTo>
                    <a:cubicBezTo>
                      <a:pt x="26" y="75"/>
                      <a:pt x="26" y="75"/>
                      <a:pt x="26" y="75"/>
                    </a:cubicBezTo>
                    <a:cubicBezTo>
                      <a:pt x="11" y="75"/>
                      <a:pt x="0" y="88"/>
                      <a:pt x="0" y="103"/>
                    </a:cubicBezTo>
                    <a:cubicBezTo>
                      <a:pt x="0" y="117"/>
                      <a:pt x="11" y="130"/>
                      <a:pt x="26" y="130"/>
                    </a:cubicBezTo>
                    <a:cubicBezTo>
                      <a:pt x="173" y="130"/>
                      <a:pt x="173" y="130"/>
                      <a:pt x="173" y="130"/>
                    </a:cubicBezTo>
                    <a:cubicBezTo>
                      <a:pt x="192" y="130"/>
                      <a:pt x="208" y="113"/>
                      <a:pt x="208" y="94"/>
                    </a:cubicBezTo>
                    <a:cubicBezTo>
                      <a:pt x="208" y="75"/>
                      <a:pt x="192" y="59"/>
                      <a:pt x="174" y="59"/>
                    </a:cubicBez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endParaRPr lang="en-US">
                  <a:latin typeface="+mj-lt"/>
                </a:endParaRPr>
              </a:p>
            </p:txBody>
          </p:sp>
          <p:sp>
            <p:nvSpPr>
              <p:cNvPr id="50" name="TextBox 49"/>
              <p:cNvSpPr txBox="1"/>
              <p:nvPr/>
            </p:nvSpPr>
            <p:spPr bwMode="auto">
              <a:xfrm>
                <a:off x="3002688" y="1612765"/>
                <a:ext cx="453938" cy="338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pPr algn="ctr"/>
                <a:r>
                  <a:rPr lang="en-US" sz="800" dirty="0" smtClean="0">
                    <a:solidFill>
                      <a:schemeClr val="bg1"/>
                    </a:solidFill>
                    <a:latin typeface="+mj-lt"/>
                    <a:cs typeface="Arial"/>
                  </a:rPr>
                  <a:t>O365</a:t>
                </a:r>
              </a:p>
              <a:p>
                <a:pPr algn="ctr"/>
                <a:r>
                  <a:rPr lang="en-US" sz="800" dirty="0" smtClean="0">
                    <a:solidFill>
                      <a:schemeClr val="bg1"/>
                    </a:solidFill>
                    <a:latin typeface="+mj-lt"/>
                    <a:cs typeface="Arial"/>
                  </a:rPr>
                  <a:t>Cloud</a:t>
                </a:r>
              </a:p>
            </p:txBody>
          </p:sp>
        </p:grpSp>
        <p:sp>
          <p:nvSpPr>
            <p:cNvPr id="51" name="TextBox 50"/>
            <p:cNvSpPr txBox="1"/>
            <p:nvPr/>
          </p:nvSpPr>
          <p:spPr bwMode="auto">
            <a:xfrm>
              <a:off x="3642940" y="4255323"/>
              <a:ext cx="954075" cy="215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r>
                <a:rPr lang="en-US" sz="800" b="1" dirty="0" smtClean="0">
                  <a:latin typeface="+mj-lt"/>
                  <a:cs typeface="Arial"/>
                </a:rPr>
                <a:t>HTTP(S) Server</a:t>
              </a:r>
            </a:p>
          </p:txBody>
        </p:sp>
        <p:pic>
          <p:nvPicPr>
            <p:cNvPr id="52" name="Picture 5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745997" y="4103661"/>
              <a:ext cx="738364" cy="199557"/>
            </a:xfrm>
            <a:prstGeom prst="rect">
              <a:avLst/>
            </a:prstGeom>
          </p:spPr>
        </p:pic>
        <p:sp>
          <p:nvSpPr>
            <p:cNvPr id="53" name="Oval 52"/>
            <p:cNvSpPr/>
            <p:nvPr/>
          </p:nvSpPr>
          <p:spPr>
            <a:xfrm>
              <a:off x="3745997" y="4043842"/>
              <a:ext cx="733536" cy="119637"/>
            </a:xfrm>
            <a:prstGeom prst="ellipse">
              <a:avLst/>
            </a:prstGeom>
            <a:solidFill>
              <a:srgbClr val="34343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smtClean="0">
                <a:latin typeface="+mj-lt"/>
              </a:endParaRPr>
            </a:p>
          </p:txBody>
        </p:sp>
        <p:cxnSp>
          <p:nvCxnSpPr>
            <p:cNvPr id="54" name="Elbow Connector 53"/>
            <p:cNvCxnSpPr/>
            <p:nvPr/>
          </p:nvCxnSpPr>
          <p:spPr>
            <a:xfrm rot="5400000">
              <a:off x="2996951" y="3381343"/>
              <a:ext cx="653894" cy="47329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p:cNvCxnSpPr/>
            <p:nvPr/>
          </p:nvCxnSpPr>
          <p:spPr>
            <a:xfrm rot="16200000" flipH="1">
              <a:off x="3460258" y="3391334"/>
              <a:ext cx="752797" cy="552218"/>
            </a:xfrm>
            <a:prstGeom prst="bentConnector3">
              <a:avLst>
                <a:gd name="adj1" fmla="val 43469"/>
              </a:avLst>
            </a:prstGeom>
            <a:ln>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bwMode="auto">
            <a:xfrm>
              <a:off x="3115034" y="3633274"/>
              <a:ext cx="979724" cy="230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none" lIns="91424" tIns="45712" rIns="91424" bIns="45712" numCol="1" rtlCol="0" anchor="t" anchorCtr="0" compatLnSpc="1">
              <a:prstTxWarp prst="textNoShape">
                <a:avLst/>
              </a:prstTxWarp>
              <a:spAutoFit/>
            </a:bodyPr>
            <a:lstStyle/>
            <a:p>
              <a:pPr algn="ctr"/>
              <a:r>
                <a:rPr lang="en-US" sz="900" b="1" dirty="0" smtClean="0">
                  <a:solidFill>
                    <a:schemeClr val="tx1"/>
                  </a:solidFill>
                  <a:latin typeface="+mj-lt"/>
                </a:rPr>
                <a:t>Periodic Fetch</a:t>
              </a:r>
            </a:p>
          </p:txBody>
        </p:sp>
      </p:grpSp>
      <p:sp>
        <p:nvSpPr>
          <p:cNvPr id="61" name="Rounded Rectangle 60"/>
          <p:cNvSpPr/>
          <p:nvPr/>
        </p:nvSpPr>
        <p:spPr>
          <a:xfrm>
            <a:off x="1167552" y="4564977"/>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sp>
        <p:nvSpPr>
          <p:cNvPr id="63" name="Title 1"/>
          <p:cNvSpPr>
            <a:spLocks noGrp="1"/>
          </p:cNvSpPr>
          <p:nvPr>
            <p:ph type="title"/>
          </p:nvPr>
        </p:nvSpPr>
        <p:spPr>
          <a:xfrm>
            <a:off x="437766" y="341314"/>
            <a:ext cx="8345488" cy="520874"/>
          </a:xfrm>
        </p:spPr>
        <p:txBody>
          <a:bodyPr/>
          <a:lstStyle/>
          <a:p>
            <a:r>
              <a:rPr lang="ja-JP" altLang="en-US" dirty="0" smtClean="0"/>
              <a:t>外部フィードがどう動くか？</a:t>
            </a:r>
            <a:endParaRPr lang="en-US" dirty="0"/>
          </a:p>
        </p:txBody>
      </p:sp>
    </p:spTree>
    <p:extLst>
      <p:ext uri="{BB962C8B-B14F-4D97-AF65-F5344CB8AC3E}">
        <p14:creationId xmlns:p14="http://schemas.microsoft.com/office/powerpoint/2010/main" val="108228804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9513" y="2"/>
            <a:ext cx="8345488" cy="731837"/>
          </a:xfrm>
        </p:spPr>
        <p:txBody>
          <a:bodyPr/>
          <a:lstStyle/>
          <a:p>
            <a:r>
              <a:rPr lang="en-US" altLang="ja-JP" dirty="0" smtClean="0"/>
              <a:t>AMP</a:t>
            </a:r>
            <a:r>
              <a:rPr lang="ja-JP" altLang="en-US" dirty="0" smtClean="0"/>
              <a:t>レポーティングの強化</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085" y="660062"/>
            <a:ext cx="4724400" cy="1593283"/>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7086" y="2253343"/>
            <a:ext cx="4724400" cy="2383972"/>
          </a:xfrm>
          <a:prstGeom prst="rect">
            <a:avLst/>
          </a:prstGeom>
        </p:spPr>
      </p:pic>
      <p:pic>
        <p:nvPicPr>
          <p:cNvPr id="8" name="Picture 7"/>
          <p:cNvPicPr>
            <a:picLocks noChangeAspect="1"/>
          </p:cNvPicPr>
          <p:nvPr/>
        </p:nvPicPr>
        <p:blipFill>
          <a:blip r:embed="rId4"/>
          <a:stretch>
            <a:fillRect/>
          </a:stretch>
        </p:blipFill>
        <p:spPr>
          <a:xfrm>
            <a:off x="4811489" y="679843"/>
            <a:ext cx="4332515" cy="1645279"/>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11484" y="2166257"/>
            <a:ext cx="4332516" cy="2471058"/>
          </a:xfrm>
          <a:prstGeom prst="rect">
            <a:avLst/>
          </a:prstGeom>
        </p:spPr>
      </p:pic>
      <p:sp>
        <p:nvSpPr>
          <p:cNvPr id="13" name="Rectangle 12"/>
          <p:cNvSpPr/>
          <p:nvPr/>
        </p:nvSpPr>
        <p:spPr>
          <a:xfrm>
            <a:off x="772886" y="3635829"/>
            <a:ext cx="1328057" cy="1001486"/>
          </a:xfrm>
          <a:prstGeom prst="rect">
            <a:avLst/>
          </a:prstGeom>
          <a:noFill/>
          <a:ln>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 name="Rectangle 14"/>
          <p:cNvSpPr/>
          <p:nvPr/>
        </p:nvSpPr>
        <p:spPr>
          <a:xfrm>
            <a:off x="696689" y="2463121"/>
            <a:ext cx="1404257" cy="1001486"/>
          </a:xfrm>
          <a:prstGeom prst="rect">
            <a:avLst/>
          </a:prstGeom>
          <a:noFill/>
          <a:ln>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 name="Rectangle 15"/>
          <p:cNvSpPr/>
          <p:nvPr/>
        </p:nvSpPr>
        <p:spPr>
          <a:xfrm>
            <a:off x="5595257" y="3287486"/>
            <a:ext cx="674914" cy="1143000"/>
          </a:xfrm>
          <a:prstGeom prst="rect">
            <a:avLst/>
          </a:prstGeom>
          <a:noFill/>
          <a:ln>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Rounded Rectangle 9"/>
          <p:cNvSpPr/>
          <p:nvPr/>
        </p:nvSpPr>
        <p:spPr>
          <a:xfrm>
            <a:off x="1075968" y="4638140"/>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spTree>
    <p:extLst>
      <p:ext uri="{BB962C8B-B14F-4D97-AF65-F5344CB8AC3E}">
        <p14:creationId xmlns:p14="http://schemas.microsoft.com/office/powerpoint/2010/main" val="421121081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ja-JP" altLang="en-US" dirty="0" smtClean="0"/>
              <a:t>ユーザーエージェントリストのアップデート</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1073152"/>
            <a:ext cx="9144000" cy="3531507"/>
          </a:xfrm>
          <a:prstGeom prst="rect">
            <a:avLst/>
          </a:prstGeom>
        </p:spPr>
      </p:pic>
      <p:sp>
        <p:nvSpPr>
          <p:cNvPr id="4" name="Rounded Rectangle 3"/>
          <p:cNvSpPr/>
          <p:nvPr/>
        </p:nvSpPr>
        <p:spPr>
          <a:xfrm>
            <a:off x="1064393" y="4604659"/>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spTree>
    <p:extLst>
      <p:ext uri="{BB962C8B-B14F-4D97-AF65-F5344CB8AC3E}">
        <p14:creationId xmlns:p14="http://schemas.microsoft.com/office/powerpoint/2010/main" val="61683511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rot="10800000">
            <a:off x="316985" y="707706"/>
            <a:ext cx="8608793" cy="3568698"/>
          </a:xfrm>
          <a:prstGeom prst="rect">
            <a:avLst/>
          </a:pr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ectangle 40"/>
          <p:cNvSpPr/>
          <p:nvPr/>
        </p:nvSpPr>
        <p:spPr>
          <a:xfrm>
            <a:off x="1396110" y="1151244"/>
            <a:ext cx="3860533" cy="2745348"/>
          </a:xfrm>
          <a:prstGeom prst="rect">
            <a:avLst/>
          </a:prstGeom>
          <a:solidFill>
            <a:schemeClr val="accent2">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9" name="Rectangle 48"/>
          <p:cNvSpPr/>
          <p:nvPr/>
        </p:nvSpPr>
        <p:spPr>
          <a:xfrm>
            <a:off x="3800072" y="1356014"/>
            <a:ext cx="1456566" cy="1753550"/>
          </a:xfrm>
          <a:prstGeom prst="rect">
            <a:avLst/>
          </a:prstGeom>
          <a:solidFill>
            <a:srgbClr val="FFCC99"/>
          </a:solidFill>
          <a:ln>
            <a:solidFill>
              <a:srgbClr val="FF0000"/>
            </a:solidFill>
            <a:prstDash val="sysDash"/>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51" name="Elbow Connector 50"/>
          <p:cNvCxnSpPr>
            <a:stCxn id="52" idx="3"/>
          </p:cNvCxnSpPr>
          <p:nvPr/>
        </p:nvCxnSpPr>
        <p:spPr>
          <a:xfrm flipV="1">
            <a:off x="3399767" y="2274338"/>
            <a:ext cx="433326" cy="922"/>
          </a:xfrm>
          <a:prstGeom prst="bentConnector3">
            <a:avLst>
              <a:gd name="adj1" fmla="val 50000"/>
            </a:avLst>
          </a:prstGeom>
          <a:ln w="38100" cap="flat" cmpd="sng" algn="ctr">
            <a:solidFill>
              <a:srgbClr val="FF8000"/>
            </a:solidFill>
            <a:prstDash val="solid"/>
            <a:round/>
            <a:headEnd type="triangl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p:nvPr/>
        </p:nvCxnSpPr>
        <p:spPr>
          <a:xfrm>
            <a:off x="1055479" y="2254287"/>
            <a:ext cx="1216052" cy="20053"/>
          </a:xfrm>
          <a:prstGeom prst="straightConnector1">
            <a:avLst/>
          </a:prstGeom>
          <a:ln w="28575" cap="flat" cmpd="sng" algn="ctr">
            <a:solidFill>
              <a:schemeClr val="tx1">
                <a:lumMod val="60000"/>
                <a:lumOff val="40000"/>
              </a:schemeClr>
            </a:solidFill>
            <a:prstDash val="solid"/>
            <a:round/>
            <a:headEnd type="arrow" w="med" len="med"/>
            <a:tailEnd type="arrow" w="med" len="med"/>
          </a:ln>
        </p:spPr>
        <p:style>
          <a:lnRef idx="2">
            <a:schemeClr val="accent1"/>
          </a:lnRef>
          <a:fillRef idx="0">
            <a:schemeClr val="accent1"/>
          </a:fillRef>
          <a:effectRef idx="1">
            <a:schemeClr val="accent1"/>
          </a:effectRef>
          <a:fontRef idx="minor">
            <a:schemeClr val="tx1"/>
          </a:fontRef>
        </p:style>
      </p:cxnSp>
      <p:grpSp>
        <p:nvGrpSpPr>
          <p:cNvPr id="139" name="Group 138"/>
          <p:cNvGrpSpPr/>
          <p:nvPr/>
        </p:nvGrpSpPr>
        <p:grpSpPr>
          <a:xfrm>
            <a:off x="2238483" y="1862215"/>
            <a:ext cx="1161284" cy="826090"/>
            <a:chOff x="3470564" y="2482953"/>
            <a:chExt cx="1060869" cy="1101453"/>
          </a:xfrm>
        </p:grpSpPr>
        <p:sp>
          <p:nvSpPr>
            <p:cNvPr id="52" name="Rounded Rectangle 51"/>
            <p:cNvSpPr/>
            <p:nvPr/>
          </p:nvSpPr>
          <p:spPr>
            <a:xfrm>
              <a:off x="3470564" y="2482953"/>
              <a:ext cx="1060869" cy="1101453"/>
            </a:xfrm>
            <a:prstGeom prst="roundRect">
              <a:avLst>
                <a:gd name="adj" fmla="val 6077"/>
              </a:avLst>
            </a:prstGeom>
            <a:solidFill>
              <a:schemeClr val="tx1">
                <a:lumMod val="60000"/>
                <a:lumOff val="40000"/>
              </a:schemeClr>
            </a:solidFill>
            <a:ln w="9525" cap="flat">
              <a:noFill/>
              <a:round/>
              <a:headEnd type="none" w="med" len="med"/>
              <a:tailEnd type="none" w="med" len="med"/>
            </a:ln>
            <a:effectLst>
              <a:outerShdw sx="9000" sy="9000" rotWithShape="0">
                <a:prstClr val="black"/>
              </a:outerShdw>
            </a:effectLst>
          </p:spPr>
          <p:txBody>
            <a:bodyPr lIns="0" tIns="0" rIns="0" bIns="0"/>
            <a:lstStyle/>
            <a:p>
              <a:pPr>
                <a:defRPr/>
              </a:pPr>
              <a:endParaRPr lang="en-US" dirty="0">
                <a:solidFill>
                  <a:schemeClr val="tx1"/>
                </a:solidFill>
              </a:endParaRPr>
            </a:p>
          </p:txBody>
        </p:sp>
        <p:sp>
          <p:nvSpPr>
            <p:cNvPr id="56" name="Rectangle 55"/>
            <p:cNvSpPr/>
            <p:nvPr/>
          </p:nvSpPr>
          <p:spPr>
            <a:xfrm>
              <a:off x="3530377" y="2736529"/>
              <a:ext cx="927188" cy="61817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chemeClr val="bg2"/>
                  </a:solidFill>
                </a:rPr>
                <a:t>HTTP/HTTPS Connection</a:t>
              </a:r>
            </a:p>
          </p:txBody>
        </p:sp>
      </p:grpSp>
      <p:grpSp>
        <p:nvGrpSpPr>
          <p:cNvPr id="131" name="Group 130"/>
          <p:cNvGrpSpPr/>
          <p:nvPr/>
        </p:nvGrpSpPr>
        <p:grpSpPr>
          <a:xfrm>
            <a:off x="415777" y="1946305"/>
            <a:ext cx="980333" cy="770083"/>
            <a:chOff x="421052" y="3119308"/>
            <a:chExt cx="1307110" cy="1026777"/>
          </a:xfrm>
        </p:grpSpPr>
        <p:pic>
          <p:nvPicPr>
            <p:cNvPr id="57" name="Picture 56" descr="1326668901_pdf.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0469" y="3119308"/>
              <a:ext cx="587693" cy="493634"/>
            </a:xfrm>
            <a:prstGeom prst="rect">
              <a:avLst/>
            </a:prstGeom>
          </p:spPr>
        </p:pic>
        <p:pic>
          <p:nvPicPr>
            <p:cNvPr id="58" name="Picture 57" descr="1326668919_html.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2776" y="3143046"/>
              <a:ext cx="587693" cy="493634"/>
            </a:xfrm>
            <a:prstGeom prst="rect">
              <a:avLst/>
            </a:prstGeom>
          </p:spPr>
        </p:pic>
        <p:pic>
          <p:nvPicPr>
            <p:cNvPr id="59" name="Picture 58" descr="1326668980_JPG.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21052" y="3652451"/>
              <a:ext cx="587693" cy="493634"/>
            </a:xfrm>
            <a:prstGeom prst="rect">
              <a:avLst/>
            </a:prstGeom>
          </p:spPr>
        </p:pic>
        <p:pic>
          <p:nvPicPr>
            <p:cNvPr id="60" name="Picture 59" descr="1326668997_SWF.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46622" y="3442068"/>
              <a:ext cx="587693" cy="493634"/>
            </a:xfrm>
            <a:prstGeom prst="rect">
              <a:avLst/>
            </a:prstGeom>
          </p:spPr>
        </p:pic>
      </p:grpSp>
      <p:pic>
        <p:nvPicPr>
          <p:cNvPr id="62" name="Picture 61" descr="sio-disk-nowords.ai"/>
          <p:cNvPicPr>
            <a:picLocks noChangeAspect="1"/>
          </p:cNvPicPr>
          <p:nvPr/>
        </p:nvPicPr>
        <p:blipFill>
          <a:blip r:embed="rId7"/>
          <a:stretch>
            <a:fillRect/>
          </a:stretch>
        </p:blipFill>
        <p:spPr>
          <a:xfrm rot="10800000">
            <a:off x="6058462" y="3224184"/>
            <a:ext cx="1780894" cy="802034"/>
          </a:xfrm>
          <a:prstGeom prst="rect">
            <a:avLst/>
          </a:prstGeom>
          <a:effectLst>
            <a:glow rad="101600">
              <a:srgbClr val="FF8000">
                <a:alpha val="40000"/>
              </a:srgbClr>
            </a:glow>
          </a:effectLst>
        </p:spPr>
      </p:pic>
      <p:sp>
        <p:nvSpPr>
          <p:cNvPr id="63" name="TextBox 62"/>
          <p:cNvSpPr txBox="1"/>
          <p:nvPr/>
        </p:nvSpPr>
        <p:spPr>
          <a:xfrm>
            <a:off x="6348889" y="3490624"/>
            <a:ext cx="1234270" cy="600164"/>
          </a:xfrm>
          <a:prstGeom prst="rect">
            <a:avLst/>
          </a:prstGeom>
          <a:noFill/>
        </p:spPr>
        <p:txBody>
          <a:bodyPr wrap="square" rtlCol="0">
            <a:spAutoFit/>
          </a:bodyPr>
          <a:lstStyle/>
          <a:p>
            <a:pPr algn="ctr" defTabSz="685800"/>
            <a:r>
              <a:rPr lang="en-US" sz="1200" b="1" dirty="0">
                <a:solidFill>
                  <a:schemeClr val="bg1"/>
                </a:solidFill>
                <a:latin typeface="Arial"/>
              </a:rPr>
              <a:t>Cisco TG Sandboxing</a:t>
            </a:r>
          </a:p>
          <a:p>
            <a:pPr algn="ctr" defTabSz="685800"/>
            <a:endParaRPr lang="en-US" sz="900" dirty="0">
              <a:solidFill>
                <a:schemeClr val="bg1"/>
              </a:solidFill>
              <a:latin typeface="Arial"/>
            </a:endParaRPr>
          </a:p>
        </p:txBody>
      </p:sp>
      <p:sp>
        <p:nvSpPr>
          <p:cNvPr id="64" name="TextBox 63"/>
          <p:cNvSpPr txBox="1"/>
          <p:nvPr/>
        </p:nvSpPr>
        <p:spPr>
          <a:xfrm>
            <a:off x="2406838" y="1425660"/>
            <a:ext cx="1606329" cy="369332"/>
          </a:xfrm>
          <a:prstGeom prst="rect">
            <a:avLst/>
          </a:prstGeom>
          <a:noFill/>
        </p:spPr>
        <p:txBody>
          <a:bodyPr wrap="square" rtlCol="0">
            <a:spAutoFit/>
          </a:bodyPr>
          <a:lstStyle/>
          <a:p>
            <a:pPr algn="ctr" defTabSz="685800"/>
            <a:r>
              <a:rPr lang="en-US" dirty="0">
                <a:latin typeface="Arial"/>
              </a:rPr>
              <a:t>W</a:t>
            </a:r>
            <a:r>
              <a:rPr lang="en-US" sz="1350" dirty="0">
                <a:latin typeface="Arial"/>
              </a:rPr>
              <a:t>SA</a:t>
            </a:r>
          </a:p>
        </p:txBody>
      </p:sp>
      <p:pic>
        <p:nvPicPr>
          <p:cNvPr id="66" name="Picture 65" descr="1326668958_js.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22352" y="1977907"/>
            <a:ext cx="303449" cy="254882"/>
          </a:xfrm>
          <a:prstGeom prst="rect">
            <a:avLst/>
          </a:prstGeom>
        </p:spPr>
      </p:pic>
      <p:sp>
        <p:nvSpPr>
          <p:cNvPr id="68" name="TextBox 67"/>
          <p:cNvSpPr txBox="1"/>
          <p:nvPr/>
        </p:nvSpPr>
        <p:spPr>
          <a:xfrm>
            <a:off x="5375300" y="1864193"/>
            <a:ext cx="1393237" cy="323165"/>
          </a:xfrm>
          <a:prstGeom prst="rect">
            <a:avLst/>
          </a:prstGeom>
          <a:noFill/>
        </p:spPr>
        <p:txBody>
          <a:bodyPr wrap="square" rtlCol="0">
            <a:spAutoFit/>
          </a:bodyPr>
          <a:lstStyle>
            <a:defPPr>
              <a:defRPr lang="en-US"/>
            </a:defPPr>
            <a:lvl1pPr algn="ctr">
              <a:defRPr sz="1000" b="1">
                <a:latin typeface="Arial"/>
              </a:defRPr>
            </a:lvl1pPr>
          </a:lstStyle>
          <a:p>
            <a:r>
              <a:rPr lang="en-US" sz="750" dirty="0"/>
              <a:t>File Reputation</a:t>
            </a:r>
          </a:p>
          <a:p>
            <a:r>
              <a:rPr lang="en-US" sz="750" dirty="0"/>
              <a:t>Query</a:t>
            </a:r>
          </a:p>
        </p:txBody>
      </p:sp>
      <p:cxnSp>
        <p:nvCxnSpPr>
          <p:cNvPr id="70" name="Elbow Connector 69"/>
          <p:cNvCxnSpPr/>
          <p:nvPr/>
        </p:nvCxnSpPr>
        <p:spPr>
          <a:xfrm flipV="1">
            <a:off x="5226549" y="1532295"/>
            <a:ext cx="1303822" cy="274010"/>
          </a:xfrm>
          <a:prstGeom prst="bentConnector3">
            <a:avLst>
              <a:gd name="adj1" fmla="val 50000"/>
            </a:avLst>
          </a:prstGeom>
          <a:ln w="28575">
            <a:solidFill>
              <a:srgbClr val="FF8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Elbow Connector 70"/>
          <p:cNvCxnSpPr/>
          <p:nvPr/>
        </p:nvCxnSpPr>
        <p:spPr>
          <a:xfrm>
            <a:off x="5256643" y="2871203"/>
            <a:ext cx="836053" cy="808547"/>
          </a:xfrm>
          <a:prstGeom prst="bentConnector3">
            <a:avLst>
              <a:gd name="adj1" fmla="val 50000"/>
            </a:avLst>
          </a:prstGeom>
          <a:ln w="38100">
            <a:solidFill>
              <a:srgbClr val="FF8000"/>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5660268" y="2950619"/>
            <a:ext cx="1210675" cy="323165"/>
          </a:xfrm>
          <a:prstGeom prst="rect">
            <a:avLst/>
          </a:prstGeom>
          <a:noFill/>
        </p:spPr>
        <p:txBody>
          <a:bodyPr wrap="square" rtlCol="0">
            <a:spAutoFit/>
          </a:bodyPr>
          <a:lstStyle/>
          <a:p>
            <a:pPr algn="ctr" defTabSz="685800"/>
            <a:r>
              <a:rPr lang="en-US" sz="750" b="1" dirty="0">
                <a:latin typeface="Arial"/>
              </a:rPr>
              <a:t>Qualified File, upload for Sandboxing </a:t>
            </a:r>
          </a:p>
        </p:txBody>
      </p:sp>
      <p:sp>
        <p:nvSpPr>
          <p:cNvPr id="79" name="TextBox 78"/>
          <p:cNvSpPr txBox="1"/>
          <p:nvPr/>
        </p:nvSpPr>
        <p:spPr>
          <a:xfrm>
            <a:off x="5486745" y="803162"/>
            <a:ext cx="946272" cy="323165"/>
          </a:xfrm>
          <a:prstGeom prst="rect">
            <a:avLst/>
          </a:prstGeom>
          <a:noFill/>
        </p:spPr>
        <p:txBody>
          <a:bodyPr wrap="square" rtlCol="0">
            <a:spAutoFit/>
          </a:bodyPr>
          <a:lstStyle/>
          <a:p>
            <a:pPr algn="ctr" defTabSz="685800"/>
            <a:r>
              <a:rPr lang="en-US" sz="750" b="1" dirty="0">
                <a:solidFill>
                  <a:srgbClr val="C00000"/>
                </a:solidFill>
              </a:rPr>
              <a:t>Heartbeat </a:t>
            </a:r>
          </a:p>
          <a:p>
            <a:pPr algn="ctr" defTabSz="685800"/>
            <a:r>
              <a:rPr lang="en-US" sz="750" b="1" dirty="0">
                <a:solidFill>
                  <a:srgbClr val="C00000"/>
                </a:solidFill>
              </a:rPr>
              <a:t>retrospective </a:t>
            </a:r>
            <a:endParaRPr lang="en-US" sz="750" b="1" dirty="0">
              <a:solidFill>
                <a:srgbClr val="C00000"/>
              </a:solidFill>
              <a:latin typeface="Arial"/>
            </a:endParaRPr>
          </a:p>
        </p:txBody>
      </p:sp>
      <p:cxnSp>
        <p:nvCxnSpPr>
          <p:cNvPr id="80" name="Elbow Connector 79"/>
          <p:cNvCxnSpPr/>
          <p:nvPr/>
        </p:nvCxnSpPr>
        <p:spPr>
          <a:xfrm flipV="1">
            <a:off x="5256638" y="1146253"/>
            <a:ext cx="1160491" cy="417908"/>
          </a:xfrm>
          <a:prstGeom prst="bentConnector3">
            <a:avLst>
              <a:gd name="adj1" fmla="val 36869"/>
            </a:avLst>
          </a:prstGeom>
          <a:ln w="28575">
            <a:solidFill>
              <a:srgbClr val="FF8000"/>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816692" y="1437201"/>
            <a:ext cx="1439946" cy="1625915"/>
            <a:chOff x="5087334" y="1916265"/>
            <a:chExt cx="1919928" cy="2167886"/>
          </a:xfrm>
        </p:grpSpPr>
        <p:sp>
          <p:nvSpPr>
            <p:cNvPr id="53" name="Round Same Side Corner Rectangle 52"/>
            <p:cNvSpPr/>
            <p:nvPr/>
          </p:nvSpPr>
          <p:spPr>
            <a:xfrm>
              <a:off x="5142393" y="1916265"/>
              <a:ext cx="1864869" cy="820264"/>
            </a:xfrm>
            <a:prstGeom prst="round2SameRect">
              <a:avLst>
                <a:gd name="adj1" fmla="val 5854"/>
                <a:gd name="adj2" fmla="val 4049"/>
              </a:avLst>
            </a:prstGeom>
            <a:solidFill>
              <a:srgbClr val="FFC000"/>
            </a:solidFill>
            <a:ln>
              <a:solidFill>
                <a:srgbClr val="FF3300"/>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lIns="68523" tIns="34260" rIns="68523" bIns="34260" rtlCol="0" anchor="ctr"/>
            <a:lstStyle/>
            <a:p>
              <a:pPr algn="ctr" defTabSz="685800"/>
              <a:endParaRPr lang="en-US" dirty="0">
                <a:solidFill>
                  <a:srgbClr val="FFFFFF"/>
                </a:solidFill>
                <a:latin typeface="Arial"/>
              </a:endParaRPr>
            </a:p>
          </p:txBody>
        </p:sp>
        <p:sp>
          <p:nvSpPr>
            <p:cNvPr id="65" name="TextBox 64"/>
            <p:cNvSpPr txBox="1"/>
            <p:nvPr/>
          </p:nvSpPr>
          <p:spPr>
            <a:xfrm>
              <a:off x="5158254" y="2270212"/>
              <a:ext cx="801959" cy="430887"/>
            </a:xfrm>
            <a:prstGeom prst="rect">
              <a:avLst/>
            </a:prstGeom>
            <a:noFill/>
          </p:spPr>
          <p:txBody>
            <a:bodyPr wrap="square" rtlCol="0">
              <a:spAutoFit/>
            </a:bodyPr>
            <a:lstStyle/>
            <a:p>
              <a:pPr algn="ctr"/>
              <a:r>
                <a:rPr lang="en-US" sz="750" dirty="0">
                  <a:solidFill>
                    <a:srgbClr val="000000"/>
                  </a:solidFill>
                </a:rPr>
                <a:t>AMP </a:t>
              </a:r>
            </a:p>
            <a:p>
              <a:pPr algn="ctr"/>
              <a:r>
                <a:rPr lang="en-US" sz="750" dirty="0">
                  <a:solidFill>
                    <a:srgbClr val="000000"/>
                  </a:solidFill>
                </a:rPr>
                <a:t>connector</a:t>
              </a:r>
            </a:p>
          </p:txBody>
        </p:sp>
        <p:grpSp>
          <p:nvGrpSpPr>
            <p:cNvPr id="2" name="Group 1"/>
            <p:cNvGrpSpPr/>
            <p:nvPr/>
          </p:nvGrpSpPr>
          <p:grpSpPr>
            <a:xfrm>
              <a:off x="5169277" y="3603341"/>
              <a:ext cx="1745932" cy="480810"/>
              <a:chOff x="5149613" y="3397190"/>
              <a:chExt cx="1745932" cy="480810"/>
            </a:xfrm>
          </p:grpSpPr>
          <p:sp>
            <p:nvSpPr>
              <p:cNvPr id="75" name="Round Same Side Corner Rectangle 74"/>
              <p:cNvSpPr/>
              <p:nvPr/>
            </p:nvSpPr>
            <p:spPr>
              <a:xfrm>
                <a:off x="5149613" y="3397190"/>
                <a:ext cx="1745932" cy="449860"/>
              </a:xfrm>
              <a:prstGeom prst="round2SameRect">
                <a:avLst>
                  <a:gd name="adj1" fmla="val 5854"/>
                  <a:gd name="adj2" fmla="val 4049"/>
                </a:avLst>
              </a:prstGeom>
              <a:solidFill>
                <a:schemeClr val="tx1"/>
              </a:solidFill>
              <a:ln>
                <a:solidFill>
                  <a:srgbClr val="FF3300"/>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lIns="68523" tIns="34260" rIns="68523" bIns="34260" rtlCol="0" anchor="ctr"/>
              <a:lstStyle/>
              <a:p>
                <a:pPr algn="ctr" defTabSz="685800"/>
                <a:endParaRPr lang="en-US" dirty="0">
                  <a:solidFill>
                    <a:srgbClr val="FFFFFF"/>
                  </a:solidFill>
                  <a:latin typeface="Arial"/>
                </a:endParaRPr>
              </a:p>
            </p:txBody>
          </p:sp>
          <p:sp>
            <p:nvSpPr>
              <p:cNvPr id="76" name="TextBox 75"/>
              <p:cNvSpPr txBox="1"/>
              <p:nvPr/>
            </p:nvSpPr>
            <p:spPr>
              <a:xfrm>
                <a:off x="5347474" y="3431553"/>
                <a:ext cx="1337371" cy="446447"/>
              </a:xfrm>
              <a:prstGeom prst="rect">
                <a:avLst/>
              </a:prstGeom>
              <a:noFill/>
            </p:spPr>
            <p:txBody>
              <a:bodyPr wrap="square" rtlCol="0">
                <a:spAutoFit/>
              </a:bodyPr>
              <a:lstStyle/>
              <a:p>
                <a:pPr algn="ctr"/>
                <a:r>
                  <a:rPr lang="en-US" sz="788" b="1" dirty="0">
                    <a:solidFill>
                      <a:srgbClr val="000000"/>
                    </a:solidFill>
                  </a:rPr>
                  <a:t>Sandbox connector</a:t>
                </a:r>
              </a:p>
            </p:txBody>
          </p:sp>
        </p:grpSp>
        <p:sp>
          <p:nvSpPr>
            <p:cNvPr id="77" name="TextBox 76"/>
            <p:cNvSpPr txBox="1"/>
            <p:nvPr/>
          </p:nvSpPr>
          <p:spPr>
            <a:xfrm>
              <a:off x="5087334" y="1954741"/>
              <a:ext cx="1857649" cy="292388"/>
            </a:xfrm>
            <a:prstGeom prst="rect">
              <a:avLst/>
            </a:prstGeom>
            <a:noFill/>
          </p:spPr>
          <p:txBody>
            <a:bodyPr wrap="square" rtlCol="0">
              <a:spAutoFit/>
            </a:bodyPr>
            <a:lstStyle/>
            <a:p>
              <a:pPr algn="ctr"/>
              <a:r>
                <a:rPr lang="en-US" sz="825" b="1" dirty="0">
                  <a:solidFill>
                    <a:srgbClr val="002060"/>
                  </a:solidFill>
                </a:rPr>
                <a:t>AMP Client</a:t>
              </a:r>
            </a:p>
          </p:txBody>
        </p:sp>
        <p:sp>
          <p:nvSpPr>
            <p:cNvPr id="78" name="Flowchart: Magnetic Disk 77"/>
            <p:cNvSpPr/>
            <p:nvPr/>
          </p:nvSpPr>
          <p:spPr>
            <a:xfrm>
              <a:off x="5974453" y="2233640"/>
              <a:ext cx="983060" cy="436682"/>
            </a:xfrm>
            <a:prstGeom prst="flowChartMagneticDisk">
              <a:avLst/>
            </a:prstGeom>
            <a:solidFill>
              <a:srgbClr val="FFC000"/>
            </a:solidFill>
            <a:ln>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75" b="1" dirty="0">
                  <a:solidFill>
                    <a:srgbClr val="000000"/>
                  </a:solidFill>
                </a:rPr>
                <a:t>Local Cache</a:t>
              </a:r>
            </a:p>
          </p:txBody>
        </p:sp>
        <p:grpSp>
          <p:nvGrpSpPr>
            <p:cNvPr id="113" name="Group 112"/>
            <p:cNvGrpSpPr/>
            <p:nvPr/>
          </p:nvGrpSpPr>
          <p:grpSpPr>
            <a:xfrm>
              <a:off x="5169277" y="2930049"/>
              <a:ext cx="1811100" cy="446447"/>
              <a:chOff x="5149613" y="3373247"/>
              <a:chExt cx="1811100" cy="446447"/>
            </a:xfrm>
          </p:grpSpPr>
          <p:sp>
            <p:nvSpPr>
              <p:cNvPr id="114" name="Round Same Side Corner Rectangle 113"/>
              <p:cNvSpPr/>
              <p:nvPr/>
            </p:nvSpPr>
            <p:spPr>
              <a:xfrm>
                <a:off x="5149613" y="3397190"/>
                <a:ext cx="1811100" cy="410767"/>
              </a:xfrm>
              <a:prstGeom prst="round2SameRect">
                <a:avLst>
                  <a:gd name="adj1" fmla="val 5854"/>
                  <a:gd name="adj2" fmla="val 4049"/>
                </a:avLst>
              </a:prstGeom>
              <a:solidFill>
                <a:schemeClr val="tx1"/>
              </a:solidFill>
              <a:ln>
                <a:solidFill>
                  <a:srgbClr val="FF3300"/>
                </a:solidFill>
              </a:ln>
              <a:effectLst>
                <a:innerShdw blurRad="114300">
                  <a:prstClr val="black"/>
                </a:innerShdw>
              </a:effectLst>
            </p:spPr>
            <p:style>
              <a:lnRef idx="1">
                <a:schemeClr val="accent1"/>
              </a:lnRef>
              <a:fillRef idx="3">
                <a:schemeClr val="accent1"/>
              </a:fillRef>
              <a:effectRef idx="2">
                <a:schemeClr val="accent1"/>
              </a:effectRef>
              <a:fontRef idx="minor">
                <a:schemeClr val="lt1"/>
              </a:fontRef>
            </p:style>
            <p:txBody>
              <a:bodyPr lIns="68523" tIns="34260" rIns="68523" bIns="34260" rtlCol="0" anchor="ctr"/>
              <a:lstStyle/>
              <a:p>
                <a:pPr algn="ctr" defTabSz="685800"/>
                <a:endParaRPr lang="en-US" dirty="0">
                  <a:solidFill>
                    <a:srgbClr val="FFFFFF"/>
                  </a:solidFill>
                  <a:latin typeface="Arial"/>
                </a:endParaRPr>
              </a:p>
            </p:txBody>
          </p:sp>
          <p:sp>
            <p:nvSpPr>
              <p:cNvPr id="115" name="TextBox 114"/>
              <p:cNvSpPr txBox="1"/>
              <p:nvPr/>
            </p:nvSpPr>
            <p:spPr>
              <a:xfrm>
                <a:off x="5362341" y="3373247"/>
                <a:ext cx="1337371" cy="446447"/>
              </a:xfrm>
              <a:prstGeom prst="rect">
                <a:avLst/>
              </a:prstGeom>
              <a:noFill/>
            </p:spPr>
            <p:txBody>
              <a:bodyPr wrap="square" rtlCol="0">
                <a:spAutoFit/>
              </a:bodyPr>
              <a:lstStyle/>
              <a:p>
                <a:pPr algn="ctr"/>
                <a:r>
                  <a:rPr lang="en-US" sz="788" b="1" dirty="0">
                    <a:solidFill>
                      <a:schemeClr val="bg1"/>
                    </a:solidFill>
                  </a:rPr>
                  <a:t>Pre-Classification</a:t>
                </a:r>
              </a:p>
            </p:txBody>
          </p:sp>
        </p:grpSp>
        <p:cxnSp>
          <p:nvCxnSpPr>
            <p:cNvPr id="117" name="Elbow Connector 116"/>
            <p:cNvCxnSpPr/>
            <p:nvPr/>
          </p:nvCxnSpPr>
          <p:spPr>
            <a:xfrm rot="16200000" flipH="1">
              <a:off x="5763221" y="2841193"/>
              <a:ext cx="329044" cy="2"/>
            </a:xfrm>
            <a:prstGeom prst="bentConnector3">
              <a:avLst>
                <a:gd name="adj1" fmla="val 50000"/>
              </a:avLst>
            </a:prstGeom>
            <a:ln w="38100">
              <a:solidFill>
                <a:srgbClr val="162C2E"/>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7" name="Elbow Connector 126"/>
            <p:cNvCxnSpPr/>
            <p:nvPr/>
          </p:nvCxnSpPr>
          <p:spPr>
            <a:xfrm rot="16200000" flipH="1">
              <a:off x="5763223" y="3524362"/>
              <a:ext cx="329044" cy="2"/>
            </a:xfrm>
            <a:prstGeom prst="bentConnector3">
              <a:avLst>
                <a:gd name="adj1" fmla="val 50000"/>
              </a:avLst>
            </a:prstGeom>
            <a:ln w="38100">
              <a:solidFill>
                <a:srgbClr val="162C2E"/>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pic>
        <p:nvPicPr>
          <p:cNvPr id="42" name="Picture 41" descr="sio-disk-nowords.ai"/>
          <p:cNvPicPr>
            <a:picLocks noChangeAspect="1"/>
          </p:cNvPicPr>
          <p:nvPr/>
        </p:nvPicPr>
        <p:blipFill>
          <a:blip r:embed="rId7"/>
          <a:stretch>
            <a:fillRect/>
          </a:stretch>
        </p:blipFill>
        <p:spPr>
          <a:xfrm rot="10800000">
            <a:off x="6339460" y="945326"/>
            <a:ext cx="1780894" cy="802034"/>
          </a:xfrm>
          <a:prstGeom prst="rect">
            <a:avLst/>
          </a:prstGeom>
          <a:effectLst>
            <a:glow rad="101600">
              <a:srgbClr val="FF8000">
                <a:alpha val="40000"/>
              </a:srgbClr>
            </a:glow>
          </a:effectLst>
        </p:spPr>
      </p:pic>
      <p:sp>
        <p:nvSpPr>
          <p:cNvPr id="4" name="Rectangle 3"/>
          <p:cNvSpPr/>
          <p:nvPr/>
        </p:nvSpPr>
        <p:spPr>
          <a:xfrm>
            <a:off x="6478256" y="1248488"/>
            <a:ext cx="1558888" cy="276999"/>
          </a:xfrm>
          <a:prstGeom prst="rect">
            <a:avLst/>
          </a:prstGeom>
        </p:spPr>
        <p:txBody>
          <a:bodyPr wrap="none">
            <a:spAutoFit/>
          </a:bodyPr>
          <a:lstStyle/>
          <a:p>
            <a:pPr algn="ctr"/>
            <a:r>
              <a:rPr lang="en-US" sz="1200" b="1" dirty="0" smtClean="0">
                <a:solidFill>
                  <a:schemeClr val="bg1"/>
                </a:solidFill>
              </a:rPr>
              <a:t>AMP Private Cloud</a:t>
            </a:r>
            <a:endParaRPr lang="en-US" sz="1200" b="1" dirty="0">
              <a:solidFill>
                <a:schemeClr val="bg1"/>
              </a:solidFill>
            </a:endParaRPr>
          </a:p>
        </p:txBody>
      </p:sp>
      <p:sp>
        <p:nvSpPr>
          <p:cNvPr id="43" name="Title 2"/>
          <p:cNvSpPr>
            <a:spLocks noGrp="1"/>
          </p:cNvSpPr>
          <p:nvPr>
            <p:ph type="title"/>
          </p:nvPr>
        </p:nvSpPr>
        <p:spPr>
          <a:xfrm>
            <a:off x="274253" y="12911"/>
            <a:ext cx="8345488" cy="731837"/>
          </a:xfrm>
        </p:spPr>
        <p:txBody>
          <a:bodyPr/>
          <a:lstStyle/>
          <a:p>
            <a:r>
              <a:rPr lang="en-US" dirty="0" smtClean="0"/>
              <a:t>AMP Private Cloud </a:t>
            </a:r>
            <a:r>
              <a:rPr lang="ja-JP" altLang="en-US" dirty="0" smtClean="0"/>
              <a:t>サポート</a:t>
            </a:r>
            <a:endParaRPr lang="en-US" dirty="0"/>
          </a:p>
        </p:txBody>
      </p:sp>
      <p:sp>
        <p:nvSpPr>
          <p:cNvPr id="44" name="Rounded Rectangle 43"/>
          <p:cNvSpPr/>
          <p:nvPr/>
        </p:nvSpPr>
        <p:spPr>
          <a:xfrm>
            <a:off x="1055483" y="4564870"/>
            <a:ext cx="1183003" cy="417909"/>
          </a:xfrm>
          <a:prstGeom prst="roundRect">
            <a:avLst/>
          </a:prstGeom>
          <a:gradFill>
            <a:gsLst>
              <a:gs pos="0">
                <a:schemeClr val="tx2">
                  <a:lumMod val="75000"/>
                </a:schemeClr>
              </a:gs>
              <a:gs pos="100000">
                <a:schemeClr val="tx2"/>
              </a:gs>
            </a:gsLst>
            <a:lin ang="135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240"/>
            <a:r>
              <a:rPr lang="en-US" dirty="0">
                <a:solidFill>
                  <a:prstClr val="white"/>
                </a:solidFill>
                <a:latin typeface="Arial"/>
              </a:rPr>
              <a:t>1HCY16</a:t>
            </a:r>
          </a:p>
        </p:txBody>
      </p:sp>
    </p:spTree>
    <p:extLst>
      <p:ext uri="{BB962C8B-B14F-4D97-AF65-F5344CB8AC3E}">
        <p14:creationId xmlns:p14="http://schemas.microsoft.com/office/powerpoint/2010/main" val="16493937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6237" y="779282"/>
            <a:ext cx="9041047" cy="4313137"/>
          </a:xfrm>
          <a:prstGeom prst="roundRect">
            <a:avLst>
              <a:gd name="adj" fmla="val 586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a:xfrm>
            <a:off x="87594" y="252415"/>
            <a:ext cx="8929406" cy="437967"/>
          </a:xfrm>
        </p:spPr>
        <p:txBody>
          <a:bodyPr anchor="t"/>
          <a:lstStyle/>
          <a:p>
            <a:r>
              <a:rPr lang="en-US" sz="2800" dirty="0">
                <a:latin typeface="メイリオ"/>
                <a:ea typeface="メイリオ"/>
                <a:cs typeface="メイリオ"/>
              </a:rPr>
              <a:t>Threat-Centric </a:t>
            </a:r>
            <a:r>
              <a:rPr lang="en-US" sz="2800" dirty="0">
                <a:solidFill>
                  <a:srgbClr val="2968AF"/>
                </a:solidFill>
                <a:latin typeface="メイリオ"/>
                <a:ea typeface="メイリオ"/>
                <a:cs typeface="メイリオ"/>
              </a:rPr>
              <a:t>Cisco Security </a:t>
            </a:r>
            <a:r>
              <a:rPr lang="en-US" sz="2800" dirty="0">
                <a:latin typeface="メイリオ"/>
                <a:ea typeface="メイリオ"/>
                <a:cs typeface="メイリオ"/>
              </a:rPr>
              <a:t>Products &amp; </a:t>
            </a:r>
            <a:r>
              <a:rPr lang="en-US" sz="2800" dirty="0" smtClean="0">
                <a:latin typeface="メイリオ"/>
                <a:ea typeface="メイリオ"/>
                <a:cs typeface="メイリオ"/>
              </a:rPr>
              <a:t>Solutions</a:t>
            </a:r>
            <a:endParaRPr lang="en-US" sz="2800" dirty="0">
              <a:latin typeface="メイリオ"/>
              <a:ea typeface="メイリオ"/>
              <a:cs typeface="メイリオ"/>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95726" y="955087"/>
            <a:ext cx="4622566" cy="3001056"/>
          </a:xfrm>
          <a:prstGeom prst="rect">
            <a:avLst/>
          </a:prstGeom>
        </p:spPr>
      </p:pic>
      <p:sp>
        <p:nvSpPr>
          <p:cNvPr id="48" name="Rectangle 19"/>
          <p:cNvSpPr>
            <a:spLocks noChangeArrowheads="1"/>
          </p:cNvSpPr>
          <p:nvPr/>
        </p:nvSpPr>
        <p:spPr bwMode="auto">
          <a:xfrm flipH="1">
            <a:off x="3654261" y="2857087"/>
            <a:ext cx="916751" cy="404764"/>
          </a:xfrm>
          <a:prstGeom prst="roundRect">
            <a:avLst>
              <a:gd name="adj" fmla="val 10785"/>
            </a:avLst>
          </a:prstGeom>
          <a:no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algn="ctr" defTabSz="684381">
              <a:lnSpc>
                <a:spcPct val="90000"/>
              </a:lnSpc>
              <a:spcBef>
                <a:spcPts val="450"/>
              </a:spcBef>
            </a:pPr>
            <a:r>
              <a:rPr lang="en-US" altLang="ja-JP" sz="1000" dirty="0" smtClean="0">
                <a:solidFill>
                  <a:srgbClr val="676767"/>
                </a:solidFill>
                <a:latin typeface="Arial" charset="0"/>
                <a:ea typeface="ＭＳ Ｐゴシック" charset="0"/>
                <a:cs typeface="ＭＳ Ｐゴシック" charset="0"/>
              </a:rPr>
              <a:t>DNS</a:t>
            </a:r>
            <a:endParaRPr lang="en-US" altLang="ja-JP" sz="1400" b="1" dirty="0">
              <a:solidFill>
                <a:srgbClr val="194147"/>
              </a:solidFill>
              <a:latin typeface="Arial"/>
              <a:ea typeface="MS PGothic" charset="0"/>
            </a:endParaRPr>
          </a:p>
          <a:p>
            <a:pPr algn="ctr" defTabSz="684381">
              <a:lnSpc>
                <a:spcPct val="90000"/>
              </a:lnSpc>
              <a:spcBef>
                <a:spcPts val="450"/>
              </a:spcBef>
            </a:pPr>
            <a:endParaRPr lang="en-US" altLang="ja-JP" sz="1000" dirty="0" smtClean="0">
              <a:solidFill>
                <a:srgbClr val="676767"/>
              </a:solidFill>
              <a:latin typeface="Arial" charset="0"/>
              <a:ea typeface="ＭＳ Ｐゴシック" charset="0"/>
              <a:cs typeface="ＭＳ Ｐゴシック" charset="0"/>
            </a:endParaRPr>
          </a:p>
        </p:txBody>
      </p:sp>
      <p:pic>
        <p:nvPicPr>
          <p:cNvPr id="49" name="Picture 48"/>
          <p:cNvPicPr>
            <a:picLocks noChangeAspect="1"/>
          </p:cNvPicPr>
          <p:nvPr/>
        </p:nvPicPr>
        <p:blipFill>
          <a:blip r:embed="rId3"/>
          <a:stretch>
            <a:fillRect/>
          </a:stretch>
        </p:blipFill>
        <p:spPr>
          <a:xfrm>
            <a:off x="3867260" y="3045075"/>
            <a:ext cx="487866" cy="193464"/>
          </a:xfrm>
          <a:prstGeom prst="rect">
            <a:avLst/>
          </a:prstGeom>
        </p:spPr>
      </p:pic>
      <p:sp>
        <p:nvSpPr>
          <p:cNvPr id="54" name="Rectangle 19"/>
          <p:cNvSpPr>
            <a:spLocks noChangeArrowheads="1"/>
          </p:cNvSpPr>
          <p:nvPr/>
        </p:nvSpPr>
        <p:spPr bwMode="auto">
          <a:xfrm flipH="1">
            <a:off x="102624" y="2218865"/>
            <a:ext cx="2700304" cy="2829223"/>
          </a:xfrm>
          <a:prstGeom prst="roundRect">
            <a:avLst>
              <a:gd name="adj" fmla="val 10785"/>
            </a:avLst>
          </a:prstGeom>
          <a:solidFill>
            <a:schemeClr val="accent4">
              <a:lumMod val="20000"/>
              <a:lumOff val="8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sp>
        <p:nvSpPr>
          <p:cNvPr id="51" name="Rectangle 19"/>
          <p:cNvSpPr>
            <a:spLocks noChangeArrowheads="1"/>
          </p:cNvSpPr>
          <p:nvPr/>
        </p:nvSpPr>
        <p:spPr bwMode="auto">
          <a:xfrm flipH="1">
            <a:off x="1754331" y="2908399"/>
            <a:ext cx="1462387"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sz="1050" dirty="0">
                <a:solidFill>
                  <a:srgbClr val="676767"/>
                </a:solidFill>
                <a:latin typeface="Arial" charset="0"/>
                <a:ea typeface="ＭＳ Ｐゴシック" charset="0"/>
                <a:cs typeface="ＭＳ Ｐゴシック" charset="0"/>
              </a:rPr>
              <a:t>次世代</a:t>
            </a:r>
            <a:r>
              <a:rPr lang="en-US" sz="1050" dirty="0" smtClean="0">
                <a:solidFill>
                  <a:srgbClr val="676767"/>
                </a:solidFill>
                <a:latin typeface="Arial" charset="0"/>
                <a:ea typeface="ＭＳ Ｐゴシック" charset="0"/>
                <a:cs typeface="ＭＳ Ｐゴシック" charset="0"/>
              </a:rPr>
              <a:t>FW</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SA/Firepower</a:t>
            </a:r>
            <a:endParaRPr lang="en-US" sz="1400" b="1" dirty="0">
              <a:solidFill>
                <a:schemeClr val="accent6">
                  <a:lumMod val="50000"/>
                </a:schemeClr>
              </a:solidFill>
              <a:latin typeface="Arial"/>
              <a:ea typeface="MS PGothic" charset="0"/>
            </a:endParaRPr>
          </a:p>
        </p:txBody>
      </p:sp>
      <p:sp>
        <p:nvSpPr>
          <p:cNvPr id="57" name="Rectangle 19"/>
          <p:cNvSpPr>
            <a:spLocks noChangeArrowheads="1"/>
          </p:cNvSpPr>
          <p:nvPr/>
        </p:nvSpPr>
        <p:spPr bwMode="auto">
          <a:xfrm flipH="1">
            <a:off x="1667504" y="3477734"/>
            <a:ext cx="1032811"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sz="900" dirty="0" smtClean="0">
                <a:solidFill>
                  <a:srgbClr val="676767"/>
                </a:solidFill>
                <a:latin typeface="Arial" charset="0"/>
                <a:ea typeface="ＭＳ Ｐゴシック" charset="0"/>
                <a:cs typeface="ＭＳ Ｐゴシック" charset="0"/>
              </a:rPr>
              <a:t>メールセキュリティ</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ESA</a:t>
            </a:r>
            <a:endParaRPr lang="en-US" sz="1400" b="1" dirty="0">
              <a:solidFill>
                <a:schemeClr val="accent6">
                  <a:lumMod val="50000"/>
                </a:schemeClr>
              </a:solidFill>
              <a:latin typeface="Arial"/>
              <a:ea typeface="MS PGothic" charset="0"/>
            </a:endParaRPr>
          </a:p>
        </p:txBody>
      </p:sp>
      <p:sp>
        <p:nvSpPr>
          <p:cNvPr id="58" name="Rectangle 19"/>
          <p:cNvSpPr>
            <a:spLocks noChangeArrowheads="1"/>
          </p:cNvSpPr>
          <p:nvPr/>
        </p:nvSpPr>
        <p:spPr bwMode="auto">
          <a:xfrm flipH="1">
            <a:off x="1667504" y="3962308"/>
            <a:ext cx="1032811"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900" dirty="0" smtClean="0">
                <a:solidFill>
                  <a:srgbClr val="676767"/>
                </a:solidFill>
                <a:latin typeface="Arial" charset="0"/>
                <a:ea typeface="ＭＳ Ｐゴシック" charset="0"/>
                <a:cs typeface="ＭＳ Ｐゴシック" charset="0"/>
              </a:rPr>
              <a:t>ウェブ</a:t>
            </a:r>
            <a:r>
              <a:rPr lang="en-US" sz="900" dirty="0" smtClean="0">
                <a:solidFill>
                  <a:srgbClr val="676767"/>
                </a:solidFill>
                <a:latin typeface="Arial" charset="0"/>
                <a:ea typeface="ＭＳ Ｐゴシック" charset="0"/>
                <a:cs typeface="ＭＳ Ｐゴシック" charset="0"/>
              </a:rPr>
              <a:t>セキュリティ</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WSA</a:t>
            </a:r>
            <a:endParaRPr lang="en-US" sz="1400" b="1" dirty="0">
              <a:solidFill>
                <a:schemeClr val="accent6">
                  <a:lumMod val="50000"/>
                </a:schemeClr>
              </a:solidFill>
              <a:latin typeface="Arial"/>
              <a:ea typeface="MS PGothic" charset="0"/>
            </a:endParaRPr>
          </a:p>
        </p:txBody>
      </p:sp>
      <p:grpSp>
        <p:nvGrpSpPr>
          <p:cNvPr id="59" name="Group 58"/>
          <p:cNvGrpSpPr/>
          <p:nvPr/>
        </p:nvGrpSpPr>
        <p:grpSpPr>
          <a:xfrm>
            <a:off x="504200" y="4505833"/>
            <a:ext cx="198707" cy="241668"/>
            <a:chOff x="2322747" y="1197939"/>
            <a:chExt cx="198707" cy="241668"/>
          </a:xfrm>
        </p:grpSpPr>
        <p:sp>
          <p:nvSpPr>
            <p:cNvPr id="60" name="Rectangle 59"/>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1" name="Rectangle 60"/>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2" name="Freeform 61"/>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pic>
        <p:nvPicPr>
          <p:cNvPr id="63" name="Picture 62"/>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78881" y="4395868"/>
            <a:ext cx="968525" cy="578773"/>
          </a:xfrm>
          <a:prstGeom prst="rect">
            <a:avLst/>
          </a:prstGeom>
        </p:spPr>
      </p:pic>
      <p:sp>
        <p:nvSpPr>
          <p:cNvPr id="64" name="Rectangle 19"/>
          <p:cNvSpPr>
            <a:spLocks noChangeArrowheads="1"/>
          </p:cNvSpPr>
          <p:nvPr/>
        </p:nvSpPr>
        <p:spPr bwMode="auto">
          <a:xfrm flipH="1">
            <a:off x="1303498" y="4519472"/>
            <a:ext cx="1032811"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900" dirty="0" smtClean="0">
                <a:solidFill>
                  <a:srgbClr val="676767"/>
                </a:solidFill>
                <a:latin typeface="Arial" charset="0"/>
                <a:ea typeface="ＭＳ Ｐゴシック" charset="0"/>
                <a:cs typeface="ＭＳ Ｐゴシック" charset="0"/>
              </a:rPr>
              <a:t>マルウェア対策</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MP</a:t>
            </a:r>
            <a:endParaRPr lang="en-US" sz="1400" b="1" dirty="0">
              <a:solidFill>
                <a:schemeClr val="accent6">
                  <a:lumMod val="50000"/>
                </a:schemeClr>
              </a:solidFill>
              <a:latin typeface="Arial"/>
              <a:ea typeface="MS PGothic" charset="0"/>
            </a:endParaRPr>
          </a:p>
        </p:txBody>
      </p:sp>
      <p:sp>
        <p:nvSpPr>
          <p:cNvPr id="66" name="Rectangle 19"/>
          <p:cNvSpPr>
            <a:spLocks noChangeArrowheads="1"/>
          </p:cNvSpPr>
          <p:nvPr/>
        </p:nvSpPr>
        <p:spPr bwMode="auto">
          <a:xfrm flipH="1">
            <a:off x="214594" y="3199671"/>
            <a:ext cx="1088903"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900" dirty="0" smtClean="0">
                <a:solidFill>
                  <a:srgbClr val="676767"/>
                </a:solidFill>
                <a:latin typeface="Arial" charset="0"/>
                <a:ea typeface="ＭＳ Ｐゴシック" charset="0"/>
                <a:cs typeface="ＭＳ Ｐゴシック" charset="0"/>
              </a:rPr>
              <a:t>認証・検疫・</a:t>
            </a:r>
            <a:r>
              <a:rPr lang="en-US" altLang="ja-JP" sz="900" dirty="0" smtClean="0">
                <a:solidFill>
                  <a:srgbClr val="676767"/>
                </a:solidFill>
                <a:latin typeface="Arial" charset="0"/>
                <a:ea typeface="ＭＳ Ｐゴシック" charset="0"/>
                <a:cs typeface="ＭＳ Ｐゴシック" charset="0"/>
              </a:rPr>
              <a:t>BYOD</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ISE</a:t>
            </a:r>
            <a:endParaRPr lang="en-US" sz="1400" b="1" dirty="0">
              <a:solidFill>
                <a:schemeClr val="accent6">
                  <a:lumMod val="50000"/>
                </a:schemeClr>
              </a:solidFill>
              <a:latin typeface="Arial"/>
              <a:ea typeface="MS PGothic" charset="0"/>
            </a:endParaRPr>
          </a:p>
        </p:txBody>
      </p:sp>
      <p:sp>
        <p:nvSpPr>
          <p:cNvPr id="26" name="AutoShape 230"/>
          <p:cNvSpPr>
            <a:spLocks noChangeAspect="1"/>
          </p:cNvSpPr>
          <p:nvPr/>
        </p:nvSpPr>
        <p:spPr bwMode="auto">
          <a:xfrm>
            <a:off x="5958887" y="4377728"/>
            <a:ext cx="319873" cy="447817"/>
          </a:xfrm>
          <a:custGeom>
            <a:avLst/>
            <a:gdLst>
              <a:gd name="T0" fmla="*/ 260 w 21600"/>
              <a:gd name="T1" fmla="*/ 364 h 21600"/>
              <a:gd name="T2" fmla="*/ 0 60000 65536"/>
              <a:gd name="T3" fmla="*/ 0 w 21600"/>
              <a:gd name="T4" fmla="*/ 0 h 21600"/>
              <a:gd name="T5" fmla="*/ 21600 w 21600"/>
              <a:gd name="T6" fmla="*/ 21600 h 21600"/>
            </a:gdLst>
            <a:ahLst/>
            <a:cxnLst>
              <a:cxn ang="T2">
                <a:pos x="T0" y="T1"/>
              </a:cxn>
            </a:cxnLst>
            <a:rect l="T3" t="T4" r="T5" b="T6"/>
            <a:pathLst>
              <a:path w="21600" h="21600">
                <a:moveTo>
                  <a:pt x="19895" y="0"/>
                </a:moveTo>
                <a:cubicBezTo>
                  <a:pt x="8185" y="0"/>
                  <a:pt x="1933" y="0"/>
                  <a:pt x="1933" y="0"/>
                </a:cubicBezTo>
                <a:cubicBezTo>
                  <a:pt x="909" y="0"/>
                  <a:pt x="0" y="650"/>
                  <a:pt x="0" y="1462"/>
                </a:cubicBezTo>
                <a:cubicBezTo>
                  <a:pt x="0" y="20301"/>
                  <a:pt x="0" y="20301"/>
                  <a:pt x="0" y="20301"/>
                </a:cubicBezTo>
                <a:cubicBezTo>
                  <a:pt x="0" y="21113"/>
                  <a:pt x="909" y="21600"/>
                  <a:pt x="1933" y="21600"/>
                </a:cubicBezTo>
                <a:cubicBezTo>
                  <a:pt x="13642" y="21600"/>
                  <a:pt x="19895" y="21600"/>
                  <a:pt x="19895" y="21600"/>
                </a:cubicBezTo>
                <a:cubicBezTo>
                  <a:pt x="20918" y="21600"/>
                  <a:pt x="21600" y="21113"/>
                  <a:pt x="21600" y="20301"/>
                </a:cubicBezTo>
                <a:cubicBezTo>
                  <a:pt x="21600" y="1462"/>
                  <a:pt x="21600" y="1462"/>
                  <a:pt x="21600" y="1462"/>
                </a:cubicBezTo>
                <a:cubicBezTo>
                  <a:pt x="21600" y="650"/>
                  <a:pt x="20918" y="0"/>
                  <a:pt x="19895" y="0"/>
                </a:cubicBezTo>
                <a:close/>
                <a:moveTo>
                  <a:pt x="20236" y="17621"/>
                </a:moveTo>
                <a:cubicBezTo>
                  <a:pt x="20236" y="18189"/>
                  <a:pt x="19554" y="18596"/>
                  <a:pt x="18872" y="18596"/>
                </a:cubicBezTo>
                <a:cubicBezTo>
                  <a:pt x="9208" y="18596"/>
                  <a:pt x="2956" y="18596"/>
                  <a:pt x="2956" y="18596"/>
                </a:cubicBezTo>
                <a:cubicBezTo>
                  <a:pt x="2046" y="18596"/>
                  <a:pt x="1364" y="18189"/>
                  <a:pt x="1364" y="17621"/>
                </a:cubicBezTo>
                <a:cubicBezTo>
                  <a:pt x="1364" y="4223"/>
                  <a:pt x="1364" y="2192"/>
                  <a:pt x="1364" y="2192"/>
                </a:cubicBezTo>
                <a:cubicBezTo>
                  <a:pt x="1364" y="1543"/>
                  <a:pt x="2046" y="1056"/>
                  <a:pt x="2956" y="1056"/>
                </a:cubicBezTo>
                <a:cubicBezTo>
                  <a:pt x="12619" y="1056"/>
                  <a:pt x="18872" y="1056"/>
                  <a:pt x="18872" y="1056"/>
                </a:cubicBezTo>
                <a:cubicBezTo>
                  <a:pt x="19554" y="1056"/>
                  <a:pt x="20236" y="1543"/>
                  <a:pt x="20236" y="2192"/>
                </a:cubicBezTo>
                <a:cubicBezTo>
                  <a:pt x="20236" y="15591"/>
                  <a:pt x="20236" y="15591"/>
                  <a:pt x="20236" y="15591"/>
                </a:cubicBezTo>
                <a:lnTo>
                  <a:pt x="20236" y="17621"/>
                </a:lnTo>
                <a:close/>
                <a:moveTo>
                  <a:pt x="20236" y="17621"/>
                </a:moveTo>
              </a:path>
            </a:pathLst>
          </a:custGeom>
          <a:solidFill>
            <a:schemeClr val="tx1">
              <a:lumMod val="50000"/>
            </a:schemeClr>
          </a:solidFill>
          <a:ln w="6350">
            <a:solidFill>
              <a:srgbClr val="5F5F5F"/>
            </a:solidFill>
            <a:round/>
            <a:headEnd/>
            <a:tailEn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itchFamily="34" charset="0"/>
              <a:ea typeface="ヒラギノ角ゴ ProN W3"/>
              <a:cs typeface="ヒラギノ角ゴ ProN W3"/>
            </a:endParaRPr>
          </a:p>
        </p:txBody>
      </p:sp>
      <p:sp>
        <p:nvSpPr>
          <p:cNvPr id="73" name="Rectangle 19"/>
          <p:cNvSpPr>
            <a:spLocks noChangeArrowheads="1"/>
          </p:cNvSpPr>
          <p:nvPr/>
        </p:nvSpPr>
        <p:spPr bwMode="auto">
          <a:xfrm flipH="1">
            <a:off x="498480" y="3830011"/>
            <a:ext cx="521130" cy="324086"/>
          </a:xfrm>
          <a:prstGeom prst="roundRect">
            <a:avLst>
              <a:gd name="adj" fmla="val 10785"/>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700" dirty="0" smtClean="0">
                <a:solidFill>
                  <a:srgbClr val="676767"/>
                </a:solidFill>
                <a:latin typeface="Arial" charset="0"/>
                <a:ea typeface="ＭＳ Ｐゴシック" charset="0"/>
                <a:cs typeface="ＭＳ Ｐゴシック" charset="0"/>
              </a:rPr>
              <a:t>アクセス</a:t>
            </a:r>
            <a:r>
              <a:rPr lang="en-US" altLang="ja-JP" sz="700" dirty="0" smtClean="0">
                <a:solidFill>
                  <a:srgbClr val="676767"/>
                </a:solidFill>
                <a:latin typeface="Arial" charset="0"/>
                <a:ea typeface="ＭＳ Ｐゴシック" charset="0"/>
                <a:cs typeface="ＭＳ Ｐゴシック" charset="0"/>
              </a:rPr>
              <a:t/>
            </a:r>
            <a:br>
              <a:rPr lang="en-US" altLang="ja-JP" sz="700" dirty="0" smtClean="0">
                <a:solidFill>
                  <a:srgbClr val="676767"/>
                </a:solidFill>
                <a:latin typeface="Arial" charset="0"/>
                <a:ea typeface="ＭＳ Ｐゴシック" charset="0"/>
                <a:cs typeface="ＭＳ Ｐゴシック" charset="0"/>
              </a:rPr>
            </a:br>
            <a:r>
              <a:rPr lang="ja-JP" altLang="en-US" sz="700" dirty="0" smtClean="0">
                <a:solidFill>
                  <a:srgbClr val="676767"/>
                </a:solidFill>
                <a:latin typeface="Arial" charset="0"/>
                <a:ea typeface="ＭＳ Ｐゴシック" charset="0"/>
                <a:cs typeface="ＭＳ Ｐゴシック" charset="0"/>
              </a:rPr>
              <a:t>ポイント</a:t>
            </a:r>
            <a:endParaRPr lang="en-US" sz="1100" b="1" dirty="0">
              <a:solidFill>
                <a:schemeClr val="accent6">
                  <a:lumMod val="50000"/>
                </a:schemeClr>
              </a:solidFill>
              <a:latin typeface="Arial"/>
              <a:ea typeface="MS PGothic" charset="0"/>
            </a:endParaRPr>
          </a:p>
        </p:txBody>
      </p:sp>
      <p:grpSp>
        <p:nvGrpSpPr>
          <p:cNvPr id="75" name="グループ化 81"/>
          <p:cNvGrpSpPr/>
          <p:nvPr/>
        </p:nvGrpSpPr>
        <p:grpSpPr>
          <a:xfrm>
            <a:off x="517723" y="4039525"/>
            <a:ext cx="335466" cy="365782"/>
            <a:chOff x="9180641" y="7486150"/>
            <a:chExt cx="578526" cy="480626"/>
          </a:xfrm>
        </p:grpSpPr>
        <p:sp>
          <p:nvSpPr>
            <p:cNvPr id="76" name="円弧 222"/>
            <p:cNvSpPr/>
            <p:nvPr/>
          </p:nvSpPr>
          <p:spPr>
            <a:xfrm>
              <a:off x="9304064" y="7486150"/>
              <a:ext cx="331680" cy="222125"/>
            </a:xfrm>
            <a:prstGeom prst="arc">
              <a:avLst>
                <a:gd name="adj1" fmla="val 182688"/>
                <a:gd name="adj2" fmla="val 10800000"/>
              </a:avLst>
            </a:prstGeom>
            <a:noFill/>
            <a:ln w="6350" cap="flat" cmpd="sng" algn="ctr">
              <a:solidFill>
                <a:srgbClr val="5F5F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a:ln>
                  <a:noFill/>
                </a:ln>
                <a:solidFill>
                  <a:srgbClr val="0096D6"/>
                </a:solidFill>
                <a:effectLst/>
                <a:uLnTx/>
                <a:uFillTx/>
                <a:latin typeface="CiscoSans ExtraLight"/>
                <a:ea typeface="+mn-ea"/>
                <a:cs typeface="+mn-cs"/>
              </a:endParaRPr>
            </a:p>
          </p:txBody>
        </p:sp>
        <p:sp>
          <p:nvSpPr>
            <p:cNvPr id="77" name="円弧 223"/>
            <p:cNvSpPr/>
            <p:nvPr/>
          </p:nvSpPr>
          <p:spPr>
            <a:xfrm>
              <a:off x="9237792" y="7511512"/>
              <a:ext cx="464225" cy="310890"/>
            </a:xfrm>
            <a:prstGeom prst="arc">
              <a:avLst>
                <a:gd name="adj1" fmla="val 182688"/>
                <a:gd name="adj2" fmla="val 10800000"/>
              </a:avLst>
            </a:prstGeom>
            <a:noFill/>
            <a:ln w="6350" cap="flat" cmpd="sng" algn="ctr">
              <a:solidFill>
                <a:srgbClr val="5F5F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a:ln>
                  <a:noFill/>
                </a:ln>
                <a:solidFill>
                  <a:srgbClr val="0096D6"/>
                </a:solidFill>
                <a:effectLst/>
                <a:uLnTx/>
                <a:uFillTx/>
                <a:latin typeface="CiscoSans ExtraLight"/>
                <a:ea typeface="+mn-ea"/>
                <a:cs typeface="+mn-cs"/>
              </a:endParaRPr>
            </a:p>
          </p:txBody>
        </p:sp>
        <p:sp>
          <p:nvSpPr>
            <p:cNvPr id="78" name="円弧 224"/>
            <p:cNvSpPr/>
            <p:nvPr/>
          </p:nvSpPr>
          <p:spPr>
            <a:xfrm>
              <a:off x="9180641" y="7579339"/>
              <a:ext cx="578526" cy="387437"/>
            </a:xfrm>
            <a:prstGeom prst="arc">
              <a:avLst>
                <a:gd name="adj1" fmla="val 182688"/>
                <a:gd name="adj2" fmla="val 10800000"/>
              </a:avLst>
            </a:prstGeom>
            <a:noFill/>
            <a:ln w="6350" cap="flat" cmpd="sng" algn="ctr">
              <a:solidFill>
                <a:srgbClr val="5F5F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a:ln>
                  <a:noFill/>
                </a:ln>
                <a:solidFill>
                  <a:srgbClr val="0096D6"/>
                </a:solidFill>
                <a:effectLst/>
                <a:uLnTx/>
                <a:uFillTx/>
                <a:latin typeface="CiscoSans ExtraLight"/>
                <a:ea typeface="+mn-ea"/>
                <a:cs typeface="+mn-cs"/>
              </a:endParaRPr>
            </a:p>
          </p:txBody>
        </p:sp>
      </p:grpSp>
      <p:cxnSp>
        <p:nvCxnSpPr>
          <p:cNvPr id="24" name="Elbow Connector 23"/>
          <p:cNvCxnSpPr>
            <a:stCxn id="51" idx="3"/>
            <a:endCxn id="66" idx="1"/>
          </p:cNvCxnSpPr>
          <p:nvPr/>
        </p:nvCxnSpPr>
        <p:spPr>
          <a:xfrm rot="10800000" flipV="1">
            <a:off x="1303497" y="3110781"/>
            <a:ext cx="450834" cy="291272"/>
          </a:xfrm>
          <a:prstGeom prst="bentConnector3">
            <a:avLst>
              <a:gd name="adj1" fmla="val 68241"/>
            </a:avLst>
          </a:prstGeom>
          <a:ln w="3175" cmpd="sng">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79" name="Elbow Connector 78"/>
          <p:cNvCxnSpPr>
            <a:stCxn id="51" idx="3"/>
            <a:endCxn id="58" idx="3"/>
          </p:cNvCxnSpPr>
          <p:nvPr/>
        </p:nvCxnSpPr>
        <p:spPr>
          <a:xfrm rot="10800000" flipV="1">
            <a:off x="1667505" y="3110780"/>
            <a:ext cx="86827" cy="1053909"/>
          </a:xfrm>
          <a:prstGeom prst="bentConnector3">
            <a:avLst>
              <a:gd name="adj1" fmla="val 363282"/>
            </a:avLst>
          </a:prstGeom>
          <a:ln w="3175" cmpd="sng">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83" name="Elbow Connector 82"/>
          <p:cNvCxnSpPr>
            <a:stCxn id="51" idx="3"/>
            <a:endCxn id="57" idx="3"/>
          </p:cNvCxnSpPr>
          <p:nvPr/>
        </p:nvCxnSpPr>
        <p:spPr>
          <a:xfrm rot="10800000" flipV="1">
            <a:off x="1667505" y="3110780"/>
            <a:ext cx="86827" cy="569335"/>
          </a:xfrm>
          <a:prstGeom prst="bentConnector3">
            <a:avLst>
              <a:gd name="adj1" fmla="val 363282"/>
            </a:avLst>
          </a:prstGeom>
          <a:ln w="3175" cmpd="sng">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92" name="Straight Connector 91"/>
          <p:cNvCxnSpPr>
            <a:stCxn id="66" idx="2"/>
            <a:endCxn id="73" idx="0"/>
          </p:cNvCxnSpPr>
          <p:nvPr/>
        </p:nvCxnSpPr>
        <p:spPr>
          <a:xfrm>
            <a:off x="759045" y="3604435"/>
            <a:ext cx="0" cy="225576"/>
          </a:xfrm>
          <a:prstGeom prst="line">
            <a:avLst/>
          </a:prstGeom>
          <a:ln w="3175" cmpd="sng">
            <a:solidFill>
              <a:srgbClr val="343434"/>
            </a:solidFill>
          </a:ln>
        </p:spPr>
        <p:style>
          <a:lnRef idx="2">
            <a:schemeClr val="accent1"/>
          </a:lnRef>
          <a:fillRef idx="0">
            <a:schemeClr val="accent1"/>
          </a:fillRef>
          <a:effectRef idx="1">
            <a:schemeClr val="accent1"/>
          </a:effectRef>
          <a:fontRef idx="minor">
            <a:schemeClr val="tx1"/>
          </a:fontRef>
        </p:style>
      </p:cxnSp>
      <p:pic>
        <p:nvPicPr>
          <p:cNvPr id="93" name="Picture 9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7324" y="2000013"/>
            <a:ext cx="1183441" cy="760040"/>
          </a:xfrm>
          <a:prstGeom prst="rect">
            <a:avLst/>
          </a:prstGeom>
        </p:spPr>
      </p:pic>
      <p:sp>
        <p:nvSpPr>
          <p:cNvPr id="94" name="Rectangle 19"/>
          <p:cNvSpPr>
            <a:spLocks noChangeArrowheads="1"/>
          </p:cNvSpPr>
          <p:nvPr/>
        </p:nvSpPr>
        <p:spPr bwMode="auto">
          <a:xfrm flipH="1">
            <a:off x="4700239" y="2857087"/>
            <a:ext cx="1032811" cy="404764"/>
          </a:xfrm>
          <a:prstGeom prst="roundRect">
            <a:avLst>
              <a:gd name="adj" fmla="val 10785"/>
            </a:avLst>
          </a:prstGeom>
          <a:noFill/>
          <a:ln w="12700" cmpd="sng">
            <a:solidFill>
              <a:schemeClr val="tx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00" dirty="0" smtClean="0">
                <a:solidFill>
                  <a:srgbClr val="676767"/>
                </a:solidFill>
                <a:latin typeface="Arial" charset="0"/>
                <a:ea typeface="ＭＳ Ｐゴシック" charset="0"/>
                <a:cs typeface="ＭＳ Ｐゴシック" charset="0"/>
              </a:rPr>
              <a:t>ウェブプロキシ</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endParaRPr lang="en-US" sz="1400" b="1" dirty="0">
              <a:solidFill>
                <a:schemeClr val="accent6">
                  <a:lumMod val="50000"/>
                </a:schemeClr>
              </a:solidFill>
              <a:latin typeface="Arial"/>
              <a:ea typeface="MS PGothic" charset="0"/>
            </a:endParaRPr>
          </a:p>
        </p:txBody>
      </p:sp>
      <p:grpSp>
        <p:nvGrpSpPr>
          <p:cNvPr id="95" name="Group 94"/>
          <p:cNvGrpSpPr/>
          <p:nvPr/>
        </p:nvGrpSpPr>
        <p:grpSpPr>
          <a:xfrm>
            <a:off x="4853435" y="3040512"/>
            <a:ext cx="682833" cy="188784"/>
            <a:chOff x="691827" y="3506031"/>
            <a:chExt cx="2666757" cy="755693"/>
          </a:xfrm>
          <a:solidFill>
            <a:srgbClr val="B7D333"/>
          </a:solidFill>
        </p:grpSpPr>
        <p:grpSp>
          <p:nvGrpSpPr>
            <p:cNvPr id="96" name="Group 95"/>
            <p:cNvGrpSpPr>
              <a:grpSpLocks noChangeAspect="1"/>
            </p:cNvGrpSpPr>
            <p:nvPr/>
          </p:nvGrpSpPr>
          <p:grpSpPr>
            <a:xfrm rot="20679101">
              <a:off x="691827" y="3506031"/>
              <a:ext cx="758555" cy="755693"/>
              <a:chOff x="7798595" y="7042151"/>
              <a:chExt cx="420688" cy="419100"/>
            </a:xfrm>
            <a:grpFill/>
          </p:grpSpPr>
          <p:sp>
            <p:nvSpPr>
              <p:cNvPr id="101"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102"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nvGrpSpPr>
            <p:cNvPr id="97" name="Group 5"/>
            <p:cNvGrpSpPr>
              <a:grpSpLocks noChangeAspect="1"/>
            </p:cNvGrpSpPr>
            <p:nvPr/>
          </p:nvGrpSpPr>
          <p:grpSpPr bwMode="auto">
            <a:xfrm>
              <a:off x="1450697" y="3636763"/>
              <a:ext cx="1907887" cy="613019"/>
              <a:chOff x="-78" y="-1937"/>
              <a:chExt cx="7678" cy="2467"/>
            </a:xfrm>
            <a:grpFill/>
          </p:grpSpPr>
          <p:sp>
            <p:nvSpPr>
              <p:cNvPr id="98"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99"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100"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grpSp>
        <p:nvGrpSpPr>
          <p:cNvPr id="105" name="Group 104"/>
          <p:cNvGrpSpPr/>
          <p:nvPr/>
        </p:nvGrpSpPr>
        <p:grpSpPr>
          <a:xfrm>
            <a:off x="2073462" y="4709016"/>
            <a:ext cx="142755" cy="175277"/>
            <a:chOff x="2322747" y="1197939"/>
            <a:chExt cx="198707" cy="241668"/>
          </a:xfrm>
        </p:grpSpPr>
        <p:sp>
          <p:nvSpPr>
            <p:cNvPr id="106" name="Rectangle 105"/>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7" name="Rectangle 106"/>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8" name="Freeform 107"/>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09" name="Group 108"/>
          <p:cNvGrpSpPr/>
          <p:nvPr/>
        </p:nvGrpSpPr>
        <p:grpSpPr>
          <a:xfrm>
            <a:off x="2440624" y="4158991"/>
            <a:ext cx="142755" cy="175277"/>
            <a:chOff x="2322747" y="1197939"/>
            <a:chExt cx="198707" cy="241668"/>
          </a:xfrm>
        </p:grpSpPr>
        <p:sp>
          <p:nvSpPr>
            <p:cNvPr id="110" name="Rectangle 109"/>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1" name="Rectangle 110"/>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2" name="Freeform 111"/>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13" name="Group 112"/>
          <p:cNvGrpSpPr/>
          <p:nvPr/>
        </p:nvGrpSpPr>
        <p:grpSpPr>
          <a:xfrm>
            <a:off x="2440624" y="3680116"/>
            <a:ext cx="142755" cy="175277"/>
            <a:chOff x="2322747" y="1197939"/>
            <a:chExt cx="198707" cy="241668"/>
          </a:xfrm>
        </p:grpSpPr>
        <p:sp>
          <p:nvSpPr>
            <p:cNvPr id="114" name="Rectangle 113"/>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5" name="Rectangle 114"/>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6" name="Freeform 115"/>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17" name="Group 116"/>
          <p:cNvGrpSpPr/>
          <p:nvPr/>
        </p:nvGrpSpPr>
        <p:grpSpPr>
          <a:xfrm>
            <a:off x="3145343" y="3113337"/>
            <a:ext cx="142755" cy="175277"/>
            <a:chOff x="2322747" y="1197939"/>
            <a:chExt cx="198707" cy="241668"/>
          </a:xfrm>
        </p:grpSpPr>
        <p:sp>
          <p:nvSpPr>
            <p:cNvPr id="118" name="Rectangle 117"/>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9" name="Rectangle 118"/>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0" name="Freeform 119"/>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21" name="Group 120"/>
          <p:cNvGrpSpPr/>
          <p:nvPr/>
        </p:nvGrpSpPr>
        <p:grpSpPr>
          <a:xfrm>
            <a:off x="5596588" y="3058644"/>
            <a:ext cx="142755" cy="175277"/>
            <a:chOff x="2322747" y="1197939"/>
            <a:chExt cx="198707" cy="241668"/>
          </a:xfrm>
        </p:grpSpPr>
        <p:sp>
          <p:nvSpPr>
            <p:cNvPr id="122" name="Rectangle 121"/>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3" name="Rectangle 122"/>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4" name="Freeform 123"/>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sp>
        <p:nvSpPr>
          <p:cNvPr id="125" name="Rectangle 19"/>
          <p:cNvSpPr>
            <a:spLocks noChangeArrowheads="1"/>
          </p:cNvSpPr>
          <p:nvPr/>
        </p:nvSpPr>
        <p:spPr bwMode="auto">
          <a:xfrm flipH="1">
            <a:off x="4951135" y="1783533"/>
            <a:ext cx="1168497" cy="404764"/>
          </a:xfrm>
          <a:prstGeom prst="roundRect">
            <a:avLst>
              <a:gd name="adj" fmla="val 10785"/>
            </a:avLst>
          </a:prstGeom>
          <a:noFill/>
          <a:ln w="12700" cmpd="sng">
            <a:solidFill>
              <a:srgbClr val="0D868E"/>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クラウドサンドボックス</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ThreatGRID</a:t>
            </a:r>
            <a:endParaRPr lang="en-US" sz="1400" b="1" dirty="0">
              <a:solidFill>
                <a:schemeClr val="accent6">
                  <a:lumMod val="50000"/>
                </a:schemeClr>
              </a:solidFill>
              <a:latin typeface="Arial"/>
              <a:ea typeface="MS PGothic" charset="0"/>
            </a:endParaRPr>
          </a:p>
        </p:txBody>
      </p:sp>
      <p:pic>
        <p:nvPicPr>
          <p:cNvPr id="126" name="Picture 125"/>
          <p:cNvPicPr>
            <a:picLocks noChangeAspect="1"/>
          </p:cNvPicPr>
          <p:nvPr/>
        </p:nvPicPr>
        <p:blipFill>
          <a:blip r:embed="rId6">
            <a:clrChange>
              <a:clrFrom>
                <a:srgbClr val="FFFFFF"/>
              </a:clrFrom>
              <a:clrTo>
                <a:srgbClr val="FFFFFF">
                  <a:alpha val="0"/>
                </a:srgbClr>
              </a:clrTo>
            </a:clrChange>
          </a:blip>
          <a:stretch>
            <a:fillRect/>
          </a:stretch>
        </p:blipFill>
        <p:spPr>
          <a:xfrm>
            <a:off x="4153618" y="1285411"/>
            <a:ext cx="961547" cy="215190"/>
          </a:xfrm>
          <a:prstGeom prst="rect">
            <a:avLst/>
          </a:prstGeom>
        </p:spPr>
      </p:pic>
      <p:sp>
        <p:nvSpPr>
          <p:cNvPr id="129" name="Rectangle 19"/>
          <p:cNvSpPr>
            <a:spLocks noChangeArrowheads="1"/>
          </p:cNvSpPr>
          <p:nvPr/>
        </p:nvSpPr>
        <p:spPr bwMode="auto">
          <a:xfrm flipH="1">
            <a:off x="214594" y="949866"/>
            <a:ext cx="2434400" cy="1152782"/>
          </a:xfrm>
          <a:prstGeom prst="roundRect">
            <a:avLst>
              <a:gd name="adj" fmla="val 10785"/>
            </a:avLst>
          </a:prstGeom>
          <a:solidFill>
            <a:schemeClr val="accent4">
              <a:lumMod val="20000"/>
              <a:lumOff val="8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pic>
        <p:nvPicPr>
          <p:cNvPr id="128" name="Picture 12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925690" y="679162"/>
            <a:ext cx="1139014" cy="679069"/>
          </a:xfrm>
          <a:prstGeom prst="rect">
            <a:avLst/>
          </a:prstGeom>
        </p:spPr>
      </p:pic>
      <p:sp>
        <p:nvSpPr>
          <p:cNvPr id="131" name="Rectangle 19"/>
          <p:cNvSpPr>
            <a:spLocks noChangeArrowheads="1"/>
          </p:cNvSpPr>
          <p:nvPr/>
        </p:nvSpPr>
        <p:spPr bwMode="auto">
          <a:xfrm flipH="1">
            <a:off x="1293786" y="690590"/>
            <a:ext cx="606248"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1400" b="1" dirty="0" smtClean="0">
                <a:solidFill>
                  <a:schemeClr val="accent6">
                    <a:lumMod val="50000"/>
                  </a:schemeClr>
                </a:solidFill>
                <a:latin typeface="Arial"/>
                <a:ea typeface="MS PGothic" charset="0"/>
              </a:rPr>
              <a:t>SOC</a:t>
            </a:r>
            <a:endParaRPr lang="en-US" sz="1400" b="1" dirty="0">
              <a:solidFill>
                <a:schemeClr val="accent6">
                  <a:lumMod val="50000"/>
                </a:schemeClr>
              </a:solidFill>
              <a:latin typeface="Arial"/>
              <a:ea typeface="MS PGothic" charset="0"/>
            </a:endParaRPr>
          </a:p>
        </p:txBody>
      </p:sp>
      <p:sp>
        <p:nvSpPr>
          <p:cNvPr id="132" name="Rectangle 19"/>
          <p:cNvSpPr>
            <a:spLocks noChangeArrowheads="1"/>
          </p:cNvSpPr>
          <p:nvPr/>
        </p:nvSpPr>
        <p:spPr bwMode="auto">
          <a:xfrm flipH="1">
            <a:off x="301553" y="1051858"/>
            <a:ext cx="1534340"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50" dirty="0" smtClean="0">
                <a:solidFill>
                  <a:srgbClr val="676767"/>
                </a:solidFill>
                <a:latin typeface="Arial" charset="0"/>
                <a:ea typeface="ＭＳ Ｐゴシック" charset="0"/>
                <a:cs typeface="ＭＳ Ｐゴシック" charset="0"/>
              </a:rPr>
              <a:t>マネジメント</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sz="1400" b="1" dirty="0" err="1" smtClean="0">
                <a:solidFill>
                  <a:schemeClr val="accent6">
                    <a:lumMod val="50000"/>
                  </a:schemeClr>
                </a:solidFill>
                <a:latin typeface="Arial"/>
                <a:ea typeface="MS PGothic" charset="0"/>
              </a:rPr>
              <a:t>F</a:t>
            </a:r>
            <a:r>
              <a:rPr lang="en-US" altLang="ja-JP" sz="1400" b="1" dirty="0" err="1" smtClean="0">
                <a:solidFill>
                  <a:schemeClr val="accent6">
                    <a:lumMod val="50000"/>
                  </a:schemeClr>
                </a:solidFill>
                <a:latin typeface="Arial"/>
                <a:ea typeface="MS PGothic" charset="0"/>
              </a:rPr>
              <a:t>iresight</a:t>
            </a:r>
            <a:r>
              <a:rPr lang="en-US" altLang="ja-JP" sz="1400" b="1" dirty="0" smtClean="0">
                <a:solidFill>
                  <a:schemeClr val="accent6">
                    <a:lumMod val="50000"/>
                  </a:schemeClr>
                </a:solidFill>
                <a:latin typeface="Arial"/>
                <a:ea typeface="MS PGothic" charset="0"/>
              </a:rPr>
              <a:t> / SMA</a:t>
            </a:r>
            <a:endParaRPr lang="en-US" sz="1400" b="1" dirty="0">
              <a:solidFill>
                <a:schemeClr val="accent6">
                  <a:lumMod val="50000"/>
                </a:schemeClr>
              </a:solidFill>
              <a:latin typeface="Arial"/>
              <a:ea typeface="MS PGothic" charset="0"/>
            </a:endParaRPr>
          </a:p>
        </p:txBody>
      </p:sp>
      <p:sp>
        <p:nvSpPr>
          <p:cNvPr id="133" name="Rectangle 19"/>
          <p:cNvSpPr>
            <a:spLocks noChangeArrowheads="1"/>
          </p:cNvSpPr>
          <p:nvPr/>
        </p:nvSpPr>
        <p:spPr bwMode="auto">
          <a:xfrm flipH="1">
            <a:off x="301554" y="1551178"/>
            <a:ext cx="1534340"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50" dirty="0" smtClean="0">
                <a:solidFill>
                  <a:srgbClr val="676767"/>
                </a:solidFill>
                <a:latin typeface="Arial" charset="0"/>
                <a:ea typeface="ＭＳ Ｐゴシック" charset="0"/>
                <a:cs typeface="ＭＳ Ｐゴシック" charset="0"/>
              </a:rPr>
              <a:t>インシデントレスポンス</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TA(MTD)</a:t>
            </a:r>
            <a:endParaRPr lang="en-US" sz="1400" b="1" dirty="0">
              <a:solidFill>
                <a:schemeClr val="accent6">
                  <a:lumMod val="50000"/>
                </a:schemeClr>
              </a:solidFill>
              <a:latin typeface="Arial"/>
              <a:ea typeface="MS PGothic" charset="0"/>
            </a:endParaRPr>
          </a:p>
        </p:txBody>
      </p:sp>
      <p:pic>
        <p:nvPicPr>
          <p:cNvPr id="134" name="Picture 133"/>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29074" y="1583248"/>
            <a:ext cx="634294" cy="331827"/>
          </a:xfrm>
          <a:prstGeom prst="rect">
            <a:avLst/>
          </a:prstGeom>
          <a:ln>
            <a:solidFill>
              <a:schemeClr val="accent1">
                <a:lumMod val="50000"/>
              </a:schemeClr>
            </a:solidFill>
          </a:ln>
        </p:spPr>
      </p:pic>
      <p:sp>
        <p:nvSpPr>
          <p:cNvPr id="155" name="Rectangle 19"/>
          <p:cNvSpPr>
            <a:spLocks noChangeArrowheads="1"/>
          </p:cNvSpPr>
          <p:nvPr/>
        </p:nvSpPr>
        <p:spPr bwMode="auto">
          <a:xfrm flipH="1">
            <a:off x="6569360" y="1245437"/>
            <a:ext cx="2434400" cy="666033"/>
          </a:xfrm>
          <a:prstGeom prst="roundRect">
            <a:avLst>
              <a:gd name="adj" fmla="val 10785"/>
            </a:avLst>
          </a:prstGeom>
          <a:solidFill>
            <a:schemeClr val="accent4">
              <a:lumMod val="20000"/>
              <a:lumOff val="8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pic>
        <p:nvPicPr>
          <p:cNvPr id="154" name="Picture 15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96585" y="812991"/>
            <a:ext cx="713266" cy="713266"/>
          </a:xfrm>
          <a:prstGeom prst="rect">
            <a:avLst/>
          </a:prstGeom>
        </p:spPr>
      </p:pic>
      <p:sp>
        <p:nvSpPr>
          <p:cNvPr id="156" name="Rectangle 19"/>
          <p:cNvSpPr>
            <a:spLocks noChangeArrowheads="1"/>
          </p:cNvSpPr>
          <p:nvPr/>
        </p:nvSpPr>
        <p:spPr bwMode="auto">
          <a:xfrm flipH="1">
            <a:off x="7409850" y="977297"/>
            <a:ext cx="1479993"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r>
              <a:rPr lang="en-US" sz="1400" b="1" dirty="0" smtClean="0">
                <a:solidFill>
                  <a:schemeClr val="accent6">
                    <a:lumMod val="50000"/>
                  </a:schemeClr>
                </a:solidFill>
                <a:latin typeface="Arial"/>
                <a:ea typeface="MS PGothic" charset="0"/>
              </a:rPr>
              <a:t>データセンタ</a:t>
            </a:r>
            <a:endParaRPr lang="en-US" sz="1400" b="1" dirty="0">
              <a:solidFill>
                <a:schemeClr val="accent6">
                  <a:lumMod val="50000"/>
                </a:schemeClr>
              </a:solidFill>
              <a:latin typeface="Arial"/>
              <a:ea typeface="MS PGothic" charset="0"/>
            </a:endParaRPr>
          </a:p>
        </p:txBody>
      </p:sp>
      <p:sp>
        <p:nvSpPr>
          <p:cNvPr id="157" name="Rectangle 19"/>
          <p:cNvSpPr>
            <a:spLocks noChangeArrowheads="1"/>
          </p:cNvSpPr>
          <p:nvPr/>
        </p:nvSpPr>
        <p:spPr bwMode="auto">
          <a:xfrm flipH="1">
            <a:off x="6753985" y="1422266"/>
            <a:ext cx="2135857"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sz="1050" b="1" dirty="0" smtClean="0">
                <a:solidFill>
                  <a:srgbClr val="676767"/>
                </a:solidFill>
                <a:latin typeface="Arial" charset="0"/>
                <a:ea typeface="ＭＳ Ｐゴシック" charset="0"/>
                <a:cs typeface="ＭＳ Ｐゴシック" charset="0"/>
              </a:rPr>
              <a:t>高帯域</a:t>
            </a:r>
            <a:r>
              <a:rPr lang="en-US" sz="1050" dirty="0" smtClean="0">
                <a:solidFill>
                  <a:srgbClr val="676767"/>
                </a:solidFill>
                <a:latin typeface="Arial" charset="0"/>
                <a:ea typeface="ＭＳ Ｐゴシック" charset="0"/>
                <a:cs typeface="ＭＳ Ｐゴシック" charset="0"/>
              </a:rPr>
              <a:t> </a:t>
            </a:r>
            <a:r>
              <a:rPr lang="en-US" sz="1050" dirty="0" err="1" smtClean="0">
                <a:solidFill>
                  <a:srgbClr val="676767"/>
                </a:solidFill>
                <a:latin typeface="Arial" charset="0"/>
                <a:ea typeface="ＭＳ Ｐゴシック" charset="0"/>
                <a:cs typeface="ＭＳ Ｐゴシック" charset="0"/>
              </a:rPr>
              <a:t>次世代FW</a:t>
            </a:r>
            <a:r>
              <a:rPr lang="en-US" sz="1050" dirty="0" smtClean="0">
                <a:solidFill>
                  <a:srgbClr val="676767"/>
                </a:solidFill>
                <a:latin typeface="Arial" charset="0"/>
                <a:ea typeface="ＭＳ Ｐゴシック" charset="0"/>
                <a:cs typeface="ＭＳ Ｐゴシック" charset="0"/>
              </a:rPr>
              <a:t>/IPS + </a:t>
            </a:r>
            <a:r>
              <a:rPr lang="en-US" sz="1050" b="1" dirty="0" err="1" smtClean="0">
                <a:solidFill>
                  <a:srgbClr val="676767"/>
                </a:solidFill>
                <a:latin typeface="Arial" charset="0"/>
                <a:ea typeface="ＭＳ Ｐゴシック" charset="0"/>
                <a:cs typeface="ＭＳ Ｐゴシック" charset="0"/>
              </a:rPr>
              <a:t>DDoS</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Firepower 4100/9300</a:t>
            </a:r>
          </a:p>
        </p:txBody>
      </p:sp>
      <p:sp>
        <p:nvSpPr>
          <p:cNvPr id="161" name="Rectangle 19"/>
          <p:cNvSpPr>
            <a:spLocks noChangeArrowheads="1"/>
          </p:cNvSpPr>
          <p:nvPr/>
        </p:nvSpPr>
        <p:spPr bwMode="auto">
          <a:xfrm flipH="1">
            <a:off x="6569360" y="3402054"/>
            <a:ext cx="2434400" cy="1559805"/>
          </a:xfrm>
          <a:prstGeom prst="roundRect">
            <a:avLst>
              <a:gd name="adj" fmla="val 10785"/>
            </a:avLst>
          </a:prstGeom>
          <a:solidFill>
            <a:schemeClr val="bg1"/>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pic>
        <p:nvPicPr>
          <p:cNvPr id="163" name="Picture 16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652676" y="3484073"/>
            <a:ext cx="488674" cy="466683"/>
          </a:xfrm>
          <a:prstGeom prst="rect">
            <a:avLst/>
          </a:prstGeom>
        </p:spPr>
      </p:pic>
      <p:sp>
        <p:nvSpPr>
          <p:cNvPr id="164" name="Rectangle 19"/>
          <p:cNvSpPr>
            <a:spLocks noChangeArrowheads="1"/>
          </p:cNvSpPr>
          <p:nvPr/>
        </p:nvSpPr>
        <p:spPr bwMode="auto">
          <a:xfrm flipH="1">
            <a:off x="7196540" y="3516900"/>
            <a:ext cx="1706131"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r>
              <a:rPr lang="en-US" sz="1400" b="1" dirty="0" smtClean="0">
                <a:solidFill>
                  <a:schemeClr val="accent6">
                    <a:lumMod val="50000"/>
                  </a:schemeClr>
                </a:solidFill>
                <a:latin typeface="Arial"/>
                <a:ea typeface="MS PGothic" charset="0"/>
              </a:rPr>
              <a:t>オープンコミュニティ</a:t>
            </a:r>
            <a:endParaRPr lang="en-US" sz="1400" b="1" dirty="0">
              <a:solidFill>
                <a:schemeClr val="accent6">
                  <a:lumMod val="50000"/>
                </a:schemeClr>
              </a:solidFill>
              <a:latin typeface="Arial"/>
              <a:ea typeface="MS PGothic" charset="0"/>
            </a:endParaRPr>
          </a:p>
        </p:txBody>
      </p:sp>
      <p:pic>
        <p:nvPicPr>
          <p:cNvPr id="165" name="Picture 164"/>
          <p:cNvPicPr>
            <a:picLocks noChangeAspect="1"/>
          </p:cNvPicPr>
          <p:nvPr/>
        </p:nvPicPr>
        <p:blipFill>
          <a:blip r:embed="rId11" cstate="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753985" y="3963727"/>
            <a:ext cx="808202" cy="379726"/>
          </a:xfrm>
          <a:prstGeom prst="rect">
            <a:avLst/>
          </a:prstGeom>
        </p:spPr>
      </p:pic>
      <p:pic>
        <p:nvPicPr>
          <p:cNvPr id="166" name="Picture 165"/>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611384" y="3965929"/>
            <a:ext cx="427237" cy="375323"/>
          </a:xfrm>
          <a:prstGeom prst="rect">
            <a:avLst/>
          </a:prstGeom>
        </p:spPr>
      </p:pic>
      <p:pic>
        <p:nvPicPr>
          <p:cNvPr id="167" name="Picture 166"/>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147351" y="3963451"/>
            <a:ext cx="742491" cy="380278"/>
          </a:xfrm>
          <a:prstGeom prst="rect">
            <a:avLst/>
          </a:prstGeom>
          <a:ln>
            <a:solidFill>
              <a:srgbClr val="B7695A"/>
            </a:solidFill>
          </a:ln>
        </p:spPr>
      </p:pic>
      <p:pic>
        <p:nvPicPr>
          <p:cNvPr id="159" name="Picture 15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295286" y="4495363"/>
            <a:ext cx="1131990" cy="270476"/>
          </a:xfrm>
          <a:prstGeom prst="rect">
            <a:avLst/>
          </a:prstGeom>
        </p:spPr>
      </p:pic>
      <p:sp>
        <p:nvSpPr>
          <p:cNvPr id="158" name="Rectangle 19"/>
          <p:cNvSpPr>
            <a:spLocks noChangeArrowheads="1"/>
          </p:cNvSpPr>
          <p:nvPr/>
        </p:nvSpPr>
        <p:spPr bwMode="auto">
          <a:xfrm flipH="1">
            <a:off x="7102866" y="4677484"/>
            <a:ext cx="1548464" cy="282001"/>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800" dirty="0" smtClean="0">
                <a:solidFill>
                  <a:srgbClr val="676767"/>
                </a:solidFill>
                <a:latin typeface="Arial" charset="0"/>
                <a:ea typeface="ＭＳ Ｐゴシック" charset="0"/>
                <a:cs typeface="ＭＳ Ｐゴシック" charset="0"/>
              </a:rPr>
              <a:t>HTTPS</a:t>
            </a:r>
            <a:r>
              <a:rPr lang="ja-JP" altLang="en-US" sz="800" dirty="0" smtClean="0">
                <a:solidFill>
                  <a:srgbClr val="676767"/>
                </a:solidFill>
                <a:latin typeface="Arial" charset="0"/>
                <a:ea typeface="ＭＳ Ｐゴシック" charset="0"/>
                <a:cs typeface="ＭＳ Ｐゴシック" charset="0"/>
              </a:rPr>
              <a:t>証明書サービス</a:t>
            </a:r>
            <a:endParaRPr lang="en-US" sz="1400" b="1" dirty="0">
              <a:solidFill>
                <a:schemeClr val="accent6">
                  <a:lumMod val="50000"/>
                </a:schemeClr>
              </a:solidFill>
              <a:latin typeface="Arial"/>
              <a:ea typeface="MS PGothic" charset="0"/>
            </a:endParaRPr>
          </a:p>
        </p:txBody>
      </p:sp>
      <p:sp>
        <p:nvSpPr>
          <p:cNvPr id="168" name="Rectangle 19"/>
          <p:cNvSpPr>
            <a:spLocks noChangeArrowheads="1"/>
          </p:cNvSpPr>
          <p:nvPr/>
        </p:nvSpPr>
        <p:spPr bwMode="auto">
          <a:xfrm flipH="1">
            <a:off x="4845730" y="2355289"/>
            <a:ext cx="1269402" cy="404764"/>
          </a:xfrm>
          <a:prstGeom prst="roundRect">
            <a:avLst>
              <a:gd name="adj" fmla="val 10785"/>
            </a:avLst>
          </a:prstGeom>
          <a:noFill/>
          <a:ln w="12700" cmpd="sng">
            <a:solidFill>
              <a:srgbClr val="0D868E"/>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クラウドメールセキュリティ</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C</a:t>
            </a:r>
            <a:r>
              <a:rPr lang="en-US" altLang="ja-JP" sz="800" dirty="0" smtClean="0">
                <a:solidFill>
                  <a:schemeClr val="accent6">
                    <a:lumMod val="50000"/>
                  </a:schemeClr>
                </a:solidFill>
                <a:latin typeface="Arial"/>
                <a:ea typeface="MS PGothic" charset="0"/>
              </a:rPr>
              <a:t>isco</a:t>
            </a:r>
            <a:r>
              <a:rPr lang="en-US" altLang="ja-JP" sz="1400" b="1" dirty="0" smtClean="0">
                <a:solidFill>
                  <a:schemeClr val="accent6">
                    <a:lumMod val="50000"/>
                  </a:schemeClr>
                </a:solidFill>
                <a:latin typeface="Arial"/>
                <a:ea typeface="MS PGothic" charset="0"/>
              </a:rPr>
              <a:t>E</a:t>
            </a:r>
            <a:r>
              <a:rPr lang="en-US" altLang="ja-JP" sz="800" dirty="0" smtClean="0">
                <a:solidFill>
                  <a:schemeClr val="accent6">
                    <a:lumMod val="50000"/>
                  </a:schemeClr>
                </a:solidFill>
                <a:latin typeface="Arial"/>
                <a:ea typeface="MS PGothic" charset="0"/>
              </a:rPr>
              <a:t>mail</a:t>
            </a:r>
            <a:r>
              <a:rPr lang="en-US" altLang="ja-JP" sz="1400" b="1" dirty="0" smtClean="0">
                <a:solidFill>
                  <a:schemeClr val="accent6">
                    <a:lumMod val="50000"/>
                  </a:schemeClr>
                </a:solidFill>
                <a:latin typeface="Arial"/>
                <a:ea typeface="MS PGothic" charset="0"/>
              </a:rPr>
              <a:t>S</a:t>
            </a:r>
            <a:r>
              <a:rPr lang="en-US" altLang="ja-JP" sz="800" dirty="0" smtClean="0">
                <a:solidFill>
                  <a:schemeClr val="accent6">
                    <a:lumMod val="50000"/>
                  </a:schemeClr>
                </a:solidFill>
                <a:latin typeface="Arial"/>
                <a:ea typeface="MS PGothic" charset="0"/>
              </a:rPr>
              <a:t>ecurity</a:t>
            </a:r>
            <a:endParaRPr lang="en-US" sz="800" dirty="0">
              <a:solidFill>
                <a:schemeClr val="accent6">
                  <a:lumMod val="50000"/>
                </a:schemeClr>
              </a:solidFill>
              <a:latin typeface="Arial"/>
              <a:ea typeface="MS PGothic" charset="0"/>
            </a:endParaRPr>
          </a:p>
        </p:txBody>
      </p:sp>
      <p:sp>
        <p:nvSpPr>
          <p:cNvPr id="170" name="Oval Callout 169"/>
          <p:cNvSpPr/>
          <p:nvPr/>
        </p:nvSpPr>
        <p:spPr>
          <a:xfrm>
            <a:off x="3497941" y="4066084"/>
            <a:ext cx="2221389" cy="989260"/>
          </a:xfrm>
          <a:prstGeom prst="wedgeEllipseCallout">
            <a:avLst>
              <a:gd name="adj1" fmla="val 62832"/>
              <a:gd name="adj2" fmla="val 11945"/>
            </a:avLst>
          </a:prstGeom>
          <a:solidFill>
            <a:srgbClr val="FFFFFF"/>
          </a:solidFill>
          <a:ln>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1" name="Rectangle 19"/>
          <p:cNvSpPr>
            <a:spLocks noChangeArrowheads="1"/>
          </p:cNvSpPr>
          <p:nvPr/>
        </p:nvSpPr>
        <p:spPr bwMode="auto">
          <a:xfrm flipH="1">
            <a:off x="3596535" y="4624797"/>
            <a:ext cx="877453"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800" b="1" dirty="0" smtClean="0">
                <a:solidFill>
                  <a:schemeClr val="tx1">
                    <a:lumMod val="50000"/>
                  </a:schemeClr>
                </a:solidFill>
                <a:latin typeface="Arial"/>
                <a:ea typeface="MS PGothic" charset="0"/>
              </a:rPr>
              <a:t>VPN</a:t>
            </a:r>
            <a:r>
              <a:rPr lang="ja-JP" altLang="en-US" sz="800" b="1" dirty="0" smtClean="0">
                <a:solidFill>
                  <a:schemeClr val="tx1">
                    <a:lumMod val="50000"/>
                  </a:schemeClr>
                </a:solidFill>
                <a:latin typeface="Arial"/>
                <a:ea typeface="MS PGothic" charset="0"/>
              </a:rPr>
              <a:t>クライアント</a:t>
            </a:r>
            <a:endParaRPr lang="en-US" sz="800" b="1" dirty="0">
              <a:solidFill>
                <a:schemeClr val="tx1">
                  <a:lumMod val="50000"/>
                </a:schemeClr>
              </a:solidFill>
              <a:latin typeface="Arial"/>
              <a:ea typeface="MS PGothic" charset="0"/>
            </a:endParaRPr>
          </a:p>
        </p:txBody>
      </p:sp>
      <p:pic>
        <p:nvPicPr>
          <p:cNvPr id="27" name="Picture 26"/>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845081" y="4252214"/>
            <a:ext cx="374359" cy="374359"/>
          </a:xfrm>
          <a:prstGeom prst="rect">
            <a:avLst/>
          </a:prstGeom>
        </p:spPr>
      </p:pic>
      <p:pic>
        <p:nvPicPr>
          <p:cNvPr id="28" name="Picture 2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78009" y="4158690"/>
            <a:ext cx="292019" cy="292019"/>
          </a:xfrm>
          <a:prstGeom prst="rect">
            <a:avLst/>
          </a:prstGeom>
        </p:spPr>
      </p:pic>
      <p:grpSp>
        <p:nvGrpSpPr>
          <p:cNvPr id="10" name="Group 9"/>
          <p:cNvGrpSpPr/>
          <p:nvPr/>
        </p:nvGrpSpPr>
        <p:grpSpPr>
          <a:xfrm>
            <a:off x="5028598" y="4379766"/>
            <a:ext cx="545193" cy="196811"/>
            <a:chOff x="788926" y="1193067"/>
            <a:chExt cx="808167" cy="275817"/>
          </a:xfrm>
        </p:grpSpPr>
        <p:sp>
          <p:nvSpPr>
            <p:cNvPr id="9" name="Rounded Rectangle 8"/>
            <p:cNvSpPr/>
            <p:nvPr/>
          </p:nvSpPr>
          <p:spPr>
            <a:xfrm>
              <a:off x="788926" y="1193067"/>
              <a:ext cx="808167" cy="275817"/>
            </a:xfrm>
            <a:prstGeom prst="round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9" name="Group 28"/>
            <p:cNvGrpSpPr/>
            <p:nvPr/>
          </p:nvGrpSpPr>
          <p:grpSpPr>
            <a:xfrm>
              <a:off x="879362" y="1240911"/>
              <a:ext cx="633709" cy="180129"/>
              <a:chOff x="691827" y="3506031"/>
              <a:chExt cx="2666757" cy="755693"/>
            </a:xfrm>
            <a:solidFill>
              <a:srgbClr val="B7D333"/>
            </a:solidFill>
          </p:grpSpPr>
          <p:grpSp>
            <p:nvGrpSpPr>
              <p:cNvPr id="36" name="Group 35"/>
              <p:cNvGrpSpPr>
                <a:grpSpLocks noChangeAspect="1"/>
              </p:cNvGrpSpPr>
              <p:nvPr/>
            </p:nvGrpSpPr>
            <p:grpSpPr>
              <a:xfrm rot="20679101">
                <a:off x="691827" y="3506031"/>
                <a:ext cx="758555" cy="755693"/>
                <a:chOff x="7798595" y="7042151"/>
                <a:chExt cx="420688" cy="419100"/>
              </a:xfrm>
              <a:grpFill/>
            </p:grpSpPr>
            <p:sp>
              <p:nvSpPr>
                <p:cNvPr id="46"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47"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nvGrpSpPr>
              <p:cNvPr id="39" name="Group 5"/>
              <p:cNvGrpSpPr>
                <a:grpSpLocks noChangeAspect="1"/>
              </p:cNvGrpSpPr>
              <p:nvPr/>
            </p:nvGrpSpPr>
            <p:grpSpPr bwMode="auto">
              <a:xfrm>
                <a:off x="1450697" y="3636763"/>
                <a:ext cx="1907887" cy="613019"/>
                <a:chOff x="-78" y="-1937"/>
                <a:chExt cx="7678" cy="2467"/>
              </a:xfrm>
              <a:grpFill/>
            </p:grpSpPr>
            <p:sp>
              <p:nvSpPr>
                <p:cNvPr id="43"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44"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45"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grpSp>
      <p:pic>
        <p:nvPicPr>
          <p:cNvPr id="65" name="Picture 64"/>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456032" y="4702057"/>
            <a:ext cx="305230" cy="305230"/>
          </a:xfrm>
          <a:prstGeom prst="rect">
            <a:avLst/>
          </a:prstGeom>
        </p:spPr>
      </p:pic>
      <p:sp>
        <p:nvSpPr>
          <p:cNvPr id="67" name="Can 19"/>
          <p:cNvSpPr/>
          <p:nvPr/>
        </p:nvSpPr>
        <p:spPr>
          <a:xfrm rot="8531615" flipH="1">
            <a:off x="3387498" y="3252840"/>
            <a:ext cx="257320" cy="1141283"/>
          </a:xfrm>
          <a:prstGeom prst="can">
            <a:avLst>
              <a:gd name="adj" fmla="val 56471"/>
            </a:avLst>
          </a:prstGeom>
          <a:solidFill>
            <a:schemeClr val="bg2">
              <a:lumMod val="50000"/>
            </a:schemeClr>
          </a:solidFill>
          <a:ln w="6350">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65306" tIns="32653" rIns="65306" bIns="32653" rtlCol="0" anchor="ctr">
            <a:noAutofit/>
          </a:bodyPr>
          <a:lstStyle/>
          <a:p>
            <a:pPr algn="ctr"/>
            <a:r>
              <a:rPr lang="en-US" altLang="ja-JP" sz="700" dirty="0" err="1" smtClean="0">
                <a:solidFill>
                  <a:schemeClr val="bg1"/>
                </a:solidFill>
                <a:latin typeface="Arial" pitchFamily="34" charset="0"/>
                <a:ea typeface="ＭＳ Ｐゴシック" pitchFamily="50" charset="-128"/>
                <a:cs typeface="Arial" pitchFamily="34" charset="0"/>
              </a:rPr>
              <a:t>IPsec</a:t>
            </a:r>
            <a:r>
              <a:rPr lang="en-US" altLang="ja-JP" sz="700" dirty="0" smtClean="0">
                <a:solidFill>
                  <a:schemeClr val="bg1"/>
                </a:solidFill>
                <a:latin typeface="Arial" pitchFamily="34" charset="0"/>
                <a:ea typeface="ＭＳ Ｐゴシック" pitchFamily="50" charset="-128"/>
                <a:cs typeface="Arial" pitchFamily="34" charset="0"/>
              </a:rPr>
              <a:t> / SSL-VPN</a:t>
            </a:r>
            <a:endParaRPr lang="en-US" sz="700" dirty="0" smtClean="0">
              <a:solidFill>
                <a:schemeClr val="bg1"/>
              </a:solidFill>
              <a:latin typeface="Arial" pitchFamily="34" charset="0"/>
              <a:ea typeface="ＭＳ Ｐゴシック" pitchFamily="50" charset="-128"/>
              <a:cs typeface="Arial" pitchFamily="34" charset="0"/>
            </a:endParaRPr>
          </a:p>
        </p:txBody>
      </p:sp>
      <p:sp>
        <p:nvSpPr>
          <p:cNvPr id="68" name="Rectangle 19"/>
          <p:cNvSpPr>
            <a:spLocks noChangeArrowheads="1"/>
          </p:cNvSpPr>
          <p:nvPr/>
        </p:nvSpPr>
        <p:spPr bwMode="auto">
          <a:xfrm flipH="1">
            <a:off x="4896103" y="4572614"/>
            <a:ext cx="877453"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b="1" dirty="0" smtClean="0">
                <a:solidFill>
                  <a:schemeClr val="tx1">
                    <a:lumMod val="50000"/>
                  </a:schemeClr>
                </a:solidFill>
                <a:latin typeface="Arial"/>
                <a:ea typeface="MS PGothic" charset="0"/>
              </a:rPr>
              <a:t>セキュアブラウザ</a:t>
            </a:r>
            <a:endParaRPr lang="en-US" sz="800" b="1" dirty="0">
              <a:solidFill>
                <a:schemeClr val="tx1">
                  <a:lumMod val="50000"/>
                </a:schemeClr>
              </a:solidFill>
              <a:latin typeface="Arial"/>
              <a:ea typeface="MS PGothic" charset="0"/>
            </a:endParaRPr>
          </a:p>
        </p:txBody>
      </p:sp>
      <p:sp>
        <p:nvSpPr>
          <p:cNvPr id="69" name="Rectangle 19"/>
          <p:cNvSpPr>
            <a:spLocks noChangeArrowheads="1"/>
          </p:cNvSpPr>
          <p:nvPr/>
        </p:nvSpPr>
        <p:spPr bwMode="auto">
          <a:xfrm flipH="1">
            <a:off x="4201871" y="4455346"/>
            <a:ext cx="877453"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b="1" dirty="0" smtClean="0">
                <a:solidFill>
                  <a:schemeClr val="tx1">
                    <a:lumMod val="50000"/>
                  </a:schemeClr>
                </a:solidFill>
                <a:latin typeface="Arial"/>
                <a:ea typeface="MS PGothic" charset="0"/>
              </a:rPr>
              <a:t>ローミング</a:t>
            </a:r>
            <a:endParaRPr lang="en-US" altLang="ja-JP" sz="800" b="1" dirty="0" smtClean="0">
              <a:solidFill>
                <a:schemeClr val="tx1">
                  <a:lumMod val="50000"/>
                </a:schemeClr>
              </a:solidFill>
              <a:latin typeface="Arial"/>
              <a:ea typeface="MS PGothic" charset="0"/>
            </a:endParaRPr>
          </a:p>
          <a:p>
            <a:pPr lvl="0" algn="ctr"/>
            <a:r>
              <a:rPr lang="ja-JP" altLang="en-US" sz="800" b="1" dirty="0" smtClean="0">
                <a:solidFill>
                  <a:schemeClr val="tx1">
                    <a:lumMod val="50000"/>
                  </a:schemeClr>
                </a:solidFill>
                <a:latin typeface="Arial"/>
                <a:ea typeface="MS PGothic" charset="0"/>
              </a:rPr>
              <a:t>クライアント</a:t>
            </a:r>
            <a:endParaRPr lang="en-US" sz="800" b="1" dirty="0">
              <a:solidFill>
                <a:schemeClr val="tx1">
                  <a:lumMod val="50000"/>
                </a:schemeClr>
              </a:solidFill>
              <a:latin typeface="Arial"/>
              <a:ea typeface="MS PGothic" charset="0"/>
            </a:endParaRPr>
          </a:p>
        </p:txBody>
      </p:sp>
      <p:sp>
        <p:nvSpPr>
          <p:cNvPr id="70" name="Rectangle 19"/>
          <p:cNvSpPr>
            <a:spLocks noChangeArrowheads="1"/>
          </p:cNvSpPr>
          <p:nvPr/>
        </p:nvSpPr>
        <p:spPr bwMode="auto">
          <a:xfrm flipH="1">
            <a:off x="4705741" y="4779571"/>
            <a:ext cx="438726"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800" b="1" dirty="0" smtClean="0">
                <a:solidFill>
                  <a:schemeClr val="tx1">
                    <a:lumMod val="50000"/>
                  </a:schemeClr>
                </a:solidFill>
                <a:latin typeface="Arial"/>
                <a:ea typeface="MS PGothic" charset="0"/>
              </a:rPr>
              <a:t>MDM</a:t>
            </a:r>
            <a:endParaRPr lang="en-US" sz="800" b="1" dirty="0">
              <a:solidFill>
                <a:schemeClr val="tx1">
                  <a:lumMod val="50000"/>
                </a:schemeClr>
              </a:solidFill>
              <a:latin typeface="Arial"/>
              <a:ea typeface="MS PGothic" charset="0"/>
            </a:endParaRPr>
          </a:p>
        </p:txBody>
      </p:sp>
      <p:sp>
        <p:nvSpPr>
          <p:cNvPr id="72" name="Can 19"/>
          <p:cNvSpPr/>
          <p:nvPr/>
        </p:nvSpPr>
        <p:spPr>
          <a:xfrm rot="9677587" flipH="1">
            <a:off x="4264829" y="3287832"/>
            <a:ext cx="134447" cy="844820"/>
          </a:xfrm>
          <a:prstGeom prst="can">
            <a:avLst>
              <a:gd name="adj" fmla="val 56471"/>
            </a:avLst>
          </a:prstGeom>
          <a:solidFill>
            <a:schemeClr val="bg2">
              <a:lumMod val="50000"/>
            </a:schemeClr>
          </a:solidFill>
          <a:ln w="6350">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65306" tIns="32653" rIns="65306" bIns="32653" rtlCol="0" anchor="ctr">
            <a:noAutofit/>
          </a:bodyPr>
          <a:lstStyle/>
          <a:p>
            <a:pPr algn="ctr"/>
            <a:r>
              <a:rPr lang="en-US" altLang="ja-JP" sz="700" dirty="0" smtClean="0">
                <a:solidFill>
                  <a:schemeClr val="bg1"/>
                </a:solidFill>
                <a:latin typeface="Arial" pitchFamily="34" charset="0"/>
                <a:ea typeface="ＭＳ Ｐゴシック" pitchFamily="50" charset="-128"/>
                <a:cs typeface="Arial" pitchFamily="34" charset="0"/>
              </a:rPr>
              <a:t>https://</a:t>
            </a:r>
            <a:endParaRPr lang="en-US" sz="700" dirty="0" smtClean="0">
              <a:solidFill>
                <a:schemeClr val="bg1"/>
              </a:solidFill>
              <a:latin typeface="Arial" pitchFamily="34" charset="0"/>
              <a:ea typeface="ＭＳ Ｐゴシック" pitchFamily="50" charset="-128"/>
              <a:cs typeface="Arial" pitchFamily="34" charset="0"/>
            </a:endParaRPr>
          </a:p>
        </p:txBody>
      </p:sp>
      <p:cxnSp>
        <p:nvCxnSpPr>
          <p:cNvPr id="104" name="Straight Arrow Connector 103"/>
          <p:cNvCxnSpPr/>
          <p:nvPr/>
        </p:nvCxnSpPr>
        <p:spPr>
          <a:xfrm flipV="1">
            <a:off x="5276715" y="3313164"/>
            <a:ext cx="0" cy="982267"/>
          </a:xfrm>
          <a:prstGeom prst="straightConnector1">
            <a:avLst/>
          </a:prstGeom>
          <a:ln w="9525" cmpd="sng">
            <a:prstDash val="sysDash"/>
            <a:tailEnd type="arrow"/>
          </a:ln>
        </p:spPr>
        <p:style>
          <a:lnRef idx="2">
            <a:schemeClr val="accent1"/>
          </a:lnRef>
          <a:fillRef idx="0">
            <a:schemeClr val="accent1"/>
          </a:fillRef>
          <a:effectRef idx="1">
            <a:schemeClr val="accent1"/>
          </a:effectRef>
          <a:fontRef idx="minor">
            <a:schemeClr val="tx1"/>
          </a:fontRef>
        </p:style>
      </p:cxnSp>
      <p:sp>
        <p:nvSpPr>
          <p:cNvPr id="171" name="Rectangle 19"/>
          <p:cNvSpPr>
            <a:spLocks noChangeArrowheads="1"/>
          </p:cNvSpPr>
          <p:nvPr/>
        </p:nvSpPr>
        <p:spPr bwMode="auto">
          <a:xfrm flipH="1">
            <a:off x="5814219" y="4825545"/>
            <a:ext cx="602424" cy="149096"/>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b="1" dirty="0" smtClean="0">
                <a:solidFill>
                  <a:schemeClr val="tx1">
                    <a:lumMod val="50000"/>
                  </a:schemeClr>
                </a:solidFill>
                <a:latin typeface="Arial"/>
                <a:ea typeface="MS PGothic" charset="0"/>
              </a:rPr>
              <a:t>モバイル</a:t>
            </a:r>
            <a:endParaRPr lang="en-US" sz="800" b="1" dirty="0">
              <a:solidFill>
                <a:schemeClr val="tx1">
                  <a:lumMod val="50000"/>
                </a:schemeClr>
              </a:solidFill>
              <a:latin typeface="Arial"/>
              <a:ea typeface="MS PGothic" charset="0"/>
            </a:endParaRPr>
          </a:p>
        </p:txBody>
      </p:sp>
      <p:sp>
        <p:nvSpPr>
          <p:cNvPr id="2" name="Rounded Rectangle 1"/>
          <p:cNvSpPr/>
          <p:nvPr/>
        </p:nvSpPr>
        <p:spPr>
          <a:xfrm>
            <a:off x="1667504" y="3975065"/>
            <a:ext cx="1032811" cy="387277"/>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6" name="Rounded Rectangle 135"/>
          <p:cNvSpPr/>
          <p:nvPr/>
        </p:nvSpPr>
        <p:spPr>
          <a:xfrm>
            <a:off x="4724806" y="2865005"/>
            <a:ext cx="1032811" cy="387277"/>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7" name="Rectangle 19"/>
          <p:cNvSpPr>
            <a:spLocks noChangeArrowheads="1"/>
          </p:cNvSpPr>
          <p:nvPr/>
        </p:nvSpPr>
        <p:spPr bwMode="auto">
          <a:xfrm flipH="1">
            <a:off x="3053970" y="2355289"/>
            <a:ext cx="1750762" cy="404764"/>
          </a:xfrm>
          <a:prstGeom prst="roundRect">
            <a:avLst>
              <a:gd name="adj" fmla="val 10785"/>
            </a:avLst>
          </a:prstGeom>
          <a:noFill/>
          <a:ln w="12700" cmpd="sng">
            <a:solidFill>
              <a:srgbClr val="0D868E"/>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振る舞い型の脅威検出システム</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a:solidFill>
                  <a:schemeClr val="accent6">
                    <a:lumMod val="50000"/>
                  </a:schemeClr>
                </a:solidFill>
                <a:ea typeface="MS PGothic" charset="0"/>
              </a:rPr>
              <a:t>C</a:t>
            </a:r>
            <a:r>
              <a:rPr lang="en-US" altLang="ja-JP" sz="800" b="1" dirty="0">
                <a:solidFill>
                  <a:schemeClr val="accent6">
                    <a:lumMod val="50000"/>
                  </a:schemeClr>
                </a:solidFill>
                <a:ea typeface="MS PGothic" charset="0"/>
              </a:rPr>
              <a:t>ognitive</a:t>
            </a:r>
            <a:r>
              <a:rPr lang="en-US" altLang="ja-JP" sz="1400" b="1" dirty="0">
                <a:solidFill>
                  <a:schemeClr val="accent6">
                    <a:lumMod val="50000"/>
                  </a:schemeClr>
                </a:solidFill>
                <a:ea typeface="MS PGothic" charset="0"/>
              </a:rPr>
              <a:t> T</a:t>
            </a:r>
            <a:r>
              <a:rPr lang="en-US" altLang="ja-JP" sz="800" b="1" dirty="0">
                <a:solidFill>
                  <a:schemeClr val="accent6">
                    <a:lumMod val="50000"/>
                  </a:schemeClr>
                </a:solidFill>
                <a:ea typeface="MS PGothic" charset="0"/>
              </a:rPr>
              <a:t>hreat</a:t>
            </a:r>
            <a:r>
              <a:rPr lang="en-US" altLang="ja-JP" sz="1400" b="1" dirty="0">
                <a:solidFill>
                  <a:schemeClr val="accent6">
                    <a:lumMod val="50000"/>
                  </a:schemeClr>
                </a:solidFill>
                <a:ea typeface="MS PGothic" charset="0"/>
              </a:rPr>
              <a:t> A</a:t>
            </a:r>
            <a:r>
              <a:rPr lang="en-US" altLang="ja-JP" sz="800" b="1" dirty="0">
                <a:solidFill>
                  <a:schemeClr val="accent6">
                    <a:lumMod val="50000"/>
                  </a:schemeClr>
                </a:solidFill>
                <a:ea typeface="MS PGothic" charset="0"/>
              </a:rPr>
              <a:t>nalytics </a:t>
            </a:r>
            <a:endParaRPr lang="en-US" sz="200" dirty="0">
              <a:solidFill>
                <a:schemeClr val="accent6">
                  <a:lumMod val="50000"/>
                </a:schemeClr>
              </a:solidFill>
              <a:latin typeface="Arial"/>
              <a:ea typeface="MS PGothic" charset="0"/>
            </a:endParaRPr>
          </a:p>
        </p:txBody>
      </p:sp>
      <p:sp>
        <p:nvSpPr>
          <p:cNvPr id="138" name="Rectangle 19"/>
          <p:cNvSpPr>
            <a:spLocks noChangeArrowheads="1"/>
          </p:cNvSpPr>
          <p:nvPr/>
        </p:nvSpPr>
        <p:spPr bwMode="auto">
          <a:xfrm flipH="1">
            <a:off x="1253744" y="2470394"/>
            <a:ext cx="1164299"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00" dirty="0" smtClean="0">
                <a:solidFill>
                  <a:srgbClr val="676767"/>
                </a:solidFill>
                <a:latin typeface="Arial" charset="0"/>
                <a:ea typeface="ＭＳ Ｐゴシック" charset="0"/>
                <a:cs typeface="ＭＳ Ｐゴシック" charset="0"/>
              </a:rPr>
              <a:t>サンドボックス</a:t>
            </a:r>
            <a:r>
              <a:rPr lang="en-US" sz="1000" dirty="0" smtClean="0">
                <a:solidFill>
                  <a:srgbClr val="676767"/>
                </a:solidFill>
                <a:latin typeface="Arial" charset="0"/>
                <a:ea typeface="ＭＳ Ｐゴシック" charset="0"/>
                <a:cs typeface="ＭＳ Ｐゴシック" charset="0"/>
              </a:rPr>
              <a:t/>
            </a:r>
            <a:br>
              <a:rPr lang="en-US" sz="1000" dirty="0" smtClean="0">
                <a:solidFill>
                  <a:srgbClr val="676767"/>
                </a:solidFill>
                <a:latin typeface="Arial" charset="0"/>
                <a:ea typeface="ＭＳ Ｐゴシック" charset="0"/>
                <a:cs typeface="ＭＳ Ｐゴシック" charset="0"/>
              </a:rPr>
            </a:br>
            <a:r>
              <a:rPr lang="en-US" altLang="ja-JP" sz="1200" b="1" dirty="0" err="1" smtClean="0">
                <a:solidFill>
                  <a:schemeClr val="accent6">
                    <a:lumMod val="50000"/>
                  </a:schemeClr>
                </a:solidFill>
                <a:latin typeface="Arial"/>
                <a:ea typeface="MS PGothic" charset="0"/>
              </a:rPr>
              <a:t>ThreatGRID</a:t>
            </a:r>
            <a:endParaRPr lang="en-US" sz="1200" b="1" dirty="0">
              <a:solidFill>
                <a:schemeClr val="accent6">
                  <a:lumMod val="50000"/>
                </a:schemeClr>
              </a:solidFill>
              <a:latin typeface="Arial"/>
              <a:ea typeface="MS PGothic" charset="0"/>
            </a:endParaRPr>
          </a:p>
        </p:txBody>
      </p:sp>
      <p:sp>
        <p:nvSpPr>
          <p:cNvPr id="139" name="Rectangle 19"/>
          <p:cNvSpPr>
            <a:spLocks noChangeArrowheads="1"/>
          </p:cNvSpPr>
          <p:nvPr/>
        </p:nvSpPr>
        <p:spPr bwMode="auto">
          <a:xfrm flipH="1">
            <a:off x="3050011" y="1789209"/>
            <a:ext cx="1930979" cy="404764"/>
          </a:xfrm>
          <a:prstGeom prst="roundRect">
            <a:avLst>
              <a:gd name="adj" fmla="val 10785"/>
            </a:avLst>
          </a:prstGeom>
          <a:noFill/>
          <a:ln w="12700"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ファイルレピュテーション</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a:t>
            </a:r>
            <a:r>
              <a:rPr lang="en-US" altLang="ja-JP" sz="800" b="1" dirty="0" smtClean="0">
                <a:solidFill>
                  <a:schemeClr val="accent6">
                    <a:lumMod val="50000"/>
                  </a:schemeClr>
                </a:solidFill>
                <a:latin typeface="Arial"/>
                <a:ea typeface="MS PGothic" charset="0"/>
              </a:rPr>
              <a:t>dvanced </a:t>
            </a:r>
            <a:r>
              <a:rPr lang="en-US" altLang="ja-JP" sz="1400" b="1" dirty="0" smtClean="0">
                <a:solidFill>
                  <a:schemeClr val="accent6">
                    <a:lumMod val="50000"/>
                  </a:schemeClr>
                </a:solidFill>
                <a:latin typeface="Arial"/>
                <a:ea typeface="MS PGothic" charset="0"/>
              </a:rPr>
              <a:t>M</a:t>
            </a:r>
            <a:r>
              <a:rPr lang="en-US" altLang="ja-JP" sz="800" b="1" dirty="0" smtClean="0">
                <a:solidFill>
                  <a:schemeClr val="accent6">
                    <a:lumMod val="50000"/>
                  </a:schemeClr>
                </a:solidFill>
                <a:latin typeface="Arial"/>
                <a:ea typeface="MS PGothic" charset="0"/>
              </a:rPr>
              <a:t>alware</a:t>
            </a:r>
            <a:r>
              <a:rPr lang="en-US" altLang="ja-JP" sz="1400" b="1" dirty="0" smtClean="0">
                <a:solidFill>
                  <a:schemeClr val="accent6">
                    <a:lumMod val="50000"/>
                  </a:schemeClr>
                </a:solidFill>
                <a:latin typeface="Arial"/>
                <a:ea typeface="MS PGothic" charset="0"/>
              </a:rPr>
              <a:t> P</a:t>
            </a:r>
            <a:r>
              <a:rPr lang="en-US" altLang="ja-JP" sz="800" b="1" dirty="0" smtClean="0">
                <a:solidFill>
                  <a:schemeClr val="accent6">
                    <a:lumMod val="50000"/>
                  </a:schemeClr>
                </a:solidFill>
                <a:latin typeface="Arial"/>
                <a:ea typeface="MS PGothic" charset="0"/>
              </a:rPr>
              <a:t>rotection</a:t>
            </a:r>
            <a:endParaRPr lang="en-US" sz="800" b="1" dirty="0">
              <a:solidFill>
                <a:schemeClr val="accent6">
                  <a:lumMod val="50000"/>
                </a:schemeClr>
              </a:solidFill>
              <a:latin typeface="Arial"/>
              <a:ea typeface="MS PGothic" charset="0"/>
            </a:endParaRPr>
          </a:p>
        </p:txBody>
      </p:sp>
      <p:sp>
        <p:nvSpPr>
          <p:cNvPr id="140" name="Rectangle 19"/>
          <p:cNvSpPr>
            <a:spLocks noChangeArrowheads="1"/>
          </p:cNvSpPr>
          <p:nvPr/>
        </p:nvSpPr>
        <p:spPr bwMode="auto">
          <a:xfrm flipH="1">
            <a:off x="1325085" y="2188297"/>
            <a:ext cx="1235198"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400" b="1" dirty="0" smtClean="0">
                <a:solidFill>
                  <a:schemeClr val="accent6">
                    <a:lumMod val="50000"/>
                  </a:schemeClr>
                </a:solidFill>
                <a:latin typeface="Arial"/>
                <a:ea typeface="MS PGothic" charset="0"/>
              </a:rPr>
              <a:t>キャンパス</a:t>
            </a:r>
            <a:endParaRPr lang="en-US" sz="1400" b="1" dirty="0">
              <a:solidFill>
                <a:schemeClr val="accent6">
                  <a:lumMod val="50000"/>
                </a:schemeClr>
              </a:solidFill>
              <a:latin typeface="Arial"/>
              <a:ea typeface="MS PGothic" charset="0"/>
            </a:endParaRPr>
          </a:p>
        </p:txBody>
      </p:sp>
      <p:sp>
        <p:nvSpPr>
          <p:cNvPr id="182" name="Rounded Rectangle 181"/>
          <p:cNvSpPr/>
          <p:nvPr/>
        </p:nvSpPr>
        <p:spPr>
          <a:xfrm>
            <a:off x="3666266" y="2855511"/>
            <a:ext cx="923020" cy="389073"/>
          </a:xfrm>
          <a:prstGeom prst="roundRect">
            <a:avLst/>
          </a:prstGeom>
          <a:noFill/>
          <a:ln w="9525" cmpd="sng">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3" name="Rounded Rectangle 182"/>
          <p:cNvSpPr/>
          <p:nvPr/>
        </p:nvSpPr>
        <p:spPr>
          <a:xfrm>
            <a:off x="3064704" y="2358622"/>
            <a:ext cx="1740028" cy="389073"/>
          </a:xfrm>
          <a:prstGeom prst="roundRect">
            <a:avLst/>
          </a:prstGeom>
          <a:noFill/>
          <a:ln w="9525" cmpd="sng">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84" name="Group 726"/>
          <p:cNvGrpSpPr/>
          <p:nvPr/>
        </p:nvGrpSpPr>
        <p:grpSpPr>
          <a:xfrm>
            <a:off x="2473376" y="2470394"/>
            <a:ext cx="453878" cy="160140"/>
            <a:chOff x="3553591" y="3364929"/>
            <a:chExt cx="474623" cy="167460"/>
          </a:xfrm>
        </p:grpSpPr>
        <p:sp>
          <p:nvSpPr>
            <p:cNvPr id="185"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6"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7"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8"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9"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0"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1" name="Rectangle 190"/>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192" name="Rectangle 191"/>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grpSp>
        <p:nvGrpSpPr>
          <p:cNvPr id="193" name="Group 726"/>
          <p:cNvGrpSpPr/>
          <p:nvPr/>
        </p:nvGrpSpPr>
        <p:grpSpPr>
          <a:xfrm>
            <a:off x="6242707" y="1632899"/>
            <a:ext cx="453878" cy="160140"/>
            <a:chOff x="3553591" y="3364929"/>
            <a:chExt cx="474623" cy="167460"/>
          </a:xfrm>
        </p:grpSpPr>
        <p:sp>
          <p:nvSpPr>
            <p:cNvPr id="194"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5"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6"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7"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8"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99"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200" name="Rectangle 199"/>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201" name="Rectangle 200"/>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21" name="Rectangle 20"/>
          <p:cNvSpPr/>
          <p:nvPr/>
        </p:nvSpPr>
        <p:spPr>
          <a:xfrm>
            <a:off x="2501620" y="2295481"/>
            <a:ext cx="466794" cy="215444"/>
          </a:xfrm>
          <a:prstGeom prst="rect">
            <a:avLst/>
          </a:prstGeom>
        </p:spPr>
        <p:txBody>
          <a:bodyPr wrap="none">
            <a:spAutoFit/>
          </a:bodyPr>
          <a:lstStyle/>
          <a:p>
            <a:r>
              <a:rPr lang="en-US" sz="800" dirty="0" smtClean="0"/>
              <a:t>ルータ</a:t>
            </a:r>
            <a:endParaRPr lang="en-US" sz="800" dirty="0"/>
          </a:p>
        </p:txBody>
      </p:sp>
      <p:sp>
        <p:nvSpPr>
          <p:cNvPr id="202" name="Rectangle 201"/>
          <p:cNvSpPr/>
          <p:nvPr/>
        </p:nvSpPr>
        <p:spPr>
          <a:xfrm>
            <a:off x="6260982" y="1460776"/>
            <a:ext cx="466794" cy="215444"/>
          </a:xfrm>
          <a:prstGeom prst="rect">
            <a:avLst/>
          </a:prstGeom>
        </p:spPr>
        <p:txBody>
          <a:bodyPr wrap="none">
            <a:spAutoFit/>
          </a:bodyPr>
          <a:lstStyle/>
          <a:p>
            <a:r>
              <a:rPr lang="en-US" sz="800" dirty="0" smtClean="0"/>
              <a:t>ルータ</a:t>
            </a:r>
            <a:endParaRPr lang="en-US" sz="800" dirty="0"/>
          </a:p>
        </p:txBody>
      </p:sp>
      <p:sp>
        <p:nvSpPr>
          <p:cNvPr id="22" name="Rounded Rectangle 21"/>
          <p:cNvSpPr/>
          <p:nvPr/>
        </p:nvSpPr>
        <p:spPr>
          <a:xfrm>
            <a:off x="4153618" y="1245437"/>
            <a:ext cx="961547" cy="280820"/>
          </a:xfrm>
          <a:prstGeom prst="round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42205891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ext uri="{D42A27DB-BD31-4B8C-83A1-F6EECF244321}">
                <p14:modId xmlns:p14="http://schemas.microsoft.com/office/powerpoint/2010/main" val="1534251273"/>
              </p:ext>
            </p:extLst>
          </p:nvPr>
        </p:nvGraphicFramePr>
        <p:xfrm>
          <a:off x="105545" y="719716"/>
          <a:ext cx="6618838" cy="3636190"/>
        </p:xfrm>
        <a:graphic>
          <a:graphicData uri="http://schemas.openxmlformats.org/drawingml/2006/table">
            <a:tbl>
              <a:tblPr firstRow="1" firstCol="1"/>
              <a:tblGrid>
                <a:gridCol w="1276181">
                  <a:extLst>
                    <a:ext uri="{9D8B030D-6E8A-4147-A177-3AD203B41FA5}">
                      <a16:colId xmlns="" xmlns:a16="http://schemas.microsoft.com/office/drawing/2014/main" val="20000"/>
                    </a:ext>
                  </a:extLst>
                </a:gridCol>
                <a:gridCol w="2617253">
                  <a:extLst>
                    <a:ext uri="{9D8B030D-6E8A-4147-A177-3AD203B41FA5}">
                      <a16:colId xmlns="" xmlns:a16="http://schemas.microsoft.com/office/drawing/2014/main" val="20001"/>
                    </a:ext>
                  </a:extLst>
                </a:gridCol>
                <a:gridCol w="2725404">
                  <a:extLst>
                    <a:ext uri="{9D8B030D-6E8A-4147-A177-3AD203B41FA5}">
                      <a16:colId xmlns="" xmlns:a16="http://schemas.microsoft.com/office/drawing/2014/main" val="20002"/>
                    </a:ext>
                  </a:extLst>
                </a:gridCol>
              </a:tblGrid>
              <a:tr h="355780">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endParaRPr lang="en-US" sz="1200" dirty="0">
                        <a:solidFill>
                          <a:schemeClr val="bg1"/>
                        </a:solidFill>
                        <a:latin typeface="Arial" pitchFamily="34" charset="0"/>
                        <a:cs typeface="Arial" pitchFamily="34" charset="0"/>
                      </a:endParaRPr>
                    </a:p>
                  </a:txBody>
                  <a:tcPr marL="91416" marR="91416" marT="34290" marB="34290"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200" b="1" dirty="0" smtClean="0">
                          <a:solidFill>
                            <a:srgbClr val="000000"/>
                          </a:solidFill>
                          <a:latin typeface="Arial" pitchFamily="34" charset="0"/>
                          <a:cs typeface="Arial" pitchFamily="34" charset="0"/>
                        </a:rPr>
                        <a:t>1H CY</a:t>
                      </a:r>
                      <a:r>
                        <a:rPr lang="en-US" sz="1200" b="1" baseline="0" dirty="0" smtClean="0">
                          <a:solidFill>
                            <a:srgbClr val="000000"/>
                          </a:solidFill>
                          <a:latin typeface="Arial" pitchFamily="34" charset="0"/>
                          <a:cs typeface="Arial" pitchFamily="34" charset="0"/>
                        </a:rPr>
                        <a:t> </a:t>
                      </a:r>
                      <a:r>
                        <a:rPr lang="en-US" sz="1200" b="1" dirty="0" smtClean="0">
                          <a:solidFill>
                            <a:srgbClr val="000000"/>
                          </a:solidFill>
                          <a:latin typeface="Arial" pitchFamily="34" charset="0"/>
                          <a:cs typeface="Arial" pitchFamily="34" charset="0"/>
                        </a:rPr>
                        <a:t>2016</a:t>
                      </a:r>
                      <a:endParaRPr lang="en-US" sz="1200" b="1" dirty="0">
                        <a:solidFill>
                          <a:srgbClr val="000000"/>
                        </a:solidFill>
                        <a:latin typeface="Arial" pitchFamily="34" charset="0"/>
                        <a:cs typeface="Arial" pitchFamily="34" charset="0"/>
                      </a:endParaRPr>
                    </a:p>
                  </a:txBody>
                  <a:tcPr marL="91416" marR="91416"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08B39"/>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200" b="1" dirty="0" smtClean="0">
                          <a:solidFill>
                            <a:srgbClr val="000000"/>
                          </a:solidFill>
                          <a:latin typeface="Arial" pitchFamily="34" charset="0"/>
                          <a:cs typeface="Arial" pitchFamily="34" charset="0"/>
                        </a:rPr>
                        <a:t>2H</a:t>
                      </a:r>
                      <a:r>
                        <a:rPr lang="en-US" sz="1200" b="1" baseline="0" dirty="0" smtClean="0">
                          <a:solidFill>
                            <a:srgbClr val="000000"/>
                          </a:solidFill>
                          <a:latin typeface="Arial" pitchFamily="34" charset="0"/>
                          <a:cs typeface="Arial" pitchFamily="34" charset="0"/>
                        </a:rPr>
                        <a:t> C</a:t>
                      </a:r>
                      <a:r>
                        <a:rPr lang="en-US" sz="1200" b="1" dirty="0" smtClean="0">
                          <a:solidFill>
                            <a:srgbClr val="000000"/>
                          </a:solidFill>
                          <a:latin typeface="Arial" pitchFamily="34" charset="0"/>
                          <a:cs typeface="Arial" pitchFamily="34" charset="0"/>
                        </a:rPr>
                        <a:t>Y</a:t>
                      </a:r>
                      <a:r>
                        <a:rPr lang="en-US" sz="1200" b="1" baseline="0" dirty="0" smtClean="0">
                          <a:solidFill>
                            <a:srgbClr val="000000"/>
                          </a:solidFill>
                          <a:latin typeface="Arial" pitchFamily="34" charset="0"/>
                          <a:cs typeface="Arial" pitchFamily="34" charset="0"/>
                        </a:rPr>
                        <a:t> </a:t>
                      </a:r>
                      <a:r>
                        <a:rPr lang="en-US" sz="1200" b="1" dirty="0" smtClean="0">
                          <a:solidFill>
                            <a:srgbClr val="000000"/>
                          </a:solidFill>
                          <a:latin typeface="Arial" pitchFamily="34" charset="0"/>
                          <a:cs typeface="Arial" pitchFamily="34" charset="0"/>
                        </a:rPr>
                        <a:t>2016</a:t>
                      </a:r>
                      <a:endParaRPr lang="en-US" sz="1200" b="1" dirty="0">
                        <a:solidFill>
                          <a:srgbClr val="000000"/>
                        </a:solidFill>
                        <a:latin typeface="Arial" pitchFamily="34" charset="0"/>
                        <a:cs typeface="Arial" pitchFamily="34" charset="0"/>
                      </a:endParaRPr>
                    </a:p>
                  </a:txBody>
                  <a:tcPr marL="91416" marR="91416" marT="34290" marB="3429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 xmlns:a16="http://schemas.microsoft.com/office/drawing/2014/main" val="10000"/>
                  </a:ext>
                </a:extLst>
              </a:tr>
              <a:tr h="925830">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000" dirty="0" smtClean="0">
                          <a:solidFill>
                            <a:schemeClr val="tx1">
                              <a:lumMod val="50000"/>
                            </a:schemeClr>
                          </a:solidFill>
                          <a:latin typeface="Arial" pitchFamily="34" charset="0"/>
                          <a:cs typeface="Arial" pitchFamily="34" charset="0"/>
                        </a:rPr>
                        <a:t>Security Leadership</a:t>
                      </a:r>
                      <a:endParaRPr lang="en-US" sz="1000" dirty="0">
                        <a:solidFill>
                          <a:schemeClr val="tx1">
                            <a:lumMod val="50000"/>
                          </a:schemeClr>
                        </a:solidFill>
                        <a:latin typeface="Arial" pitchFamily="34" charset="0"/>
                        <a:cs typeface="Arial" pitchFamily="34" charset="0"/>
                      </a:endParaRPr>
                    </a:p>
                  </a:txBody>
                  <a:tcPr marL="91416" marR="91416" marT="34290" marB="34290" anchor="ctr">
                    <a:lnL w="12700" cap="flat" cmpd="sng" algn="ctr">
                      <a:noFill/>
                      <a:prstDash val="solid"/>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Unified Policy </a:t>
                      </a:r>
                      <a:r>
                        <a:rPr lang="en-US" sz="1000" baseline="0" dirty="0" err="1" smtClean="0">
                          <a:solidFill>
                            <a:schemeClr val="tx1"/>
                          </a:solidFill>
                        </a:rPr>
                        <a:t>Mgmt</a:t>
                      </a:r>
                      <a:r>
                        <a:rPr lang="en-US" sz="1000" baseline="0" dirty="0" smtClean="0">
                          <a:solidFill>
                            <a:schemeClr val="tx1"/>
                          </a:solidFill>
                        </a:rPr>
                        <a:t> with Cloud (Hybrid </a:t>
                      </a:r>
                      <a:r>
                        <a:rPr lang="en-US" sz="1000" baseline="0" dirty="0" err="1" smtClean="0">
                          <a:solidFill>
                            <a:schemeClr val="tx1"/>
                          </a:solidFill>
                        </a:rPr>
                        <a:t>Ph</a:t>
                      </a:r>
                      <a:r>
                        <a:rPr lang="en-US" sz="1000" baseline="0" dirty="0" smtClean="0">
                          <a:solidFill>
                            <a:schemeClr val="tx1"/>
                          </a:solidFill>
                        </a:rPr>
                        <a:t> 1)</a:t>
                      </a:r>
                    </a:p>
                  </a:txBody>
                  <a:tcPr marL="91416" marR="91416" marT="34290" marB="34290"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kern="1200" baseline="0" dirty="0" smtClean="0">
                          <a:solidFill>
                            <a:schemeClr val="tx1"/>
                          </a:solidFill>
                          <a:latin typeface="+mn-lt"/>
                          <a:ea typeface="+mn-ea"/>
                          <a:cs typeface="+mn-cs"/>
                        </a:rPr>
                        <a:t>HTTP 2.0 Support</a:t>
                      </a:r>
                    </a:p>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Unified Policy </a:t>
                      </a:r>
                      <a:r>
                        <a:rPr lang="en-US" sz="1000" baseline="0" dirty="0" err="1" smtClean="0">
                          <a:solidFill>
                            <a:schemeClr val="tx1"/>
                          </a:solidFill>
                        </a:rPr>
                        <a:t>Mgmt</a:t>
                      </a:r>
                      <a:r>
                        <a:rPr lang="en-US" sz="1000" baseline="0" dirty="0" smtClean="0">
                          <a:solidFill>
                            <a:schemeClr val="tx1"/>
                          </a:solidFill>
                        </a:rPr>
                        <a:t> &amp; Reporting for Cloud – (Hybrid </a:t>
                      </a:r>
                      <a:r>
                        <a:rPr lang="en-US" sz="1000" baseline="0" dirty="0" err="1" smtClean="0">
                          <a:solidFill>
                            <a:schemeClr val="tx1"/>
                          </a:solidFill>
                        </a:rPr>
                        <a:t>Ph</a:t>
                      </a:r>
                      <a:r>
                        <a:rPr lang="en-US" sz="1000" baseline="0" dirty="0" smtClean="0">
                          <a:solidFill>
                            <a:schemeClr val="tx1"/>
                          </a:solidFill>
                        </a:rPr>
                        <a:t> 2)</a:t>
                      </a:r>
                    </a:p>
                  </a:txBody>
                  <a:tcPr marL="91416" marR="91416" marT="34290" marB="34290"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 xmlns:a16="http://schemas.microsoft.com/office/drawing/2014/main" val="10001"/>
                  </a:ext>
                </a:extLst>
              </a:tr>
              <a:tr h="897255">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000" dirty="0" smtClean="0">
                          <a:solidFill>
                            <a:schemeClr val="tx1">
                              <a:lumMod val="50000"/>
                            </a:schemeClr>
                          </a:solidFill>
                          <a:latin typeface="Arial" pitchFamily="34" charset="0"/>
                          <a:cs typeface="Arial" pitchFamily="34" charset="0"/>
                        </a:rPr>
                        <a:t>Cisco Architectures</a:t>
                      </a:r>
                      <a:endParaRPr lang="en-US" sz="1000" dirty="0">
                        <a:solidFill>
                          <a:schemeClr val="tx1">
                            <a:lumMod val="50000"/>
                          </a:schemeClr>
                        </a:solidFill>
                        <a:latin typeface="Arial" pitchFamily="34" charset="0"/>
                        <a:cs typeface="Arial" pitchFamily="34" charset="0"/>
                      </a:endParaRPr>
                    </a:p>
                  </a:txBody>
                  <a:tcPr marL="91416" marR="91416" marT="34290" marB="34290" anchor="ctr">
                    <a:lnL w="12700" cap="flat" cmpd="sng" algn="ctr">
                      <a:noFill/>
                      <a:prstDash val="solid"/>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Updated AMP Reporting </a:t>
                      </a:r>
                    </a:p>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Import of 3</a:t>
                      </a:r>
                      <a:r>
                        <a:rPr lang="en-US" sz="1000" baseline="30000" dirty="0" smtClean="0">
                          <a:solidFill>
                            <a:schemeClr val="tx1"/>
                          </a:solidFill>
                        </a:rPr>
                        <a:t>rd</a:t>
                      </a:r>
                      <a:r>
                        <a:rPr lang="en-US" sz="1000" baseline="0" dirty="0" smtClean="0">
                          <a:solidFill>
                            <a:schemeClr val="tx1"/>
                          </a:solidFill>
                        </a:rPr>
                        <a:t> Party lists for policy</a:t>
                      </a:r>
                    </a:p>
                    <a:p>
                      <a:pPr marL="0" marR="0" indent="0" algn="l" defTabSz="685891" rtl="0" eaLnBrk="1" fontAlgn="auto" latinLnBrk="0" hangingPunct="1">
                        <a:lnSpc>
                          <a:spcPct val="100000"/>
                        </a:lnSpc>
                        <a:spcBef>
                          <a:spcPts val="300"/>
                        </a:spcBef>
                        <a:spcAft>
                          <a:spcPts val="0"/>
                        </a:spcAft>
                        <a:buClrTx/>
                        <a:buSzTx/>
                        <a:buFont typeface="Arial"/>
                        <a:buNone/>
                        <a:tabLst/>
                        <a:defRPr/>
                      </a:pPr>
                      <a:endParaRPr lang="en-US" sz="1000" baseline="0" dirty="0" smtClean="0">
                        <a:solidFill>
                          <a:schemeClr val="tx1"/>
                        </a:solidFill>
                      </a:endParaRPr>
                    </a:p>
                  </a:txBody>
                  <a:tcPr marL="91416" marR="91416" marT="34290" marB="34290"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ISE Phase 2</a:t>
                      </a:r>
                    </a:p>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CTA for WSA (Phase 2) </a:t>
                      </a:r>
                    </a:p>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Fire sight IOC integration</a:t>
                      </a:r>
                      <a:endParaRPr lang="en-US" sz="1000" dirty="0" smtClean="0">
                        <a:solidFill>
                          <a:schemeClr val="tx1"/>
                        </a:solidFill>
                      </a:endParaRPr>
                    </a:p>
                  </a:txBody>
                  <a:tcPr marL="91416" marR="91416" marT="34290" marB="34290"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 xmlns:a16="http://schemas.microsoft.com/office/drawing/2014/main" val="10002"/>
                  </a:ext>
                </a:extLst>
              </a:tr>
              <a:tr h="1457325">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000" dirty="0" smtClean="0">
                          <a:solidFill>
                            <a:schemeClr val="tx1">
                              <a:lumMod val="50000"/>
                            </a:schemeClr>
                          </a:solidFill>
                          <a:latin typeface="Arial" pitchFamily="34" charset="0"/>
                          <a:cs typeface="Arial" pitchFamily="34" charset="0"/>
                        </a:rPr>
                        <a:t>Table-Stakes/Operational Efficiency</a:t>
                      </a:r>
                      <a:endParaRPr lang="en-US" sz="1000" dirty="0">
                        <a:solidFill>
                          <a:schemeClr val="tx1">
                            <a:lumMod val="50000"/>
                          </a:schemeClr>
                        </a:solidFill>
                        <a:latin typeface="Arial" pitchFamily="34" charset="0"/>
                        <a:cs typeface="Arial" pitchFamily="34" charset="0"/>
                      </a:endParaRPr>
                    </a:p>
                  </a:txBody>
                  <a:tcPr marL="91416" marR="91416" marT="34290" marB="34290" anchor="ctr">
                    <a:lnL w="12700" cap="flat" cmpd="sng" algn="ctr">
                      <a:noFill/>
                      <a:prstDash val="solid"/>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prstClr val="whit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296" rtl="0" eaLnBrk="1" fontAlgn="auto" latinLnBrk="0" hangingPunct="1">
                        <a:lnSpc>
                          <a:spcPct val="100000"/>
                        </a:lnSpc>
                        <a:spcBef>
                          <a:spcPts val="300"/>
                        </a:spcBef>
                        <a:spcAft>
                          <a:spcPts val="0"/>
                        </a:spcAft>
                        <a:buClrTx/>
                        <a:buSzTx/>
                        <a:buFont typeface="Arial"/>
                        <a:buChar char="•"/>
                        <a:tabLst/>
                        <a:defRPr/>
                      </a:pPr>
                      <a:endParaRPr lang="en-US" sz="1000" b="0" baseline="0" dirty="0" smtClean="0">
                        <a:solidFill>
                          <a:schemeClr val="tx1"/>
                        </a:solidFill>
                      </a:endParaRP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1"/>
                          </a:solidFill>
                        </a:rPr>
                        <a:t>Referral Header</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1"/>
                          </a:solidFill>
                        </a:rPr>
                        <a:t>Intermediate Certificate Support</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strike="noStrike" baseline="0" dirty="0" smtClean="0">
                          <a:solidFill>
                            <a:schemeClr val="tx1"/>
                          </a:solidFill>
                        </a:rPr>
                        <a:t>AMP Private Cloud</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strike="noStrike" baseline="0" dirty="0" smtClean="0">
                          <a:solidFill>
                            <a:schemeClr val="tx1"/>
                          </a:solidFill>
                        </a:rPr>
                        <a:t>Achieve Content File Blocking (AT) </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1"/>
                          </a:solidFill>
                        </a:rPr>
                        <a:t>Updated User Agent List</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1"/>
                          </a:solidFill>
                        </a:rPr>
                        <a:t>Centralized Upgrade – SMA</a:t>
                      </a:r>
                    </a:p>
                  </a:txBody>
                  <a:tcPr marL="91416" marR="91416" marT="34290" marB="34290"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1"/>
                          </a:solidFill>
                        </a:rPr>
                        <a:t>WCCP Weighted Load-balancing</a:t>
                      </a:r>
                    </a:p>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Centralized SW Upgrade – Phase 2</a:t>
                      </a:r>
                    </a:p>
                    <a:p>
                      <a:pPr marL="171450" indent="-171450">
                        <a:spcBef>
                          <a:spcPts val="300"/>
                        </a:spcBef>
                        <a:buFont typeface="Arial"/>
                        <a:buChar char="•"/>
                      </a:pPr>
                      <a:r>
                        <a:rPr lang="en-US" sz="1000" baseline="0" dirty="0" smtClean="0">
                          <a:solidFill>
                            <a:schemeClr val="tx1"/>
                          </a:solidFill>
                        </a:rPr>
                        <a:t>High Performance VM - S600v </a:t>
                      </a:r>
                    </a:p>
                    <a:p>
                      <a:pPr marL="171450" indent="-171450">
                        <a:spcBef>
                          <a:spcPts val="300"/>
                        </a:spcBef>
                        <a:buFont typeface="Arial"/>
                        <a:buChar char="•"/>
                      </a:pPr>
                      <a:r>
                        <a:rPr lang="en-US" sz="1000" baseline="0" dirty="0" smtClean="0">
                          <a:solidFill>
                            <a:schemeClr val="tx1"/>
                          </a:solidFill>
                        </a:rPr>
                        <a:t>Hyper-V Support</a:t>
                      </a:r>
                    </a:p>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baseline="0" dirty="0" smtClean="0">
                          <a:solidFill>
                            <a:schemeClr val="tx1"/>
                          </a:solidFill>
                        </a:rPr>
                        <a:t>Common Criteria/FIPS Certification</a:t>
                      </a:r>
                    </a:p>
                  </a:txBody>
                  <a:tcPr marL="91416" marR="91416" marT="34290" marB="34290"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 xmlns:a16="http://schemas.microsoft.com/office/drawing/2014/main" val="10003"/>
                  </a:ext>
                </a:extLst>
              </a:tr>
            </a:tbl>
          </a:graphicData>
        </a:graphic>
      </p:graphicFrame>
      <p:sp>
        <p:nvSpPr>
          <p:cNvPr id="20" name="Rectangle 19"/>
          <p:cNvSpPr/>
          <p:nvPr/>
        </p:nvSpPr>
        <p:spPr>
          <a:xfrm>
            <a:off x="105549" y="4877232"/>
            <a:ext cx="8922451" cy="276997"/>
          </a:xfrm>
          <a:prstGeom prst="rect">
            <a:avLst/>
          </a:prstGeom>
        </p:spPr>
        <p:txBody>
          <a:bodyPr wrap="square" lIns="68577" tIns="34289" rIns="68577" bIns="34289">
            <a:spAutoFit/>
          </a:bodyPr>
          <a:lstStyle/>
          <a:p>
            <a:pPr defTabSz="685693">
              <a:spcBef>
                <a:spcPts val="1493"/>
              </a:spcBef>
              <a:buClr>
                <a:srgbClr val="FFFFFF"/>
              </a:buClr>
              <a:buSzPct val="100000"/>
            </a:pPr>
            <a:r>
              <a:rPr lang="en-US" sz="675" kern="0" dirty="0">
                <a:solidFill>
                  <a:srgbClr val="FFFFFF">
                    <a:lumMod val="50000"/>
                  </a:srgbClr>
                </a:solidFill>
                <a:latin typeface="Arial"/>
                <a:ea typeface="ＭＳ Ｐゴシック" pitchFamily="-109" charset="-128"/>
                <a:cs typeface="ＭＳ Ｐゴシック" pitchFamily="-109" charset="-128"/>
              </a:rPr>
              <a:t>Many of the products and features described herein remain in varying stages of development and will be offered on a when-and-if-available basis. This roadmap is subject to change at the sole discretion of  Cisco, and Cisco will have no liability for delay in the delivery or failure to deliver any of the products or features set forth in this document.</a:t>
            </a:r>
          </a:p>
        </p:txBody>
      </p:sp>
      <p:sp>
        <p:nvSpPr>
          <p:cNvPr id="8" name="Title 2"/>
          <p:cNvSpPr txBox="1">
            <a:spLocks/>
          </p:cNvSpPr>
          <p:nvPr/>
        </p:nvSpPr>
        <p:spPr bwMode="auto">
          <a:xfrm>
            <a:off x="1195" y="2"/>
            <a:ext cx="8657721" cy="72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08" tIns="45704" rIns="91408" bIns="45704"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0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2775" dirty="0" smtClean="0">
                <a:solidFill>
                  <a:schemeClr val="tx1"/>
                </a:solidFill>
                <a:latin typeface="Avenir Book"/>
                <a:cs typeface="Avenir Book"/>
              </a:rPr>
              <a:t>Roadmap</a:t>
            </a:r>
            <a:endParaRPr lang="en-US" sz="2775" dirty="0">
              <a:solidFill>
                <a:schemeClr val="tx1"/>
              </a:solidFill>
              <a:latin typeface="Avenir Book"/>
              <a:cs typeface="Avenir Book"/>
            </a:endParaRPr>
          </a:p>
        </p:txBody>
      </p:sp>
      <p:sp>
        <p:nvSpPr>
          <p:cNvPr id="11" name="Rectangle 10"/>
          <p:cNvSpPr/>
          <p:nvPr/>
        </p:nvSpPr>
        <p:spPr>
          <a:xfrm>
            <a:off x="4380210" y="255900"/>
            <a:ext cx="451943" cy="262758"/>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4848233" y="210883"/>
            <a:ext cx="434734" cy="307777"/>
          </a:xfrm>
          <a:prstGeom prst="rect">
            <a:avLst/>
          </a:prstGeom>
          <a:noFill/>
        </p:spPr>
        <p:txBody>
          <a:bodyPr wrap="none" rtlCol="0">
            <a:spAutoFit/>
          </a:bodyPr>
          <a:lstStyle/>
          <a:p>
            <a:r>
              <a:rPr lang="en-US" sz="1400" dirty="0"/>
              <a:t>E</a:t>
            </a:r>
            <a:r>
              <a:rPr lang="en-US" sz="1400" dirty="0" smtClean="0"/>
              <a:t>C</a:t>
            </a:r>
            <a:endParaRPr lang="en-US" dirty="0"/>
          </a:p>
        </p:txBody>
      </p:sp>
      <p:sp>
        <p:nvSpPr>
          <p:cNvPr id="13" name="Rectangle 12"/>
          <p:cNvSpPr/>
          <p:nvPr/>
        </p:nvSpPr>
        <p:spPr>
          <a:xfrm>
            <a:off x="5327988" y="253211"/>
            <a:ext cx="451943" cy="262758"/>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 name="TextBox 13"/>
          <p:cNvSpPr txBox="1"/>
          <p:nvPr/>
        </p:nvSpPr>
        <p:spPr>
          <a:xfrm>
            <a:off x="5732423" y="217132"/>
            <a:ext cx="1260185" cy="307777"/>
          </a:xfrm>
          <a:prstGeom prst="rect">
            <a:avLst/>
          </a:prstGeom>
          <a:noFill/>
        </p:spPr>
        <p:txBody>
          <a:bodyPr wrap="square" rtlCol="0">
            <a:spAutoFit/>
          </a:bodyPr>
          <a:lstStyle/>
          <a:p>
            <a:r>
              <a:rPr lang="en-US" sz="1400" dirty="0" smtClean="0"/>
              <a:t>BC Planned</a:t>
            </a:r>
            <a:endParaRPr lang="en-US" dirty="0"/>
          </a:p>
        </p:txBody>
      </p:sp>
    </p:spTree>
    <p:extLst>
      <p:ext uri="{BB962C8B-B14F-4D97-AF65-F5344CB8AC3E}">
        <p14:creationId xmlns:p14="http://schemas.microsoft.com/office/powerpoint/2010/main" val="290280910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6644" y="2061714"/>
            <a:ext cx="7598042" cy="1907479"/>
          </a:xfrm>
        </p:spPr>
        <p:txBody>
          <a:bodyPr/>
          <a:lstStyle/>
          <a:p>
            <a:pPr marL="57136"/>
            <a:r>
              <a:rPr lang="en-US" sz="3200" dirty="0" smtClean="0">
                <a:solidFill>
                  <a:schemeClr val="tx1">
                    <a:lumMod val="50000"/>
                  </a:schemeClr>
                </a:solidFill>
              </a:rPr>
              <a:t>Web Security Update</a:t>
            </a:r>
            <a:r>
              <a:rPr lang="en-US" sz="3200" dirty="0">
                <a:solidFill>
                  <a:srgbClr val="FF0000"/>
                </a:solidFill>
              </a:rPr>
              <a:t/>
            </a:r>
            <a:br>
              <a:rPr lang="en-US" sz="3200" dirty="0">
                <a:solidFill>
                  <a:srgbClr val="FF0000"/>
                </a:solidFill>
              </a:rPr>
            </a:br>
            <a:r>
              <a:rPr lang="en-US" altLang="ja-JP" sz="1800" dirty="0">
                <a:solidFill>
                  <a:srgbClr val="FF0000"/>
                </a:solidFill>
              </a:rPr>
              <a:t>W</a:t>
            </a:r>
            <a:r>
              <a:rPr lang="en-US" altLang="ja-JP" sz="1800" dirty="0"/>
              <a:t>eb </a:t>
            </a:r>
            <a:r>
              <a:rPr lang="en-US" altLang="ja-JP" sz="1800" dirty="0">
                <a:solidFill>
                  <a:srgbClr val="FF0000"/>
                </a:solidFill>
              </a:rPr>
              <a:t>S</a:t>
            </a:r>
            <a:r>
              <a:rPr lang="en-US" altLang="ja-JP" sz="1800" dirty="0"/>
              <a:t>ecurity </a:t>
            </a:r>
            <a:r>
              <a:rPr lang="en-US" altLang="ja-JP" sz="1800" dirty="0">
                <a:solidFill>
                  <a:srgbClr val="FF0000"/>
                </a:solidFill>
              </a:rPr>
              <a:t>A</a:t>
            </a:r>
            <a:r>
              <a:rPr lang="en-US" altLang="ja-JP" sz="1800" dirty="0"/>
              <a:t>ppliance (</a:t>
            </a:r>
            <a:r>
              <a:rPr lang="ja-JP" altLang="en-US" sz="1800" dirty="0"/>
              <a:t>オンプレミス型ウェブプロキシ</a:t>
            </a:r>
            <a:r>
              <a:rPr lang="en-US" altLang="ja-JP" sz="1800" dirty="0" smtClean="0"/>
              <a:t>)</a:t>
            </a:r>
            <a:r>
              <a:rPr lang="en-US" sz="3200" dirty="0" smtClean="0">
                <a:solidFill>
                  <a:srgbClr val="FF0000"/>
                </a:solidFill>
              </a:rPr>
              <a:t/>
            </a:r>
            <a:br>
              <a:rPr lang="en-US" sz="3200" dirty="0" smtClean="0">
                <a:solidFill>
                  <a:srgbClr val="FF0000"/>
                </a:solidFill>
              </a:rPr>
            </a:br>
            <a:r>
              <a:rPr lang="en-US" altLang="ja-JP" sz="1800" dirty="0" smtClean="0">
                <a:solidFill>
                  <a:srgbClr val="FF0000"/>
                </a:solidFill>
              </a:rPr>
              <a:t>C</a:t>
            </a:r>
            <a:r>
              <a:rPr lang="en-US" altLang="ja-JP" sz="1800" dirty="0" smtClean="0"/>
              <a:t>loud </a:t>
            </a:r>
            <a:r>
              <a:rPr lang="en-US" altLang="ja-JP" sz="1800" dirty="0">
                <a:solidFill>
                  <a:srgbClr val="FF0000"/>
                </a:solidFill>
              </a:rPr>
              <a:t>W</a:t>
            </a:r>
            <a:r>
              <a:rPr lang="en-US" altLang="ja-JP" sz="1800" dirty="0"/>
              <a:t>eb </a:t>
            </a:r>
            <a:r>
              <a:rPr lang="en-US" altLang="ja-JP" sz="1800" dirty="0">
                <a:solidFill>
                  <a:srgbClr val="FF0000"/>
                </a:solidFill>
              </a:rPr>
              <a:t>S</a:t>
            </a:r>
            <a:r>
              <a:rPr lang="en-US" altLang="ja-JP" sz="1800" dirty="0"/>
              <a:t>ecurity (</a:t>
            </a:r>
            <a:r>
              <a:rPr lang="ja-JP" altLang="en-US" sz="1800" dirty="0"/>
              <a:t>クラウド型ウェブプロキシ</a:t>
            </a:r>
            <a:r>
              <a:rPr lang="en-US" altLang="ja-JP" sz="1800" dirty="0"/>
              <a:t>)</a:t>
            </a:r>
            <a:br>
              <a:rPr lang="en-US" altLang="ja-JP" sz="1800" dirty="0"/>
            </a:br>
            <a:r>
              <a:rPr lang="en-US" sz="1800" dirty="0" smtClean="0">
                <a:solidFill>
                  <a:srgbClr val="FF0000"/>
                </a:solidFill>
              </a:rPr>
              <a:t>C</a:t>
            </a:r>
            <a:r>
              <a:rPr lang="en-US" sz="1800" dirty="0" smtClean="0"/>
              <a:t>ognitive </a:t>
            </a:r>
            <a:r>
              <a:rPr lang="en-US" sz="1800" dirty="0">
                <a:solidFill>
                  <a:srgbClr val="FF0000"/>
                </a:solidFill>
              </a:rPr>
              <a:t>T</a:t>
            </a:r>
            <a:r>
              <a:rPr lang="en-US" sz="1800" dirty="0"/>
              <a:t>hreat </a:t>
            </a:r>
            <a:r>
              <a:rPr lang="en-US" sz="1800" dirty="0">
                <a:solidFill>
                  <a:srgbClr val="FF0000"/>
                </a:solidFill>
              </a:rPr>
              <a:t>A</a:t>
            </a:r>
            <a:r>
              <a:rPr lang="en-US" sz="1800" dirty="0"/>
              <a:t>nalytics </a:t>
            </a:r>
            <a:r>
              <a:rPr lang="en-US" altLang="ja-JP" sz="1800" dirty="0" smtClean="0"/>
              <a:t>(</a:t>
            </a:r>
            <a:r>
              <a:rPr lang="ja-JP" altLang="en-US" sz="1800" dirty="0"/>
              <a:t>振る舞い型の脅威検出システム</a:t>
            </a:r>
            <a:r>
              <a:rPr lang="en-US" altLang="ja-JP" sz="1800" dirty="0" smtClean="0"/>
              <a:t>)</a:t>
            </a:r>
            <a:r>
              <a:rPr lang="en-US" altLang="ja-JP" sz="1800" dirty="0"/>
              <a:t/>
            </a:r>
            <a:br>
              <a:rPr lang="en-US" altLang="ja-JP" sz="1800" dirty="0"/>
            </a:br>
            <a:endParaRPr lang="en-US" sz="3200" dirty="0"/>
          </a:p>
        </p:txBody>
      </p:sp>
      <p:sp>
        <p:nvSpPr>
          <p:cNvPr id="10" name="Rounded Rectangle 9"/>
          <p:cNvSpPr/>
          <p:nvPr/>
        </p:nvSpPr>
        <p:spPr>
          <a:xfrm>
            <a:off x="226644" y="2945994"/>
            <a:ext cx="6167120" cy="284480"/>
          </a:xfrm>
          <a:prstGeom prst="roundRect">
            <a:avLst/>
          </a:prstGeom>
          <a:solidFill>
            <a:srgbClr val="FF6600">
              <a:alpha val="37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23758866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7152"/>
            <a:ext cx="8345488" cy="731837"/>
          </a:xfrm>
        </p:spPr>
        <p:txBody>
          <a:bodyPr/>
          <a:lstStyle/>
          <a:p>
            <a:r>
              <a:rPr lang="ja-JP" altLang="en-US" sz="2800" dirty="0" smtClean="0"/>
              <a:t>ウェブセキュリティ実装に関連する選択とトレードオフ</a:t>
            </a:r>
            <a:endParaRPr lang="en-US" sz="2800" dirty="0"/>
          </a:p>
        </p:txBody>
      </p:sp>
      <p:grpSp>
        <p:nvGrpSpPr>
          <p:cNvPr id="96" name="Group 95"/>
          <p:cNvGrpSpPr/>
          <p:nvPr/>
        </p:nvGrpSpPr>
        <p:grpSpPr>
          <a:xfrm>
            <a:off x="6204056" y="1302917"/>
            <a:ext cx="879886" cy="590258"/>
            <a:chOff x="11454660" y="502253"/>
            <a:chExt cx="437727" cy="255111"/>
          </a:xfrm>
        </p:grpSpPr>
        <p:sp>
          <p:nvSpPr>
            <p:cNvPr id="100" name="Oval 2"/>
            <p:cNvSpPr/>
            <p:nvPr/>
          </p:nvSpPr>
          <p:spPr bwMode="auto">
            <a:xfrm>
              <a:off x="11454660" y="502253"/>
              <a:ext cx="437727" cy="25511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09670" tIns="54836" rIns="54836" bIns="109670" numCol="1" spcCol="0" rtlCol="0" fromWordArt="0" anchor="b" anchorCtr="0" forceAA="0" compatLnSpc="1">
              <a:prstTxWarp prst="textNoShape">
                <a:avLst/>
              </a:prstTxWarp>
              <a:noAutofit/>
            </a:bodyPr>
            <a:lstStyle>
              <a:defPPr>
                <a:defRPr lang="en-US"/>
              </a:defPPr>
              <a:lvl1pPr marL="0" algn="l" defTabSz="457143" rtl="0" eaLnBrk="1" latinLnBrk="0" hangingPunct="1">
                <a:defRPr sz="1800" kern="1200">
                  <a:solidFill>
                    <a:schemeClr val="lt1"/>
                  </a:solidFill>
                  <a:latin typeface="+mn-lt"/>
                  <a:ea typeface="+mn-ea"/>
                  <a:cs typeface="+mn-cs"/>
                </a:defRPr>
              </a:lvl1pPr>
              <a:lvl2pPr marL="457143" algn="l" defTabSz="457143" rtl="0" eaLnBrk="1" latinLnBrk="0" hangingPunct="1">
                <a:defRPr sz="1800" kern="1200">
                  <a:solidFill>
                    <a:schemeClr val="lt1"/>
                  </a:solidFill>
                  <a:latin typeface="+mn-lt"/>
                  <a:ea typeface="+mn-ea"/>
                  <a:cs typeface="+mn-cs"/>
                </a:defRPr>
              </a:lvl2pPr>
              <a:lvl3pPr marL="914286" algn="l" defTabSz="457143" rtl="0" eaLnBrk="1" latinLnBrk="0" hangingPunct="1">
                <a:defRPr sz="1800" kern="1200">
                  <a:solidFill>
                    <a:schemeClr val="lt1"/>
                  </a:solidFill>
                  <a:latin typeface="+mn-lt"/>
                  <a:ea typeface="+mn-ea"/>
                  <a:cs typeface="+mn-cs"/>
                </a:defRPr>
              </a:lvl3pPr>
              <a:lvl4pPr marL="1371429" algn="l" defTabSz="457143" rtl="0" eaLnBrk="1" latinLnBrk="0" hangingPunct="1">
                <a:defRPr sz="1800" kern="1200">
                  <a:solidFill>
                    <a:schemeClr val="lt1"/>
                  </a:solidFill>
                  <a:latin typeface="+mn-lt"/>
                  <a:ea typeface="+mn-ea"/>
                  <a:cs typeface="+mn-cs"/>
                </a:defRPr>
              </a:lvl4pPr>
              <a:lvl5pPr marL="1828572" algn="l" defTabSz="457143" rtl="0" eaLnBrk="1" latinLnBrk="0" hangingPunct="1">
                <a:defRPr sz="1800" kern="1200">
                  <a:solidFill>
                    <a:schemeClr val="lt1"/>
                  </a:solidFill>
                  <a:latin typeface="+mn-lt"/>
                  <a:ea typeface="+mn-ea"/>
                  <a:cs typeface="+mn-cs"/>
                </a:defRPr>
              </a:lvl5pPr>
              <a:lvl6pPr marL="2285714" algn="l" defTabSz="457143" rtl="0" eaLnBrk="1" latinLnBrk="0" hangingPunct="1">
                <a:defRPr sz="1800" kern="1200">
                  <a:solidFill>
                    <a:schemeClr val="lt1"/>
                  </a:solidFill>
                  <a:latin typeface="+mn-lt"/>
                  <a:ea typeface="+mn-ea"/>
                  <a:cs typeface="+mn-cs"/>
                </a:defRPr>
              </a:lvl6pPr>
              <a:lvl7pPr marL="2742858" algn="l" defTabSz="457143" rtl="0" eaLnBrk="1" latinLnBrk="0" hangingPunct="1">
                <a:defRPr sz="1800" kern="1200">
                  <a:solidFill>
                    <a:schemeClr val="lt1"/>
                  </a:solidFill>
                  <a:latin typeface="+mn-lt"/>
                  <a:ea typeface="+mn-ea"/>
                  <a:cs typeface="+mn-cs"/>
                </a:defRPr>
              </a:lvl7pPr>
              <a:lvl8pPr marL="3199999" algn="l" defTabSz="457143" rtl="0" eaLnBrk="1" latinLnBrk="0" hangingPunct="1">
                <a:defRPr sz="1800" kern="1200">
                  <a:solidFill>
                    <a:schemeClr val="lt1"/>
                  </a:solidFill>
                  <a:latin typeface="+mn-lt"/>
                  <a:ea typeface="+mn-ea"/>
                  <a:cs typeface="+mn-cs"/>
                </a:defRPr>
              </a:lvl8pPr>
              <a:lvl9pPr marL="3657143" algn="l" defTabSz="457143" rtl="0" eaLnBrk="1" latinLnBrk="0" hangingPunct="1">
                <a:defRPr sz="1800" kern="1200">
                  <a:solidFill>
                    <a:schemeClr val="lt1"/>
                  </a:solidFill>
                  <a:latin typeface="+mn-lt"/>
                  <a:ea typeface="+mn-ea"/>
                  <a:cs typeface="+mn-cs"/>
                </a:defRPr>
              </a:lvl9pPr>
            </a:lstStyle>
            <a:p>
              <a:pPr algn="ctr" defTabSz="821808"/>
              <a:endParaRPr lang="en-US" sz="1200" spc="-45" dirty="0">
                <a:gradFill>
                  <a:gsLst>
                    <a:gs pos="0">
                      <a:srgbClr val="FFFFFF"/>
                    </a:gs>
                    <a:gs pos="100000">
                      <a:srgbClr val="FFFFFF"/>
                    </a:gs>
                  </a:gsLst>
                  <a:lin ang="5400000" scaled="0"/>
                </a:gradFill>
                <a:latin typeface="CiscoSansTT Light"/>
                <a:ea typeface="Segoe UI" pitchFamily="34" charset="0"/>
                <a:cs typeface="Arial" panose="020B0604020202020204" pitchFamily="34" charset="0"/>
              </a:endParaRPr>
            </a:p>
          </p:txBody>
        </p:sp>
        <p:grpSp>
          <p:nvGrpSpPr>
            <p:cNvPr id="102" name="Group 101"/>
            <p:cNvGrpSpPr>
              <a:grpSpLocks noChangeAspect="1"/>
            </p:cNvGrpSpPr>
            <p:nvPr/>
          </p:nvGrpSpPr>
          <p:grpSpPr>
            <a:xfrm rot="20679101">
              <a:off x="11519241" y="617344"/>
              <a:ext cx="81155" cy="80850"/>
              <a:chOff x="7798595" y="7042151"/>
              <a:chExt cx="420688" cy="419100"/>
            </a:xfrm>
            <a:solidFill>
              <a:schemeClr val="accent5"/>
            </a:solidFill>
          </p:grpSpPr>
          <p:sp>
            <p:nvSpPr>
              <p:cNvPr id="107" name="Freeform 106"/>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808"/>
                <a:endParaRPr lang="en-US" sz="900" dirty="0">
                  <a:solidFill>
                    <a:srgbClr val="000000"/>
                  </a:solidFill>
                  <a:latin typeface="CiscoSansTT Light"/>
                </a:endParaRPr>
              </a:p>
            </p:txBody>
          </p:sp>
          <p:sp>
            <p:nvSpPr>
              <p:cNvPr id="108" name="Freeform 107"/>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808"/>
                <a:endParaRPr lang="en-US" sz="900" dirty="0">
                  <a:solidFill>
                    <a:srgbClr val="000000"/>
                  </a:solidFill>
                  <a:latin typeface="CiscoSansTT Light"/>
                </a:endParaRPr>
              </a:p>
            </p:txBody>
          </p:sp>
        </p:grpSp>
      </p:grpSp>
      <p:grpSp>
        <p:nvGrpSpPr>
          <p:cNvPr id="5" name="Group 4"/>
          <p:cNvGrpSpPr/>
          <p:nvPr/>
        </p:nvGrpSpPr>
        <p:grpSpPr>
          <a:xfrm>
            <a:off x="2209804" y="1452208"/>
            <a:ext cx="1102335" cy="456981"/>
            <a:chOff x="2229229" y="2995809"/>
            <a:chExt cx="1102335" cy="456981"/>
          </a:xfrm>
        </p:grpSpPr>
        <p:sp>
          <p:nvSpPr>
            <p:cNvPr id="136" name="Freeform 135"/>
            <p:cNvSpPr/>
            <p:nvPr/>
          </p:nvSpPr>
          <p:spPr>
            <a:xfrm>
              <a:off x="2229229" y="2995809"/>
              <a:ext cx="981093" cy="190353"/>
            </a:xfrm>
            <a:custGeom>
              <a:avLst/>
              <a:gdLst>
                <a:gd name="connsiteX0" fmla="*/ 2220137 w 4747902"/>
                <a:gd name="connsiteY0" fmla="*/ 344308 h 921198"/>
                <a:gd name="connsiteX1" fmla="*/ 2138009 w 4747902"/>
                <a:gd name="connsiteY1" fmla="*/ 426436 h 921198"/>
                <a:gd name="connsiteX2" fmla="*/ 2138009 w 4747902"/>
                <a:gd name="connsiteY2" fmla="*/ 494764 h 921198"/>
                <a:gd name="connsiteX3" fmla="*/ 2220137 w 4747902"/>
                <a:gd name="connsiteY3" fmla="*/ 576893 h 921198"/>
                <a:gd name="connsiteX4" fmla="*/ 4190922 w 4747902"/>
                <a:gd name="connsiteY4" fmla="*/ 576893 h 921198"/>
                <a:gd name="connsiteX5" fmla="*/ 4273050 w 4747902"/>
                <a:gd name="connsiteY5" fmla="*/ 494764 h 921198"/>
                <a:gd name="connsiteX6" fmla="*/ 4273050 w 4747902"/>
                <a:gd name="connsiteY6" fmla="*/ 426436 h 921198"/>
                <a:gd name="connsiteX7" fmla="*/ 4190922 w 4747902"/>
                <a:gd name="connsiteY7" fmla="*/ 344308 h 921198"/>
                <a:gd name="connsiteX8" fmla="*/ 598846 w 4747902"/>
                <a:gd name="connsiteY8" fmla="*/ 344184 h 921198"/>
                <a:gd name="connsiteX9" fmla="*/ 482431 w 4747902"/>
                <a:gd name="connsiteY9" fmla="*/ 460599 h 921198"/>
                <a:gd name="connsiteX10" fmla="*/ 598846 w 4747902"/>
                <a:gd name="connsiteY10" fmla="*/ 577014 h 921198"/>
                <a:gd name="connsiteX11" fmla="*/ 715261 w 4747902"/>
                <a:gd name="connsiteY11" fmla="*/ 460599 h 921198"/>
                <a:gd name="connsiteX12" fmla="*/ 598846 w 4747902"/>
                <a:gd name="connsiteY12" fmla="*/ 344184 h 921198"/>
                <a:gd name="connsiteX13" fmla="*/ 244643 w 4747902"/>
                <a:gd name="connsiteY13" fmla="*/ 0 h 921198"/>
                <a:gd name="connsiteX14" fmla="*/ 4503259 w 4747902"/>
                <a:gd name="connsiteY14" fmla="*/ 0 h 921198"/>
                <a:gd name="connsiteX15" fmla="*/ 4747902 w 4747902"/>
                <a:gd name="connsiteY15" fmla="*/ 244643 h 921198"/>
                <a:gd name="connsiteX16" fmla="*/ 4747902 w 4747902"/>
                <a:gd name="connsiteY16" fmla="*/ 596900 h 921198"/>
                <a:gd name="connsiteX17" fmla="*/ 503723 w 4747902"/>
                <a:gd name="connsiteY17" fmla="*/ 596900 h 921198"/>
                <a:gd name="connsiteX18" fmla="*/ 259080 w 4747902"/>
                <a:gd name="connsiteY18" fmla="*/ 841543 h 921198"/>
                <a:gd name="connsiteX19" fmla="*/ 259080 w 4747902"/>
                <a:gd name="connsiteY19" fmla="*/ 921198 h 921198"/>
                <a:gd name="connsiteX20" fmla="*/ 244643 w 4747902"/>
                <a:gd name="connsiteY20" fmla="*/ 921198 h 921198"/>
                <a:gd name="connsiteX21" fmla="*/ 0 w 4747902"/>
                <a:gd name="connsiteY21" fmla="*/ 676555 h 921198"/>
                <a:gd name="connsiteX22" fmla="*/ 0 w 4747902"/>
                <a:gd name="connsiteY22" fmla="*/ 244643 h 921198"/>
                <a:gd name="connsiteX23" fmla="*/ 244643 w 4747902"/>
                <a:gd name="connsiteY23" fmla="*/ 0 h 92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747902" h="921198">
                  <a:moveTo>
                    <a:pt x="2220137" y="344308"/>
                  </a:moveTo>
                  <a:cubicBezTo>
                    <a:pt x="2174778" y="344308"/>
                    <a:pt x="2138009" y="381077"/>
                    <a:pt x="2138009" y="426436"/>
                  </a:cubicBezTo>
                  <a:lnTo>
                    <a:pt x="2138009" y="494764"/>
                  </a:lnTo>
                  <a:cubicBezTo>
                    <a:pt x="2138009" y="540123"/>
                    <a:pt x="2174778" y="576893"/>
                    <a:pt x="2220137" y="576893"/>
                  </a:cubicBezTo>
                  <a:lnTo>
                    <a:pt x="4190922" y="576893"/>
                  </a:lnTo>
                  <a:cubicBezTo>
                    <a:pt x="4236280" y="576893"/>
                    <a:pt x="4273050" y="540123"/>
                    <a:pt x="4273050" y="494764"/>
                  </a:cubicBezTo>
                  <a:lnTo>
                    <a:pt x="4273050" y="426436"/>
                  </a:lnTo>
                  <a:cubicBezTo>
                    <a:pt x="4273050" y="381077"/>
                    <a:pt x="4236280" y="344308"/>
                    <a:pt x="4190922" y="344308"/>
                  </a:cubicBezTo>
                  <a:close/>
                  <a:moveTo>
                    <a:pt x="598846" y="344184"/>
                  </a:moveTo>
                  <a:cubicBezTo>
                    <a:pt x="534553" y="344184"/>
                    <a:pt x="482431" y="396306"/>
                    <a:pt x="482431" y="460599"/>
                  </a:cubicBezTo>
                  <a:cubicBezTo>
                    <a:pt x="482431" y="524893"/>
                    <a:pt x="534553" y="577014"/>
                    <a:pt x="598846" y="577014"/>
                  </a:cubicBezTo>
                  <a:cubicBezTo>
                    <a:pt x="663139" y="577014"/>
                    <a:pt x="715261" y="524893"/>
                    <a:pt x="715261" y="460599"/>
                  </a:cubicBezTo>
                  <a:cubicBezTo>
                    <a:pt x="715261" y="396306"/>
                    <a:pt x="663139" y="344184"/>
                    <a:pt x="598846" y="344184"/>
                  </a:cubicBezTo>
                  <a:close/>
                  <a:moveTo>
                    <a:pt x="244643" y="0"/>
                  </a:moveTo>
                  <a:lnTo>
                    <a:pt x="4503259" y="0"/>
                  </a:lnTo>
                  <a:cubicBezTo>
                    <a:pt x="4638372" y="0"/>
                    <a:pt x="4747902" y="109530"/>
                    <a:pt x="4747902" y="244643"/>
                  </a:cubicBezTo>
                  <a:lnTo>
                    <a:pt x="4747902" y="596900"/>
                  </a:lnTo>
                  <a:lnTo>
                    <a:pt x="503723" y="596900"/>
                  </a:lnTo>
                  <a:cubicBezTo>
                    <a:pt x="368610" y="596900"/>
                    <a:pt x="259080" y="706430"/>
                    <a:pt x="259080" y="841543"/>
                  </a:cubicBezTo>
                  <a:lnTo>
                    <a:pt x="259080" y="921198"/>
                  </a:lnTo>
                  <a:lnTo>
                    <a:pt x="244643" y="921198"/>
                  </a:lnTo>
                  <a:cubicBezTo>
                    <a:pt x="109530" y="921198"/>
                    <a:pt x="0" y="811668"/>
                    <a:pt x="0" y="676555"/>
                  </a:cubicBezTo>
                  <a:lnTo>
                    <a:pt x="0" y="244643"/>
                  </a:lnTo>
                  <a:cubicBezTo>
                    <a:pt x="0" y="109530"/>
                    <a:pt x="109530" y="0"/>
                    <a:pt x="244643" y="0"/>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22960" rtlCol="0" anchor="ctr">
              <a:noAutofit/>
            </a:bodyPr>
            <a:lstStyle/>
            <a:p>
              <a:endParaRPr lang="en-US" sz="3600" b="1" dirty="0">
                <a:solidFill>
                  <a:srgbClr val="272848"/>
                </a:solidFill>
                <a:latin typeface="Arial" panose="020B0604020202020204" pitchFamily="34" charset="0"/>
                <a:cs typeface="Arial" panose="020B0604020202020204" pitchFamily="34" charset="0"/>
              </a:endParaRPr>
            </a:p>
          </p:txBody>
        </p:sp>
        <p:sp>
          <p:nvSpPr>
            <p:cNvPr id="137" name="Freeform 136"/>
            <p:cNvSpPr/>
            <p:nvPr/>
          </p:nvSpPr>
          <p:spPr>
            <a:xfrm>
              <a:off x="2350471" y="3262437"/>
              <a:ext cx="981093" cy="190353"/>
            </a:xfrm>
            <a:custGeom>
              <a:avLst/>
              <a:gdLst>
                <a:gd name="connsiteX0" fmla="*/ 1114121 w 2382618"/>
                <a:gd name="connsiteY0" fmla="*/ 172782 h 462280"/>
                <a:gd name="connsiteX1" fmla="*/ 1072907 w 2382618"/>
                <a:gd name="connsiteY1" fmla="*/ 213996 h 462280"/>
                <a:gd name="connsiteX2" fmla="*/ 1072907 w 2382618"/>
                <a:gd name="connsiteY2" fmla="*/ 248285 h 462280"/>
                <a:gd name="connsiteX3" fmla="*/ 1114121 w 2382618"/>
                <a:gd name="connsiteY3" fmla="*/ 289499 h 462280"/>
                <a:gd name="connsiteX4" fmla="*/ 2103111 w 2382618"/>
                <a:gd name="connsiteY4" fmla="*/ 289499 h 462280"/>
                <a:gd name="connsiteX5" fmla="*/ 2144325 w 2382618"/>
                <a:gd name="connsiteY5" fmla="*/ 248285 h 462280"/>
                <a:gd name="connsiteX6" fmla="*/ 2144325 w 2382618"/>
                <a:gd name="connsiteY6" fmla="*/ 213996 h 462280"/>
                <a:gd name="connsiteX7" fmla="*/ 2103111 w 2382618"/>
                <a:gd name="connsiteY7" fmla="*/ 172782 h 462280"/>
                <a:gd name="connsiteX8" fmla="*/ 300516 w 2382618"/>
                <a:gd name="connsiteY8" fmla="*/ 172720 h 462280"/>
                <a:gd name="connsiteX9" fmla="*/ 242096 w 2382618"/>
                <a:gd name="connsiteY9" fmla="*/ 231140 h 462280"/>
                <a:gd name="connsiteX10" fmla="*/ 300516 w 2382618"/>
                <a:gd name="connsiteY10" fmla="*/ 289560 h 462280"/>
                <a:gd name="connsiteX11" fmla="*/ 358936 w 2382618"/>
                <a:gd name="connsiteY11" fmla="*/ 231140 h 462280"/>
                <a:gd name="connsiteX12" fmla="*/ 300516 w 2382618"/>
                <a:gd name="connsiteY12" fmla="*/ 172720 h 462280"/>
                <a:gd name="connsiteX13" fmla="*/ 122768 w 2382618"/>
                <a:gd name="connsiteY13" fmla="*/ 0 h 462280"/>
                <a:gd name="connsiteX14" fmla="*/ 2259850 w 2382618"/>
                <a:gd name="connsiteY14" fmla="*/ 0 h 462280"/>
                <a:gd name="connsiteX15" fmla="*/ 2382618 w 2382618"/>
                <a:gd name="connsiteY15" fmla="*/ 122768 h 462280"/>
                <a:gd name="connsiteX16" fmla="*/ 2382618 w 2382618"/>
                <a:gd name="connsiteY16" fmla="*/ 339512 h 462280"/>
                <a:gd name="connsiteX17" fmla="*/ 2259850 w 2382618"/>
                <a:gd name="connsiteY17" fmla="*/ 462280 h 462280"/>
                <a:gd name="connsiteX18" fmla="*/ 122768 w 2382618"/>
                <a:gd name="connsiteY18" fmla="*/ 462280 h 462280"/>
                <a:gd name="connsiteX19" fmla="*/ 0 w 2382618"/>
                <a:gd name="connsiteY19" fmla="*/ 339512 h 462280"/>
                <a:gd name="connsiteX20" fmla="*/ 0 w 2382618"/>
                <a:gd name="connsiteY20" fmla="*/ 122768 h 462280"/>
                <a:gd name="connsiteX21" fmla="*/ 122768 w 2382618"/>
                <a:gd name="connsiteY21" fmla="*/ 0 h 46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2618" h="462280">
                  <a:moveTo>
                    <a:pt x="1114121" y="172782"/>
                  </a:moveTo>
                  <a:cubicBezTo>
                    <a:pt x="1091359" y="172782"/>
                    <a:pt x="1072907" y="191234"/>
                    <a:pt x="1072907" y="213996"/>
                  </a:cubicBezTo>
                  <a:lnTo>
                    <a:pt x="1072907" y="248285"/>
                  </a:lnTo>
                  <a:cubicBezTo>
                    <a:pt x="1072907" y="271047"/>
                    <a:pt x="1091359" y="289499"/>
                    <a:pt x="1114121" y="289499"/>
                  </a:cubicBezTo>
                  <a:lnTo>
                    <a:pt x="2103111" y="289499"/>
                  </a:lnTo>
                  <a:cubicBezTo>
                    <a:pt x="2125873" y="289499"/>
                    <a:pt x="2144325" y="271047"/>
                    <a:pt x="2144325" y="248285"/>
                  </a:cubicBezTo>
                  <a:lnTo>
                    <a:pt x="2144325" y="213996"/>
                  </a:lnTo>
                  <a:cubicBezTo>
                    <a:pt x="2144325" y="191234"/>
                    <a:pt x="2125873" y="172782"/>
                    <a:pt x="2103111" y="172782"/>
                  </a:cubicBezTo>
                  <a:close/>
                  <a:moveTo>
                    <a:pt x="300516" y="172720"/>
                  </a:moveTo>
                  <a:cubicBezTo>
                    <a:pt x="268252" y="172720"/>
                    <a:pt x="242096" y="198876"/>
                    <a:pt x="242096" y="231140"/>
                  </a:cubicBezTo>
                  <a:cubicBezTo>
                    <a:pt x="242096" y="263404"/>
                    <a:pt x="268252" y="289560"/>
                    <a:pt x="300516" y="289560"/>
                  </a:cubicBezTo>
                  <a:cubicBezTo>
                    <a:pt x="332780" y="289560"/>
                    <a:pt x="358936" y="263404"/>
                    <a:pt x="358936" y="231140"/>
                  </a:cubicBezTo>
                  <a:cubicBezTo>
                    <a:pt x="358936" y="198876"/>
                    <a:pt x="332780" y="172720"/>
                    <a:pt x="300516" y="172720"/>
                  </a:cubicBezTo>
                  <a:close/>
                  <a:moveTo>
                    <a:pt x="122768" y="0"/>
                  </a:moveTo>
                  <a:lnTo>
                    <a:pt x="2259850" y="0"/>
                  </a:lnTo>
                  <a:cubicBezTo>
                    <a:pt x="2327653" y="0"/>
                    <a:pt x="2382618" y="54965"/>
                    <a:pt x="2382618" y="122768"/>
                  </a:cubicBezTo>
                  <a:lnTo>
                    <a:pt x="2382618" y="339512"/>
                  </a:lnTo>
                  <a:cubicBezTo>
                    <a:pt x="2382618" y="407315"/>
                    <a:pt x="2327653" y="462280"/>
                    <a:pt x="2259850" y="462280"/>
                  </a:cubicBezTo>
                  <a:lnTo>
                    <a:pt x="122768" y="462280"/>
                  </a:lnTo>
                  <a:cubicBezTo>
                    <a:pt x="54965" y="462280"/>
                    <a:pt x="0" y="407315"/>
                    <a:pt x="0" y="339512"/>
                  </a:cubicBezTo>
                  <a:lnTo>
                    <a:pt x="0" y="122768"/>
                  </a:lnTo>
                  <a:cubicBezTo>
                    <a:pt x="0" y="54965"/>
                    <a:pt x="54965" y="0"/>
                    <a:pt x="122768" y="0"/>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endParaRPr lang="en-US" sz="3600" b="1" dirty="0">
                <a:solidFill>
                  <a:srgbClr val="272848"/>
                </a:solidFill>
                <a:latin typeface="Arial" panose="020B0604020202020204" pitchFamily="34" charset="0"/>
                <a:cs typeface="Arial" panose="020B0604020202020204" pitchFamily="34" charset="0"/>
              </a:endParaRPr>
            </a:p>
          </p:txBody>
        </p:sp>
        <p:sp>
          <p:nvSpPr>
            <p:cNvPr id="138" name="Freeform 137"/>
            <p:cNvSpPr/>
            <p:nvPr/>
          </p:nvSpPr>
          <p:spPr>
            <a:xfrm>
              <a:off x="2290637" y="3128073"/>
              <a:ext cx="981093" cy="190353"/>
            </a:xfrm>
            <a:custGeom>
              <a:avLst/>
              <a:gdLst>
                <a:gd name="connsiteX0" fmla="*/ 2220137 w 4747902"/>
                <a:gd name="connsiteY0" fmla="*/ 344308 h 921198"/>
                <a:gd name="connsiteX1" fmla="*/ 2138009 w 4747902"/>
                <a:gd name="connsiteY1" fmla="*/ 426436 h 921198"/>
                <a:gd name="connsiteX2" fmla="*/ 2138009 w 4747902"/>
                <a:gd name="connsiteY2" fmla="*/ 494764 h 921198"/>
                <a:gd name="connsiteX3" fmla="*/ 2220137 w 4747902"/>
                <a:gd name="connsiteY3" fmla="*/ 576893 h 921198"/>
                <a:gd name="connsiteX4" fmla="*/ 4190922 w 4747902"/>
                <a:gd name="connsiteY4" fmla="*/ 576893 h 921198"/>
                <a:gd name="connsiteX5" fmla="*/ 4273050 w 4747902"/>
                <a:gd name="connsiteY5" fmla="*/ 494764 h 921198"/>
                <a:gd name="connsiteX6" fmla="*/ 4273050 w 4747902"/>
                <a:gd name="connsiteY6" fmla="*/ 426436 h 921198"/>
                <a:gd name="connsiteX7" fmla="*/ 4190922 w 4747902"/>
                <a:gd name="connsiteY7" fmla="*/ 344308 h 921198"/>
                <a:gd name="connsiteX8" fmla="*/ 598846 w 4747902"/>
                <a:gd name="connsiteY8" fmla="*/ 344184 h 921198"/>
                <a:gd name="connsiteX9" fmla="*/ 482431 w 4747902"/>
                <a:gd name="connsiteY9" fmla="*/ 460599 h 921198"/>
                <a:gd name="connsiteX10" fmla="*/ 598846 w 4747902"/>
                <a:gd name="connsiteY10" fmla="*/ 577014 h 921198"/>
                <a:gd name="connsiteX11" fmla="*/ 715261 w 4747902"/>
                <a:gd name="connsiteY11" fmla="*/ 460599 h 921198"/>
                <a:gd name="connsiteX12" fmla="*/ 598846 w 4747902"/>
                <a:gd name="connsiteY12" fmla="*/ 344184 h 921198"/>
                <a:gd name="connsiteX13" fmla="*/ 244643 w 4747902"/>
                <a:gd name="connsiteY13" fmla="*/ 0 h 921198"/>
                <a:gd name="connsiteX14" fmla="*/ 4503259 w 4747902"/>
                <a:gd name="connsiteY14" fmla="*/ 0 h 921198"/>
                <a:gd name="connsiteX15" fmla="*/ 4747902 w 4747902"/>
                <a:gd name="connsiteY15" fmla="*/ 244643 h 921198"/>
                <a:gd name="connsiteX16" fmla="*/ 4747902 w 4747902"/>
                <a:gd name="connsiteY16" fmla="*/ 596900 h 921198"/>
                <a:gd name="connsiteX17" fmla="*/ 503723 w 4747902"/>
                <a:gd name="connsiteY17" fmla="*/ 596900 h 921198"/>
                <a:gd name="connsiteX18" fmla="*/ 259080 w 4747902"/>
                <a:gd name="connsiteY18" fmla="*/ 841543 h 921198"/>
                <a:gd name="connsiteX19" fmla="*/ 259080 w 4747902"/>
                <a:gd name="connsiteY19" fmla="*/ 921198 h 921198"/>
                <a:gd name="connsiteX20" fmla="*/ 244643 w 4747902"/>
                <a:gd name="connsiteY20" fmla="*/ 921198 h 921198"/>
                <a:gd name="connsiteX21" fmla="*/ 0 w 4747902"/>
                <a:gd name="connsiteY21" fmla="*/ 676555 h 921198"/>
                <a:gd name="connsiteX22" fmla="*/ 0 w 4747902"/>
                <a:gd name="connsiteY22" fmla="*/ 244643 h 921198"/>
                <a:gd name="connsiteX23" fmla="*/ 244643 w 4747902"/>
                <a:gd name="connsiteY23" fmla="*/ 0 h 92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747902" h="921198">
                  <a:moveTo>
                    <a:pt x="2220137" y="344308"/>
                  </a:moveTo>
                  <a:cubicBezTo>
                    <a:pt x="2174778" y="344308"/>
                    <a:pt x="2138009" y="381077"/>
                    <a:pt x="2138009" y="426436"/>
                  </a:cubicBezTo>
                  <a:lnTo>
                    <a:pt x="2138009" y="494764"/>
                  </a:lnTo>
                  <a:cubicBezTo>
                    <a:pt x="2138009" y="540123"/>
                    <a:pt x="2174778" y="576893"/>
                    <a:pt x="2220137" y="576893"/>
                  </a:cubicBezTo>
                  <a:lnTo>
                    <a:pt x="4190922" y="576893"/>
                  </a:lnTo>
                  <a:cubicBezTo>
                    <a:pt x="4236280" y="576893"/>
                    <a:pt x="4273050" y="540123"/>
                    <a:pt x="4273050" y="494764"/>
                  </a:cubicBezTo>
                  <a:lnTo>
                    <a:pt x="4273050" y="426436"/>
                  </a:lnTo>
                  <a:cubicBezTo>
                    <a:pt x="4273050" y="381077"/>
                    <a:pt x="4236280" y="344308"/>
                    <a:pt x="4190922" y="344308"/>
                  </a:cubicBezTo>
                  <a:close/>
                  <a:moveTo>
                    <a:pt x="598846" y="344184"/>
                  </a:moveTo>
                  <a:cubicBezTo>
                    <a:pt x="534553" y="344184"/>
                    <a:pt x="482431" y="396306"/>
                    <a:pt x="482431" y="460599"/>
                  </a:cubicBezTo>
                  <a:cubicBezTo>
                    <a:pt x="482431" y="524893"/>
                    <a:pt x="534553" y="577014"/>
                    <a:pt x="598846" y="577014"/>
                  </a:cubicBezTo>
                  <a:cubicBezTo>
                    <a:pt x="663139" y="577014"/>
                    <a:pt x="715261" y="524893"/>
                    <a:pt x="715261" y="460599"/>
                  </a:cubicBezTo>
                  <a:cubicBezTo>
                    <a:pt x="715261" y="396306"/>
                    <a:pt x="663139" y="344184"/>
                    <a:pt x="598846" y="344184"/>
                  </a:cubicBezTo>
                  <a:close/>
                  <a:moveTo>
                    <a:pt x="244643" y="0"/>
                  </a:moveTo>
                  <a:lnTo>
                    <a:pt x="4503259" y="0"/>
                  </a:lnTo>
                  <a:cubicBezTo>
                    <a:pt x="4638372" y="0"/>
                    <a:pt x="4747902" y="109530"/>
                    <a:pt x="4747902" y="244643"/>
                  </a:cubicBezTo>
                  <a:lnTo>
                    <a:pt x="4747902" y="596900"/>
                  </a:lnTo>
                  <a:lnTo>
                    <a:pt x="503723" y="596900"/>
                  </a:lnTo>
                  <a:cubicBezTo>
                    <a:pt x="368610" y="596900"/>
                    <a:pt x="259080" y="706430"/>
                    <a:pt x="259080" y="841543"/>
                  </a:cubicBezTo>
                  <a:lnTo>
                    <a:pt x="259080" y="921198"/>
                  </a:lnTo>
                  <a:lnTo>
                    <a:pt x="244643" y="921198"/>
                  </a:lnTo>
                  <a:cubicBezTo>
                    <a:pt x="109530" y="921198"/>
                    <a:pt x="0" y="811668"/>
                    <a:pt x="0" y="676555"/>
                  </a:cubicBezTo>
                  <a:lnTo>
                    <a:pt x="0" y="244643"/>
                  </a:lnTo>
                  <a:cubicBezTo>
                    <a:pt x="0" y="109530"/>
                    <a:pt x="109530" y="0"/>
                    <a:pt x="244643" y="0"/>
                  </a:cubicBezTo>
                  <a:close/>
                </a:path>
              </a:pathLst>
            </a:cu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822960" rtlCol="0" anchor="ctr">
              <a:noAutofit/>
            </a:bodyPr>
            <a:lstStyle/>
            <a:p>
              <a:endParaRPr lang="en-US" sz="3600" b="1" dirty="0">
                <a:solidFill>
                  <a:srgbClr val="272848"/>
                </a:solidFill>
                <a:latin typeface="Arial" panose="020B0604020202020204" pitchFamily="34" charset="0"/>
                <a:cs typeface="Arial" panose="020B0604020202020204" pitchFamily="34" charset="0"/>
              </a:endParaRPr>
            </a:p>
          </p:txBody>
        </p:sp>
      </p:grpSp>
      <p:sp>
        <p:nvSpPr>
          <p:cNvPr id="54" name="Rectangle 53"/>
          <p:cNvSpPr/>
          <p:nvPr/>
        </p:nvSpPr>
        <p:spPr>
          <a:xfrm>
            <a:off x="1288385" y="742950"/>
            <a:ext cx="3217948" cy="369332"/>
          </a:xfrm>
          <a:prstGeom prst="rect">
            <a:avLst/>
          </a:prstGeom>
        </p:spPr>
        <p:txBody>
          <a:bodyPr wrap="none">
            <a:spAutoFit/>
          </a:bodyPr>
          <a:lstStyle/>
          <a:p>
            <a:r>
              <a:rPr lang="ja-JP" altLang="en-US" dirty="0" smtClean="0"/>
              <a:t>オンプレミス・ウェブセキュリティ</a:t>
            </a:r>
            <a:endParaRPr lang="en-US" dirty="0"/>
          </a:p>
        </p:txBody>
      </p:sp>
      <p:sp>
        <p:nvSpPr>
          <p:cNvPr id="55" name="Rectangle 54"/>
          <p:cNvSpPr/>
          <p:nvPr/>
        </p:nvSpPr>
        <p:spPr>
          <a:xfrm>
            <a:off x="5486404" y="742950"/>
            <a:ext cx="2793253" cy="369332"/>
          </a:xfrm>
          <a:prstGeom prst="rect">
            <a:avLst/>
          </a:prstGeom>
        </p:spPr>
        <p:txBody>
          <a:bodyPr wrap="none">
            <a:spAutoFit/>
          </a:bodyPr>
          <a:lstStyle/>
          <a:p>
            <a:r>
              <a:rPr lang="ja-JP" altLang="en-US" dirty="0" smtClean="0"/>
              <a:t>クラウド・ウェブセキュリティ</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2504782986"/>
              </p:ext>
            </p:extLst>
          </p:nvPr>
        </p:nvGraphicFramePr>
        <p:xfrm>
          <a:off x="276204" y="2114552"/>
          <a:ext cx="8334396" cy="2499360"/>
        </p:xfrm>
        <a:graphic>
          <a:graphicData uri="http://schemas.openxmlformats.org/drawingml/2006/table">
            <a:tbl>
              <a:tblPr firstRow="1" bandRow="1">
                <a:tableStyleId>{2D5ABB26-0587-4C30-8999-92F81FD0307C}</a:tableStyleId>
              </a:tblPr>
              <a:tblGrid>
                <a:gridCol w="1247796"/>
                <a:gridCol w="3672395"/>
                <a:gridCol w="3414205"/>
              </a:tblGrid>
              <a:tr h="518160">
                <a:tc>
                  <a:txBody>
                    <a:bodyPr/>
                    <a:lstStyle/>
                    <a:p>
                      <a:r>
                        <a:rPr lang="ja-JP" altLang="en-US" sz="1400" dirty="0" smtClean="0">
                          <a:solidFill>
                            <a:srgbClr val="FFFFFF"/>
                          </a:solidFill>
                        </a:rPr>
                        <a:t>実装</a:t>
                      </a:r>
                      <a:endParaRPr lang="en-US" sz="1400" dirty="0">
                        <a:solidFill>
                          <a:srgbClr val="FFFFFF"/>
                        </a:solidFill>
                      </a:endParaRPr>
                    </a:p>
                  </a:txBody>
                  <a:tcPr>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004080"/>
                    </a:solidFill>
                  </a:tcPr>
                </a:tc>
                <a:tc>
                  <a:txBody>
                    <a:bodyPr/>
                    <a:lstStyle/>
                    <a:p>
                      <a:pPr marL="285750" indent="-285750" algn="l">
                        <a:buFont typeface="Arial"/>
                        <a:buChar char="•"/>
                      </a:pPr>
                      <a:r>
                        <a:rPr lang="en-US" altLang="ja-JP" sz="1400" dirty="0" smtClean="0">
                          <a:solidFill>
                            <a:schemeClr val="tx1">
                              <a:lumMod val="50000"/>
                            </a:schemeClr>
                          </a:solidFill>
                        </a:rPr>
                        <a:t>DC/</a:t>
                      </a:r>
                      <a:r>
                        <a:rPr lang="ja-JP" altLang="en-US" sz="1400" dirty="0" smtClean="0">
                          <a:solidFill>
                            <a:schemeClr val="tx1">
                              <a:lumMod val="50000"/>
                            </a:schemeClr>
                          </a:solidFill>
                        </a:rPr>
                        <a:t>本社</a:t>
                      </a:r>
                      <a:r>
                        <a:rPr lang="en-US" altLang="ja-JP" sz="1400" dirty="0" smtClean="0">
                          <a:solidFill>
                            <a:schemeClr val="tx1">
                              <a:lumMod val="50000"/>
                            </a:schemeClr>
                          </a:solidFill>
                        </a:rPr>
                        <a:t>/</a:t>
                      </a:r>
                      <a:r>
                        <a:rPr lang="ja-JP" altLang="en-US" sz="1400" dirty="0" smtClean="0">
                          <a:solidFill>
                            <a:schemeClr val="tx1">
                              <a:lumMod val="50000"/>
                            </a:schemeClr>
                          </a:solidFill>
                        </a:rPr>
                        <a:t>支社</a:t>
                      </a:r>
                      <a:endParaRPr lang="en-US" altLang="ja-JP" sz="1400" dirty="0" smtClean="0">
                        <a:solidFill>
                          <a:schemeClr val="tx1">
                            <a:lumMod val="50000"/>
                          </a:schemeClr>
                        </a:solidFill>
                      </a:endParaRPr>
                    </a:p>
                    <a:p>
                      <a:pPr marL="285750" indent="-285750" algn="l">
                        <a:buFont typeface="Arial"/>
                        <a:buChar char="•"/>
                      </a:pPr>
                      <a:r>
                        <a:rPr lang="ja-JP" altLang="en-US" sz="1400" baseline="0" dirty="0" smtClean="0">
                          <a:solidFill>
                            <a:schemeClr val="tx1">
                              <a:lumMod val="50000"/>
                            </a:schemeClr>
                          </a:solidFill>
                        </a:rPr>
                        <a:t>クラウドウェブセキュリティ対象外範囲</a:t>
                      </a:r>
                      <a:endParaRPr lang="en-US" sz="1400" baseline="0" dirty="0" smtClean="0">
                        <a:solidFill>
                          <a:schemeClr val="tx1">
                            <a:lumMod val="50000"/>
                          </a:schemeClr>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CCCCCC"/>
                    </a:solidFill>
                  </a:tcPr>
                </a:tc>
                <a:tc>
                  <a:txBody>
                    <a:bodyPr/>
                    <a:lstStyle/>
                    <a:p>
                      <a:pPr marL="285750" indent="-285750" algn="l">
                        <a:buFont typeface="Arial"/>
                        <a:buChar char="•"/>
                      </a:pPr>
                      <a:r>
                        <a:rPr lang="ja-JP" altLang="en-US" sz="1400" dirty="0" smtClean="0">
                          <a:solidFill>
                            <a:schemeClr val="tx1">
                              <a:lumMod val="50000"/>
                            </a:schemeClr>
                          </a:solidFill>
                        </a:rPr>
                        <a:t>モバイルユーザ</a:t>
                      </a:r>
                      <a:endParaRPr lang="en-US" altLang="ja-JP" sz="1400" dirty="0" smtClean="0">
                        <a:solidFill>
                          <a:schemeClr val="tx1">
                            <a:lumMod val="50000"/>
                          </a:schemeClr>
                        </a:solidFill>
                      </a:endParaRPr>
                    </a:p>
                    <a:p>
                      <a:pPr marL="285750" indent="-285750" algn="l">
                        <a:buFont typeface="Arial"/>
                        <a:buChar char="•"/>
                      </a:pPr>
                      <a:r>
                        <a:rPr lang="ja-JP" altLang="en-US" sz="1400" dirty="0" smtClean="0">
                          <a:solidFill>
                            <a:schemeClr val="tx1">
                              <a:lumMod val="50000"/>
                            </a:schemeClr>
                          </a:solidFill>
                        </a:rPr>
                        <a:t>クラウドウェブセキュリティ対象範囲</a:t>
                      </a:r>
                      <a:endParaRPr lang="en-US" sz="1400" dirty="0" smtClean="0">
                        <a:solidFill>
                          <a:schemeClr val="tx1">
                            <a:lumMod val="50000"/>
                          </a:schemeClr>
                        </a:solidFill>
                      </a:endParaRPr>
                    </a:p>
                  </a:txBody>
                  <a:tcPr>
                    <a:lnL w="12700" cap="flat" cmpd="sng" algn="ctr">
                      <a:solidFill>
                        <a:srgbClr val="000000"/>
                      </a:solidFill>
                      <a:prstDash val="solid"/>
                      <a:round/>
                      <a:headEnd type="none" w="med" len="med"/>
                      <a:tailEnd type="none" w="med" len="med"/>
                    </a:lnL>
                    <a:lnB w="12700" cap="flat" cmpd="sng" algn="ctr">
                      <a:solidFill>
                        <a:srgbClr val="000000"/>
                      </a:solidFill>
                      <a:prstDash val="solid"/>
                      <a:round/>
                      <a:headEnd type="none" w="med" len="med"/>
                      <a:tailEnd type="none" w="med" len="med"/>
                    </a:lnB>
                    <a:solidFill>
                      <a:srgbClr val="CCCCCC"/>
                    </a:solidFill>
                  </a:tcPr>
                </a:tc>
              </a:tr>
              <a:tr h="731520">
                <a:tc>
                  <a:txBody>
                    <a:bodyPr/>
                    <a:lstStyle/>
                    <a:p>
                      <a:r>
                        <a:rPr lang="ja-JP" altLang="en-US" sz="1400" dirty="0" smtClean="0">
                          <a:solidFill>
                            <a:srgbClr val="FFFFFF"/>
                          </a:solidFill>
                        </a:rPr>
                        <a:t>メリット</a:t>
                      </a:r>
                      <a:endParaRPr lang="en-US" sz="1400" dirty="0">
                        <a:solidFill>
                          <a:srgbClr val="FFFFFF"/>
                        </a:solidFill>
                      </a:endParaRPr>
                    </a:p>
                  </a:txBody>
                  <a:tcP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4080"/>
                    </a:solidFill>
                  </a:tcPr>
                </a:tc>
                <a:tc>
                  <a:txBody>
                    <a:bodyPr/>
                    <a:lstStyle/>
                    <a:p>
                      <a:pPr marL="285750" indent="-285750" algn="l">
                        <a:buFont typeface="Arial"/>
                        <a:buChar char="•"/>
                      </a:pPr>
                      <a:r>
                        <a:rPr lang="ja-JP" altLang="en-US" sz="1400" dirty="0" smtClean="0">
                          <a:solidFill>
                            <a:schemeClr val="tx1">
                              <a:lumMod val="50000"/>
                            </a:schemeClr>
                          </a:solidFill>
                        </a:rPr>
                        <a:t>チューニングやデザイン変更によるパフォーマンスの増加</a:t>
                      </a:r>
                      <a:endParaRPr lang="en-US" sz="1400" dirty="0" smtClean="0">
                        <a:solidFill>
                          <a:schemeClr val="tx1">
                            <a:lumMod val="50000"/>
                          </a:schemeClr>
                        </a:solidFill>
                      </a:endParaRPr>
                    </a:p>
                    <a:p>
                      <a:pPr marL="285750" indent="-285750" algn="l">
                        <a:buFont typeface="Arial"/>
                        <a:buChar char="•"/>
                      </a:pPr>
                      <a:r>
                        <a:rPr lang="ja-JP" altLang="en-US" sz="1400" baseline="0" dirty="0" smtClean="0">
                          <a:solidFill>
                            <a:schemeClr val="tx1">
                              <a:lumMod val="50000"/>
                            </a:schemeClr>
                          </a:solidFill>
                        </a:rPr>
                        <a:t>ローカルでのマネージメント</a:t>
                      </a:r>
                      <a:r>
                        <a:rPr lang="en-US" altLang="ja-JP" sz="1400" baseline="0" dirty="0" smtClean="0">
                          <a:solidFill>
                            <a:schemeClr val="tx1">
                              <a:lumMod val="50000"/>
                            </a:schemeClr>
                          </a:solidFill>
                        </a:rPr>
                        <a:t>&amp;</a:t>
                      </a:r>
                      <a:r>
                        <a:rPr lang="ja-JP" altLang="en-US" sz="1400" baseline="0" dirty="0" smtClean="0">
                          <a:solidFill>
                            <a:schemeClr val="tx1">
                              <a:lumMod val="50000"/>
                            </a:schemeClr>
                          </a:solidFill>
                        </a:rPr>
                        <a:t>コントロール</a:t>
                      </a:r>
                      <a:endParaRPr lang="en-US" sz="1400" baseline="0" dirty="0" smtClean="0">
                        <a:solidFill>
                          <a:schemeClr val="tx1">
                            <a:lumMod val="50000"/>
                          </a:schemeClr>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CC"/>
                    </a:solidFill>
                  </a:tcPr>
                </a:tc>
                <a:tc>
                  <a:txBody>
                    <a:bodyPr/>
                    <a:lstStyle/>
                    <a:p>
                      <a:pPr marL="285750" indent="-285750" algn="l">
                        <a:buFont typeface="Arial"/>
                        <a:buChar char="•"/>
                      </a:pPr>
                      <a:r>
                        <a:rPr lang="ja-JP" altLang="en-US" sz="1400" dirty="0" smtClean="0">
                          <a:solidFill>
                            <a:schemeClr val="tx1">
                              <a:lumMod val="50000"/>
                            </a:schemeClr>
                          </a:solidFill>
                        </a:rPr>
                        <a:t>低い</a:t>
                      </a:r>
                      <a:r>
                        <a:rPr lang="en-US" sz="1400" baseline="0" dirty="0" smtClean="0">
                          <a:solidFill>
                            <a:schemeClr val="tx1">
                              <a:lumMod val="50000"/>
                            </a:schemeClr>
                          </a:solidFill>
                        </a:rPr>
                        <a:t> CAPEX &amp; OPEX</a:t>
                      </a:r>
                    </a:p>
                    <a:p>
                      <a:pPr marL="285750" indent="-285750" algn="l">
                        <a:buFont typeface="Arial"/>
                        <a:buChar char="•"/>
                      </a:pPr>
                      <a:r>
                        <a:rPr lang="ja-JP" altLang="en-US" sz="1400" baseline="0" dirty="0" smtClean="0">
                          <a:solidFill>
                            <a:schemeClr val="tx1">
                              <a:lumMod val="50000"/>
                            </a:schemeClr>
                          </a:solidFill>
                        </a:rPr>
                        <a:t>マネージメント</a:t>
                      </a:r>
                      <a:r>
                        <a:rPr lang="en-US" altLang="ja-JP" sz="1400" baseline="0" dirty="0" smtClean="0">
                          <a:solidFill>
                            <a:schemeClr val="tx1">
                              <a:lumMod val="50000"/>
                            </a:schemeClr>
                          </a:solidFill>
                        </a:rPr>
                        <a:t>&amp;</a:t>
                      </a:r>
                      <a:r>
                        <a:rPr lang="ja-JP" altLang="en-US" sz="1400" baseline="0" dirty="0" smtClean="0">
                          <a:solidFill>
                            <a:schemeClr val="tx1">
                              <a:lumMod val="50000"/>
                            </a:schemeClr>
                          </a:solidFill>
                        </a:rPr>
                        <a:t>コントロールはクラウドサービスとして提供</a:t>
                      </a:r>
                      <a:endParaRPr lang="en-US" sz="1400" baseline="0" dirty="0" smtClean="0">
                        <a:solidFill>
                          <a:schemeClr val="tx1">
                            <a:lumMod val="50000"/>
                          </a:schemeClr>
                        </a:solidFill>
                      </a:endParaRPr>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CC"/>
                    </a:solidFill>
                  </a:tcPr>
                </a:tc>
              </a:tr>
              <a:tr h="518160">
                <a:tc>
                  <a:txBody>
                    <a:bodyPr/>
                    <a:lstStyle/>
                    <a:p>
                      <a:r>
                        <a:rPr lang="ja-JP" altLang="en-US" sz="1400" dirty="0" smtClean="0">
                          <a:solidFill>
                            <a:srgbClr val="FFFFFF"/>
                          </a:solidFill>
                        </a:rPr>
                        <a:t>考慮点</a:t>
                      </a:r>
                      <a:endParaRPr lang="en-US" sz="1400" dirty="0">
                        <a:solidFill>
                          <a:srgbClr val="FFFFFF"/>
                        </a:solidFill>
                      </a:endParaRPr>
                    </a:p>
                  </a:txBody>
                  <a:tcP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4080"/>
                    </a:solidFill>
                  </a:tcPr>
                </a:tc>
                <a:tc>
                  <a:txBody>
                    <a:bodyPr/>
                    <a:lstStyle/>
                    <a:p>
                      <a:pPr marL="285750" indent="-285750" algn="l">
                        <a:buFont typeface="Arial"/>
                        <a:buChar char="•"/>
                      </a:pPr>
                      <a:r>
                        <a:rPr lang="ja-JP" altLang="en-US" sz="1400" dirty="0" smtClean="0">
                          <a:solidFill>
                            <a:schemeClr val="tx1">
                              <a:lumMod val="50000"/>
                            </a:schemeClr>
                          </a:solidFill>
                        </a:rPr>
                        <a:t>コスト</a:t>
                      </a:r>
                      <a:r>
                        <a:rPr lang="en-US" sz="1400" dirty="0" smtClean="0">
                          <a:solidFill>
                            <a:schemeClr val="tx1">
                              <a:lumMod val="50000"/>
                            </a:schemeClr>
                          </a:solidFill>
                        </a:rPr>
                        <a:t> </a:t>
                      </a:r>
                    </a:p>
                    <a:p>
                      <a:pPr marL="285750" indent="-285750" algn="l">
                        <a:buFont typeface="Arial"/>
                        <a:buChar char="•"/>
                      </a:pPr>
                      <a:r>
                        <a:rPr lang="ja-JP" altLang="en-US" sz="1400" dirty="0" smtClean="0">
                          <a:solidFill>
                            <a:schemeClr val="tx1">
                              <a:lumMod val="50000"/>
                            </a:schemeClr>
                          </a:solidFill>
                        </a:rPr>
                        <a:t>自由なメンテナンス</a:t>
                      </a:r>
                      <a:r>
                        <a:rPr lang="en-US" altLang="ja-JP" sz="1400" dirty="0" smtClean="0">
                          <a:solidFill>
                            <a:schemeClr val="tx1">
                              <a:lumMod val="50000"/>
                            </a:schemeClr>
                          </a:solidFill>
                        </a:rPr>
                        <a:t>&amp;</a:t>
                      </a:r>
                      <a:r>
                        <a:rPr lang="ja-JP" altLang="en-US" sz="1400" dirty="0" smtClean="0">
                          <a:solidFill>
                            <a:schemeClr val="tx1">
                              <a:lumMod val="50000"/>
                            </a:schemeClr>
                          </a:solidFill>
                        </a:rPr>
                        <a:t>アップグレード</a:t>
                      </a:r>
                      <a:endParaRPr lang="en-US" sz="1400" dirty="0" smtClean="0">
                        <a:solidFill>
                          <a:schemeClr val="tx1">
                            <a:lumMod val="50000"/>
                          </a:schemeClr>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CC"/>
                    </a:solidFill>
                  </a:tcPr>
                </a:tc>
                <a:tc>
                  <a:txBody>
                    <a:bodyPr/>
                    <a:lstStyle/>
                    <a:p>
                      <a:pPr marL="285750" indent="-285750" algn="l">
                        <a:buFont typeface="Arial"/>
                        <a:buChar char="•"/>
                      </a:pPr>
                      <a:r>
                        <a:rPr lang="ja-JP" altLang="en-US" sz="1400" dirty="0" smtClean="0">
                          <a:solidFill>
                            <a:schemeClr val="tx1">
                              <a:lumMod val="50000"/>
                            </a:schemeClr>
                          </a:solidFill>
                        </a:rPr>
                        <a:t>世界どこでも標準化</a:t>
                      </a:r>
                      <a:endParaRPr lang="en-US" sz="1400" dirty="0" smtClean="0">
                        <a:solidFill>
                          <a:schemeClr val="tx1">
                            <a:lumMod val="50000"/>
                          </a:schemeClr>
                        </a:solidFill>
                      </a:endParaRPr>
                    </a:p>
                    <a:p>
                      <a:pPr marL="285750" indent="-285750" algn="l">
                        <a:buFont typeface="Arial"/>
                        <a:buChar char="•"/>
                      </a:pPr>
                      <a:r>
                        <a:rPr lang="ja-JP" altLang="en-US" sz="1400" dirty="0" smtClean="0">
                          <a:solidFill>
                            <a:schemeClr val="tx1">
                              <a:lumMod val="50000"/>
                            </a:schemeClr>
                          </a:solidFill>
                        </a:rPr>
                        <a:t>クラウドへアクセスする帯域</a:t>
                      </a:r>
                      <a:endParaRPr lang="en-US" sz="1400" dirty="0" smtClean="0">
                        <a:solidFill>
                          <a:schemeClr val="tx1">
                            <a:lumMod val="50000"/>
                          </a:schemeClr>
                        </a:solidFill>
                      </a:endParaRPr>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CCCC"/>
                    </a:solidFill>
                  </a:tcPr>
                </a:tc>
              </a:tr>
              <a:tr h="731520">
                <a:tc>
                  <a:txBody>
                    <a:bodyPr/>
                    <a:lstStyle/>
                    <a:p>
                      <a:r>
                        <a:rPr lang="en-US" sz="1400" dirty="0" smtClean="0">
                          <a:solidFill>
                            <a:srgbClr val="FFFFFF"/>
                          </a:solidFill>
                        </a:rPr>
                        <a:t>Cisco’s Solution</a:t>
                      </a:r>
                      <a:endParaRPr lang="en-US" sz="1400" dirty="0">
                        <a:solidFill>
                          <a:srgbClr val="FFFFFF"/>
                        </a:solidFill>
                      </a:endParaRPr>
                    </a:p>
                  </a:txBody>
                  <a:tcP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004080"/>
                    </a:solidFill>
                  </a:tcPr>
                </a:tc>
                <a:tc>
                  <a:txBody>
                    <a:bodyPr/>
                    <a:lstStyle/>
                    <a:p>
                      <a:pPr marL="285750" indent="-285750" algn="l">
                        <a:buFont typeface="Arial"/>
                        <a:buChar char="•"/>
                      </a:pPr>
                      <a:r>
                        <a:rPr lang="en-US" sz="1400" dirty="0" smtClean="0">
                          <a:solidFill>
                            <a:schemeClr val="tx1">
                              <a:lumMod val="50000"/>
                            </a:schemeClr>
                          </a:solidFill>
                        </a:rPr>
                        <a:t>Web</a:t>
                      </a:r>
                      <a:r>
                        <a:rPr lang="en-US" sz="1400" baseline="0" dirty="0" smtClean="0">
                          <a:solidFill>
                            <a:schemeClr val="tx1">
                              <a:lumMod val="50000"/>
                            </a:schemeClr>
                          </a:solidFill>
                        </a:rPr>
                        <a:t> Security Appliance (WSA)</a:t>
                      </a:r>
                    </a:p>
                    <a:p>
                      <a:pPr marL="285750" indent="-285750" algn="l">
                        <a:buFont typeface="Arial"/>
                        <a:buChar char="•"/>
                      </a:pPr>
                      <a:r>
                        <a:rPr lang="en-US" sz="1400" baseline="0" dirty="0" smtClean="0">
                          <a:solidFill>
                            <a:schemeClr val="tx1">
                              <a:lumMod val="50000"/>
                            </a:schemeClr>
                          </a:solidFill>
                        </a:rPr>
                        <a:t>Web Security Virtual Appliance (</a:t>
                      </a:r>
                      <a:r>
                        <a:rPr lang="en-US" sz="1400" baseline="0" dirty="0" err="1" smtClean="0">
                          <a:solidFill>
                            <a:schemeClr val="tx1">
                              <a:lumMod val="50000"/>
                            </a:schemeClr>
                          </a:solidFill>
                        </a:rPr>
                        <a:t>vWSA</a:t>
                      </a:r>
                      <a:r>
                        <a:rPr lang="en-US" sz="1400" baseline="0" dirty="0" smtClean="0">
                          <a:solidFill>
                            <a:schemeClr val="tx1">
                              <a:lumMod val="50000"/>
                            </a:schemeClr>
                          </a:solidFill>
                        </a:rPr>
                        <a:t>)</a:t>
                      </a:r>
                    </a:p>
                    <a:p>
                      <a:pPr marL="285750" indent="-285750" algn="l">
                        <a:buFont typeface="Arial"/>
                        <a:buChar char="•"/>
                      </a:pPr>
                      <a:r>
                        <a:rPr lang="en-US" sz="1400" baseline="0" dirty="0" smtClean="0">
                          <a:solidFill>
                            <a:schemeClr val="tx1">
                              <a:lumMod val="50000"/>
                            </a:schemeClr>
                          </a:solidFill>
                        </a:rPr>
                        <a:t>Security Management Appliance (SMA)</a:t>
                      </a:r>
                      <a:endParaRPr lang="en-US" sz="1400" dirty="0">
                        <a:solidFill>
                          <a:schemeClr val="tx1">
                            <a:lumMod val="50000"/>
                          </a:schemeClr>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solidFill>
                      <a:srgbClr val="CCCCCC"/>
                    </a:solidFill>
                  </a:tcPr>
                </a:tc>
                <a:tc>
                  <a:txBody>
                    <a:bodyPr/>
                    <a:lstStyle/>
                    <a:p>
                      <a:pPr marL="285750" indent="-285750" algn="l">
                        <a:buFont typeface="Arial"/>
                        <a:buChar char="•"/>
                      </a:pPr>
                      <a:r>
                        <a:rPr lang="en-US" sz="1400" dirty="0" smtClean="0">
                          <a:solidFill>
                            <a:schemeClr val="tx1">
                              <a:lumMod val="50000"/>
                            </a:schemeClr>
                          </a:solidFill>
                        </a:rPr>
                        <a:t>Cloud Web Security (CWS)</a:t>
                      </a:r>
                      <a:endParaRPr lang="en-US" sz="1400" dirty="0">
                        <a:solidFill>
                          <a:schemeClr val="tx1">
                            <a:lumMod val="50000"/>
                          </a:schemeClr>
                        </a:solidFill>
                      </a:endParaRPr>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solidFill>
                      <a:srgbClr val="CCCCCC"/>
                    </a:solidFill>
                  </a:tcPr>
                </a:tc>
              </a:tr>
            </a:tbl>
          </a:graphicData>
        </a:graphic>
      </p:graphicFrame>
    </p:spTree>
    <p:extLst>
      <p:ext uri="{BB962C8B-B14F-4D97-AF65-F5344CB8AC3E}">
        <p14:creationId xmlns:p14="http://schemas.microsoft.com/office/powerpoint/2010/main" val="47162557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1286633" y="1610316"/>
            <a:ext cx="7475244" cy="2896948"/>
          </a:xfrm>
        </p:spPr>
        <p:txBody>
          <a:bodyPr/>
          <a:lstStyle/>
          <a:p>
            <a:pPr>
              <a:spcBef>
                <a:spcPts val="600"/>
              </a:spcBef>
            </a:pPr>
            <a:r>
              <a:rPr lang="en-US" dirty="0"/>
              <a:t>Hybrid Web Security</a:t>
            </a:r>
          </a:p>
          <a:p>
            <a:pPr>
              <a:spcBef>
                <a:spcPts val="600"/>
              </a:spcBef>
            </a:pPr>
            <a:r>
              <a:rPr lang="en-US" dirty="0" smtClean="0"/>
              <a:t>Infrastructure</a:t>
            </a:r>
            <a:endParaRPr lang="en-US" dirty="0"/>
          </a:p>
          <a:p>
            <a:pPr>
              <a:spcBef>
                <a:spcPts val="600"/>
              </a:spcBef>
            </a:pPr>
            <a:r>
              <a:rPr lang="en-US" dirty="0" smtClean="0"/>
              <a:t>Mobility</a:t>
            </a:r>
          </a:p>
          <a:p>
            <a:pPr>
              <a:spcBef>
                <a:spcPts val="600"/>
              </a:spcBef>
            </a:pPr>
            <a:r>
              <a:rPr lang="en-US" dirty="0" smtClean="0"/>
              <a:t>Office 365</a:t>
            </a:r>
          </a:p>
          <a:p>
            <a:pPr>
              <a:spcBef>
                <a:spcPts val="600"/>
              </a:spcBef>
            </a:pPr>
            <a:r>
              <a:rPr lang="en-US" altLang="ja-JP" dirty="0" smtClean="0"/>
              <a:t>Roadmap</a:t>
            </a:r>
            <a:endParaRPr lang="en-US" dirty="0" smtClean="0"/>
          </a:p>
          <a:p>
            <a:pPr>
              <a:spcBef>
                <a:spcPts val="600"/>
              </a:spcBef>
            </a:pPr>
            <a:endParaRPr lang="en-US" dirty="0" smtClean="0"/>
          </a:p>
          <a:p>
            <a:pPr>
              <a:spcBef>
                <a:spcPts val="600"/>
              </a:spcBef>
            </a:pPr>
            <a:endParaRPr lang="en-US" dirty="0" smtClean="0"/>
          </a:p>
        </p:txBody>
      </p:sp>
      <p:sp>
        <p:nvSpPr>
          <p:cNvPr id="3" name="Title 2"/>
          <p:cNvSpPr>
            <a:spLocks noGrp="1"/>
          </p:cNvSpPr>
          <p:nvPr>
            <p:ph type="ctrTitle"/>
          </p:nvPr>
        </p:nvSpPr>
        <p:spPr>
          <a:xfrm>
            <a:off x="287923" y="275180"/>
            <a:ext cx="7972248" cy="1496976"/>
          </a:xfrm>
        </p:spPr>
        <p:txBody>
          <a:bodyPr/>
          <a:lstStyle/>
          <a:p>
            <a:r>
              <a:rPr lang="en-US" dirty="0" smtClean="0"/>
              <a:t>CWS Agenda</a:t>
            </a:r>
            <a:endParaRPr lang="en-US" dirty="0"/>
          </a:p>
        </p:txBody>
      </p:sp>
      <p:pic>
        <p:nvPicPr>
          <p:cNvPr id="62" name="Picture 6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23234" y="2489490"/>
            <a:ext cx="360000" cy="327600"/>
          </a:xfrm>
          <a:prstGeom prst="rect">
            <a:avLst/>
          </a:prstGeom>
        </p:spPr>
      </p:pic>
      <p:grpSp>
        <p:nvGrpSpPr>
          <p:cNvPr id="5" name="Group 4"/>
          <p:cNvGrpSpPr/>
          <p:nvPr/>
        </p:nvGrpSpPr>
        <p:grpSpPr>
          <a:xfrm>
            <a:off x="724166" y="2087537"/>
            <a:ext cx="360000" cy="321924"/>
            <a:chOff x="732258" y="4096327"/>
            <a:chExt cx="360000" cy="321924"/>
          </a:xfrm>
        </p:grpSpPr>
        <p:sp>
          <p:nvSpPr>
            <p:cNvPr id="2" name="Rectangle 1"/>
            <p:cNvSpPr/>
            <p:nvPr/>
          </p:nvSpPr>
          <p:spPr>
            <a:xfrm>
              <a:off x="732258" y="4096327"/>
              <a:ext cx="360000" cy="32192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0" name="Picture 9"/>
            <p:cNvPicPr>
              <a:picLocks noChangeAspect="1"/>
            </p:cNvPicPr>
            <p:nvPr/>
          </p:nvPicPr>
          <p:blipFill>
            <a:blip r:embed="rId3" cstate="print">
              <a:biLevel thresh="25000"/>
              <a:extLst>
                <a:ext uri="{28A0092B-C50C-407E-A947-70E740481C1C}">
                  <a14:useLocalDpi xmlns:a14="http://schemas.microsoft.com/office/drawing/2010/main"/>
                </a:ext>
              </a:extLst>
            </a:blip>
            <a:stretch>
              <a:fillRect/>
            </a:stretch>
          </p:blipFill>
          <p:spPr>
            <a:xfrm>
              <a:off x="764338" y="4108642"/>
              <a:ext cx="300330" cy="300330"/>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3233" y="3316515"/>
            <a:ext cx="360000" cy="321924"/>
            <a:chOff x="723233" y="3867993"/>
            <a:chExt cx="360000" cy="321924"/>
          </a:xfrm>
        </p:grpSpPr>
        <p:sp>
          <p:nvSpPr>
            <p:cNvPr id="14" name="Rectangle 13"/>
            <p:cNvSpPr/>
            <p:nvPr/>
          </p:nvSpPr>
          <p:spPr>
            <a:xfrm>
              <a:off x="723233" y="3867993"/>
              <a:ext cx="360000" cy="32192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 name="Freeform 20"/>
            <p:cNvSpPr>
              <a:spLocks noChangeAspect="1" noEditPoints="1"/>
            </p:cNvSpPr>
            <p:nvPr/>
          </p:nvSpPr>
          <p:spPr bwMode="auto">
            <a:xfrm>
              <a:off x="747098" y="3895605"/>
              <a:ext cx="313288" cy="274320"/>
            </a:xfrm>
            <a:custGeom>
              <a:avLst/>
              <a:gdLst/>
              <a:ahLst/>
              <a:cxnLst>
                <a:cxn ang="0">
                  <a:pos x="139" y="218"/>
                </a:cxn>
                <a:cxn ang="0">
                  <a:pos x="185" y="230"/>
                </a:cxn>
                <a:cxn ang="0">
                  <a:pos x="189" y="232"/>
                </a:cxn>
                <a:cxn ang="0">
                  <a:pos x="216" y="256"/>
                </a:cxn>
                <a:cxn ang="0">
                  <a:pos x="223" y="251"/>
                </a:cxn>
                <a:cxn ang="0">
                  <a:pos x="221" y="240"/>
                </a:cxn>
                <a:cxn ang="0">
                  <a:pos x="248" y="207"/>
                </a:cxn>
                <a:cxn ang="0">
                  <a:pos x="248" y="199"/>
                </a:cxn>
                <a:cxn ang="0">
                  <a:pos x="241" y="12"/>
                </a:cxn>
                <a:cxn ang="0">
                  <a:pos x="241" y="0"/>
                </a:cxn>
                <a:cxn ang="0">
                  <a:pos x="136" y="173"/>
                </a:cxn>
                <a:cxn ang="0">
                  <a:pos x="38" y="355"/>
                </a:cxn>
                <a:cxn ang="0">
                  <a:pos x="52" y="347"/>
                </a:cxn>
                <a:cxn ang="0">
                  <a:pos x="139" y="218"/>
                </a:cxn>
                <a:cxn ang="0">
                  <a:pos x="188" y="149"/>
                </a:cxn>
                <a:cxn ang="0">
                  <a:pos x="318" y="148"/>
                </a:cxn>
                <a:cxn ang="0">
                  <a:pos x="329" y="128"/>
                </a:cxn>
                <a:cxn ang="0">
                  <a:pos x="180" y="128"/>
                </a:cxn>
                <a:cxn ang="0">
                  <a:pos x="188" y="149"/>
                </a:cxn>
                <a:cxn ang="0">
                  <a:pos x="122" y="235"/>
                </a:cxn>
                <a:cxn ang="0">
                  <a:pos x="201" y="362"/>
                </a:cxn>
                <a:cxn ang="0">
                  <a:pos x="213" y="342"/>
                </a:cxn>
                <a:cxn ang="0">
                  <a:pos x="142" y="233"/>
                </a:cxn>
                <a:cxn ang="0">
                  <a:pos x="122" y="235"/>
                </a:cxn>
                <a:cxn ang="0">
                  <a:pos x="274" y="319"/>
                </a:cxn>
                <a:cxn ang="0">
                  <a:pos x="286" y="268"/>
                </a:cxn>
                <a:cxn ang="0">
                  <a:pos x="277" y="263"/>
                </a:cxn>
                <a:cxn ang="0">
                  <a:pos x="254" y="272"/>
                </a:cxn>
                <a:cxn ang="0">
                  <a:pos x="229" y="261"/>
                </a:cxn>
                <a:cxn ang="0">
                  <a:pos x="222" y="266"/>
                </a:cxn>
                <a:cxn ang="0">
                  <a:pos x="232" y="319"/>
                </a:cxn>
                <a:cxn ang="0">
                  <a:pos x="139" y="406"/>
                </a:cxn>
                <a:cxn ang="0">
                  <a:pos x="63" y="367"/>
                </a:cxn>
                <a:cxn ang="0">
                  <a:pos x="50" y="375"/>
                </a:cxn>
                <a:cxn ang="0">
                  <a:pos x="151" y="426"/>
                </a:cxn>
                <a:cxn ang="0">
                  <a:pos x="254" y="371"/>
                </a:cxn>
                <a:cxn ang="0">
                  <a:pos x="455" y="375"/>
                </a:cxn>
                <a:cxn ang="0">
                  <a:pos x="443" y="369"/>
                </a:cxn>
                <a:cxn ang="0">
                  <a:pos x="274" y="319"/>
                </a:cxn>
                <a:cxn ang="0">
                  <a:pos x="369" y="173"/>
                </a:cxn>
                <a:cxn ang="0">
                  <a:pos x="266" y="0"/>
                </a:cxn>
                <a:cxn ang="0">
                  <a:pos x="266" y="12"/>
                </a:cxn>
                <a:cxn ang="0">
                  <a:pos x="260" y="199"/>
                </a:cxn>
                <a:cxn ang="0">
                  <a:pos x="260" y="207"/>
                </a:cxn>
                <a:cxn ang="0">
                  <a:pos x="287" y="240"/>
                </a:cxn>
                <a:cxn ang="0">
                  <a:pos x="285" y="252"/>
                </a:cxn>
                <a:cxn ang="0">
                  <a:pos x="292" y="256"/>
                </a:cxn>
                <a:cxn ang="0">
                  <a:pos x="369" y="217"/>
                </a:cxn>
                <a:cxn ang="0">
                  <a:pos x="455" y="347"/>
                </a:cxn>
                <a:cxn ang="0">
                  <a:pos x="469" y="355"/>
                </a:cxn>
                <a:cxn ang="0">
                  <a:pos x="369" y="173"/>
                </a:cxn>
                <a:cxn ang="0">
                  <a:pos x="297" y="342"/>
                </a:cxn>
                <a:cxn ang="0">
                  <a:pos x="307" y="362"/>
                </a:cxn>
                <a:cxn ang="0">
                  <a:pos x="388" y="234"/>
                </a:cxn>
                <a:cxn ang="0">
                  <a:pos x="366" y="232"/>
                </a:cxn>
                <a:cxn ang="0">
                  <a:pos x="297" y="342"/>
                </a:cxn>
              </a:cxnLst>
              <a:rect l="0" t="0" r="r" b="b"/>
              <a:pathLst>
                <a:path w="507" h="444">
                  <a:moveTo>
                    <a:pt x="139" y="218"/>
                  </a:moveTo>
                  <a:cubicBezTo>
                    <a:pt x="155" y="218"/>
                    <a:pt x="171" y="222"/>
                    <a:pt x="185" y="230"/>
                  </a:cubicBezTo>
                  <a:cubicBezTo>
                    <a:pt x="187" y="232"/>
                    <a:pt x="189" y="232"/>
                    <a:pt x="189" y="232"/>
                  </a:cubicBezTo>
                  <a:cubicBezTo>
                    <a:pt x="201" y="240"/>
                    <a:pt x="209" y="248"/>
                    <a:pt x="216" y="256"/>
                  </a:cubicBezTo>
                  <a:cubicBezTo>
                    <a:pt x="223" y="251"/>
                    <a:pt x="223" y="251"/>
                    <a:pt x="223" y="251"/>
                  </a:cubicBezTo>
                  <a:cubicBezTo>
                    <a:pt x="222" y="247"/>
                    <a:pt x="221" y="243"/>
                    <a:pt x="221" y="240"/>
                  </a:cubicBezTo>
                  <a:cubicBezTo>
                    <a:pt x="221" y="224"/>
                    <a:pt x="233" y="210"/>
                    <a:pt x="248" y="207"/>
                  </a:cubicBezTo>
                  <a:cubicBezTo>
                    <a:pt x="248" y="199"/>
                    <a:pt x="248" y="199"/>
                    <a:pt x="248" y="199"/>
                  </a:cubicBezTo>
                  <a:cubicBezTo>
                    <a:pt x="136" y="190"/>
                    <a:pt x="128" y="22"/>
                    <a:pt x="241" y="12"/>
                  </a:cubicBezTo>
                  <a:cubicBezTo>
                    <a:pt x="241" y="0"/>
                    <a:pt x="241" y="0"/>
                    <a:pt x="241" y="0"/>
                  </a:cubicBezTo>
                  <a:cubicBezTo>
                    <a:pt x="156" y="6"/>
                    <a:pt x="104" y="98"/>
                    <a:pt x="136" y="173"/>
                  </a:cubicBezTo>
                  <a:cubicBezTo>
                    <a:pt x="46" y="182"/>
                    <a:pt x="0" y="278"/>
                    <a:pt x="38" y="355"/>
                  </a:cubicBezTo>
                  <a:cubicBezTo>
                    <a:pt x="52" y="347"/>
                    <a:pt x="52" y="347"/>
                    <a:pt x="52" y="347"/>
                  </a:cubicBezTo>
                  <a:cubicBezTo>
                    <a:pt x="18" y="290"/>
                    <a:pt x="77" y="218"/>
                    <a:pt x="139" y="218"/>
                  </a:cubicBezTo>
                  <a:close/>
                  <a:moveTo>
                    <a:pt x="188" y="149"/>
                  </a:moveTo>
                  <a:cubicBezTo>
                    <a:pt x="227" y="118"/>
                    <a:pt x="280" y="118"/>
                    <a:pt x="318" y="148"/>
                  </a:cubicBezTo>
                  <a:cubicBezTo>
                    <a:pt x="323" y="142"/>
                    <a:pt x="327" y="136"/>
                    <a:pt x="329" y="128"/>
                  </a:cubicBezTo>
                  <a:cubicBezTo>
                    <a:pt x="283" y="96"/>
                    <a:pt x="225" y="96"/>
                    <a:pt x="180" y="128"/>
                  </a:cubicBezTo>
                  <a:cubicBezTo>
                    <a:pt x="182" y="139"/>
                    <a:pt x="184" y="143"/>
                    <a:pt x="188" y="149"/>
                  </a:cubicBezTo>
                  <a:close/>
                  <a:moveTo>
                    <a:pt x="122" y="235"/>
                  </a:moveTo>
                  <a:cubicBezTo>
                    <a:pt x="120" y="289"/>
                    <a:pt x="150" y="340"/>
                    <a:pt x="201" y="362"/>
                  </a:cubicBezTo>
                  <a:cubicBezTo>
                    <a:pt x="205" y="356"/>
                    <a:pt x="209" y="350"/>
                    <a:pt x="213" y="342"/>
                  </a:cubicBezTo>
                  <a:cubicBezTo>
                    <a:pt x="168" y="324"/>
                    <a:pt x="140" y="279"/>
                    <a:pt x="142" y="233"/>
                  </a:cubicBezTo>
                  <a:cubicBezTo>
                    <a:pt x="136" y="233"/>
                    <a:pt x="128" y="233"/>
                    <a:pt x="122" y="235"/>
                  </a:cubicBezTo>
                  <a:close/>
                  <a:moveTo>
                    <a:pt x="274" y="319"/>
                  </a:moveTo>
                  <a:cubicBezTo>
                    <a:pt x="273" y="296"/>
                    <a:pt x="274" y="288"/>
                    <a:pt x="286" y="268"/>
                  </a:cubicBezTo>
                  <a:cubicBezTo>
                    <a:pt x="277" y="263"/>
                    <a:pt x="277" y="263"/>
                    <a:pt x="277" y="263"/>
                  </a:cubicBezTo>
                  <a:cubicBezTo>
                    <a:pt x="271" y="269"/>
                    <a:pt x="263" y="272"/>
                    <a:pt x="254" y="272"/>
                  </a:cubicBezTo>
                  <a:cubicBezTo>
                    <a:pt x="244" y="272"/>
                    <a:pt x="235" y="268"/>
                    <a:pt x="229" y="261"/>
                  </a:cubicBezTo>
                  <a:cubicBezTo>
                    <a:pt x="222" y="266"/>
                    <a:pt x="222" y="266"/>
                    <a:pt x="222" y="266"/>
                  </a:cubicBezTo>
                  <a:cubicBezTo>
                    <a:pt x="230" y="282"/>
                    <a:pt x="232" y="299"/>
                    <a:pt x="232" y="319"/>
                  </a:cubicBezTo>
                  <a:cubicBezTo>
                    <a:pt x="230" y="367"/>
                    <a:pt x="187" y="406"/>
                    <a:pt x="139" y="406"/>
                  </a:cubicBezTo>
                  <a:cubicBezTo>
                    <a:pt x="107" y="406"/>
                    <a:pt x="81" y="391"/>
                    <a:pt x="63" y="367"/>
                  </a:cubicBezTo>
                  <a:cubicBezTo>
                    <a:pt x="50" y="375"/>
                    <a:pt x="50" y="375"/>
                    <a:pt x="50" y="375"/>
                  </a:cubicBezTo>
                  <a:cubicBezTo>
                    <a:pt x="73" y="405"/>
                    <a:pt x="111" y="426"/>
                    <a:pt x="151" y="426"/>
                  </a:cubicBezTo>
                  <a:cubicBezTo>
                    <a:pt x="194" y="426"/>
                    <a:pt x="230" y="404"/>
                    <a:pt x="254" y="371"/>
                  </a:cubicBezTo>
                  <a:cubicBezTo>
                    <a:pt x="302" y="441"/>
                    <a:pt x="405" y="444"/>
                    <a:pt x="455" y="375"/>
                  </a:cubicBezTo>
                  <a:cubicBezTo>
                    <a:pt x="443" y="369"/>
                    <a:pt x="443" y="369"/>
                    <a:pt x="443" y="369"/>
                  </a:cubicBezTo>
                  <a:cubicBezTo>
                    <a:pt x="394" y="437"/>
                    <a:pt x="281" y="403"/>
                    <a:pt x="274" y="319"/>
                  </a:cubicBezTo>
                  <a:close/>
                  <a:moveTo>
                    <a:pt x="369" y="173"/>
                  </a:moveTo>
                  <a:cubicBezTo>
                    <a:pt x="402" y="97"/>
                    <a:pt x="351" y="8"/>
                    <a:pt x="266" y="0"/>
                  </a:cubicBezTo>
                  <a:cubicBezTo>
                    <a:pt x="266" y="12"/>
                    <a:pt x="266" y="12"/>
                    <a:pt x="266" y="12"/>
                  </a:cubicBezTo>
                  <a:cubicBezTo>
                    <a:pt x="376" y="26"/>
                    <a:pt x="370" y="190"/>
                    <a:pt x="260" y="199"/>
                  </a:cubicBezTo>
                  <a:cubicBezTo>
                    <a:pt x="260" y="207"/>
                    <a:pt x="260" y="207"/>
                    <a:pt x="260" y="207"/>
                  </a:cubicBezTo>
                  <a:cubicBezTo>
                    <a:pt x="275" y="210"/>
                    <a:pt x="287" y="224"/>
                    <a:pt x="287" y="240"/>
                  </a:cubicBezTo>
                  <a:cubicBezTo>
                    <a:pt x="287" y="244"/>
                    <a:pt x="286" y="248"/>
                    <a:pt x="285" y="252"/>
                  </a:cubicBezTo>
                  <a:cubicBezTo>
                    <a:pt x="292" y="256"/>
                    <a:pt x="292" y="256"/>
                    <a:pt x="292" y="256"/>
                  </a:cubicBezTo>
                  <a:cubicBezTo>
                    <a:pt x="309" y="234"/>
                    <a:pt x="337" y="218"/>
                    <a:pt x="369" y="217"/>
                  </a:cubicBezTo>
                  <a:cubicBezTo>
                    <a:pt x="436" y="217"/>
                    <a:pt x="479" y="288"/>
                    <a:pt x="455" y="347"/>
                  </a:cubicBezTo>
                  <a:cubicBezTo>
                    <a:pt x="469" y="355"/>
                    <a:pt x="469" y="355"/>
                    <a:pt x="469" y="355"/>
                  </a:cubicBezTo>
                  <a:cubicBezTo>
                    <a:pt x="507" y="278"/>
                    <a:pt x="458" y="181"/>
                    <a:pt x="369" y="173"/>
                  </a:cubicBezTo>
                  <a:close/>
                  <a:moveTo>
                    <a:pt x="297" y="342"/>
                  </a:moveTo>
                  <a:cubicBezTo>
                    <a:pt x="301" y="350"/>
                    <a:pt x="303" y="356"/>
                    <a:pt x="307" y="362"/>
                  </a:cubicBezTo>
                  <a:cubicBezTo>
                    <a:pt x="358" y="340"/>
                    <a:pt x="390" y="289"/>
                    <a:pt x="388" y="234"/>
                  </a:cubicBezTo>
                  <a:cubicBezTo>
                    <a:pt x="382" y="232"/>
                    <a:pt x="374" y="232"/>
                    <a:pt x="366" y="232"/>
                  </a:cubicBezTo>
                  <a:cubicBezTo>
                    <a:pt x="370" y="281"/>
                    <a:pt x="341" y="326"/>
                    <a:pt x="297" y="342"/>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bIns="137160" rtlCol="0" anchor="ctr"/>
            <a:lstStyle/>
            <a:p>
              <a:pPr algn="ctr"/>
              <a:endParaRPr lang="en-US" dirty="0">
                <a:solidFill>
                  <a:srgbClr val="FFFFFF"/>
                </a:solidFill>
                <a:latin typeface="Franklin Gothic Book" charset="0"/>
                <a:ea typeface="Franklin Gothic Book" charset="0"/>
                <a:cs typeface="Franklin Gothic Book" charset="0"/>
                <a:sym typeface="Arial" charset="0"/>
              </a:endParaRPr>
            </a:p>
          </p:txBody>
        </p:sp>
      </p:grpSp>
      <p:grpSp>
        <p:nvGrpSpPr>
          <p:cNvPr id="7" name="Group 6"/>
          <p:cNvGrpSpPr/>
          <p:nvPr/>
        </p:nvGrpSpPr>
        <p:grpSpPr>
          <a:xfrm>
            <a:off x="723233" y="1674343"/>
            <a:ext cx="360000" cy="342524"/>
            <a:chOff x="228214" y="2208413"/>
            <a:chExt cx="360000" cy="342524"/>
          </a:xfrm>
        </p:grpSpPr>
        <p:sp>
          <p:nvSpPr>
            <p:cNvPr id="17" name="Rectangle 16"/>
            <p:cNvSpPr/>
            <p:nvPr/>
          </p:nvSpPr>
          <p:spPr>
            <a:xfrm>
              <a:off x="228214" y="2208413"/>
              <a:ext cx="360000" cy="34252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 name="Freeform 48"/>
            <p:cNvSpPr>
              <a:spLocks/>
            </p:cNvSpPr>
            <p:nvPr/>
          </p:nvSpPr>
          <p:spPr bwMode="auto">
            <a:xfrm>
              <a:off x="338136" y="2263807"/>
              <a:ext cx="226375" cy="139632"/>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noFill/>
            <a:ln w="12700" cap="flat" cmpd="sng" algn="ctr">
              <a:solidFill>
                <a:schemeClr val="bg2"/>
              </a:solidFill>
              <a:prstDash val="solid"/>
            </a:ln>
            <a:effectLst/>
          </p:spPr>
          <p:txBody>
            <a:bodyPr lIns="91396" tIns="45698" rIns="91396" bIns="45698" rtlCol="0" anchor="ctr"/>
            <a:lstStyle/>
            <a:p>
              <a:pPr algn="ctr" defTabSz="684490">
                <a:defRPr/>
              </a:pPr>
              <a:endParaRPr lang="en-US" kern="0" dirty="0" smtClean="0">
                <a:solidFill>
                  <a:srgbClr val="FFFFFF"/>
                </a:solidFill>
                <a:latin typeface="CiscoSansTT Light"/>
                <a:cs typeface="CiscoSansTT Light"/>
              </a:endParaRPr>
            </a:p>
          </p:txBody>
        </p:sp>
        <p:sp>
          <p:nvSpPr>
            <p:cNvPr id="19" name="Freeform 114"/>
            <p:cNvSpPr>
              <a:spLocks noEditPoints="1"/>
            </p:cNvSpPr>
            <p:nvPr/>
          </p:nvSpPr>
          <p:spPr bwMode="auto">
            <a:xfrm>
              <a:off x="256597" y="2340591"/>
              <a:ext cx="180987" cy="184660"/>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bg1"/>
            </a:solid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grpSp>
      <p:sp>
        <p:nvSpPr>
          <p:cNvPr id="36" name="Rectangle 35"/>
          <p:cNvSpPr/>
          <p:nvPr/>
        </p:nvSpPr>
        <p:spPr>
          <a:xfrm>
            <a:off x="722998" y="2919045"/>
            <a:ext cx="363859" cy="30949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098" name="Picture 2" descr="https://www.clouddirect.net/assets/images/product-images/new-resized-product-images/5.office_365.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762534" y="2946053"/>
            <a:ext cx="281477" cy="2716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329530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 Hybrid Web </a:t>
            </a:r>
            <a:br>
              <a:rPr lang="en-US" dirty="0" smtClean="0"/>
            </a:br>
            <a:r>
              <a:rPr lang="en-US" dirty="0" smtClean="0"/>
              <a:t>Security</a:t>
            </a:r>
            <a:endParaRPr lang="en-US" dirty="0"/>
          </a:p>
        </p:txBody>
      </p:sp>
      <p:grpSp>
        <p:nvGrpSpPr>
          <p:cNvPr id="6" name="Group 5"/>
          <p:cNvGrpSpPr/>
          <p:nvPr/>
        </p:nvGrpSpPr>
        <p:grpSpPr>
          <a:xfrm>
            <a:off x="5699669" y="1683090"/>
            <a:ext cx="1882571" cy="1537541"/>
            <a:chOff x="256597" y="2263807"/>
            <a:chExt cx="307914" cy="261444"/>
          </a:xfrm>
          <a:solidFill>
            <a:schemeClr val="accent1"/>
          </a:solidFill>
          <a:scene3d>
            <a:camera prst="perspectiveFront" fov="3300000">
              <a:rot lat="486000" lon="19530000" rev="174000"/>
            </a:camera>
            <a:lightRig rig="harsh" dir="t">
              <a:rot lat="0" lon="0" rev="3000000"/>
            </a:lightRig>
          </a:scene3d>
        </p:grpSpPr>
        <p:sp>
          <p:nvSpPr>
            <p:cNvPr id="8" name="Freeform 48"/>
            <p:cNvSpPr>
              <a:spLocks/>
            </p:cNvSpPr>
            <p:nvPr/>
          </p:nvSpPr>
          <p:spPr bwMode="auto">
            <a:xfrm>
              <a:off x="338136" y="2263807"/>
              <a:ext cx="226375" cy="139632"/>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grpFill/>
            <a:ln w="12700" cap="flat" cmpd="sng" algn="ctr">
              <a:noFill/>
              <a:prstDash val="solid"/>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p:spPr>
          <p:txBody>
            <a:bodyPr lIns="91396" tIns="45698" rIns="91396" bIns="45698" rtlCol="0" anchor="ctr"/>
            <a:lstStyle/>
            <a:p>
              <a:pPr algn="ctr" defTabSz="684490">
                <a:defRPr/>
              </a:pPr>
              <a:endParaRPr lang="en-US" kern="0" dirty="0" smtClean="0">
                <a:solidFill>
                  <a:srgbClr val="FFFFFF"/>
                </a:solidFill>
                <a:latin typeface="CiscoSansTT Light"/>
                <a:cs typeface="CiscoSansTT Light"/>
              </a:endParaRPr>
            </a:p>
          </p:txBody>
        </p:sp>
        <p:sp>
          <p:nvSpPr>
            <p:cNvPr id="9" name="Freeform 114"/>
            <p:cNvSpPr>
              <a:spLocks noEditPoints="1"/>
            </p:cNvSpPr>
            <p:nvPr/>
          </p:nvSpPr>
          <p:spPr bwMode="auto">
            <a:xfrm>
              <a:off x="256597" y="2340591"/>
              <a:ext cx="180987" cy="184660"/>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grpFill/>
            <a:ln w="9525">
              <a:noFill/>
              <a:round/>
              <a:headEnd/>
              <a:tailEnd/>
            </a:ln>
            <a:effectLst>
              <a:outerShdw blurRad="225425" dist="50800" dir="5220000" algn="ctr">
                <a:srgbClr val="000000">
                  <a:alpha val="33000"/>
                </a:srgbClr>
              </a:outerShdw>
            </a:effectLst>
            <a:sp3d extrusionH="254000" contourW="19050">
              <a:bevelT w="82550" h="44450" prst="angle"/>
              <a:bevelB w="82550" h="44450" prst="angle"/>
              <a:contourClr>
                <a:srgbClr val="FFFFFF"/>
              </a:contourClr>
            </a:sp3d>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grpSp>
    </p:spTree>
    <p:extLst>
      <p:ext uri="{BB962C8B-B14F-4D97-AF65-F5344CB8AC3E}">
        <p14:creationId xmlns:p14="http://schemas.microsoft.com/office/powerpoint/2010/main" val="92473055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324773" y="998744"/>
            <a:ext cx="6135698" cy="346710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ctr"/>
          <a:lstStyle/>
          <a:p>
            <a:pPr algn="ctr"/>
            <a:endParaRPr lang="en-IN" sz="1400" dirty="0">
              <a:solidFill>
                <a:srgbClr val="FFFFFF"/>
              </a:solidFill>
              <a:cs typeface="Arial" panose="020B0604020202020204" pitchFamily="34" charset="0"/>
            </a:endParaRPr>
          </a:p>
        </p:txBody>
      </p:sp>
      <p:grpSp>
        <p:nvGrpSpPr>
          <p:cNvPr id="7" name="Group 6"/>
          <p:cNvGrpSpPr/>
          <p:nvPr/>
        </p:nvGrpSpPr>
        <p:grpSpPr>
          <a:xfrm>
            <a:off x="4547730" y="1531362"/>
            <a:ext cx="1289009" cy="853132"/>
            <a:chOff x="5828459" y="2318636"/>
            <a:chExt cx="1718231" cy="1137509"/>
          </a:xfrm>
        </p:grpSpPr>
        <p:sp>
          <p:nvSpPr>
            <p:cNvPr id="70" name="Freeform 120"/>
            <p:cNvSpPr>
              <a:spLocks/>
            </p:cNvSpPr>
            <p:nvPr/>
          </p:nvSpPr>
          <p:spPr bwMode="auto">
            <a:xfrm>
              <a:off x="5828459" y="2318636"/>
              <a:ext cx="1718231" cy="1137509"/>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71" name="Freeform 22"/>
            <p:cNvSpPr>
              <a:spLocks/>
            </p:cNvSpPr>
            <p:nvPr/>
          </p:nvSpPr>
          <p:spPr bwMode="auto">
            <a:xfrm rot="20679101">
              <a:off x="6130176" y="2847744"/>
              <a:ext cx="237195" cy="257258"/>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300">
                <a:solidFill>
                  <a:srgbClr val="FFFFFF"/>
                </a:solidFill>
                <a:latin typeface="Arial"/>
              </a:endParaRPr>
            </a:p>
          </p:txBody>
        </p:sp>
        <p:sp>
          <p:nvSpPr>
            <p:cNvPr id="72" name="Freeform 23"/>
            <p:cNvSpPr>
              <a:spLocks/>
            </p:cNvSpPr>
            <p:nvPr/>
          </p:nvSpPr>
          <p:spPr bwMode="auto">
            <a:xfrm rot="20679101">
              <a:off x="6048187" y="2972207"/>
              <a:ext cx="237195" cy="257258"/>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300">
                <a:solidFill>
                  <a:srgbClr val="FFFFFF"/>
                </a:solidFill>
                <a:latin typeface="Arial"/>
              </a:endParaRPr>
            </a:p>
          </p:txBody>
        </p:sp>
        <p:sp>
          <p:nvSpPr>
            <p:cNvPr id="73" name="Freeform 6"/>
            <p:cNvSpPr>
              <a:spLocks/>
            </p:cNvSpPr>
            <p:nvPr/>
          </p:nvSpPr>
          <p:spPr bwMode="auto">
            <a:xfrm>
              <a:off x="6382526" y="2922328"/>
              <a:ext cx="262759" cy="288448"/>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300">
                <a:solidFill>
                  <a:srgbClr val="FFFFFF"/>
                </a:solidFill>
                <a:latin typeface="Arial"/>
              </a:endParaRPr>
            </a:p>
          </p:txBody>
        </p:sp>
        <p:sp>
          <p:nvSpPr>
            <p:cNvPr id="74" name="Freeform 7"/>
            <p:cNvSpPr>
              <a:spLocks/>
            </p:cNvSpPr>
            <p:nvPr/>
          </p:nvSpPr>
          <p:spPr bwMode="auto">
            <a:xfrm>
              <a:off x="6640252" y="2927940"/>
              <a:ext cx="383557" cy="276990"/>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300">
                <a:solidFill>
                  <a:srgbClr val="FFFFFF"/>
                </a:solidFill>
                <a:latin typeface="Arial"/>
              </a:endParaRPr>
            </a:p>
          </p:txBody>
        </p:sp>
        <p:sp>
          <p:nvSpPr>
            <p:cNvPr id="75" name="Freeform 8"/>
            <p:cNvSpPr>
              <a:spLocks/>
            </p:cNvSpPr>
            <p:nvPr/>
          </p:nvSpPr>
          <p:spPr bwMode="auto">
            <a:xfrm>
              <a:off x="7012828" y="2922328"/>
              <a:ext cx="248002" cy="288448"/>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US" sz="1300">
                <a:solidFill>
                  <a:srgbClr val="FFFFFF"/>
                </a:solidFill>
                <a:latin typeface="Arial"/>
              </a:endParaRPr>
            </a:p>
          </p:txBody>
        </p:sp>
      </p:gr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15727401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117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ja-JP" altLang="en-US" dirty="0" smtClean="0"/>
              <a:t>社内だけのウェブセキュリティ境界を超える</a:t>
            </a:r>
            <a:endParaRPr lang="en-US" dirty="0"/>
          </a:p>
        </p:txBody>
      </p:sp>
      <p:grpSp>
        <p:nvGrpSpPr>
          <p:cNvPr id="14" name="Group 13"/>
          <p:cNvGrpSpPr/>
          <p:nvPr/>
        </p:nvGrpSpPr>
        <p:grpSpPr>
          <a:xfrm>
            <a:off x="5266636" y="1310261"/>
            <a:ext cx="1162032" cy="577788"/>
            <a:chOff x="7163228" y="1861315"/>
            <a:chExt cx="1548972" cy="770384"/>
          </a:xfrm>
        </p:grpSpPr>
        <p:pic>
          <p:nvPicPr>
            <p:cNvPr id="49" name="Picture 48"/>
            <p:cNvPicPr>
              <a:picLocks noChangeAspect="1"/>
            </p:cNvPicPr>
            <p:nvPr/>
          </p:nvPicPr>
          <p:blipFill rotWithShape="1">
            <a:blip r:embed="rId7" cstate="print">
              <a:extLst>
                <a:ext uri="{28A0092B-C50C-407E-A947-70E740481C1C}">
                  <a14:useLocalDpi xmlns:a14="http://schemas.microsoft.com/office/drawing/2010/main"/>
                </a:ext>
              </a:extLst>
            </a:blip>
            <a:srcRect l="12386" t="12387" r="12386" b="12387"/>
            <a:stretch/>
          </p:blipFill>
          <p:spPr>
            <a:xfrm>
              <a:off x="7163228" y="1861315"/>
              <a:ext cx="770187" cy="770384"/>
            </a:xfrm>
            <a:prstGeom prst="ellipse">
              <a:avLst/>
            </a:prstGeom>
            <a:solidFill>
              <a:schemeClr val="tx1"/>
            </a:solidFill>
            <a:effectLst>
              <a:outerShdw dist="25400" dir="2700000" algn="tl" rotWithShape="0">
                <a:prstClr val="black">
                  <a:alpha val="15000"/>
                </a:prstClr>
              </a:outerShdw>
            </a:effectLst>
          </p:spPr>
        </p:pic>
        <p:sp>
          <p:nvSpPr>
            <p:cNvPr id="2" name="TextBox 1"/>
            <p:cNvSpPr txBox="1"/>
            <p:nvPr/>
          </p:nvSpPr>
          <p:spPr>
            <a:xfrm>
              <a:off x="7923159" y="2098904"/>
              <a:ext cx="789041" cy="348813"/>
            </a:xfrm>
            <a:prstGeom prst="rect">
              <a:avLst/>
            </a:prstGeom>
            <a:noFill/>
          </p:spPr>
          <p:txBody>
            <a:bodyPr wrap="square" rtlCol="0">
              <a:spAutoFit/>
            </a:bodyPr>
            <a:lstStyle/>
            <a:p>
              <a:r>
                <a:rPr lang="en-US" sz="1100" dirty="0">
                  <a:solidFill>
                    <a:srgbClr val="676767"/>
                  </a:solidFill>
                  <a:latin typeface="Arial"/>
                </a:rPr>
                <a:t>WWW</a:t>
              </a:r>
            </a:p>
          </p:txBody>
        </p:sp>
      </p:grpSp>
      <p:grpSp>
        <p:nvGrpSpPr>
          <p:cNvPr id="13" name="Group 12"/>
          <p:cNvGrpSpPr/>
          <p:nvPr/>
        </p:nvGrpSpPr>
        <p:grpSpPr>
          <a:xfrm>
            <a:off x="462020" y="1151604"/>
            <a:ext cx="950266" cy="3147425"/>
            <a:chOff x="811584" y="1649767"/>
            <a:chExt cx="1266691" cy="4196566"/>
          </a:xfrm>
        </p:grpSpPr>
        <p:sp>
          <p:nvSpPr>
            <p:cNvPr id="16" name="Rectangle 15"/>
            <p:cNvSpPr/>
            <p:nvPr/>
          </p:nvSpPr>
          <p:spPr bwMode="auto">
            <a:xfrm>
              <a:off x="811584" y="1649767"/>
              <a:ext cx="1266691" cy="4196566"/>
            </a:xfrm>
            <a:prstGeom prst="rect">
              <a:avLst/>
            </a:prstGeom>
            <a:solidFill>
              <a:schemeClr val="tx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99" tIns="0" rIns="121835" bIns="36570" numCol="1" spcCol="0" rtlCol="0" fromWordArt="0" anchor="b" anchorCtr="0" forceAA="0" compatLnSpc="1">
              <a:prstTxWarp prst="textNoShape">
                <a:avLst/>
              </a:prstTxWarp>
              <a:noAutofit/>
            </a:bodyPr>
            <a:lstStyle/>
            <a:p>
              <a:pPr algn="ctr" defTabSz="685169"/>
              <a:endParaRPr lang="en-US" sz="1400" spc="-75" dirty="0">
                <a:ln w="3175">
                  <a:noFill/>
                </a:ln>
                <a:solidFill>
                  <a:srgbClr val="8E909E">
                    <a:lumMod val="50000"/>
                  </a:srgbClr>
                </a:solidFill>
                <a:effectLst>
                  <a:outerShdw blurRad="38100" dist="38100" dir="2700000" algn="tl">
                    <a:srgbClr val="000000">
                      <a:alpha val="43137"/>
                    </a:srgbClr>
                  </a:outerShdw>
                </a:effectLst>
                <a:cs typeface="Arial" charset="0"/>
              </a:endParaRPr>
            </a:p>
          </p:txBody>
        </p:sp>
        <p:sp>
          <p:nvSpPr>
            <p:cNvPr id="27" name="Rounded Rectangle 191"/>
            <p:cNvSpPr/>
            <p:nvPr/>
          </p:nvSpPr>
          <p:spPr>
            <a:xfrm>
              <a:off x="880843" y="5407816"/>
              <a:ext cx="1079829" cy="404685"/>
            </a:xfrm>
            <a:prstGeom prst="rect">
              <a:avLst/>
            </a:prstGeom>
            <a:noFill/>
            <a:ln w="25400" cap="flat" cmpd="sng" algn="ctr">
              <a:noFill/>
              <a:prstDash val="solid"/>
            </a:ln>
            <a:effectLst/>
          </p:spPr>
          <p:txBody>
            <a:bodyPr lIns="91436" tIns="45719" rIns="91436" bIns="45719" rtlCol="0" anchor="ctr"/>
            <a:lstStyle/>
            <a:p>
              <a:pPr algn="ctr" defTabSz="685316">
                <a:defRPr/>
              </a:pPr>
              <a:r>
                <a:rPr lang="en-US" sz="1400" kern="0" dirty="0">
                  <a:solidFill>
                    <a:srgbClr val="FFFFFF"/>
                  </a:solidFill>
                  <a:latin typeface="Arial"/>
                </a:rPr>
                <a:t>WSA</a:t>
              </a:r>
            </a:p>
          </p:txBody>
        </p:sp>
        <p:grpSp>
          <p:nvGrpSpPr>
            <p:cNvPr id="57" name="Group 56"/>
            <p:cNvGrpSpPr/>
            <p:nvPr/>
          </p:nvGrpSpPr>
          <p:grpSpPr>
            <a:xfrm>
              <a:off x="977985" y="4241597"/>
              <a:ext cx="879847" cy="834963"/>
              <a:chOff x="5326855" y="2779521"/>
              <a:chExt cx="2283621" cy="2167128"/>
            </a:xfrm>
            <a:solidFill>
              <a:srgbClr val="D9D9D9"/>
            </a:solidFill>
          </p:grpSpPr>
          <p:sp>
            <p:nvSpPr>
              <p:cNvPr id="64" name="Freeform 63"/>
              <p:cNvSpPr/>
              <p:nvPr/>
            </p:nvSpPr>
            <p:spPr>
              <a:xfrm>
                <a:off x="5326855" y="3228976"/>
                <a:ext cx="1147085" cy="1083470"/>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80"/>
                <a:endParaRPr lang="en-US" sz="1700" dirty="0">
                  <a:gradFill>
                    <a:gsLst>
                      <a:gs pos="0">
                        <a:srgbClr val="FFFFFF"/>
                      </a:gs>
                      <a:gs pos="100000">
                        <a:srgbClr val="FFFFFF"/>
                      </a:gs>
                    </a:gsLst>
                    <a:lin ang="5400000" scaled="0"/>
                  </a:gradFill>
                </a:endParaRPr>
              </a:p>
            </p:txBody>
          </p:sp>
          <p:sp>
            <p:nvSpPr>
              <p:cNvPr id="65" name="Oval 23"/>
              <p:cNvSpPr/>
              <p:nvPr/>
            </p:nvSpPr>
            <p:spPr bwMode="auto">
              <a:xfrm>
                <a:off x="5472972" y="4217017"/>
                <a:ext cx="831611"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80"/>
                <a:endParaRPr lang="en-US" sz="1700" dirty="0">
                  <a:gradFill>
                    <a:gsLst>
                      <a:gs pos="0">
                        <a:srgbClr val="FFFFFF"/>
                      </a:gs>
                      <a:gs pos="100000">
                        <a:srgbClr val="FFFFFF"/>
                      </a:gs>
                    </a:gsLst>
                    <a:lin ang="5400000" scaled="0"/>
                  </a:gradFill>
                </a:endParaRPr>
              </a:p>
            </p:txBody>
          </p:sp>
          <p:sp>
            <p:nvSpPr>
              <p:cNvPr id="66" name="Rounded Rectangle 13"/>
              <p:cNvSpPr/>
              <p:nvPr/>
            </p:nvSpPr>
            <p:spPr bwMode="auto">
              <a:xfrm>
                <a:off x="6127750" y="3705226"/>
                <a:ext cx="1375516" cy="1241423"/>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80"/>
                <a:endParaRPr lang="en-US" sz="1700" dirty="0">
                  <a:gradFill>
                    <a:gsLst>
                      <a:gs pos="0">
                        <a:srgbClr val="FFFFFF"/>
                      </a:gs>
                      <a:gs pos="100000">
                        <a:srgbClr val="FFFFFF"/>
                      </a:gs>
                    </a:gsLst>
                    <a:lin ang="5400000" scaled="0"/>
                  </a:gradFill>
                </a:endParaRPr>
              </a:p>
            </p:txBody>
          </p:sp>
          <p:sp>
            <p:nvSpPr>
              <p:cNvPr id="67" name="Oval 66"/>
              <p:cNvSpPr/>
              <p:nvPr/>
            </p:nvSpPr>
            <p:spPr bwMode="auto">
              <a:xfrm>
                <a:off x="6524624" y="2779521"/>
                <a:ext cx="835026" cy="83502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80"/>
                <a:endParaRPr lang="en-US" sz="1700" dirty="0">
                  <a:gradFill>
                    <a:gsLst>
                      <a:gs pos="0">
                        <a:srgbClr val="FFFFFF"/>
                      </a:gs>
                      <a:gs pos="100000">
                        <a:srgbClr val="FFFFFF"/>
                      </a:gs>
                    </a:gsLst>
                    <a:lin ang="5400000" scaled="0"/>
                  </a:gradFill>
                </a:endParaRPr>
              </a:p>
            </p:txBody>
          </p:sp>
          <p:sp>
            <p:nvSpPr>
              <p:cNvPr id="68"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580"/>
                <a:endParaRPr lang="en-US" sz="1700" dirty="0">
                  <a:gradFill>
                    <a:gsLst>
                      <a:gs pos="0">
                        <a:srgbClr val="FFFFFF"/>
                      </a:gs>
                      <a:gs pos="100000">
                        <a:srgbClr val="FFFFFF"/>
                      </a:gs>
                    </a:gsLst>
                    <a:lin ang="5400000" scaled="0"/>
                  </a:gradFill>
                </a:endParaRPr>
              </a:p>
            </p:txBody>
          </p:sp>
        </p:grpSp>
        <p:sp>
          <p:nvSpPr>
            <p:cNvPr id="69" name="Rounded Rectangle 191"/>
            <p:cNvSpPr/>
            <p:nvPr/>
          </p:nvSpPr>
          <p:spPr>
            <a:xfrm>
              <a:off x="905015" y="2492360"/>
              <a:ext cx="1079829" cy="427091"/>
            </a:xfrm>
            <a:prstGeom prst="rect">
              <a:avLst/>
            </a:prstGeom>
            <a:noFill/>
            <a:ln w="25400" cap="flat" cmpd="sng" algn="ctr">
              <a:noFill/>
              <a:prstDash val="solid"/>
            </a:ln>
            <a:effectLst/>
          </p:spPr>
          <p:txBody>
            <a:bodyPr lIns="91436" tIns="45719" rIns="91436" bIns="45719" rtlCol="0" anchor="ctr"/>
            <a:lstStyle/>
            <a:p>
              <a:pPr algn="ctr" defTabSz="685316">
                <a:defRPr/>
              </a:pPr>
              <a:r>
                <a:rPr lang="en-US" sz="1400" kern="0" dirty="0">
                  <a:solidFill>
                    <a:srgbClr val="FFFFFF"/>
                  </a:solidFill>
                  <a:latin typeface="Arial"/>
                </a:rPr>
                <a:t>HQ</a:t>
              </a:r>
            </a:p>
          </p:txBody>
        </p:sp>
        <p:sp>
          <p:nvSpPr>
            <p:cNvPr id="76" name="Freeform 136"/>
            <p:cNvSpPr>
              <a:spLocks noEditPoints="1"/>
            </p:cNvSpPr>
            <p:nvPr/>
          </p:nvSpPr>
          <p:spPr bwMode="auto">
            <a:xfrm>
              <a:off x="936173" y="5188987"/>
              <a:ext cx="1008466" cy="206129"/>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D9D9D9"/>
            </a:solidFill>
            <a:ln>
              <a:noFill/>
            </a:ln>
            <a:extLst/>
          </p:spPr>
          <p:txBody>
            <a:bodyPr vert="horz" wrap="square" lIns="91368" tIns="45684" rIns="91368" bIns="45684" numCol="1" anchor="t" anchorCtr="0" compatLnSpc="1">
              <a:prstTxWarp prst="textNoShape">
                <a:avLst/>
              </a:prstTxWarp>
            </a:bodyPr>
            <a:lstStyle/>
            <a:p>
              <a:pPr defTabSz="685834">
                <a:defRPr/>
              </a:pPr>
              <a:endParaRPr lang="en-US" sz="1100" kern="0">
                <a:solidFill>
                  <a:srgbClr val="FFFFFF"/>
                </a:solidFill>
                <a:latin typeface="Arial"/>
              </a:endParaRPr>
            </a:p>
          </p:txBody>
        </p:sp>
        <p:sp>
          <p:nvSpPr>
            <p:cNvPr id="77" name="Freeform 179"/>
            <p:cNvSpPr>
              <a:spLocks noEditPoints="1"/>
            </p:cNvSpPr>
            <p:nvPr/>
          </p:nvSpPr>
          <p:spPr bwMode="auto">
            <a:xfrm>
              <a:off x="1109386" y="1794609"/>
              <a:ext cx="680525" cy="697751"/>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solidFill>
              <a:srgbClr val="D9D9D9"/>
            </a:solidFill>
            <a:ln>
              <a:noFill/>
            </a:ln>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sp>
        <p:nvSpPr>
          <p:cNvPr id="5" name="Rounded Rectangle 191"/>
          <p:cNvSpPr/>
          <p:nvPr/>
        </p:nvSpPr>
        <p:spPr>
          <a:xfrm>
            <a:off x="3125853" y="3615846"/>
            <a:ext cx="1118640" cy="193132"/>
          </a:xfrm>
          <a:prstGeom prst="rect">
            <a:avLst/>
          </a:prstGeom>
          <a:noFill/>
          <a:ln w="25400" cap="flat" cmpd="sng" algn="ctr">
            <a:noFill/>
            <a:prstDash val="solid"/>
          </a:ln>
          <a:effectLst/>
        </p:spPr>
        <p:txBody>
          <a:bodyPr lIns="51445" tIns="25723" rIns="51445" bIns="25723" rtlCol="0" anchor="ctr"/>
          <a:lstStyle/>
          <a:p>
            <a:pPr>
              <a:defRPr/>
            </a:pPr>
            <a:r>
              <a:rPr lang="en-US" sz="1100" dirty="0">
                <a:solidFill>
                  <a:srgbClr val="676767"/>
                </a:solidFill>
                <a:latin typeface="Arial"/>
              </a:rPr>
              <a:t>Remote Sites</a:t>
            </a:r>
          </a:p>
        </p:txBody>
      </p:sp>
      <p:sp>
        <p:nvSpPr>
          <p:cNvPr id="58" name="Rounded Rectangle 191"/>
          <p:cNvSpPr/>
          <p:nvPr/>
        </p:nvSpPr>
        <p:spPr>
          <a:xfrm>
            <a:off x="5693774" y="3840385"/>
            <a:ext cx="766703" cy="415497"/>
          </a:xfrm>
          <a:prstGeom prst="rect">
            <a:avLst/>
          </a:prstGeom>
          <a:noFill/>
        </p:spPr>
        <p:txBody>
          <a:bodyPr wrap="square" lIns="68583" tIns="34292" rIns="68583" bIns="34292" rtlCol="0" anchor="b">
            <a:spAutoFit/>
          </a:bodyPr>
          <a:lstStyle/>
          <a:p>
            <a:r>
              <a:rPr lang="en-US" sz="1100" dirty="0">
                <a:solidFill>
                  <a:srgbClr val="676767"/>
                </a:solidFill>
                <a:latin typeface="Arial"/>
              </a:rPr>
              <a:t>Roaming User</a:t>
            </a:r>
          </a:p>
        </p:txBody>
      </p:sp>
      <p:grpSp>
        <p:nvGrpSpPr>
          <p:cNvPr id="59" name="Group 58"/>
          <p:cNvGrpSpPr/>
          <p:nvPr/>
        </p:nvGrpSpPr>
        <p:grpSpPr>
          <a:xfrm>
            <a:off x="5383221" y="3723066"/>
            <a:ext cx="353118" cy="485009"/>
            <a:chOff x="2427200" y="7613831"/>
            <a:chExt cx="1051866" cy="1445113"/>
          </a:xfrm>
          <a:solidFill>
            <a:srgbClr val="676767"/>
          </a:solidFill>
        </p:grpSpPr>
        <p:grpSp>
          <p:nvGrpSpPr>
            <p:cNvPr id="60" name="Group 59"/>
            <p:cNvGrpSpPr/>
            <p:nvPr/>
          </p:nvGrpSpPr>
          <p:grpSpPr>
            <a:xfrm rot="19897570">
              <a:off x="3208484" y="7613831"/>
              <a:ext cx="270582" cy="541943"/>
              <a:chOff x="4630738" y="4803775"/>
              <a:chExt cx="2216150" cy="4438650"/>
            </a:xfrm>
            <a:grpFill/>
          </p:grpSpPr>
          <p:sp>
            <p:nvSpPr>
              <p:cNvPr id="62"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sp>
            <p:nvSpPr>
              <p:cNvPr id="63"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grpSp>
        <p:sp>
          <p:nvSpPr>
            <p:cNvPr id="61" name="Freeform 60"/>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a:solidFill>
                  <a:srgbClr val="FFFFFF"/>
                </a:solidFill>
                <a:latin typeface="Arial"/>
              </a:endParaRPr>
            </a:p>
          </p:txBody>
        </p:sp>
      </p:grpSp>
      <p:grpSp>
        <p:nvGrpSpPr>
          <p:cNvPr id="35" name="Group 34"/>
          <p:cNvGrpSpPr/>
          <p:nvPr/>
        </p:nvGrpSpPr>
        <p:grpSpPr>
          <a:xfrm>
            <a:off x="2689039" y="3289526"/>
            <a:ext cx="430792" cy="544601"/>
            <a:chOff x="4012294" y="3893616"/>
            <a:chExt cx="671101" cy="848615"/>
          </a:xfrm>
          <a:solidFill>
            <a:schemeClr val="tx1"/>
          </a:solidFill>
        </p:grpSpPr>
        <p:grpSp>
          <p:nvGrpSpPr>
            <p:cNvPr id="6" name="Group 5"/>
            <p:cNvGrpSpPr/>
            <p:nvPr/>
          </p:nvGrpSpPr>
          <p:grpSpPr>
            <a:xfrm>
              <a:off x="4012294" y="3893616"/>
              <a:ext cx="340943" cy="848615"/>
              <a:chOff x="5816600" y="1936751"/>
              <a:chExt cx="217488" cy="541336"/>
            </a:xfrm>
            <a:grpFill/>
          </p:grpSpPr>
          <p:sp>
            <p:nvSpPr>
              <p:cNvPr id="8" name="Freeform 279"/>
              <p:cNvSpPr>
                <a:spLocks/>
              </p:cNvSpPr>
              <p:nvPr/>
            </p:nvSpPr>
            <p:spPr bwMode="auto">
              <a:xfrm>
                <a:off x="5878503" y="1936751"/>
                <a:ext cx="93663" cy="117476"/>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sp>
            <p:nvSpPr>
              <p:cNvPr id="9" name="Freeform 280"/>
              <p:cNvSpPr>
                <a:spLocks/>
              </p:cNvSpPr>
              <p:nvPr/>
            </p:nvSpPr>
            <p:spPr bwMode="auto">
              <a:xfrm>
                <a:off x="5816600" y="2049462"/>
                <a:ext cx="217488" cy="428625"/>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grpSp>
        <p:sp>
          <p:nvSpPr>
            <p:cNvPr id="79" name="Freeform 179"/>
            <p:cNvSpPr>
              <a:spLocks noEditPoints="1"/>
            </p:cNvSpPr>
            <p:nvPr/>
          </p:nvSpPr>
          <p:spPr bwMode="auto">
            <a:xfrm>
              <a:off x="4293556" y="4340954"/>
              <a:ext cx="389839" cy="399707"/>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cxnSp>
        <p:nvCxnSpPr>
          <p:cNvPr id="29" name="Straight Arrow Connector 28"/>
          <p:cNvCxnSpPr/>
          <p:nvPr/>
        </p:nvCxnSpPr>
        <p:spPr>
          <a:xfrm>
            <a:off x="1511382" y="1599155"/>
            <a:ext cx="3656171" cy="0"/>
          </a:xfrm>
          <a:prstGeom prst="straightConnector1">
            <a:avLst/>
          </a:prstGeom>
          <a:ln w="38100">
            <a:solidFill>
              <a:schemeClr val="tx1"/>
            </a:solidFill>
            <a:prstDash val="sysDot"/>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flipH="1">
            <a:off x="1588711" y="3651509"/>
            <a:ext cx="981331" cy="0"/>
          </a:xfrm>
          <a:prstGeom prst="straightConnector1">
            <a:avLst/>
          </a:prstGeom>
          <a:ln w="38100">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H="1">
            <a:off x="1588715" y="4049771"/>
            <a:ext cx="3582331" cy="0"/>
          </a:xfrm>
          <a:prstGeom prst="straightConnector1">
            <a:avLst/>
          </a:prstGeom>
          <a:ln w="38100">
            <a:solidFill>
              <a:schemeClr val="tx1"/>
            </a:solidFill>
            <a:tailEnd type="triangle" w="lg" len="med"/>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1650574" y="3657910"/>
            <a:ext cx="2181579" cy="659792"/>
            <a:chOff x="2343058" y="4978810"/>
            <a:chExt cx="2908015" cy="879723"/>
          </a:xfrm>
        </p:grpSpPr>
        <p:sp>
          <p:nvSpPr>
            <p:cNvPr id="81" name="TextBox 80"/>
            <p:cNvSpPr txBox="1"/>
            <p:nvPr/>
          </p:nvSpPr>
          <p:spPr>
            <a:xfrm>
              <a:off x="4045330" y="5509720"/>
              <a:ext cx="1205743" cy="348813"/>
            </a:xfrm>
            <a:prstGeom prst="rect">
              <a:avLst/>
            </a:prstGeom>
            <a:noFill/>
          </p:spPr>
          <p:txBody>
            <a:bodyPr wrap="square" rtlCol="0">
              <a:spAutoFit/>
            </a:bodyPr>
            <a:lstStyle/>
            <a:p>
              <a:pPr algn="ctr"/>
              <a:r>
                <a:rPr lang="en-US" sz="1100" dirty="0">
                  <a:solidFill>
                    <a:srgbClr val="676767"/>
                  </a:solidFill>
                  <a:latin typeface="Arial"/>
                </a:rPr>
                <a:t>VPN</a:t>
              </a:r>
            </a:p>
          </p:txBody>
        </p:sp>
        <p:sp>
          <p:nvSpPr>
            <p:cNvPr id="82" name="TextBox 81"/>
            <p:cNvSpPr txBox="1"/>
            <p:nvPr/>
          </p:nvSpPr>
          <p:spPr>
            <a:xfrm>
              <a:off x="2343058" y="4978810"/>
              <a:ext cx="1205743" cy="348813"/>
            </a:xfrm>
            <a:prstGeom prst="rect">
              <a:avLst/>
            </a:prstGeom>
            <a:noFill/>
          </p:spPr>
          <p:txBody>
            <a:bodyPr wrap="square" rtlCol="0">
              <a:spAutoFit/>
            </a:bodyPr>
            <a:lstStyle/>
            <a:p>
              <a:pPr algn="ctr"/>
              <a:r>
                <a:rPr lang="en-US" sz="1100" dirty="0">
                  <a:solidFill>
                    <a:srgbClr val="676767"/>
                  </a:solidFill>
                  <a:latin typeface="Arial"/>
                </a:rPr>
                <a:t>WAN</a:t>
              </a:r>
            </a:p>
          </p:txBody>
        </p:sp>
      </p:grpSp>
      <p:cxnSp>
        <p:nvCxnSpPr>
          <p:cNvPr id="11" name="Straight Arrow Connector 10"/>
          <p:cNvCxnSpPr/>
          <p:nvPr/>
        </p:nvCxnSpPr>
        <p:spPr>
          <a:xfrm flipV="1">
            <a:off x="5320022" y="2436601"/>
            <a:ext cx="0" cy="710981"/>
          </a:xfrm>
          <a:prstGeom prst="straightConnector1">
            <a:avLst/>
          </a:prstGeom>
          <a:ln w="38100">
            <a:solidFill>
              <a:srgbClr val="2968AF"/>
            </a:solidFill>
            <a:tailEnd type="triangle" w="lg" len="med"/>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5549915" y="3163168"/>
            <a:ext cx="572680" cy="588621"/>
          </a:xfrm>
          <a:prstGeom prst="rect">
            <a:avLst/>
          </a:prstGeom>
          <a:noFill/>
        </p:spPr>
        <p:txBody>
          <a:bodyPr wrap="square" lIns="68583" tIns="34292" rIns="68583" bIns="34292" rtlCol="0">
            <a:spAutoFit/>
          </a:bodyPr>
          <a:lstStyle/>
          <a:p>
            <a:r>
              <a:rPr lang="en-US" sz="1100" dirty="0">
                <a:solidFill>
                  <a:srgbClr val="2968AF"/>
                </a:solidFill>
                <a:latin typeface="Arial"/>
              </a:rPr>
              <a:t>Use Case 1</a:t>
            </a:r>
          </a:p>
        </p:txBody>
      </p:sp>
      <p:grpSp>
        <p:nvGrpSpPr>
          <p:cNvPr id="19" name="Group 18"/>
          <p:cNvGrpSpPr/>
          <p:nvPr/>
        </p:nvGrpSpPr>
        <p:grpSpPr>
          <a:xfrm>
            <a:off x="5130268" y="3181828"/>
            <a:ext cx="419648" cy="355088"/>
            <a:chOff x="6838575" y="4242437"/>
            <a:chExt cx="559385" cy="473450"/>
          </a:xfrm>
        </p:grpSpPr>
        <p:grpSp>
          <p:nvGrpSpPr>
            <p:cNvPr id="51" name="Group 50"/>
            <p:cNvGrpSpPr/>
            <p:nvPr/>
          </p:nvGrpSpPr>
          <p:grpSpPr>
            <a:xfrm>
              <a:off x="6838575" y="4242437"/>
              <a:ext cx="559385" cy="473450"/>
              <a:chOff x="2927350" y="4090988"/>
              <a:chExt cx="547688" cy="463550"/>
            </a:xfrm>
            <a:solidFill>
              <a:schemeClr val="tx2"/>
            </a:solidFill>
          </p:grpSpPr>
          <p:sp>
            <p:nvSpPr>
              <p:cNvPr id="52" name="Freeform 159"/>
              <p:cNvSpPr>
                <a:spLocks noEditPoints="1"/>
              </p:cNvSpPr>
              <p:nvPr/>
            </p:nvSpPr>
            <p:spPr bwMode="auto">
              <a:xfrm>
                <a:off x="2927350" y="4090988"/>
                <a:ext cx="547688" cy="463550"/>
              </a:xfrm>
              <a:custGeom>
                <a:avLst/>
                <a:gdLst>
                  <a:gd name="T0" fmla="*/ 27 w 690"/>
                  <a:gd name="T1" fmla="*/ 0 h 582"/>
                  <a:gd name="T2" fmla="*/ 7 w 690"/>
                  <a:gd name="T3" fmla="*/ 15 h 582"/>
                  <a:gd name="T4" fmla="*/ 0 w 690"/>
                  <a:gd name="T5" fmla="*/ 550 h 582"/>
                  <a:gd name="T6" fmla="*/ 7 w 690"/>
                  <a:gd name="T7" fmla="*/ 567 h 582"/>
                  <a:gd name="T8" fmla="*/ 27 w 690"/>
                  <a:gd name="T9" fmla="*/ 582 h 582"/>
                  <a:gd name="T10" fmla="*/ 663 w 690"/>
                  <a:gd name="T11" fmla="*/ 582 h 582"/>
                  <a:gd name="T12" fmla="*/ 685 w 690"/>
                  <a:gd name="T13" fmla="*/ 567 h 582"/>
                  <a:gd name="T14" fmla="*/ 690 w 690"/>
                  <a:gd name="T15" fmla="*/ 32 h 582"/>
                  <a:gd name="T16" fmla="*/ 685 w 690"/>
                  <a:gd name="T17" fmla="*/ 15 h 582"/>
                  <a:gd name="T18" fmla="*/ 663 w 690"/>
                  <a:gd name="T19" fmla="*/ 0 h 582"/>
                  <a:gd name="T20" fmla="*/ 232 w 690"/>
                  <a:gd name="T21" fmla="*/ 40 h 582"/>
                  <a:gd name="T22" fmla="*/ 249 w 690"/>
                  <a:gd name="T23" fmla="*/ 48 h 582"/>
                  <a:gd name="T24" fmla="*/ 256 w 690"/>
                  <a:gd name="T25" fmla="*/ 66 h 582"/>
                  <a:gd name="T26" fmla="*/ 252 w 690"/>
                  <a:gd name="T27" fmla="*/ 79 h 582"/>
                  <a:gd name="T28" fmla="*/ 237 w 690"/>
                  <a:gd name="T29" fmla="*/ 89 h 582"/>
                  <a:gd name="T30" fmla="*/ 222 w 690"/>
                  <a:gd name="T31" fmla="*/ 87 h 582"/>
                  <a:gd name="T32" fmla="*/ 209 w 690"/>
                  <a:gd name="T33" fmla="*/ 75 h 582"/>
                  <a:gd name="T34" fmla="*/ 208 w 690"/>
                  <a:gd name="T35" fmla="*/ 60 h 582"/>
                  <a:gd name="T36" fmla="*/ 218 w 690"/>
                  <a:gd name="T37" fmla="*/ 46 h 582"/>
                  <a:gd name="T38" fmla="*/ 232 w 690"/>
                  <a:gd name="T39" fmla="*/ 40 h 582"/>
                  <a:gd name="T40" fmla="*/ 160 w 690"/>
                  <a:gd name="T41" fmla="*/ 43 h 582"/>
                  <a:gd name="T42" fmla="*/ 173 w 690"/>
                  <a:gd name="T43" fmla="*/ 55 h 582"/>
                  <a:gd name="T44" fmla="*/ 174 w 690"/>
                  <a:gd name="T45" fmla="*/ 70 h 582"/>
                  <a:gd name="T46" fmla="*/ 165 w 690"/>
                  <a:gd name="T47" fmla="*/ 86 h 582"/>
                  <a:gd name="T48" fmla="*/ 150 w 690"/>
                  <a:gd name="T49" fmla="*/ 90 h 582"/>
                  <a:gd name="T50" fmla="*/ 133 w 690"/>
                  <a:gd name="T51" fmla="*/ 82 h 582"/>
                  <a:gd name="T52" fmla="*/ 125 w 690"/>
                  <a:gd name="T53" fmla="*/ 66 h 582"/>
                  <a:gd name="T54" fmla="*/ 129 w 690"/>
                  <a:gd name="T55" fmla="*/ 51 h 582"/>
                  <a:gd name="T56" fmla="*/ 146 w 690"/>
                  <a:gd name="T57" fmla="*/ 42 h 582"/>
                  <a:gd name="T58" fmla="*/ 69 w 690"/>
                  <a:gd name="T59" fmla="*/ 40 h 582"/>
                  <a:gd name="T60" fmla="*/ 86 w 690"/>
                  <a:gd name="T61" fmla="*/ 48 h 582"/>
                  <a:gd name="T62" fmla="*/ 93 w 690"/>
                  <a:gd name="T63" fmla="*/ 66 h 582"/>
                  <a:gd name="T64" fmla="*/ 89 w 690"/>
                  <a:gd name="T65" fmla="*/ 79 h 582"/>
                  <a:gd name="T66" fmla="*/ 74 w 690"/>
                  <a:gd name="T67" fmla="*/ 89 h 582"/>
                  <a:gd name="T68" fmla="*/ 59 w 690"/>
                  <a:gd name="T69" fmla="*/ 87 h 582"/>
                  <a:gd name="T70" fmla="*/ 46 w 690"/>
                  <a:gd name="T71" fmla="*/ 75 h 582"/>
                  <a:gd name="T72" fmla="*/ 44 w 690"/>
                  <a:gd name="T73" fmla="*/ 60 h 582"/>
                  <a:gd name="T74" fmla="*/ 55 w 690"/>
                  <a:gd name="T75" fmla="*/ 46 h 582"/>
                  <a:gd name="T76" fmla="*/ 69 w 690"/>
                  <a:gd name="T77" fmla="*/ 40 h 582"/>
                  <a:gd name="T78" fmla="*/ 647 w 690"/>
                  <a:gd name="T79" fmla="*/ 518 h 582"/>
                  <a:gd name="T80" fmla="*/ 630 w 690"/>
                  <a:gd name="T81" fmla="*/ 535 h 582"/>
                  <a:gd name="T82" fmla="*/ 74 w 690"/>
                  <a:gd name="T83" fmla="*/ 538 h 582"/>
                  <a:gd name="T84" fmla="*/ 51 w 690"/>
                  <a:gd name="T85" fmla="*/ 528 h 582"/>
                  <a:gd name="T86" fmla="*/ 42 w 690"/>
                  <a:gd name="T87" fmla="*/ 505 h 582"/>
                  <a:gd name="T88" fmla="*/ 44 w 690"/>
                  <a:gd name="T89" fmla="*/ 172 h 582"/>
                  <a:gd name="T90" fmla="*/ 61 w 690"/>
                  <a:gd name="T91" fmla="*/ 155 h 582"/>
                  <a:gd name="T92" fmla="*/ 616 w 690"/>
                  <a:gd name="T93" fmla="*/ 152 h 582"/>
                  <a:gd name="T94" fmla="*/ 639 w 690"/>
                  <a:gd name="T95" fmla="*/ 162 h 582"/>
                  <a:gd name="T96" fmla="*/ 649 w 690"/>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0" h="582">
                    <a:moveTo>
                      <a:pt x="658" y="0"/>
                    </a:moveTo>
                    <a:lnTo>
                      <a:pt x="32" y="0"/>
                    </a:lnTo>
                    <a:lnTo>
                      <a:pt x="32" y="0"/>
                    </a:lnTo>
                    <a:lnTo>
                      <a:pt x="27" y="0"/>
                    </a:lnTo>
                    <a:lnTo>
                      <a:pt x="20" y="3"/>
                    </a:lnTo>
                    <a:lnTo>
                      <a:pt x="15" y="5"/>
                    </a:lnTo>
                    <a:lnTo>
                      <a:pt x="9" y="9"/>
                    </a:lnTo>
                    <a:lnTo>
                      <a:pt x="7" y="15"/>
                    </a:lnTo>
                    <a:lnTo>
                      <a:pt x="3" y="20"/>
                    </a:lnTo>
                    <a:lnTo>
                      <a:pt x="1" y="25"/>
                    </a:lnTo>
                    <a:lnTo>
                      <a:pt x="0" y="32"/>
                    </a:lnTo>
                    <a:lnTo>
                      <a:pt x="0" y="550"/>
                    </a:lnTo>
                    <a:lnTo>
                      <a:pt x="0" y="550"/>
                    </a:lnTo>
                    <a:lnTo>
                      <a:pt x="1" y="557"/>
                    </a:lnTo>
                    <a:lnTo>
                      <a:pt x="3" y="562"/>
                    </a:lnTo>
                    <a:lnTo>
                      <a:pt x="7" y="567"/>
                    </a:lnTo>
                    <a:lnTo>
                      <a:pt x="9" y="573"/>
                    </a:lnTo>
                    <a:lnTo>
                      <a:pt x="15" y="577"/>
                    </a:lnTo>
                    <a:lnTo>
                      <a:pt x="20" y="580"/>
                    </a:lnTo>
                    <a:lnTo>
                      <a:pt x="27" y="582"/>
                    </a:lnTo>
                    <a:lnTo>
                      <a:pt x="32" y="582"/>
                    </a:lnTo>
                    <a:lnTo>
                      <a:pt x="658" y="582"/>
                    </a:lnTo>
                    <a:lnTo>
                      <a:pt x="658" y="582"/>
                    </a:lnTo>
                    <a:lnTo>
                      <a:pt x="663" y="582"/>
                    </a:lnTo>
                    <a:lnTo>
                      <a:pt x="670" y="580"/>
                    </a:lnTo>
                    <a:lnTo>
                      <a:pt x="676" y="577"/>
                    </a:lnTo>
                    <a:lnTo>
                      <a:pt x="681" y="573"/>
                    </a:lnTo>
                    <a:lnTo>
                      <a:pt x="685" y="567"/>
                    </a:lnTo>
                    <a:lnTo>
                      <a:pt x="688" y="562"/>
                    </a:lnTo>
                    <a:lnTo>
                      <a:pt x="689" y="557"/>
                    </a:lnTo>
                    <a:lnTo>
                      <a:pt x="690" y="550"/>
                    </a:lnTo>
                    <a:lnTo>
                      <a:pt x="690" y="32"/>
                    </a:lnTo>
                    <a:lnTo>
                      <a:pt x="690" y="32"/>
                    </a:lnTo>
                    <a:lnTo>
                      <a:pt x="689" y="25"/>
                    </a:lnTo>
                    <a:lnTo>
                      <a:pt x="688" y="20"/>
                    </a:lnTo>
                    <a:lnTo>
                      <a:pt x="685" y="15"/>
                    </a:lnTo>
                    <a:lnTo>
                      <a:pt x="681" y="9"/>
                    </a:lnTo>
                    <a:lnTo>
                      <a:pt x="676" y="5"/>
                    </a:lnTo>
                    <a:lnTo>
                      <a:pt x="670" y="3"/>
                    </a:lnTo>
                    <a:lnTo>
                      <a:pt x="663" y="0"/>
                    </a:lnTo>
                    <a:lnTo>
                      <a:pt x="658" y="0"/>
                    </a:lnTo>
                    <a:lnTo>
                      <a:pt x="658" y="0"/>
                    </a:lnTo>
                    <a:close/>
                    <a:moveTo>
                      <a:pt x="232" y="40"/>
                    </a:moveTo>
                    <a:lnTo>
                      <a:pt x="232" y="40"/>
                    </a:lnTo>
                    <a:lnTo>
                      <a:pt x="237" y="42"/>
                    </a:lnTo>
                    <a:lnTo>
                      <a:pt x="241" y="43"/>
                    </a:lnTo>
                    <a:lnTo>
                      <a:pt x="245" y="46"/>
                    </a:lnTo>
                    <a:lnTo>
                      <a:pt x="249" y="48"/>
                    </a:lnTo>
                    <a:lnTo>
                      <a:pt x="252" y="51"/>
                    </a:lnTo>
                    <a:lnTo>
                      <a:pt x="255" y="55"/>
                    </a:lnTo>
                    <a:lnTo>
                      <a:pt x="256" y="60"/>
                    </a:lnTo>
                    <a:lnTo>
                      <a:pt x="256" y="66"/>
                    </a:lnTo>
                    <a:lnTo>
                      <a:pt x="256" y="66"/>
                    </a:lnTo>
                    <a:lnTo>
                      <a:pt x="256" y="70"/>
                    </a:lnTo>
                    <a:lnTo>
                      <a:pt x="255" y="75"/>
                    </a:lnTo>
                    <a:lnTo>
                      <a:pt x="252" y="79"/>
                    </a:lnTo>
                    <a:lnTo>
                      <a:pt x="249" y="82"/>
                    </a:lnTo>
                    <a:lnTo>
                      <a:pt x="245" y="86"/>
                    </a:lnTo>
                    <a:lnTo>
                      <a:pt x="241" y="87"/>
                    </a:lnTo>
                    <a:lnTo>
                      <a:pt x="237" y="89"/>
                    </a:lnTo>
                    <a:lnTo>
                      <a:pt x="232" y="90"/>
                    </a:lnTo>
                    <a:lnTo>
                      <a:pt x="232" y="90"/>
                    </a:lnTo>
                    <a:lnTo>
                      <a:pt x="227" y="89"/>
                    </a:lnTo>
                    <a:lnTo>
                      <a:pt x="222" y="87"/>
                    </a:lnTo>
                    <a:lnTo>
                      <a:pt x="218" y="86"/>
                    </a:lnTo>
                    <a:lnTo>
                      <a:pt x="214" y="82"/>
                    </a:lnTo>
                    <a:lnTo>
                      <a:pt x="212" y="79"/>
                    </a:lnTo>
                    <a:lnTo>
                      <a:pt x="209" y="75"/>
                    </a:lnTo>
                    <a:lnTo>
                      <a:pt x="208" y="70"/>
                    </a:lnTo>
                    <a:lnTo>
                      <a:pt x="208" y="66"/>
                    </a:lnTo>
                    <a:lnTo>
                      <a:pt x="208" y="66"/>
                    </a:lnTo>
                    <a:lnTo>
                      <a:pt x="208" y="60"/>
                    </a:lnTo>
                    <a:lnTo>
                      <a:pt x="209" y="55"/>
                    </a:lnTo>
                    <a:lnTo>
                      <a:pt x="212" y="51"/>
                    </a:lnTo>
                    <a:lnTo>
                      <a:pt x="214" y="48"/>
                    </a:lnTo>
                    <a:lnTo>
                      <a:pt x="218" y="46"/>
                    </a:lnTo>
                    <a:lnTo>
                      <a:pt x="222" y="43"/>
                    </a:lnTo>
                    <a:lnTo>
                      <a:pt x="227" y="42"/>
                    </a:lnTo>
                    <a:lnTo>
                      <a:pt x="232" y="40"/>
                    </a:lnTo>
                    <a:lnTo>
                      <a:pt x="232" y="40"/>
                    </a:lnTo>
                    <a:close/>
                    <a:moveTo>
                      <a:pt x="150" y="40"/>
                    </a:moveTo>
                    <a:lnTo>
                      <a:pt x="150" y="40"/>
                    </a:lnTo>
                    <a:lnTo>
                      <a:pt x="155" y="42"/>
                    </a:lnTo>
                    <a:lnTo>
                      <a:pt x="160" y="43"/>
                    </a:lnTo>
                    <a:lnTo>
                      <a:pt x="165" y="46"/>
                    </a:lnTo>
                    <a:lnTo>
                      <a:pt x="167" y="48"/>
                    </a:lnTo>
                    <a:lnTo>
                      <a:pt x="171" y="51"/>
                    </a:lnTo>
                    <a:lnTo>
                      <a:pt x="173" y="55"/>
                    </a:lnTo>
                    <a:lnTo>
                      <a:pt x="174" y="60"/>
                    </a:lnTo>
                    <a:lnTo>
                      <a:pt x="175" y="66"/>
                    </a:lnTo>
                    <a:lnTo>
                      <a:pt x="175" y="66"/>
                    </a:lnTo>
                    <a:lnTo>
                      <a:pt x="174" y="70"/>
                    </a:lnTo>
                    <a:lnTo>
                      <a:pt x="173" y="75"/>
                    </a:lnTo>
                    <a:lnTo>
                      <a:pt x="171" y="79"/>
                    </a:lnTo>
                    <a:lnTo>
                      <a:pt x="167" y="82"/>
                    </a:lnTo>
                    <a:lnTo>
                      <a:pt x="165" y="86"/>
                    </a:lnTo>
                    <a:lnTo>
                      <a:pt x="160" y="87"/>
                    </a:lnTo>
                    <a:lnTo>
                      <a:pt x="155" y="89"/>
                    </a:lnTo>
                    <a:lnTo>
                      <a:pt x="150" y="90"/>
                    </a:lnTo>
                    <a:lnTo>
                      <a:pt x="150" y="90"/>
                    </a:lnTo>
                    <a:lnTo>
                      <a:pt x="146" y="89"/>
                    </a:lnTo>
                    <a:lnTo>
                      <a:pt x="140" y="87"/>
                    </a:lnTo>
                    <a:lnTo>
                      <a:pt x="136" y="86"/>
                    </a:lnTo>
                    <a:lnTo>
                      <a:pt x="133" y="82"/>
                    </a:lnTo>
                    <a:lnTo>
                      <a:pt x="129" y="79"/>
                    </a:lnTo>
                    <a:lnTo>
                      <a:pt x="128" y="75"/>
                    </a:lnTo>
                    <a:lnTo>
                      <a:pt x="127" y="70"/>
                    </a:lnTo>
                    <a:lnTo>
                      <a:pt x="125" y="66"/>
                    </a:lnTo>
                    <a:lnTo>
                      <a:pt x="125" y="66"/>
                    </a:lnTo>
                    <a:lnTo>
                      <a:pt x="127" y="60"/>
                    </a:lnTo>
                    <a:lnTo>
                      <a:pt x="128" y="55"/>
                    </a:lnTo>
                    <a:lnTo>
                      <a:pt x="129" y="51"/>
                    </a:lnTo>
                    <a:lnTo>
                      <a:pt x="133" y="48"/>
                    </a:lnTo>
                    <a:lnTo>
                      <a:pt x="136" y="46"/>
                    </a:lnTo>
                    <a:lnTo>
                      <a:pt x="140" y="43"/>
                    </a:lnTo>
                    <a:lnTo>
                      <a:pt x="146" y="42"/>
                    </a:lnTo>
                    <a:lnTo>
                      <a:pt x="150" y="40"/>
                    </a:lnTo>
                    <a:lnTo>
                      <a:pt x="150" y="40"/>
                    </a:lnTo>
                    <a:close/>
                    <a:moveTo>
                      <a:pt x="69" y="40"/>
                    </a:moveTo>
                    <a:lnTo>
                      <a:pt x="69" y="40"/>
                    </a:lnTo>
                    <a:lnTo>
                      <a:pt x="74" y="42"/>
                    </a:lnTo>
                    <a:lnTo>
                      <a:pt x="78" y="43"/>
                    </a:lnTo>
                    <a:lnTo>
                      <a:pt x="82" y="46"/>
                    </a:lnTo>
                    <a:lnTo>
                      <a:pt x="86" y="48"/>
                    </a:lnTo>
                    <a:lnTo>
                      <a:pt x="89" y="51"/>
                    </a:lnTo>
                    <a:lnTo>
                      <a:pt x="92" y="55"/>
                    </a:lnTo>
                    <a:lnTo>
                      <a:pt x="93" y="60"/>
                    </a:lnTo>
                    <a:lnTo>
                      <a:pt x="93" y="66"/>
                    </a:lnTo>
                    <a:lnTo>
                      <a:pt x="93" y="66"/>
                    </a:lnTo>
                    <a:lnTo>
                      <a:pt x="93" y="70"/>
                    </a:lnTo>
                    <a:lnTo>
                      <a:pt x="92" y="75"/>
                    </a:lnTo>
                    <a:lnTo>
                      <a:pt x="89" y="79"/>
                    </a:lnTo>
                    <a:lnTo>
                      <a:pt x="86" y="82"/>
                    </a:lnTo>
                    <a:lnTo>
                      <a:pt x="82" y="86"/>
                    </a:lnTo>
                    <a:lnTo>
                      <a:pt x="78" y="87"/>
                    </a:lnTo>
                    <a:lnTo>
                      <a:pt x="74" y="89"/>
                    </a:lnTo>
                    <a:lnTo>
                      <a:pt x="69" y="90"/>
                    </a:lnTo>
                    <a:lnTo>
                      <a:pt x="69" y="90"/>
                    </a:lnTo>
                    <a:lnTo>
                      <a:pt x="63" y="89"/>
                    </a:lnTo>
                    <a:lnTo>
                      <a:pt x="59" y="87"/>
                    </a:lnTo>
                    <a:lnTo>
                      <a:pt x="55" y="86"/>
                    </a:lnTo>
                    <a:lnTo>
                      <a:pt x="51" y="82"/>
                    </a:lnTo>
                    <a:lnTo>
                      <a:pt x="49" y="79"/>
                    </a:lnTo>
                    <a:lnTo>
                      <a:pt x="46" y="75"/>
                    </a:lnTo>
                    <a:lnTo>
                      <a:pt x="44" y="70"/>
                    </a:lnTo>
                    <a:lnTo>
                      <a:pt x="44" y="66"/>
                    </a:lnTo>
                    <a:lnTo>
                      <a:pt x="44" y="66"/>
                    </a:lnTo>
                    <a:lnTo>
                      <a:pt x="44" y="60"/>
                    </a:lnTo>
                    <a:lnTo>
                      <a:pt x="46" y="55"/>
                    </a:lnTo>
                    <a:lnTo>
                      <a:pt x="49" y="51"/>
                    </a:lnTo>
                    <a:lnTo>
                      <a:pt x="51" y="48"/>
                    </a:lnTo>
                    <a:lnTo>
                      <a:pt x="55" y="46"/>
                    </a:lnTo>
                    <a:lnTo>
                      <a:pt x="59" y="43"/>
                    </a:lnTo>
                    <a:lnTo>
                      <a:pt x="63" y="42"/>
                    </a:lnTo>
                    <a:lnTo>
                      <a:pt x="69" y="40"/>
                    </a:lnTo>
                    <a:lnTo>
                      <a:pt x="69" y="40"/>
                    </a:lnTo>
                    <a:close/>
                    <a:moveTo>
                      <a:pt x="649" y="505"/>
                    </a:moveTo>
                    <a:lnTo>
                      <a:pt x="649" y="505"/>
                    </a:lnTo>
                    <a:lnTo>
                      <a:pt x="649" y="511"/>
                    </a:lnTo>
                    <a:lnTo>
                      <a:pt x="647" y="518"/>
                    </a:lnTo>
                    <a:lnTo>
                      <a:pt x="643" y="523"/>
                    </a:lnTo>
                    <a:lnTo>
                      <a:pt x="639" y="528"/>
                    </a:lnTo>
                    <a:lnTo>
                      <a:pt x="635" y="532"/>
                    </a:lnTo>
                    <a:lnTo>
                      <a:pt x="630" y="535"/>
                    </a:lnTo>
                    <a:lnTo>
                      <a:pt x="623" y="536"/>
                    </a:lnTo>
                    <a:lnTo>
                      <a:pt x="616" y="538"/>
                    </a:lnTo>
                    <a:lnTo>
                      <a:pt x="74" y="538"/>
                    </a:lnTo>
                    <a:lnTo>
                      <a:pt x="74" y="538"/>
                    </a:lnTo>
                    <a:lnTo>
                      <a:pt x="67" y="536"/>
                    </a:lnTo>
                    <a:lnTo>
                      <a:pt x="61" y="535"/>
                    </a:lnTo>
                    <a:lnTo>
                      <a:pt x="55" y="532"/>
                    </a:lnTo>
                    <a:lnTo>
                      <a:pt x="51" y="528"/>
                    </a:lnTo>
                    <a:lnTo>
                      <a:pt x="47" y="523"/>
                    </a:lnTo>
                    <a:lnTo>
                      <a:pt x="44" y="518"/>
                    </a:lnTo>
                    <a:lnTo>
                      <a:pt x="42" y="511"/>
                    </a:lnTo>
                    <a:lnTo>
                      <a:pt x="42" y="505"/>
                    </a:lnTo>
                    <a:lnTo>
                      <a:pt x="42" y="185"/>
                    </a:lnTo>
                    <a:lnTo>
                      <a:pt x="42" y="185"/>
                    </a:lnTo>
                    <a:lnTo>
                      <a:pt x="42" y="179"/>
                    </a:lnTo>
                    <a:lnTo>
                      <a:pt x="44" y="172"/>
                    </a:lnTo>
                    <a:lnTo>
                      <a:pt x="47" y="167"/>
                    </a:lnTo>
                    <a:lnTo>
                      <a:pt x="51" y="162"/>
                    </a:lnTo>
                    <a:lnTo>
                      <a:pt x="55" y="158"/>
                    </a:lnTo>
                    <a:lnTo>
                      <a:pt x="61" y="155"/>
                    </a:lnTo>
                    <a:lnTo>
                      <a:pt x="67" y="154"/>
                    </a:lnTo>
                    <a:lnTo>
                      <a:pt x="74" y="152"/>
                    </a:lnTo>
                    <a:lnTo>
                      <a:pt x="616" y="152"/>
                    </a:lnTo>
                    <a:lnTo>
                      <a:pt x="616" y="152"/>
                    </a:lnTo>
                    <a:lnTo>
                      <a:pt x="623" y="154"/>
                    </a:lnTo>
                    <a:lnTo>
                      <a:pt x="630" y="155"/>
                    </a:lnTo>
                    <a:lnTo>
                      <a:pt x="635" y="158"/>
                    </a:lnTo>
                    <a:lnTo>
                      <a:pt x="639" y="162"/>
                    </a:lnTo>
                    <a:lnTo>
                      <a:pt x="643" y="167"/>
                    </a:lnTo>
                    <a:lnTo>
                      <a:pt x="647" y="172"/>
                    </a:lnTo>
                    <a:lnTo>
                      <a:pt x="649" y="179"/>
                    </a:lnTo>
                    <a:lnTo>
                      <a:pt x="649" y="185"/>
                    </a:lnTo>
                    <a:lnTo>
                      <a:pt x="649" y="5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53" name="Freeform 160"/>
              <p:cNvSpPr>
                <a:spLocks noEditPoints="1"/>
              </p:cNvSpPr>
              <p:nvPr/>
            </p:nvSpPr>
            <p:spPr bwMode="auto">
              <a:xfrm>
                <a:off x="3046413" y="4298950"/>
                <a:ext cx="201613" cy="206375"/>
              </a:xfrm>
              <a:custGeom>
                <a:avLst/>
                <a:gdLst>
                  <a:gd name="T0" fmla="*/ 252 w 253"/>
                  <a:gd name="T1" fmla="*/ 103 h 262"/>
                  <a:gd name="T2" fmla="*/ 253 w 253"/>
                  <a:gd name="T3" fmla="*/ 97 h 262"/>
                  <a:gd name="T4" fmla="*/ 230 w 253"/>
                  <a:gd name="T5" fmla="*/ 51 h 262"/>
                  <a:gd name="T6" fmla="*/ 217 w 253"/>
                  <a:gd name="T7" fmla="*/ 38 h 262"/>
                  <a:gd name="T8" fmla="*/ 209 w 253"/>
                  <a:gd name="T9" fmla="*/ 38 h 262"/>
                  <a:gd name="T10" fmla="*/ 191 w 253"/>
                  <a:gd name="T11" fmla="*/ 40 h 262"/>
                  <a:gd name="T12" fmla="*/ 166 w 253"/>
                  <a:gd name="T13" fmla="*/ 18 h 262"/>
                  <a:gd name="T14" fmla="*/ 166 w 253"/>
                  <a:gd name="T15" fmla="*/ 11 h 262"/>
                  <a:gd name="T16" fmla="*/ 160 w 253"/>
                  <a:gd name="T17" fmla="*/ 4 h 262"/>
                  <a:gd name="T18" fmla="*/ 126 w 253"/>
                  <a:gd name="T19" fmla="*/ 0 h 262"/>
                  <a:gd name="T20" fmla="*/ 91 w 253"/>
                  <a:gd name="T21" fmla="*/ 5 h 262"/>
                  <a:gd name="T22" fmla="*/ 87 w 253"/>
                  <a:gd name="T23" fmla="*/ 14 h 262"/>
                  <a:gd name="T24" fmla="*/ 81 w 253"/>
                  <a:gd name="T25" fmla="*/ 30 h 262"/>
                  <a:gd name="T26" fmla="*/ 47 w 253"/>
                  <a:gd name="T27" fmla="*/ 40 h 262"/>
                  <a:gd name="T28" fmla="*/ 41 w 253"/>
                  <a:gd name="T29" fmla="*/ 36 h 262"/>
                  <a:gd name="T30" fmla="*/ 33 w 253"/>
                  <a:gd name="T31" fmla="*/ 39 h 262"/>
                  <a:gd name="T32" fmla="*/ 13 w 253"/>
                  <a:gd name="T33" fmla="*/ 66 h 262"/>
                  <a:gd name="T34" fmla="*/ 1 w 253"/>
                  <a:gd name="T35" fmla="*/ 97 h 262"/>
                  <a:gd name="T36" fmla="*/ 5 w 253"/>
                  <a:gd name="T37" fmla="*/ 107 h 262"/>
                  <a:gd name="T38" fmla="*/ 17 w 253"/>
                  <a:gd name="T39" fmla="*/ 109 h 262"/>
                  <a:gd name="T40" fmla="*/ 16 w 253"/>
                  <a:gd name="T41" fmla="*/ 142 h 262"/>
                  <a:gd name="T42" fmla="*/ 5 w 253"/>
                  <a:gd name="T43" fmla="*/ 155 h 262"/>
                  <a:gd name="T44" fmla="*/ 0 w 253"/>
                  <a:gd name="T45" fmla="*/ 163 h 262"/>
                  <a:gd name="T46" fmla="*/ 6 w 253"/>
                  <a:gd name="T47" fmla="*/ 181 h 262"/>
                  <a:gd name="T48" fmla="*/ 33 w 253"/>
                  <a:gd name="T49" fmla="*/ 223 h 262"/>
                  <a:gd name="T50" fmla="*/ 39 w 253"/>
                  <a:gd name="T51" fmla="*/ 225 h 262"/>
                  <a:gd name="T52" fmla="*/ 47 w 253"/>
                  <a:gd name="T53" fmla="*/ 221 h 262"/>
                  <a:gd name="T54" fmla="*/ 71 w 253"/>
                  <a:gd name="T55" fmla="*/ 227 h 262"/>
                  <a:gd name="T56" fmla="*/ 87 w 253"/>
                  <a:gd name="T57" fmla="*/ 245 h 262"/>
                  <a:gd name="T58" fmla="*/ 89 w 253"/>
                  <a:gd name="T59" fmla="*/ 254 h 262"/>
                  <a:gd name="T60" fmla="*/ 94 w 253"/>
                  <a:gd name="T61" fmla="*/ 258 h 262"/>
                  <a:gd name="T62" fmla="*/ 144 w 253"/>
                  <a:gd name="T63" fmla="*/ 260 h 262"/>
                  <a:gd name="T64" fmla="*/ 163 w 253"/>
                  <a:gd name="T65" fmla="*/ 256 h 262"/>
                  <a:gd name="T66" fmla="*/ 166 w 253"/>
                  <a:gd name="T67" fmla="*/ 248 h 262"/>
                  <a:gd name="T68" fmla="*/ 172 w 253"/>
                  <a:gd name="T69" fmla="*/ 232 h 262"/>
                  <a:gd name="T70" fmla="*/ 206 w 253"/>
                  <a:gd name="T71" fmla="*/ 221 h 262"/>
                  <a:gd name="T72" fmla="*/ 211 w 253"/>
                  <a:gd name="T73" fmla="*/ 225 h 262"/>
                  <a:gd name="T74" fmla="*/ 219 w 253"/>
                  <a:gd name="T75" fmla="*/ 223 h 262"/>
                  <a:gd name="T76" fmla="*/ 240 w 253"/>
                  <a:gd name="T77" fmla="*/ 197 h 262"/>
                  <a:gd name="T78" fmla="*/ 253 w 253"/>
                  <a:gd name="T79" fmla="*/ 166 h 262"/>
                  <a:gd name="T80" fmla="*/ 248 w 253"/>
                  <a:gd name="T81" fmla="*/ 155 h 262"/>
                  <a:gd name="T82" fmla="*/ 236 w 253"/>
                  <a:gd name="T83" fmla="*/ 152 h 262"/>
                  <a:gd name="T84" fmla="*/ 237 w 253"/>
                  <a:gd name="T85" fmla="*/ 120 h 262"/>
                  <a:gd name="T86" fmla="*/ 248 w 253"/>
                  <a:gd name="T87" fmla="*/ 107 h 262"/>
                  <a:gd name="T88" fmla="*/ 114 w 253"/>
                  <a:gd name="T89" fmla="*/ 191 h 262"/>
                  <a:gd name="T90" fmla="*/ 75 w 253"/>
                  <a:gd name="T91" fmla="*/ 166 h 262"/>
                  <a:gd name="T92" fmla="*/ 64 w 253"/>
                  <a:gd name="T93" fmla="*/ 131 h 262"/>
                  <a:gd name="T94" fmla="*/ 83 w 253"/>
                  <a:gd name="T95" fmla="*/ 88 h 262"/>
                  <a:gd name="T96" fmla="*/ 126 w 253"/>
                  <a:gd name="T97" fmla="*/ 70 h 262"/>
                  <a:gd name="T98" fmla="*/ 161 w 253"/>
                  <a:gd name="T99" fmla="*/ 80 h 262"/>
                  <a:gd name="T100" fmla="*/ 187 w 253"/>
                  <a:gd name="T101" fmla="*/ 119 h 262"/>
                  <a:gd name="T102" fmla="*/ 183 w 253"/>
                  <a:gd name="T103" fmla="*/ 155 h 262"/>
                  <a:gd name="T104" fmla="*/ 151 w 253"/>
                  <a:gd name="T105" fmla="*/ 1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62">
                    <a:moveTo>
                      <a:pt x="248" y="107"/>
                    </a:moveTo>
                    <a:lnTo>
                      <a:pt x="248" y="107"/>
                    </a:lnTo>
                    <a:lnTo>
                      <a:pt x="250" y="105"/>
                    </a:lnTo>
                    <a:lnTo>
                      <a:pt x="252" y="103"/>
                    </a:lnTo>
                    <a:lnTo>
                      <a:pt x="253" y="100"/>
                    </a:lnTo>
                    <a:lnTo>
                      <a:pt x="253" y="97"/>
                    </a:lnTo>
                    <a:lnTo>
                      <a:pt x="253" y="97"/>
                    </a:lnTo>
                    <a:lnTo>
                      <a:pt x="253" y="97"/>
                    </a:lnTo>
                    <a:lnTo>
                      <a:pt x="246" y="81"/>
                    </a:lnTo>
                    <a:lnTo>
                      <a:pt x="240" y="66"/>
                    </a:lnTo>
                    <a:lnTo>
                      <a:pt x="240" y="66"/>
                    </a:lnTo>
                    <a:lnTo>
                      <a:pt x="230" y="51"/>
                    </a:lnTo>
                    <a:lnTo>
                      <a:pt x="219" y="39"/>
                    </a:lnTo>
                    <a:lnTo>
                      <a:pt x="219" y="39"/>
                    </a:lnTo>
                    <a:lnTo>
                      <a:pt x="219" y="39"/>
                    </a:lnTo>
                    <a:lnTo>
                      <a:pt x="217" y="38"/>
                    </a:lnTo>
                    <a:lnTo>
                      <a:pt x="214" y="36"/>
                    </a:lnTo>
                    <a:lnTo>
                      <a:pt x="211" y="36"/>
                    </a:lnTo>
                    <a:lnTo>
                      <a:pt x="209" y="38"/>
                    </a:lnTo>
                    <a:lnTo>
                      <a:pt x="209" y="38"/>
                    </a:lnTo>
                    <a:lnTo>
                      <a:pt x="206" y="40"/>
                    </a:lnTo>
                    <a:lnTo>
                      <a:pt x="199" y="47"/>
                    </a:lnTo>
                    <a:lnTo>
                      <a:pt x="199" y="47"/>
                    </a:lnTo>
                    <a:lnTo>
                      <a:pt x="191" y="40"/>
                    </a:lnTo>
                    <a:lnTo>
                      <a:pt x="182" y="35"/>
                    </a:lnTo>
                    <a:lnTo>
                      <a:pt x="172" y="30"/>
                    </a:lnTo>
                    <a:lnTo>
                      <a:pt x="163" y="26"/>
                    </a:lnTo>
                    <a:lnTo>
                      <a:pt x="166" y="18"/>
                    </a:lnTo>
                    <a:lnTo>
                      <a:pt x="166" y="18"/>
                    </a:lnTo>
                    <a:lnTo>
                      <a:pt x="166" y="14"/>
                    </a:lnTo>
                    <a:lnTo>
                      <a:pt x="166" y="14"/>
                    </a:lnTo>
                    <a:lnTo>
                      <a:pt x="166" y="11"/>
                    </a:lnTo>
                    <a:lnTo>
                      <a:pt x="164" y="8"/>
                    </a:lnTo>
                    <a:lnTo>
                      <a:pt x="163" y="5"/>
                    </a:lnTo>
                    <a:lnTo>
                      <a:pt x="160" y="4"/>
                    </a:lnTo>
                    <a:lnTo>
                      <a:pt x="160" y="4"/>
                    </a:lnTo>
                    <a:lnTo>
                      <a:pt x="160" y="4"/>
                    </a:lnTo>
                    <a:lnTo>
                      <a:pt x="144" y="1"/>
                    </a:lnTo>
                    <a:lnTo>
                      <a:pt x="126" y="0"/>
                    </a:lnTo>
                    <a:lnTo>
                      <a:pt x="126" y="0"/>
                    </a:lnTo>
                    <a:lnTo>
                      <a:pt x="110" y="1"/>
                    </a:lnTo>
                    <a:lnTo>
                      <a:pt x="93" y="4"/>
                    </a:lnTo>
                    <a:lnTo>
                      <a:pt x="93" y="4"/>
                    </a:lnTo>
                    <a:lnTo>
                      <a:pt x="91" y="5"/>
                    </a:lnTo>
                    <a:lnTo>
                      <a:pt x="89" y="8"/>
                    </a:lnTo>
                    <a:lnTo>
                      <a:pt x="87" y="11"/>
                    </a:lnTo>
                    <a:lnTo>
                      <a:pt x="87" y="14"/>
                    </a:lnTo>
                    <a:lnTo>
                      <a:pt x="87" y="14"/>
                    </a:lnTo>
                    <a:lnTo>
                      <a:pt x="87" y="18"/>
                    </a:lnTo>
                    <a:lnTo>
                      <a:pt x="91" y="26"/>
                    </a:lnTo>
                    <a:lnTo>
                      <a:pt x="91" y="26"/>
                    </a:lnTo>
                    <a:lnTo>
                      <a:pt x="81" y="30"/>
                    </a:lnTo>
                    <a:lnTo>
                      <a:pt x="71" y="35"/>
                    </a:lnTo>
                    <a:lnTo>
                      <a:pt x="62" y="40"/>
                    </a:lnTo>
                    <a:lnTo>
                      <a:pt x="54" y="47"/>
                    </a:lnTo>
                    <a:lnTo>
                      <a:pt x="47" y="40"/>
                    </a:lnTo>
                    <a:lnTo>
                      <a:pt x="47" y="40"/>
                    </a:lnTo>
                    <a:lnTo>
                      <a:pt x="44" y="38"/>
                    </a:lnTo>
                    <a:lnTo>
                      <a:pt x="44" y="38"/>
                    </a:lnTo>
                    <a:lnTo>
                      <a:pt x="41" y="36"/>
                    </a:lnTo>
                    <a:lnTo>
                      <a:pt x="39" y="36"/>
                    </a:lnTo>
                    <a:lnTo>
                      <a:pt x="36" y="38"/>
                    </a:lnTo>
                    <a:lnTo>
                      <a:pt x="33" y="39"/>
                    </a:lnTo>
                    <a:lnTo>
                      <a:pt x="33" y="39"/>
                    </a:lnTo>
                    <a:lnTo>
                      <a:pt x="33" y="39"/>
                    </a:lnTo>
                    <a:lnTo>
                      <a:pt x="23" y="51"/>
                    </a:lnTo>
                    <a:lnTo>
                      <a:pt x="13" y="66"/>
                    </a:lnTo>
                    <a:lnTo>
                      <a:pt x="13" y="66"/>
                    </a:lnTo>
                    <a:lnTo>
                      <a:pt x="6" y="81"/>
                    </a:lnTo>
                    <a:lnTo>
                      <a:pt x="1" y="97"/>
                    </a:lnTo>
                    <a:lnTo>
                      <a:pt x="1" y="97"/>
                    </a:lnTo>
                    <a:lnTo>
                      <a:pt x="1" y="97"/>
                    </a:lnTo>
                    <a:lnTo>
                      <a:pt x="0" y="100"/>
                    </a:lnTo>
                    <a:lnTo>
                      <a:pt x="1" y="103"/>
                    </a:lnTo>
                    <a:lnTo>
                      <a:pt x="2" y="105"/>
                    </a:lnTo>
                    <a:lnTo>
                      <a:pt x="5" y="107"/>
                    </a:lnTo>
                    <a:lnTo>
                      <a:pt x="5" y="107"/>
                    </a:lnTo>
                    <a:lnTo>
                      <a:pt x="9" y="108"/>
                    </a:lnTo>
                    <a:lnTo>
                      <a:pt x="17" y="109"/>
                    </a:lnTo>
                    <a:lnTo>
                      <a:pt x="17" y="109"/>
                    </a:lnTo>
                    <a:lnTo>
                      <a:pt x="16" y="120"/>
                    </a:lnTo>
                    <a:lnTo>
                      <a:pt x="16" y="131"/>
                    </a:lnTo>
                    <a:lnTo>
                      <a:pt x="16" y="131"/>
                    </a:lnTo>
                    <a:lnTo>
                      <a:pt x="16" y="142"/>
                    </a:lnTo>
                    <a:lnTo>
                      <a:pt x="17" y="152"/>
                    </a:lnTo>
                    <a:lnTo>
                      <a:pt x="9" y="154"/>
                    </a:lnTo>
                    <a:lnTo>
                      <a:pt x="9" y="154"/>
                    </a:lnTo>
                    <a:lnTo>
                      <a:pt x="5" y="155"/>
                    </a:lnTo>
                    <a:lnTo>
                      <a:pt x="5" y="155"/>
                    </a:lnTo>
                    <a:lnTo>
                      <a:pt x="2" y="158"/>
                    </a:lnTo>
                    <a:lnTo>
                      <a:pt x="1" y="160"/>
                    </a:lnTo>
                    <a:lnTo>
                      <a:pt x="0" y="163"/>
                    </a:lnTo>
                    <a:lnTo>
                      <a:pt x="1" y="166"/>
                    </a:lnTo>
                    <a:lnTo>
                      <a:pt x="1" y="166"/>
                    </a:lnTo>
                    <a:lnTo>
                      <a:pt x="1" y="166"/>
                    </a:lnTo>
                    <a:lnTo>
                      <a:pt x="6" y="181"/>
                    </a:lnTo>
                    <a:lnTo>
                      <a:pt x="13" y="197"/>
                    </a:lnTo>
                    <a:lnTo>
                      <a:pt x="13" y="197"/>
                    </a:lnTo>
                    <a:lnTo>
                      <a:pt x="23" y="210"/>
                    </a:lnTo>
                    <a:lnTo>
                      <a:pt x="33" y="223"/>
                    </a:lnTo>
                    <a:lnTo>
                      <a:pt x="33" y="223"/>
                    </a:lnTo>
                    <a:lnTo>
                      <a:pt x="33" y="223"/>
                    </a:lnTo>
                    <a:lnTo>
                      <a:pt x="36" y="224"/>
                    </a:lnTo>
                    <a:lnTo>
                      <a:pt x="39" y="225"/>
                    </a:lnTo>
                    <a:lnTo>
                      <a:pt x="41" y="225"/>
                    </a:lnTo>
                    <a:lnTo>
                      <a:pt x="44" y="224"/>
                    </a:lnTo>
                    <a:lnTo>
                      <a:pt x="44" y="224"/>
                    </a:lnTo>
                    <a:lnTo>
                      <a:pt x="47" y="221"/>
                    </a:lnTo>
                    <a:lnTo>
                      <a:pt x="54" y="214"/>
                    </a:lnTo>
                    <a:lnTo>
                      <a:pt x="54" y="214"/>
                    </a:lnTo>
                    <a:lnTo>
                      <a:pt x="62" y="221"/>
                    </a:lnTo>
                    <a:lnTo>
                      <a:pt x="71" y="227"/>
                    </a:lnTo>
                    <a:lnTo>
                      <a:pt x="81" y="232"/>
                    </a:lnTo>
                    <a:lnTo>
                      <a:pt x="91" y="236"/>
                    </a:lnTo>
                    <a:lnTo>
                      <a:pt x="87" y="245"/>
                    </a:lnTo>
                    <a:lnTo>
                      <a:pt x="87" y="245"/>
                    </a:lnTo>
                    <a:lnTo>
                      <a:pt x="87" y="248"/>
                    </a:lnTo>
                    <a:lnTo>
                      <a:pt x="87" y="248"/>
                    </a:lnTo>
                    <a:lnTo>
                      <a:pt x="87" y="252"/>
                    </a:lnTo>
                    <a:lnTo>
                      <a:pt x="89" y="254"/>
                    </a:lnTo>
                    <a:lnTo>
                      <a:pt x="91" y="256"/>
                    </a:lnTo>
                    <a:lnTo>
                      <a:pt x="94" y="258"/>
                    </a:lnTo>
                    <a:lnTo>
                      <a:pt x="94" y="258"/>
                    </a:lnTo>
                    <a:lnTo>
                      <a:pt x="94" y="258"/>
                    </a:lnTo>
                    <a:lnTo>
                      <a:pt x="110" y="260"/>
                    </a:lnTo>
                    <a:lnTo>
                      <a:pt x="126" y="262"/>
                    </a:lnTo>
                    <a:lnTo>
                      <a:pt x="126" y="262"/>
                    </a:lnTo>
                    <a:lnTo>
                      <a:pt x="144" y="260"/>
                    </a:lnTo>
                    <a:lnTo>
                      <a:pt x="160" y="258"/>
                    </a:lnTo>
                    <a:lnTo>
                      <a:pt x="160" y="258"/>
                    </a:lnTo>
                    <a:lnTo>
                      <a:pt x="160" y="258"/>
                    </a:lnTo>
                    <a:lnTo>
                      <a:pt x="163" y="256"/>
                    </a:lnTo>
                    <a:lnTo>
                      <a:pt x="164" y="254"/>
                    </a:lnTo>
                    <a:lnTo>
                      <a:pt x="166" y="252"/>
                    </a:lnTo>
                    <a:lnTo>
                      <a:pt x="166" y="248"/>
                    </a:lnTo>
                    <a:lnTo>
                      <a:pt x="166" y="248"/>
                    </a:lnTo>
                    <a:lnTo>
                      <a:pt x="166" y="245"/>
                    </a:lnTo>
                    <a:lnTo>
                      <a:pt x="163" y="236"/>
                    </a:lnTo>
                    <a:lnTo>
                      <a:pt x="163" y="236"/>
                    </a:lnTo>
                    <a:lnTo>
                      <a:pt x="172" y="232"/>
                    </a:lnTo>
                    <a:lnTo>
                      <a:pt x="182" y="227"/>
                    </a:lnTo>
                    <a:lnTo>
                      <a:pt x="191" y="221"/>
                    </a:lnTo>
                    <a:lnTo>
                      <a:pt x="199" y="214"/>
                    </a:lnTo>
                    <a:lnTo>
                      <a:pt x="206" y="221"/>
                    </a:lnTo>
                    <a:lnTo>
                      <a:pt x="206" y="221"/>
                    </a:lnTo>
                    <a:lnTo>
                      <a:pt x="209" y="224"/>
                    </a:lnTo>
                    <a:lnTo>
                      <a:pt x="209" y="224"/>
                    </a:lnTo>
                    <a:lnTo>
                      <a:pt x="211" y="225"/>
                    </a:lnTo>
                    <a:lnTo>
                      <a:pt x="214" y="225"/>
                    </a:lnTo>
                    <a:lnTo>
                      <a:pt x="217" y="224"/>
                    </a:lnTo>
                    <a:lnTo>
                      <a:pt x="219" y="223"/>
                    </a:lnTo>
                    <a:lnTo>
                      <a:pt x="219" y="223"/>
                    </a:lnTo>
                    <a:lnTo>
                      <a:pt x="219" y="223"/>
                    </a:lnTo>
                    <a:lnTo>
                      <a:pt x="230" y="210"/>
                    </a:lnTo>
                    <a:lnTo>
                      <a:pt x="240" y="197"/>
                    </a:lnTo>
                    <a:lnTo>
                      <a:pt x="240" y="197"/>
                    </a:lnTo>
                    <a:lnTo>
                      <a:pt x="246" y="181"/>
                    </a:lnTo>
                    <a:lnTo>
                      <a:pt x="253" y="166"/>
                    </a:lnTo>
                    <a:lnTo>
                      <a:pt x="253" y="166"/>
                    </a:lnTo>
                    <a:lnTo>
                      <a:pt x="253" y="166"/>
                    </a:lnTo>
                    <a:lnTo>
                      <a:pt x="253" y="163"/>
                    </a:lnTo>
                    <a:lnTo>
                      <a:pt x="252" y="160"/>
                    </a:lnTo>
                    <a:lnTo>
                      <a:pt x="250" y="158"/>
                    </a:lnTo>
                    <a:lnTo>
                      <a:pt x="248" y="155"/>
                    </a:lnTo>
                    <a:lnTo>
                      <a:pt x="248" y="155"/>
                    </a:lnTo>
                    <a:lnTo>
                      <a:pt x="245" y="154"/>
                    </a:lnTo>
                    <a:lnTo>
                      <a:pt x="236" y="152"/>
                    </a:lnTo>
                    <a:lnTo>
                      <a:pt x="236" y="152"/>
                    </a:lnTo>
                    <a:lnTo>
                      <a:pt x="237" y="142"/>
                    </a:lnTo>
                    <a:lnTo>
                      <a:pt x="237" y="131"/>
                    </a:lnTo>
                    <a:lnTo>
                      <a:pt x="237" y="131"/>
                    </a:lnTo>
                    <a:lnTo>
                      <a:pt x="237" y="120"/>
                    </a:lnTo>
                    <a:lnTo>
                      <a:pt x="236" y="109"/>
                    </a:lnTo>
                    <a:lnTo>
                      <a:pt x="245" y="108"/>
                    </a:lnTo>
                    <a:lnTo>
                      <a:pt x="245" y="108"/>
                    </a:lnTo>
                    <a:lnTo>
                      <a:pt x="248" y="107"/>
                    </a:lnTo>
                    <a:lnTo>
                      <a:pt x="248" y="107"/>
                    </a:lnTo>
                    <a:close/>
                    <a:moveTo>
                      <a:pt x="126" y="193"/>
                    </a:moveTo>
                    <a:lnTo>
                      <a:pt x="126" y="193"/>
                    </a:lnTo>
                    <a:lnTo>
                      <a:pt x="114" y="191"/>
                    </a:lnTo>
                    <a:lnTo>
                      <a:pt x="102" y="187"/>
                    </a:lnTo>
                    <a:lnTo>
                      <a:pt x="93" y="182"/>
                    </a:lnTo>
                    <a:lnTo>
                      <a:pt x="83" y="174"/>
                    </a:lnTo>
                    <a:lnTo>
                      <a:pt x="75" y="166"/>
                    </a:lnTo>
                    <a:lnTo>
                      <a:pt x="70" y="155"/>
                    </a:lnTo>
                    <a:lnTo>
                      <a:pt x="66" y="143"/>
                    </a:lnTo>
                    <a:lnTo>
                      <a:pt x="64" y="131"/>
                    </a:lnTo>
                    <a:lnTo>
                      <a:pt x="64" y="131"/>
                    </a:lnTo>
                    <a:lnTo>
                      <a:pt x="66" y="119"/>
                    </a:lnTo>
                    <a:lnTo>
                      <a:pt x="70" y="107"/>
                    </a:lnTo>
                    <a:lnTo>
                      <a:pt x="75" y="97"/>
                    </a:lnTo>
                    <a:lnTo>
                      <a:pt x="83" y="88"/>
                    </a:lnTo>
                    <a:lnTo>
                      <a:pt x="93" y="80"/>
                    </a:lnTo>
                    <a:lnTo>
                      <a:pt x="102" y="74"/>
                    </a:lnTo>
                    <a:lnTo>
                      <a:pt x="114" y="70"/>
                    </a:lnTo>
                    <a:lnTo>
                      <a:pt x="126" y="70"/>
                    </a:lnTo>
                    <a:lnTo>
                      <a:pt x="126" y="70"/>
                    </a:lnTo>
                    <a:lnTo>
                      <a:pt x="139" y="70"/>
                    </a:lnTo>
                    <a:lnTo>
                      <a:pt x="151" y="74"/>
                    </a:lnTo>
                    <a:lnTo>
                      <a:pt x="161" y="80"/>
                    </a:lnTo>
                    <a:lnTo>
                      <a:pt x="170" y="88"/>
                    </a:lnTo>
                    <a:lnTo>
                      <a:pt x="178" y="97"/>
                    </a:lnTo>
                    <a:lnTo>
                      <a:pt x="183" y="107"/>
                    </a:lnTo>
                    <a:lnTo>
                      <a:pt x="187" y="119"/>
                    </a:lnTo>
                    <a:lnTo>
                      <a:pt x="188" y="131"/>
                    </a:lnTo>
                    <a:lnTo>
                      <a:pt x="188" y="131"/>
                    </a:lnTo>
                    <a:lnTo>
                      <a:pt x="187" y="143"/>
                    </a:lnTo>
                    <a:lnTo>
                      <a:pt x="183" y="155"/>
                    </a:lnTo>
                    <a:lnTo>
                      <a:pt x="178" y="166"/>
                    </a:lnTo>
                    <a:lnTo>
                      <a:pt x="170" y="174"/>
                    </a:lnTo>
                    <a:lnTo>
                      <a:pt x="161" y="182"/>
                    </a:lnTo>
                    <a:lnTo>
                      <a:pt x="151" y="187"/>
                    </a:lnTo>
                    <a:lnTo>
                      <a:pt x="139" y="191"/>
                    </a:lnTo>
                    <a:lnTo>
                      <a:pt x="126" y="193"/>
                    </a:lnTo>
                    <a:lnTo>
                      <a:pt x="12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54" name="Freeform 161"/>
              <p:cNvSpPr>
                <a:spLocks noEditPoints="1"/>
              </p:cNvSpPr>
              <p:nvPr/>
            </p:nvSpPr>
            <p:spPr bwMode="auto">
              <a:xfrm>
                <a:off x="3236913" y="4249738"/>
                <a:ext cx="112713" cy="115888"/>
              </a:xfrm>
              <a:custGeom>
                <a:avLst/>
                <a:gdLst>
                  <a:gd name="T0" fmla="*/ 129 w 141"/>
                  <a:gd name="T1" fmla="*/ 85 h 146"/>
                  <a:gd name="T2" fmla="*/ 129 w 141"/>
                  <a:gd name="T3" fmla="*/ 62 h 146"/>
                  <a:gd name="T4" fmla="*/ 139 w 141"/>
                  <a:gd name="T5" fmla="*/ 60 h 146"/>
                  <a:gd name="T6" fmla="*/ 141 w 141"/>
                  <a:gd name="T7" fmla="*/ 54 h 146"/>
                  <a:gd name="T8" fmla="*/ 139 w 141"/>
                  <a:gd name="T9" fmla="*/ 46 h 146"/>
                  <a:gd name="T10" fmla="*/ 129 w 141"/>
                  <a:gd name="T11" fmla="*/ 29 h 146"/>
                  <a:gd name="T12" fmla="*/ 122 w 141"/>
                  <a:gd name="T13" fmla="*/ 22 h 146"/>
                  <a:gd name="T14" fmla="*/ 117 w 141"/>
                  <a:gd name="T15" fmla="*/ 22 h 146"/>
                  <a:gd name="T16" fmla="*/ 110 w 141"/>
                  <a:gd name="T17" fmla="*/ 29 h 146"/>
                  <a:gd name="T18" fmla="*/ 93 w 141"/>
                  <a:gd name="T19" fmla="*/ 10 h 146"/>
                  <a:gd name="T20" fmla="*/ 93 w 141"/>
                  <a:gd name="T21" fmla="*/ 8 h 146"/>
                  <a:gd name="T22" fmla="*/ 89 w 141"/>
                  <a:gd name="T23" fmla="*/ 3 h 146"/>
                  <a:gd name="T24" fmla="*/ 71 w 141"/>
                  <a:gd name="T25" fmla="*/ 0 h 146"/>
                  <a:gd name="T26" fmla="*/ 52 w 141"/>
                  <a:gd name="T27" fmla="*/ 3 h 146"/>
                  <a:gd name="T28" fmla="*/ 50 w 141"/>
                  <a:gd name="T29" fmla="*/ 4 h 146"/>
                  <a:gd name="T30" fmla="*/ 50 w 141"/>
                  <a:gd name="T31" fmla="*/ 10 h 146"/>
                  <a:gd name="T32" fmla="*/ 41 w 141"/>
                  <a:gd name="T33" fmla="*/ 22 h 146"/>
                  <a:gd name="T34" fmla="*/ 27 w 141"/>
                  <a:gd name="T35" fmla="*/ 23 h 146"/>
                  <a:gd name="T36" fmla="*/ 21 w 141"/>
                  <a:gd name="T37" fmla="*/ 21 h 146"/>
                  <a:gd name="T38" fmla="*/ 19 w 141"/>
                  <a:gd name="T39" fmla="*/ 22 h 146"/>
                  <a:gd name="T40" fmla="*/ 8 w 141"/>
                  <a:gd name="T41" fmla="*/ 37 h 146"/>
                  <a:gd name="T42" fmla="*/ 0 w 141"/>
                  <a:gd name="T43" fmla="*/ 54 h 146"/>
                  <a:gd name="T44" fmla="*/ 2 w 141"/>
                  <a:gd name="T45" fmla="*/ 60 h 146"/>
                  <a:gd name="T46" fmla="*/ 13 w 141"/>
                  <a:gd name="T47" fmla="*/ 62 h 146"/>
                  <a:gd name="T48" fmla="*/ 12 w 141"/>
                  <a:gd name="T49" fmla="*/ 73 h 146"/>
                  <a:gd name="T50" fmla="*/ 5 w 141"/>
                  <a:gd name="T51" fmla="*/ 87 h 146"/>
                  <a:gd name="T52" fmla="*/ 1 w 141"/>
                  <a:gd name="T53" fmla="*/ 89 h 146"/>
                  <a:gd name="T54" fmla="*/ 0 w 141"/>
                  <a:gd name="T55" fmla="*/ 93 h 146"/>
                  <a:gd name="T56" fmla="*/ 8 w 141"/>
                  <a:gd name="T57" fmla="*/ 110 h 146"/>
                  <a:gd name="T58" fmla="*/ 19 w 141"/>
                  <a:gd name="T59" fmla="*/ 124 h 146"/>
                  <a:gd name="T60" fmla="*/ 25 w 141"/>
                  <a:gd name="T61" fmla="*/ 126 h 146"/>
                  <a:gd name="T62" fmla="*/ 32 w 141"/>
                  <a:gd name="T63" fmla="*/ 118 h 146"/>
                  <a:gd name="T64" fmla="*/ 52 w 141"/>
                  <a:gd name="T65" fmla="*/ 130 h 146"/>
                  <a:gd name="T66" fmla="*/ 48 w 141"/>
                  <a:gd name="T67" fmla="*/ 139 h 146"/>
                  <a:gd name="T68" fmla="*/ 52 w 141"/>
                  <a:gd name="T69" fmla="*/ 145 h 146"/>
                  <a:gd name="T70" fmla="*/ 62 w 141"/>
                  <a:gd name="T71" fmla="*/ 146 h 146"/>
                  <a:gd name="T72" fmla="*/ 81 w 141"/>
                  <a:gd name="T73" fmla="*/ 146 h 146"/>
                  <a:gd name="T74" fmla="*/ 89 w 141"/>
                  <a:gd name="T75" fmla="*/ 145 h 146"/>
                  <a:gd name="T76" fmla="*/ 93 w 141"/>
                  <a:gd name="T77" fmla="*/ 139 h 146"/>
                  <a:gd name="T78" fmla="*/ 90 w 141"/>
                  <a:gd name="T79" fmla="*/ 130 h 146"/>
                  <a:gd name="T80" fmla="*/ 116 w 141"/>
                  <a:gd name="T81" fmla="*/ 124 h 146"/>
                  <a:gd name="T82" fmla="*/ 117 w 141"/>
                  <a:gd name="T83" fmla="*/ 126 h 146"/>
                  <a:gd name="T84" fmla="*/ 122 w 141"/>
                  <a:gd name="T85" fmla="*/ 124 h 146"/>
                  <a:gd name="T86" fmla="*/ 135 w 141"/>
                  <a:gd name="T87" fmla="*/ 110 h 146"/>
                  <a:gd name="T88" fmla="*/ 141 w 141"/>
                  <a:gd name="T89" fmla="*/ 93 h 146"/>
                  <a:gd name="T90" fmla="*/ 141 w 141"/>
                  <a:gd name="T91" fmla="*/ 89 h 146"/>
                  <a:gd name="T92" fmla="*/ 137 w 141"/>
                  <a:gd name="T93" fmla="*/ 87 h 146"/>
                  <a:gd name="T94" fmla="*/ 71 w 141"/>
                  <a:gd name="T95" fmla="*/ 110 h 146"/>
                  <a:gd name="T96" fmla="*/ 51 w 141"/>
                  <a:gd name="T97" fmla="*/ 103 h 146"/>
                  <a:gd name="T98" fmla="*/ 37 w 141"/>
                  <a:gd name="T99" fmla="*/ 88 h 146"/>
                  <a:gd name="T100" fmla="*/ 35 w 141"/>
                  <a:gd name="T101" fmla="*/ 73 h 146"/>
                  <a:gd name="T102" fmla="*/ 41 w 141"/>
                  <a:gd name="T103" fmla="*/ 53 h 146"/>
                  <a:gd name="T104" fmla="*/ 56 w 141"/>
                  <a:gd name="T105" fmla="*/ 41 h 146"/>
                  <a:gd name="T106" fmla="*/ 71 w 141"/>
                  <a:gd name="T107" fmla="*/ 38 h 146"/>
                  <a:gd name="T108" fmla="*/ 91 w 141"/>
                  <a:gd name="T109" fmla="*/ 44 h 146"/>
                  <a:gd name="T110" fmla="*/ 104 w 141"/>
                  <a:gd name="T111" fmla="*/ 60 h 146"/>
                  <a:gd name="T112" fmla="*/ 106 w 141"/>
                  <a:gd name="T113" fmla="*/ 73 h 146"/>
                  <a:gd name="T114" fmla="*/ 101 w 141"/>
                  <a:gd name="T115" fmla="*/ 93 h 146"/>
                  <a:gd name="T116" fmla="*/ 85 w 141"/>
                  <a:gd name="T117" fmla="*/ 107 h 146"/>
                  <a:gd name="T118" fmla="*/ 71 w 141"/>
                  <a:gd name="T119" fmla="*/ 1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46">
                    <a:moveTo>
                      <a:pt x="137" y="87"/>
                    </a:moveTo>
                    <a:lnTo>
                      <a:pt x="129" y="85"/>
                    </a:lnTo>
                    <a:lnTo>
                      <a:pt x="129" y="85"/>
                    </a:lnTo>
                    <a:lnTo>
                      <a:pt x="130" y="73"/>
                    </a:lnTo>
                    <a:lnTo>
                      <a:pt x="130" y="73"/>
                    </a:lnTo>
                    <a:lnTo>
                      <a:pt x="129" y="62"/>
                    </a:lnTo>
                    <a:lnTo>
                      <a:pt x="137" y="61"/>
                    </a:lnTo>
                    <a:lnTo>
                      <a:pt x="137" y="61"/>
                    </a:lnTo>
                    <a:lnTo>
                      <a:pt x="139" y="60"/>
                    </a:lnTo>
                    <a:lnTo>
                      <a:pt x="139" y="60"/>
                    </a:lnTo>
                    <a:lnTo>
                      <a:pt x="141" y="57"/>
                    </a:lnTo>
                    <a:lnTo>
                      <a:pt x="141" y="54"/>
                    </a:lnTo>
                    <a:lnTo>
                      <a:pt x="141" y="54"/>
                    </a:lnTo>
                    <a:lnTo>
                      <a:pt x="141" y="54"/>
                    </a:lnTo>
                    <a:lnTo>
                      <a:pt x="139" y="46"/>
                    </a:lnTo>
                    <a:lnTo>
                      <a:pt x="135" y="37"/>
                    </a:lnTo>
                    <a:lnTo>
                      <a:pt x="135" y="37"/>
                    </a:lnTo>
                    <a:lnTo>
                      <a:pt x="129" y="29"/>
                    </a:lnTo>
                    <a:lnTo>
                      <a:pt x="122" y="22"/>
                    </a:lnTo>
                    <a:lnTo>
                      <a:pt x="122" y="22"/>
                    </a:lnTo>
                    <a:lnTo>
                      <a:pt x="122" y="22"/>
                    </a:lnTo>
                    <a:lnTo>
                      <a:pt x="120" y="21"/>
                    </a:lnTo>
                    <a:lnTo>
                      <a:pt x="117" y="22"/>
                    </a:lnTo>
                    <a:lnTo>
                      <a:pt x="117" y="22"/>
                    </a:lnTo>
                    <a:lnTo>
                      <a:pt x="116" y="23"/>
                    </a:lnTo>
                    <a:lnTo>
                      <a:pt x="110" y="29"/>
                    </a:lnTo>
                    <a:lnTo>
                      <a:pt x="110" y="29"/>
                    </a:lnTo>
                    <a:lnTo>
                      <a:pt x="101" y="22"/>
                    </a:lnTo>
                    <a:lnTo>
                      <a:pt x="90" y="18"/>
                    </a:lnTo>
                    <a:lnTo>
                      <a:pt x="93" y="10"/>
                    </a:lnTo>
                    <a:lnTo>
                      <a:pt x="93" y="10"/>
                    </a:lnTo>
                    <a:lnTo>
                      <a:pt x="93" y="8"/>
                    </a:lnTo>
                    <a:lnTo>
                      <a:pt x="93" y="8"/>
                    </a:lnTo>
                    <a:lnTo>
                      <a:pt x="91" y="4"/>
                    </a:lnTo>
                    <a:lnTo>
                      <a:pt x="89" y="3"/>
                    </a:lnTo>
                    <a:lnTo>
                      <a:pt x="89" y="3"/>
                    </a:lnTo>
                    <a:lnTo>
                      <a:pt x="89" y="3"/>
                    </a:lnTo>
                    <a:lnTo>
                      <a:pt x="81" y="2"/>
                    </a:lnTo>
                    <a:lnTo>
                      <a:pt x="71" y="0"/>
                    </a:lnTo>
                    <a:lnTo>
                      <a:pt x="71" y="0"/>
                    </a:lnTo>
                    <a:lnTo>
                      <a:pt x="62" y="2"/>
                    </a:lnTo>
                    <a:lnTo>
                      <a:pt x="52" y="3"/>
                    </a:lnTo>
                    <a:lnTo>
                      <a:pt x="52" y="3"/>
                    </a:lnTo>
                    <a:lnTo>
                      <a:pt x="52" y="3"/>
                    </a:lnTo>
                    <a:lnTo>
                      <a:pt x="50" y="4"/>
                    </a:lnTo>
                    <a:lnTo>
                      <a:pt x="48" y="8"/>
                    </a:lnTo>
                    <a:lnTo>
                      <a:pt x="48" y="8"/>
                    </a:lnTo>
                    <a:lnTo>
                      <a:pt x="50" y="10"/>
                    </a:lnTo>
                    <a:lnTo>
                      <a:pt x="52" y="18"/>
                    </a:lnTo>
                    <a:lnTo>
                      <a:pt x="52" y="18"/>
                    </a:lnTo>
                    <a:lnTo>
                      <a:pt x="41" y="22"/>
                    </a:lnTo>
                    <a:lnTo>
                      <a:pt x="32" y="29"/>
                    </a:lnTo>
                    <a:lnTo>
                      <a:pt x="27" y="23"/>
                    </a:lnTo>
                    <a:lnTo>
                      <a:pt x="27" y="23"/>
                    </a:lnTo>
                    <a:lnTo>
                      <a:pt x="25" y="22"/>
                    </a:lnTo>
                    <a:lnTo>
                      <a:pt x="25" y="22"/>
                    </a:lnTo>
                    <a:lnTo>
                      <a:pt x="21" y="21"/>
                    </a:lnTo>
                    <a:lnTo>
                      <a:pt x="19" y="22"/>
                    </a:lnTo>
                    <a:lnTo>
                      <a:pt x="19" y="22"/>
                    </a:lnTo>
                    <a:lnTo>
                      <a:pt x="19" y="22"/>
                    </a:lnTo>
                    <a:lnTo>
                      <a:pt x="13" y="29"/>
                    </a:lnTo>
                    <a:lnTo>
                      <a:pt x="8" y="37"/>
                    </a:lnTo>
                    <a:lnTo>
                      <a:pt x="8" y="37"/>
                    </a:lnTo>
                    <a:lnTo>
                      <a:pt x="4" y="46"/>
                    </a:lnTo>
                    <a:lnTo>
                      <a:pt x="0" y="54"/>
                    </a:lnTo>
                    <a:lnTo>
                      <a:pt x="0" y="54"/>
                    </a:lnTo>
                    <a:lnTo>
                      <a:pt x="0" y="54"/>
                    </a:lnTo>
                    <a:lnTo>
                      <a:pt x="1" y="57"/>
                    </a:lnTo>
                    <a:lnTo>
                      <a:pt x="2" y="60"/>
                    </a:lnTo>
                    <a:lnTo>
                      <a:pt x="2" y="60"/>
                    </a:lnTo>
                    <a:lnTo>
                      <a:pt x="5" y="61"/>
                    </a:lnTo>
                    <a:lnTo>
                      <a:pt x="13" y="62"/>
                    </a:lnTo>
                    <a:lnTo>
                      <a:pt x="13" y="62"/>
                    </a:lnTo>
                    <a:lnTo>
                      <a:pt x="12" y="73"/>
                    </a:lnTo>
                    <a:lnTo>
                      <a:pt x="12" y="73"/>
                    </a:lnTo>
                    <a:lnTo>
                      <a:pt x="13" y="85"/>
                    </a:lnTo>
                    <a:lnTo>
                      <a:pt x="5" y="87"/>
                    </a:lnTo>
                    <a:lnTo>
                      <a:pt x="5" y="87"/>
                    </a:lnTo>
                    <a:lnTo>
                      <a:pt x="2" y="87"/>
                    </a:lnTo>
                    <a:lnTo>
                      <a:pt x="2" y="87"/>
                    </a:lnTo>
                    <a:lnTo>
                      <a:pt x="1" y="89"/>
                    </a:lnTo>
                    <a:lnTo>
                      <a:pt x="0" y="93"/>
                    </a:lnTo>
                    <a:lnTo>
                      <a:pt x="0" y="93"/>
                    </a:lnTo>
                    <a:lnTo>
                      <a:pt x="0" y="93"/>
                    </a:lnTo>
                    <a:lnTo>
                      <a:pt x="4" y="101"/>
                    </a:lnTo>
                    <a:lnTo>
                      <a:pt x="8" y="110"/>
                    </a:lnTo>
                    <a:lnTo>
                      <a:pt x="8" y="110"/>
                    </a:lnTo>
                    <a:lnTo>
                      <a:pt x="13" y="118"/>
                    </a:lnTo>
                    <a:lnTo>
                      <a:pt x="19" y="124"/>
                    </a:lnTo>
                    <a:lnTo>
                      <a:pt x="19" y="124"/>
                    </a:lnTo>
                    <a:lnTo>
                      <a:pt x="19" y="124"/>
                    </a:lnTo>
                    <a:lnTo>
                      <a:pt x="21" y="126"/>
                    </a:lnTo>
                    <a:lnTo>
                      <a:pt x="25" y="126"/>
                    </a:lnTo>
                    <a:lnTo>
                      <a:pt x="25" y="126"/>
                    </a:lnTo>
                    <a:lnTo>
                      <a:pt x="27" y="124"/>
                    </a:lnTo>
                    <a:lnTo>
                      <a:pt x="32" y="118"/>
                    </a:lnTo>
                    <a:lnTo>
                      <a:pt x="32" y="118"/>
                    </a:lnTo>
                    <a:lnTo>
                      <a:pt x="41" y="124"/>
                    </a:lnTo>
                    <a:lnTo>
                      <a:pt x="52" y="130"/>
                    </a:lnTo>
                    <a:lnTo>
                      <a:pt x="50" y="138"/>
                    </a:lnTo>
                    <a:lnTo>
                      <a:pt x="50" y="138"/>
                    </a:lnTo>
                    <a:lnTo>
                      <a:pt x="48" y="139"/>
                    </a:lnTo>
                    <a:lnTo>
                      <a:pt x="48" y="139"/>
                    </a:lnTo>
                    <a:lnTo>
                      <a:pt x="50" y="142"/>
                    </a:lnTo>
                    <a:lnTo>
                      <a:pt x="52" y="145"/>
                    </a:lnTo>
                    <a:lnTo>
                      <a:pt x="52" y="145"/>
                    </a:lnTo>
                    <a:lnTo>
                      <a:pt x="52" y="145"/>
                    </a:lnTo>
                    <a:lnTo>
                      <a:pt x="62" y="146"/>
                    </a:lnTo>
                    <a:lnTo>
                      <a:pt x="71" y="146"/>
                    </a:lnTo>
                    <a:lnTo>
                      <a:pt x="71" y="146"/>
                    </a:lnTo>
                    <a:lnTo>
                      <a:pt x="81" y="146"/>
                    </a:lnTo>
                    <a:lnTo>
                      <a:pt x="89" y="145"/>
                    </a:lnTo>
                    <a:lnTo>
                      <a:pt x="89" y="145"/>
                    </a:lnTo>
                    <a:lnTo>
                      <a:pt x="89" y="145"/>
                    </a:lnTo>
                    <a:lnTo>
                      <a:pt x="91" y="142"/>
                    </a:lnTo>
                    <a:lnTo>
                      <a:pt x="93" y="139"/>
                    </a:lnTo>
                    <a:lnTo>
                      <a:pt x="93" y="139"/>
                    </a:lnTo>
                    <a:lnTo>
                      <a:pt x="93" y="138"/>
                    </a:lnTo>
                    <a:lnTo>
                      <a:pt x="90" y="130"/>
                    </a:lnTo>
                    <a:lnTo>
                      <a:pt x="90" y="130"/>
                    </a:lnTo>
                    <a:lnTo>
                      <a:pt x="101" y="124"/>
                    </a:lnTo>
                    <a:lnTo>
                      <a:pt x="110" y="118"/>
                    </a:lnTo>
                    <a:lnTo>
                      <a:pt x="116" y="124"/>
                    </a:lnTo>
                    <a:lnTo>
                      <a:pt x="116" y="124"/>
                    </a:lnTo>
                    <a:lnTo>
                      <a:pt x="117" y="126"/>
                    </a:lnTo>
                    <a:lnTo>
                      <a:pt x="117" y="126"/>
                    </a:lnTo>
                    <a:lnTo>
                      <a:pt x="120" y="126"/>
                    </a:lnTo>
                    <a:lnTo>
                      <a:pt x="122" y="124"/>
                    </a:lnTo>
                    <a:lnTo>
                      <a:pt x="122" y="124"/>
                    </a:lnTo>
                    <a:lnTo>
                      <a:pt x="122" y="124"/>
                    </a:lnTo>
                    <a:lnTo>
                      <a:pt x="129" y="118"/>
                    </a:lnTo>
                    <a:lnTo>
                      <a:pt x="135" y="110"/>
                    </a:lnTo>
                    <a:lnTo>
                      <a:pt x="135" y="110"/>
                    </a:lnTo>
                    <a:lnTo>
                      <a:pt x="139" y="101"/>
                    </a:lnTo>
                    <a:lnTo>
                      <a:pt x="141" y="93"/>
                    </a:lnTo>
                    <a:lnTo>
                      <a:pt x="141" y="93"/>
                    </a:lnTo>
                    <a:lnTo>
                      <a:pt x="141" y="93"/>
                    </a:lnTo>
                    <a:lnTo>
                      <a:pt x="141" y="89"/>
                    </a:lnTo>
                    <a:lnTo>
                      <a:pt x="139" y="87"/>
                    </a:lnTo>
                    <a:lnTo>
                      <a:pt x="139" y="87"/>
                    </a:lnTo>
                    <a:lnTo>
                      <a:pt x="137" y="87"/>
                    </a:lnTo>
                    <a:lnTo>
                      <a:pt x="137" y="87"/>
                    </a:lnTo>
                    <a:close/>
                    <a:moveTo>
                      <a:pt x="71" y="110"/>
                    </a:moveTo>
                    <a:lnTo>
                      <a:pt x="71" y="110"/>
                    </a:lnTo>
                    <a:lnTo>
                      <a:pt x="63" y="108"/>
                    </a:lnTo>
                    <a:lnTo>
                      <a:pt x="56" y="107"/>
                    </a:lnTo>
                    <a:lnTo>
                      <a:pt x="51" y="103"/>
                    </a:lnTo>
                    <a:lnTo>
                      <a:pt x="46" y="99"/>
                    </a:lnTo>
                    <a:lnTo>
                      <a:pt x="41" y="93"/>
                    </a:lnTo>
                    <a:lnTo>
                      <a:pt x="37" y="88"/>
                    </a:lnTo>
                    <a:lnTo>
                      <a:pt x="36" y="81"/>
                    </a:lnTo>
                    <a:lnTo>
                      <a:pt x="35" y="73"/>
                    </a:lnTo>
                    <a:lnTo>
                      <a:pt x="35" y="73"/>
                    </a:lnTo>
                    <a:lnTo>
                      <a:pt x="36" y="66"/>
                    </a:lnTo>
                    <a:lnTo>
                      <a:pt x="37" y="60"/>
                    </a:lnTo>
                    <a:lnTo>
                      <a:pt x="41" y="53"/>
                    </a:lnTo>
                    <a:lnTo>
                      <a:pt x="46" y="48"/>
                    </a:lnTo>
                    <a:lnTo>
                      <a:pt x="51" y="44"/>
                    </a:lnTo>
                    <a:lnTo>
                      <a:pt x="56" y="41"/>
                    </a:lnTo>
                    <a:lnTo>
                      <a:pt x="63" y="38"/>
                    </a:lnTo>
                    <a:lnTo>
                      <a:pt x="71" y="38"/>
                    </a:lnTo>
                    <a:lnTo>
                      <a:pt x="71" y="38"/>
                    </a:lnTo>
                    <a:lnTo>
                      <a:pt x="78" y="38"/>
                    </a:lnTo>
                    <a:lnTo>
                      <a:pt x="85" y="41"/>
                    </a:lnTo>
                    <a:lnTo>
                      <a:pt x="91" y="44"/>
                    </a:lnTo>
                    <a:lnTo>
                      <a:pt x="97" y="48"/>
                    </a:lnTo>
                    <a:lnTo>
                      <a:pt x="101" y="53"/>
                    </a:lnTo>
                    <a:lnTo>
                      <a:pt x="104" y="60"/>
                    </a:lnTo>
                    <a:lnTo>
                      <a:pt x="106" y="66"/>
                    </a:lnTo>
                    <a:lnTo>
                      <a:pt x="106" y="73"/>
                    </a:lnTo>
                    <a:lnTo>
                      <a:pt x="106" y="73"/>
                    </a:lnTo>
                    <a:lnTo>
                      <a:pt x="106" y="81"/>
                    </a:lnTo>
                    <a:lnTo>
                      <a:pt x="104" y="88"/>
                    </a:lnTo>
                    <a:lnTo>
                      <a:pt x="101" y="93"/>
                    </a:lnTo>
                    <a:lnTo>
                      <a:pt x="97" y="99"/>
                    </a:lnTo>
                    <a:lnTo>
                      <a:pt x="91" y="103"/>
                    </a:lnTo>
                    <a:lnTo>
                      <a:pt x="85" y="107"/>
                    </a:lnTo>
                    <a:lnTo>
                      <a:pt x="78" y="108"/>
                    </a:lnTo>
                    <a:lnTo>
                      <a:pt x="71" y="110"/>
                    </a:lnTo>
                    <a:lnTo>
                      <a:pt x="7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55" name="Freeform 162"/>
              <p:cNvSpPr>
                <a:spLocks/>
              </p:cNvSpPr>
              <p:nvPr/>
            </p:nvSpPr>
            <p:spPr bwMode="auto">
              <a:xfrm>
                <a:off x="3119438" y="4373563"/>
                <a:ext cx="55563" cy="55563"/>
              </a:xfrm>
              <a:custGeom>
                <a:avLst/>
                <a:gdLst>
                  <a:gd name="T0" fmla="*/ 35 w 70"/>
                  <a:gd name="T1" fmla="*/ 0 h 70"/>
                  <a:gd name="T2" fmla="*/ 35 w 70"/>
                  <a:gd name="T3" fmla="*/ 0 h 70"/>
                  <a:gd name="T4" fmla="*/ 29 w 70"/>
                  <a:gd name="T5" fmla="*/ 1 h 70"/>
                  <a:gd name="T6" fmla="*/ 22 w 70"/>
                  <a:gd name="T7" fmla="*/ 2 h 70"/>
                  <a:gd name="T8" fmla="*/ 17 w 70"/>
                  <a:gd name="T9" fmla="*/ 7 h 70"/>
                  <a:gd name="T10" fmla="*/ 11 w 70"/>
                  <a:gd name="T11" fmla="*/ 11 h 70"/>
                  <a:gd name="T12" fmla="*/ 7 w 70"/>
                  <a:gd name="T13" fmla="*/ 16 h 70"/>
                  <a:gd name="T14" fmla="*/ 3 w 70"/>
                  <a:gd name="T15" fmla="*/ 21 h 70"/>
                  <a:gd name="T16" fmla="*/ 2 w 70"/>
                  <a:gd name="T17" fmla="*/ 28 h 70"/>
                  <a:gd name="T18" fmla="*/ 0 w 70"/>
                  <a:gd name="T19" fmla="*/ 35 h 70"/>
                  <a:gd name="T20" fmla="*/ 0 w 70"/>
                  <a:gd name="T21" fmla="*/ 35 h 70"/>
                  <a:gd name="T22" fmla="*/ 2 w 70"/>
                  <a:gd name="T23" fmla="*/ 42 h 70"/>
                  <a:gd name="T24" fmla="*/ 3 w 70"/>
                  <a:gd name="T25" fmla="*/ 48 h 70"/>
                  <a:gd name="T26" fmla="*/ 7 w 70"/>
                  <a:gd name="T27" fmla="*/ 55 h 70"/>
                  <a:gd name="T28" fmla="*/ 11 w 70"/>
                  <a:gd name="T29" fmla="*/ 59 h 70"/>
                  <a:gd name="T30" fmla="*/ 17 w 70"/>
                  <a:gd name="T31" fmla="*/ 64 h 70"/>
                  <a:gd name="T32" fmla="*/ 22 w 70"/>
                  <a:gd name="T33" fmla="*/ 67 h 70"/>
                  <a:gd name="T34" fmla="*/ 29 w 70"/>
                  <a:gd name="T35" fmla="*/ 69 h 70"/>
                  <a:gd name="T36" fmla="*/ 35 w 70"/>
                  <a:gd name="T37" fmla="*/ 70 h 70"/>
                  <a:gd name="T38" fmla="*/ 35 w 70"/>
                  <a:gd name="T39" fmla="*/ 70 h 70"/>
                  <a:gd name="T40" fmla="*/ 42 w 70"/>
                  <a:gd name="T41" fmla="*/ 69 h 70"/>
                  <a:gd name="T42" fmla="*/ 49 w 70"/>
                  <a:gd name="T43" fmla="*/ 67 h 70"/>
                  <a:gd name="T44" fmla="*/ 54 w 70"/>
                  <a:gd name="T45" fmla="*/ 64 h 70"/>
                  <a:gd name="T46" fmla="*/ 60 w 70"/>
                  <a:gd name="T47" fmla="*/ 59 h 70"/>
                  <a:gd name="T48" fmla="*/ 64 w 70"/>
                  <a:gd name="T49" fmla="*/ 55 h 70"/>
                  <a:gd name="T50" fmla="*/ 68 w 70"/>
                  <a:gd name="T51" fmla="*/ 48 h 70"/>
                  <a:gd name="T52" fmla="*/ 69 w 70"/>
                  <a:gd name="T53" fmla="*/ 42 h 70"/>
                  <a:gd name="T54" fmla="*/ 70 w 70"/>
                  <a:gd name="T55" fmla="*/ 35 h 70"/>
                  <a:gd name="T56" fmla="*/ 70 w 70"/>
                  <a:gd name="T57" fmla="*/ 35 h 70"/>
                  <a:gd name="T58" fmla="*/ 69 w 70"/>
                  <a:gd name="T59" fmla="*/ 28 h 70"/>
                  <a:gd name="T60" fmla="*/ 68 w 70"/>
                  <a:gd name="T61" fmla="*/ 21 h 70"/>
                  <a:gd name="T62" fmla="*/ 64 w 70"/>
                  <a:gd name="T63" fmla="*/ 16 h 70"/>
                  <a:gd name="T64" fmla="*/ 60 w 70"/>
                  <a:gd name="T65" fmla="*/ 11 h 70"/>
                  <a:gd name="T66" fmla="*/ 54 w 70"/>
                  <a:gd name="T67" fmla="*/ 7 h 70"/>
                  <a:gd name="T68" fmla="*/ 49 w 70"/>
                  <a:gd name="T69" fmla="*/ 2 h 70"/>
                  <a:gd name="T70" fmla="*/ 42 w 70"/>
                  <a:gd name="T71" fmla="*/ 1 h 70"/>
                  <a:gd name="T72" fmla="*/ 35 w 70"/>
                  <a:gd name="T73" fmla="*/ 0 h 70"/>
                  <a:gd name="T74" fmla="*/ 35 w 70"/>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0">
                    <a:moveTo>
                      <a:pt x="35" y="0"/>
                    </a:moveTo>
                    <a:lnTo>
                      <a:pt x="35" y="0"/>
                    </a:lnTo>
                    <a:lnTo>
                      <a:pt x="29" y="1"/>
                    </a:lnTo>
                    <a:lnTo>
                      <a:pt x="22" y="2"/>
                    </a:lnTo>
                    <a:lnTo>
                      <a:pt x="17" y="7"/>
                    </a:lnTo>
                    <a:lnTo>
                      <a:pt x="11" y="11"/>
                    </a:lnTo>
                    <a:lnTo>
                      <a:pt x="7" y="16"/>
                    </a:lnTo>
                    <a:lnTo>
                      <a:pt x="3" y="21"/>
                    </a:lnTo>
                    <a:lnTo>
                      <a:pt x="2" y="28"/>
                    </a:lnTo>
                    <a:lnTo>
                      <a:pt x="0" y="35"/>
                    </a:lnTo>
                    <a:lnTo>
                      <a:pt x="0" y="35"/>
                    </a:lnTo>
                    <a:lnTo>
                      <a:pt x="2" y="42"/>
                    </a:lnTo>
                    <a:lnTo>
                      <a:pt x="3" y="48"/>
                    </a:lnTo>
                    <a:lnTo>
                      <a:pt x="7" y="55"/>
                    </a:lnTo>
                    <a:lnTo>
                      <a:pt x="11" y="59"/>
                    </a:lnTo>
                    <a:lnTo>
                      <a:pt x="17" y="64"/>
                    </a:lnTo>
                    <a:lnTo>
                      <a:pt x="22" y="67"/>
                    </a:lnTo>
                    <a:lnTo>
                      <a:pt x="29" y="69"/>
                    </a:lnTo>
                    <a:lnTo>
                      <a:pt x="35" y="70"/>
                    </a:lnTo>
                    <a:lnTo>
                      <a:pt x="35" y="70"/>
                    </a:lnTo>
                    <a:lnTo>
                      <a:pt x="42" y="69"/>
                    </a:lnTo>
                    <a:lnTo>
                      <a:pt x="49" y="67"/>
                    </a:lnTo>
                    <a:lnTo>
                      <a:pt x="54" y="64"/>
                    </a:lnTo>
                    <a:lnTo>
                      <a:pt x="60" y="59"/>
                    </a:lnTo>
                    <a:lnTo>
                      <a:pt x="64" y="55"/>
                    </a:lnTo>
                    <a:lnTo>
                      <a:pt x="68" y="48"/>
                    </a:lnTo>
                    <a:lnTo>
                      <a:pt x="69" y="42"/>
                    </a:lnTo>
                    <a:lnTo>
                      <a:pt x="70" y="35"/>
                    </a:lnTo>
                    <a:lnTo>
                      <a:pt x="70" y="35"/>
                    </a:lnTo>
                    <a:lnTo>
                      <a:pt x="69" y="28"/>
                    </a:lnTo>
                    <a:lnTo>
                      <a:pt x="68" y="21"/>
                    </a:lnTo>
                    <a:lnTo>
                      <a:pt x="64" y="16"/>
                    </a:lnTo>
                    <a:lnTo>
                      <a:pt x="60" y="11"/>
                    </a:lnTo>
                    <a:lnTo>
                      <a:pt x="54" y="7"/>
                    </a:lnTo>
                    <a:lnTo>
                      <a:pt x="49" y="2"/>
                    </a:lnTo>
                    <a:lnTo>
                      <a:pt x="42"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56" name="Freeform 163"/>
              <p:cNvSpPr>
                <a:spLocks/>
              </p:cNvSpPr>
              <p:nvPr/>
            </p:nvSpPr>
            <p:spPr bwMode="auto">
              <a:xfrm>
                <a:off x="3279775" y="4294188"/>
                <a:ext cx="26988" cy="26988"/>
              </a:xfrm>
              <a:custGeom>
                <a:avLst/>
                <a:gdLst>
                  <a:gd name="T0" fmla="*/ 16 w 32"/>
                  <a:gd name="T1" fmla="*/ 0 h 32"/>
                  <a:gd name="T2" fmla="*/ 16 w 32"/>
                  <a:gd name="T3" fmla="*/ 0 h 32"/>
                  <a:gd name="T4" fmla="*/ 9 w 32"/>
                  <a:gd name="T5" fmla="*/ 1 h 32"/>
                  <a:gd name="T6" fmla="*/ 4 w 32"/>
                  <a:gd name="T7" fmla="*/ 5 h 32"/>
                  <a:gd name="T8" fmla="*/ 1 w 32"/>
                  <a:gd name="T9" fmla="*/ 11 h 32"/>
                  <a:gd name="T10" fmla="*/ 0 w 32"/>
                  <a:gd name="T11" fmla="*/ 16 h 32"/>
                  <a:gd name="T12" fmla="*/ 0 w 32"/>
                  <a:gd name="T13" fmla="*/ 16 h 32"/>
                  <a:gd name="T14" fmla="*/ 1 w 32"/>
                  <a:gd name="T15" fmla="*/ 23 h 32"/>
                  <a:gd name="T16" fmla="*/ 4 w 32"/>
                  <a:gd name="T17" fmla="*/ 28 h 32"/>
                  <a:gd name="T18" fmla="*/ 9 w 32"/>
                  <a:gd name="T19" fmla="*/ 31 h 32"/>
                  <a:gd name="T20" fmla="*/ 16 w 32"/>
                  <a:gd name="T21" fmla="*/ 32 h 32"/>
                  <a:gd name="T22" fmla="*/ 16 w 32"/>
                  <a:gd name="T23" fmla="*/ 32 h 32"/>
                  <a:gd name="T24" fmla="*/ 22 w 32"/>
                  <a:gd name="T25" fmla="*/ 31 h 32"/>
                  <a:gd name="T26" fmla="*/ 27 w 32"/>
                  <a:gd name="T27" fmla="*/ 28 h 32"/>
                  <a:gd name="T28" fmla="*/ 31 w 32"/>
                  <a:gd name="T29" fmla="*/ 23 h 32"/>
                  <a:gd name="T30" fmla="*/ 32 w 32"/>
                  <a:gd name="T31" fmla="*/ 16 h 32"/>
                  <a:gd name="T32" fmla="*/ 32 w 32"/>
                  <a:gd name="T33" fmla="*/ 16 h 32"/>
                  <a:gd name="T34" fmla="*/ 31 w 32"/>
                  <a:gd name="T35" fmla="*/ 11 h 32"/>
                  <a:gd name="T36" fmla="*/ 27 w 32"/>
                  <a:gd name="T37" fmla="*/ 5 h 32"/>
                  <a:gd name="T38" fmla="*/ 22 w 32"/>
                  <a:gd name="T39" fmla="*/ 1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9" y="1"/>
                    </a:lnTo>
                    <a:lnTo>
                      <a:pt x="4" y="5"/>
                    </a:lnTo>
                    <a:lnTo>
                      <a:pt x="1" y="11"/>
                    </a:lnTo>
                    <a:lnTo>
                      <a:pt x="0" y="16"/>
                    </a:lnTo>
                    <a:lnTo>
                      <a:pt x="0" y="16"/>
                    </a:lnTo>
                    <a:lnTo>
                      <a:pt x="1" y="23"/>
                    </a:lnTo>
                    <a:lnTo>
                      <a:pt x="4" y="28"/>
                    </a:lnTo>
                    <a:lnTo>
                      <a:pt x="9" y="31"/>
                    </a:lnTo>
                    <a:lnTo>
                      <a:pt x="16" y="32"/>
                    </a:lnTo>
                    <a:lnTo>
                      <a:pt x="16" y="32"/>
                    </a:lnTo>
                    <a:lnTo>
                      <a:pt x="22" y="31"/>
                    </a:lnTo>
                    <a:lnTo>
                      <a:pt x="27" y="28"/>
                    </a:lnTo>
                    <a:lnTo>
                      <a:pt x="31" y="23"/>
                    </a:lnTo>
                    <a:lnTo>
                      <a:pt x="32" y="16"/>
                    </a:lnTo>
                    <a:lnTo>
                      <a:pt x="32" y="16"/>
                    </a:lnTo>
                    <a:lnTo>
                      <a:pt x="31" y="11"/>
                    </a:lnTo>
                    <a:lnTo>
                      <a:pt x="27" y="5"/>
                    </a:lnTo>
                    <a:lnTo>
                      <a:pt x="22" y="1"/>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nvGrpSpPr>
            <p:cNvPr id="105" name="Group 104"/>
            <p:cNvGrpSpPr/>
            <p:nvPr/>
          </p:nvGrpSpPr>
          <p:grpSpPr>
            <a:xfrm>
              <a:off x="6960183" y="4404585"/>
              <a:ext cx="309689" cy="261046"/>
              <a:chOff x="3046413" y="4249738"/>
              <a:chExt cx="303213" cy="255587"/>
            </a:xfrm>
            <a:solidFill>
              <a:srgbClr val="2968AF"/>
            </a:solidFill>
          </p:grpSpPr>
          <p:sp>
            <p:nvSpPr>
              <p:cNvPr id="107" name="Freeform 160"/>
              <p:cNvSpPr>
                <a:spLocks noEditPoints="1"/>
              </p:cNvSpPr>
              <p:nvPr/>
            </p:nvSpPr>
            <p:spPr bwMode="auto">
              <a:xfrm>
                <a:off x="3046413" y="4298950"/>
                <a:ext cx="201613" cy="206375"/>
              </a:xfrm>
              <a:custGeom>
                <a:avLst/>
                <a:gdLst>
                  <a:gd name="T0" fmla="*/ 252 w 253"/>
                  <a:gd name="T1" fmla="*/ 103 h 262"/>
                  <a:gd name="T2" fmla="*/ 253 w 253"/>
                  <a:gd name="T3" fmla="*/ 97 h 262"/>
                  <a:gd name="T4" fmla="*/ 230 w 253"/>
                  <a:gd name="T5" fmla="*/ 51 h 262"/>
                  <a:gd name="T6" fmla="*/ 217 w 253"/>
                  <a:gd name="T7" fmla="*/ 38 h 262"/>
                  <a:gd name="T8" fmla="*/ 209 w 253"/>
                  <a:gd name="T9" fmla="*/ 38 h 262"/>
                  <a:gd name="T10" fmla="*/ 191 w 253"/>
                  <a:gd name="T11" fmla="*/ 40 h 262"/>
                  <a:gd name="T12" fmla="*/ 166 w 253"/>
                  <a:gd name="T13" fmla="*/ 18 h 262"/>
                  <a:gd name="T14" fmla="*/ 166 w 253"/>
                  <a:gd name="T15" fmla="*/ 11 h 262"/>
                  <a:gd name="T16" fmla="*/ 160 w 253"/>
                  <a:gd name="T17" fmla="*/ 4 h 262"/>
                  <a:gd name="T18" fmla="*/ 126 w 253"/>
                  <a:gd name="T19" fmla="*/ 0 h 262"/>
                  <a:gd name="T20" fmla="*/ 91 w 253"/>
                  <a:gd name="T21" fmla="*/ 5 h 262"/>
                  <a:gd name="T22" fmla="*/ 87 w 253"/>
                  <a:gd name="T23" fmla="*/ 14 h 262"/>
                  <a:gd name="T24" fmla="*/ 81 w 253"/>
                  <a:gd name="T25" fmla="*/ 30 h 262"/>
                  <a:gd name="T26" fmla="*/ 47 w 253"/>
                  <a:gd name="T27" fmla="*/ 40 h 262"/>
                  <a:gd name="T28" fmla="*/ 41 w 253"/>
                  <a:gd name="T29" fmla="*/ 36 h 262"/>
                  <a:gd name="T30" fmla="*/ 33 w 253"/>
                  <a:gd name="T31" fmla="*/ 39 h 262"/>
                  <a:gd name="T32" fmla="*/ 13 w 253"/>
                  <a:gd name="T33" fmla="*/ 66 h 262"/>
                  <a:gd name="T34" fmla="*/ 1 w 253"/>
                  <a:gd name="T35" fmla="*/ 97 h 262"/>
                  <a:gd name="T36" fmla="*/ 5 w 253"/>
                  <a:gd name="T37" fmla="*/ 107 h 262"/>
                  <a:gd name="T38" fmla="*/ 17 w 253"/>
                  <a:gd name="T39" fmla="*/ 109 h 262"/>
                  <a:gd name="T40" fmla="*/ 16 w 253"/>
                  <a:gd name="T41" fmla="*/ 142 h 262"/>
                  <a:gd name="T42" fmla="*/ 5 w 253"/>
                  <a:gd name="T43" fmla="*/ 155 h 262"/>
                  <a:gd name="T44" fmla="*/ 0 w 253"/>
                  <a:gd name="T45" fmla="*/ 163 h 262"/>
                  <a:gd name="T46" fmla="*/ 6 w 253"/>
                  <a:gd name="T47" fmla="*/ 181 h 262"/>
                  <a:gd name="T48" fmla="*/ 33 w 253"/>
                  <a:gd name="T49" fmla="*/ 223 h 262"/>
                  <a:gd name="T50" fmla="*/ 39 w 253"/>
                  <a:gd name="T51" fmla="*/ 225 h 262"/>
                  <a:gd name="T52" fmla="*/ 47 w 253"/>
                  <a:gd name="T53" fmla="*/ 221 h 262"/>
                  <a:gd name="T54" fmla="*/ 71 w 253"/>
                  <a:gd name="T55" fmla="*/ 227 h 262"/>
                  <a:gd name="T56" fmla="*/ 87 w 253"/>
                  <a:gd name="T57" fmla="*/ 245 h 262"/>
                  <a:gd name="T58" fmla="*/ 89 w 253"/>
                  <a:gd name="T59" fmla="*/ 254 h 262"/>
                  <a:gd name="T60" fmla="*/ 94 w 253"/>
                  <a:gd name="T61" fmla="*/ 258 h 262"/>
                  <a:gd name="T62" fmla="*/ 144 w 253"/>
                  <a:gd name="T63" fmla="*/ 260 h 262"/>
                  <a:gd name="T64" fmla="*/ 163 w 253"/>
                  <a:gd name="T65" fmla="*/ 256 h 262"/>
                  <a:gd name="T66" fmla="*/ 166 w 253"/>
                  <a:gd name="T67" fmla="*/ 248 h 262"/>
                  <a:gd name="T68" fmla="*/ 172 w 253"/>
                  <a:gd name="T69" fmla="*/ 232 h 262"/>
                  <a:gd name="T70" fmla="*/ 206 w 253"/>
                  <a:gd name="T71" fmla="*/ 221 h 262"/>
                  <a:gd name="T72" fmla="*/ 211 w 253"/>
                  <a:gd name="T73" fmla="*/ 225 h 262"/>
                  <a:gd name="T74" fmla="*/ 219 w 253"/>
                  <a:gd name="T75" fmla="*/ 223 h 262"/>
                  <a:gd name="T76" fmla="*/ 240 w 253"/>
                  <a:gd name="T77" fmla="*/ 197 h 262"/>
                  <a:gd name="T78" fmla="*/ 253 w 253"/>
                  <a:gd name="T79" fmla="*/ 166 h 262"/>
                  <a:gd name="T80" fmla="*/ 248 w 253"/>
                  <a:gd name="T81" fmla="*/ 155 h 262"/>
                  <a:gd name="T82" fmla="*/ 236 w 253"/>
                  <a:gd name="T83" fmla="*/ 152 h 262"/>
                  <a:gd name="T84" fmla="*/ 237 w 253"/>
                  <a:gd name="T85" fmla="*/ 120 h 262"/>
                  <a:gd name="T86" fmla="*/ 248 w 253"/>
                  <a:gd name="T87" fmla="*/ 107 h 262"/>
                  <a:gd name="T88" fmla="*/ 114 w 253"/>
                  <a:gd name="T89" fmla="*/ 191 h 262"/>
                  <a:gd name="T90" fmla="*/ 75 w 253"/>
                  <a:gd name="T91" fmla="*/ 166 h 262"/>
                  <a:gd name="T92" fmla="*/ 64 w 253"/>
                  <a:gd name="T93" fmla="*/ 131 h 262"/>
                  <a:gd name="T94" fmla="*/ 83 w 253"/>
                  <a:gd name="T95" fmla="*/ 88 h 262"/>
                  <a:gd name="T96" fmla="*/ 126 w 253"/>
                  <a:gd name="T97" fmla="*/ 70 h 262"/>
                  <a:gd name="T98" fmla="*/ 161 w 253"/>
                  <a:gd name="T99" fmla="*/ 80 h 262"/>
                  <a:gd name="T100" fmla="*/ 187 w 253"/>
                  <a:gd name="T101" fmla="*/ 119 h 262"/>
                  <a:gd name="T102" fmla="*/ 183 w 253"/>
                  <a:gd name="T103" fmla="*/ 155 h 262"/>
                  <a:gd name="T104" fmla="*/ 151 w 253"/>
                  <a:gd name="T105" fmla="*/ 1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62">
                    <a:moveTo>
                      <a:pt x="248" y="107"/>
                    </a:moveTo>
                    <a:lnTo>
                      <a:pt x="248" y="107"/>
                    </a:lnTo>
                    <a:lnTo>
                      <a:pt x="250" y="105"/>
                    </a:lnTo>
                    <a:lnTo>
                      <a:pt x="252" y="103"/>
                    </a:lnTo>
                    <a:lnTo>
                      <a:pt x="253" y="100"/>
                    </a:lnTo>
                    <a:lnTo>
                      <a:pt x="253" y="97"/>
                    </a:lnTo>
                    <a:lnTo>
                      <a:pt x="253" y="97"/>
                    </a:lnTo>
                    <a:lnTo>
                      <a:pt x="253" y="97"/>
                    </a:lnTo>
                    <a:lnTo>
                      <a:pt x="246" y="81"/>
                    </a:lnTo>
                    <a:lnTo>
                      <a:pt x="240" y="66"/>
                    </a:lnTo>
                    <a:lnTo>
                      <a:pt x="240" y="66"/>
                    </a:lnTo>
                    <a:lnTo>
                      <a:pt x="230" y="51"/>
                    </a:lnTo>
                    <a:lnTo>
                      <a:pt x="219" y="39"/>
                    </a:lnTo>
                    <a:lnTo>
                      <a:pt x="219" y="39"/>
                    </a:lnTo>
                    <a:lnTo>
                      <a:pt x="219" y="39"/>
                    </a:lnTo>
                    <a:lnTo>
                      <a:pt x="217" y="38"/>
                    </a:lnTo>
                    <a:lnTo>
                      <a:pt x="214" y="36"/>
                    </a:lnTo>
                    <a:lnTo>
                      <a:pt x="211" y="36"/>
                    </a:lnTo>
                    <a:lnTo>
                      <a:pt x="209" y="38"/>
                    </a:lnTo>
                    <a:lnTo>
                      <a:pt x="209" y="38"/>
                    </a:lnTo>
                    <a:lnTo>
                      <a:pt x="206" y="40"/>
                    </a:lnTo>
                    <a:lnTo>
                      <a:pt x="199" y="47"/>
                    </a:lnTo>
                    <a:lnTo>
                      <a:pt x="199" y="47"/>
                    </a:lnTo>
                    <a:lnTo>
                      <a:pt x="191" y="40"/>
                    </a:lnTo>
                    <a:lnTo>
                      <a:pt x="182" y="35"/>
                    </a:lnTo>
                    <a:lnTo>
                      <a:pt x="172" y="30"/>
                    </a:lnTo>
                    <a:lnTo>
                      <a:pt x="163" y="26"/>
                    </a:lnTo>
                    <a:lnTo>
                      <a:pt x="166" y="18"/>
                    </a:lnTo>
                    <a:lnTo>
                      <a:pt x="166" y="18"/>
                    </a:lnTo>
                    <a:lnTo>
                      <a:pt x="166" y="14"/>
                    </a:lnTo>
                    <a:lnTo>
                      <a:pt x="166" y="14"/>
                    </a:lnTo>
                    <a:lnTo>
                      <a:pt x="166" y="11"/>
                    </a:lnTo>
                    <a:lnTo>
                      <a:pt x="164" y="8"/>
                    </a:lnTo>
                    <a:lnTo>
                      <a:pt x="163" y="5"/>
                    </a:lnTo>
                    <a:lnTo>
                      <a:pt x="160" y="4"/>
                    </a:lnTo>
                    <a:lnTo>
                      <a:pt x="160" y="4"/>
                    </a:lnTo>
                    <a:lnTo>
                      <a:pt x="160" y="4"/>
                    </a:lnTo>
                    <a:lnTo>
                      <a:pt x="144" y="1"/>
                    </a:lnTo>
                    <a:lnTo>
                      <a:pt x="126" y="0"/>
                    </a:lnTo>
                    <a:lnTo>
                      <a:pt x="126" y="0"/>
                    </a:lnTo>
                    <a:lnTo>
                      <a:pt x="110" y="1"/>
                    </a:lnTo>
                    <a:lnTo>
                      <a:pt x="93" y="4"/>
                    </a:lnTo>
                    <a:lnTo>
                      <a:pt x="93" y="4"/>
                    </a:lnTo>
                    <a:lnTo>
                      <a:pt x="91" y="5"/>
                    </a:lnTo>
                    <a:lnTo>
                      <a:pt x="89" y="8"/>
                    </a:lnTo>
                    <a:lnTo>
                      <a:pt x="87" y="11"/>
                    </a:lnTo>
                    <a:lnTo>
                      <a:pt x="87" y="14"/>
                    </a:lnTo>
                    <a:lnTo>
                      <a:pt x="87" y="14"/>
                    </a:lnTo>
                    <a:lnTo>
                      <a:pt x="87" y="18"/>
                    </a:lnTo>
                    <a:lnTo>
                      <a:pt x="91" y="26"/>
                    </a:lnTo>
                    <a:lnTo>
                      <a:pt x="91" y="26"/>
                    </a:lnTo>
                    <a:lnTo>
                      <a:pt x="81" y="30"/>
                    </a:lnTo>
                    <a:lnTo>
                      <a:pt x="71" y="35"/>
                    </a:lnTo>
                    <a:lnTo>
                      <a:pt x="62" y="40"/>
                    </a:lnTo>
                    <a:lnTo>
                      <a:pt x="54" y="47"/>
                    </a:lnTo>
                    <a:lnTo>
                      <a:pt x="47" y="40"/>
                    </a:lnTo>
                    <a:lnTo>
                      <a:pt x="47" y="40"/>
                    </a:lnTo>
                    <a:lnTo>
                      <a:pt x="44" y="38"/>
                    </a:lnTo>
                    <a:lnTo>
                      <a:pt x="44" y="38"/>
                    </a:lnTo>
                    <a:lnTo>
                      <a:pt x="41" y="36"/>
                    </a:lnTo>
                    <a:lnTo>
                      <a:pt x="39" y="36"/>
                    </a:lnTo>
                    <a:lnTo>
                      <a:pt x="36" y="38"/>
                    </a:lnTo>
                    <a:lnTo>
                      <a:pt x="33" y="39"/>
                    </a:lnTo>
                    <a:lnTo>
                      <a:pt x="33" y="39"/>
                    </a:lnTo>
                    <a:lnTo>
                      <a:pt x="33" y="39"/>
                    </a:lnTo>
                    <a:lnTo>
                      <a:pt x="23" y="51"/>
                    </a:lnTo>
                    <a:lnTo>
                      <a:pt x="13" y="66"/>
                    </a:lnTo>
                    <a:lnTo>
                      <a:pt x="13" y="66"/>
                    </a:lnTo>
                    <a:lnTo>
                      <a:pt x="6" y="81"/>
                    </a:lnTo>
                    <a:lnTo>
                      <a:pt x="1" y="97"/>
                    </a:lnTo>
                    <a:lnTo>
                      <a:pt x="1" y="97"/>
                    </a:lnTo>
                    <a:lnTo>
                      <a:pt x="1" y="97"/>
                    </a:lnTo>
                    <a:lnTo>
                      <a:pt x="0" y="100"/>
                    </a:lnTo>
                    <a:lnTo>
                      <a:pt x="1" y="103"/>
                    </a:lnTo>
                    <a:lnTo>
                      <a:pt x="2" y="105"/>
                    </a:lnTo>
                    <a:lnTo>
                      <a:pt x="5" y="107"/>
                    </a:lnTo>
                    <a:lnTo>
                      <a:pt x="5" y="107"/>
                    </a:lnTo>
                    <a:lnTo>
                      <a:pt x="9" y="108"/>
                    </a:lnTo>
                    <a:lnTo>
                      <a:pt x="17" y="109"/>
                    </a:lnTo>
                    <a:lnTo>
                      <a:pt x="17" y="109"/>
                    </a:lnTo>
                    <a:lnTo>
                      <a:pt x="16" y="120"/>
                    </a:lnTo>
                    <a:lnTo>
                      <a:pt x="16" y="131"/>
                    </a:lnTo>
                    <a:lnTo>
                      <a:pt x="16" y="131"/>
                    </a:lnTo>
                    <a:lnTo>
                      <a:pt x="16" y="142"/>
                    </a:lnTo>
                    <a:lnTo>
                      <a:pt x="17" y="152"/>
                    </a:lnTo>
                    <a:lnTo>
                      <a:pt x="9" y="154"/>
                    </a:lnTo>
                    <a:lnTo>
                      <a:pt x="9" y="154"/>
                    </a:lnTo>
                    <a:lnTo>
                      <a:pt x="5" y="155"/>
                    </a:lnTo>
                    <a:lnTo>
                      <a:pt x="5" y="155"/>
                    </a:lnTo>
                    <a:lnTo>
                      <a:pt x="2" y="158"/>
                    </a:lnTo>
                    <a:lnTo>
                      <a:pt x="1" y="160"/>
                    </a:lnTo>
                    <a:lnTo>
                      <a:pt x="0" y="163"/>
                    </a:lnTo>
                    <a:lnTo>
                      <a:pt x="1" y="166"/>
                    </a:lnTo>
                    <a:lnTo>
                      <a:pt x="1" y="166"/>
                    </a:lnTo>
                    <a:lnTo>
                      <a:pt x="1" y="166"/>
                    </a:lnTo>
                    <a:lnTo>
                      <a:pt x="6" y="181"/>
                    </a:lnTo>
                    <a:lnTo>
                      <a:pt x="13" y="197"/>
                    </a:lnTo>
                    <a:lnTo>
                      <a:pt x="13" y="197"/>
                    </a:lnTo>
                    <a:lnTo>
                      <a:pt x="23" y="210"/>
                    </a:lnTo>
                    <a:lnTo>
                      <a:pt x="33" y="223"/>
                    </a:lnTo>
                    <a:lnTo>
                      <a:pt x="33" y="223"/>
                    </a:lnTo>
                    <a:lnTo>
                      <a:pt x="33" y="223"/>
                    </a:lnTo>
                    <a:lnTo>
                      <a:pt x="36" y="224"/>
                    </a:lnTo>
                    <a:lnTo>
                      <a:pt x="39" y="225"/>
                    </a:lnTo>
                    <a:lnTo>
                      <a:pt x="41" y="225"/>
                    </a:lnTo>
                    <a:lnTo>
                      <a:pt x="44" y="224"/>
                    </a:lnTo>
                    <a:lnTo>
                      <a:pt x="44" y="224"/>
                    </a:lnTo>
                    <a:lnTo>
                      <a:pt x="47" y="221"/>
                    </a:lnTo>
                    <a:lnTo>
                      <a:pt x="54" y="214"/>
                    </a:lnTo>
                    <a:lnTo>
                      <a:pt x="54" y="214"/>
                    </a:lnTo>
                    <a:lnTo>
                      <a:pt x="62" y="221"/>
                    </a:lnTo>
                    <a:lnTo>
                      <a:pt x="71" y="227"/>
                    </a:lnTo>
                    <a:lnTo>
                      <a:pt x="81" y="232"/>
                    </a:lnTo>
                    <a:lnTo>
                      <a:pt x="91" y="236"/>
                    </a:lnTo>
                    <a:lnTo>
                      <a:pt x="87" y="245"/>
                    </a:lnTo>
                    <a:lnTo>
                      <a:pt x="87" y="245"/>
                    </a:lnTo>
                    <a:lnTo>
                      <a:pt x="87" y="248"/>
                    </a:lnTo>
                    <a:lnTo>
                      <a:pt x="87" y="248"/>
                    </a:lnTo>
                    <a:lnTo>
                      <a:pt x="87" y="252"/>
                    </a:lnTo>
                    <a:lnTo>
                      <a:pt x="89" y="254"/>
                    </a:lnTo>
                    <a:lnTo>
                      <a:pt x="91" y="256"/>
                    </a:lnTo>
                    <a:lnTo>
                      <a:pt x="94" y="258"/>
                    </a:lnTo>
                    <a:lnTo>
                      <a:pt x="94" y="258"/>
                    </a:lnTo>
                    <a:lnTo>
                      <a:pt x="94" y="258"/>
                    </a:lnTo>
                    <a:lnTo>
                      <a:pt x="110" y="260"/>
                    </a:lnTo>
                    <a:lnTo>
                      <a:pt x="126" y="262"/>
                    </a:lnTo>
                    <a:lnTo>
                      <a:pt x="126" y="262"/>
                    </a:lnTo>
                    <a:lnTo>
                      <a:pt x="144" y="260"/>
                    </a:lnTo>
                    <a:lnTo>
                      <a:pt x="160" y="258"/>
                    </a:lnTo>
                    <a:lnTo>
                      <a:pt x="160" y="258"/>
                    </a:lnTo>
                    <a:lnTo>
                      <a:pt x="160" y="258"/>
                    </a:lnTo>
                    <a:lnTo>
                      <a:pt x="163" y="256"/>
                    </a:lnTo>
                    <a:lnTo>
                      <a:pt x="164" y="254"/>
                    </a:lnTo>
                    <a:lnTo>
                      <a:pt x="166" y="252"/>
                    </a:lnTo>
                    <a:lnTo>
                      <a:pt x="166" y="248"/>
                    </a:lnTo>
                    <a:lnTo>
                      <a:pt x="166" y="248"/>
                    </a:lnTo>
                    <a:lnTo>
                      <a:pt x="166" y="245"/>
                    </a:lnTo>
                    <a:lnTo>
                      <a:pt x="163" y="236"/>
                    </a:lnTo>
                    <a:lnTo>
                      <a:pt x="163" y="236"/>
                    </a:lnTo>
                    <a:lnTo>
                      <a:pt x="172" y="232"/>
                    </a:lnTo>
                    <a:lnTo>
                      <a:pt x="182" y="227"/>
                    </a:lnTo>
                    <a:lnTo>
                      <a:pt x="191" y="221"/>
                    </a:lnTo>
                    <a:lnTo>
                      <a:pt x="199" y="214"/>
                    </a:lnTo>
                    <a:lnTo>
                      <a:pt x="206" y="221"/>
                    </a:lnTo>
                    <a:lnTo>
                      <a:pt x="206" y="221"/>
                    </a:lnTo>
                    <a:lnTo>
                      <a:pt x="209" y="224"/>
                    </a:lnTo>
                    <a:lnTo>
                      <a:pt x="209" y="224"/>
                    </a:lnTo>
                    <a:lnTo>
                      <a:pt x="211" y="225"/>
                    </a:lnTo>
                    <a:lnTo>
                      <a:pt x="214" y="225"/>
                    </a:lnTo>
                    <a:lnTo>
                      <a:pt x="217" y="224"/>
                    </a:lnTo>
                    <a:lnTo>
                      <a:pt x="219" y="223"/>
                    </a:lnTo>
                    <a:lnTo>
                      <a:pt x="219" y="223"/>
                    </a:lnTo>
                    <a:lnTo>
                      <a:pt x="219" y="223"/>
                    </a:lnTo>
                    <a:lnTo>
                      <a:pt x="230" y="210"/>
                    </a:lnTo>
                    <a:lnTo>
                      <a:pt x="240" y="197"/>
                    </a:lnTo>
                    <a:lnTo>
                      <a:pt x="240" y="197"/>
                    </a:lnTo>
                    <a:lnTo>
                      <a:pt x="246" y="181"/>
                    </a:lnTo>
                    <a:lnTo>
                      <a:pt x="253" y="166"/>
                    </a:lnTo>
                    <a:lnTo>
                      <a:pt x="253" y="166"/>
                    </a:lnTo>
                    <a:lnTo>
                      <a:pt x="253" y="166"/>
                    </a:lnTo>
                    <a:lnTo>
                      <a:pt x="253" y="163"/>
                    </a:lnTo>
                    <a:lnTo>
                      <a:pt x="252" y="160"/>
                    </a:lnTo>
                    <a:lnTo>
                      <a:pt x="250" y="158"/>
                    </a:lnTo>
                    <a:lnTo>
                      <a:pt x="248" y="155"/>
                    </a:lnTo>
                    <a:lnTo>
                      <a:pt x="248" y="155"/>
                    </a:lnTo>
                    <a:lnTo>
                      <a:pt x="245" y="154"/>
                    </a:lnTo>
                    <a:lnTo>
                      <a:pt x="236" y="152"/>
                    </a:lnTo>
                    <a:lnTo>
                      <a:pt x="236" y="152"/>
                    </a:lnTo>
                    <a:lnTo>
                      <a:pt x="237" y="142"/>
                    </a:lnTo>
                    <a:lnTo>
                      <a:pt x="237" y="131"/>
                    </a:lnTo>
                    <a:lnTo>
                      <a:pt x="237" y="131"/>
                    </a:lnTo>
                    <a:lnTo>
                      <a:pt x="237" y="120"/>
                    </a:lnTo>
                    <a:lnTo>
                      <a:pt x="236" y="109"/>
                    </a:lnTo>
                    <a:lnTo>
                      <a:pt x="245" y="108"/>
                    </a:lnTo>
                    <a:lnTo>
                      <a:pt x="245" y="108"/>
                    </a:lnTo>
                    <a:lnTo>
                      <a:pt x="248" y="107"/>
                    </a:lnTo>
                    <a:lnTo>
                      <a:pt x="248" y="107"/>
                    </a:lnTo>
                    <a:close/>
                    <a:moveTo>
                      <a:pt x="126" y="193"/>
                    </a:moveTo>
                    <a:lnTo>
                      <a:pt x="126" y="193"/>
                    </a:lnTo>
                    <a:lnTo>
                      <a:pt x="114" y="191"/>
                    </a:lnTo>
                    <a:lnTo>
                      <a:pt x="102" y="187"/>
                    </a:lnTo>
                    <a:lnTo>
                      <a:pt x="93" y="182"/>
                    </a:lnTo>
                    <a:lnTo>
                      <a:pt x="83" y="174"/>
                    </a:lnTo>
                    <a:lnTo>
                      <a:pt x="75" y="166"/>
                    </a:lnTo>
                    <a:lnTo>
                      <a:pt x="70" y="155"/>
                    </a:lnTo>
                    <a:lnTo>
                      <a:pt x="66" y="143"/>
                    </a:lnTo>
                    <a:lnTo>
                      <a:pt x="64" y="131"/>
                    </a:lnTo>
                    <a:lnTo>
                      <a:pt x="64" y="131"/>
                    </a:lnTo>
                    <a:lnTo>
                      <a:pt x="66" y="119"/>
                    </a:lnTo>
                    <a:lnTo>
                      <a:pt x="70" y="107"/>
                    </a:lnTo>
                    <a:lnTo>
                      <a:pt x="75" y="97"/>
                    </a:lnTo>
                    <a:lnTo>
                      <a:pt x="83" y="88"/>
                    </a:lnTo>
                    <a:lnTo>
                      <a:pt x="93" y="80"/>
                    </a:lnTo>
                    <a:lnTo>
                      <a:pt x="102" y="74"/>
                    </a:lnTo>
                    <a:lnTo>
                      <a:pt x="114" y="70"/>
                    </a:lnTo>
                    <a:lnTo>
                      <a:pt x="126" y="70"/>
                    </a:lnTo>
                    <a:lnTo>
                      <a:pt x="126" y="70"/>
                    </a:lnTo>
                    <a:lnTo>
                      <a:pt x="139" y="70"/>
                    </a:lnTo>
                    <a:lnTo>
                      <a:pt x="151" y="74"/>
                    </a:lnTo>
                    <a:lnTo>
                      <a:pt x="161" y="80"/>
                    </a:lnTo>
                    <a:lnTo>
                      <a:pt x="170" y="88"/>
                    </a:lnTo>
                    <a:lnTo>
                      <a:pt x="178" y="97"/>
                    </a:lnTo>
                    <a:lnTo>
                      <a:pt x="183" y="107"/>
                    </a:lnTo>
                    <a:lnTo>
                      <a:pt x="187" y="119"/>
                    </a:lnTo>
                    <a:lnTo>
                      <a:pt x="188" y="131"/>
                    </a:lnTo>
                    <a:lnTo>
                      <a:pt x="188" y="131"/>
                    </a:lnTo>
                    <a:lnTo>
                      <a:pt x="187" y="143"/>
                    </a:lnTo>
                    <a:lnTo>
                      <a:pt x="183" y="155"/>
                    </a:lnTo>
                    <a:lnTo>
                      <a:pt x="178" y="166"/>
                    </a:lnTo>
                    <a:lnTo>
                      <a:pt x="170" y="174"/>
                    </a:lnTo>
                    <a:lnTo>
                      <a:pt x="161" y="182"/>
                    </a:lnTo>
                    <a:lnTo>
                      <a:pt x="151" y="187"/>
                    </a:lnTo>
                    <a:lnTo>
                      <a:pt x="139" y="191"/>
                    </a:lnTo>
                    <a:lnTo>
                      <a:pt x="126" y="193"/>
                    </a:lnTo>
                    <a:lnTo>
                      <a:pt x="12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08" name="Freeform 161"/>
              <p:cNvSpPr>
                <a:spLocks noEditPoints="1"/>
              </p:cNvSpPr>
              <p:nvPr/>
            </p:nvSpPr>
            <p:spPr bwMode="auto">
              <a:xfrm>
                <a:off x="3236913" y="4249738"/>
                <a:ext cx="112713" cy="115888"/>
              </a:xfrm>
              <a:custGeom>
                <a:avLst/>
                <a:gdLst>
                  <a:gd name="T0" fmla="*/ 129 w 141"/>
                  <a:gd name="T1" fmla="*/ 85 h 146"/>
                  <a:gd name="T2" fmla="*/ 129 w 141"/>
                  <a:gd name="T3" fmla="*/ 62 h 146"/>
                  <a:gd name="T4" fmla="*/ 139 w 141"/>
                  <a:gd name="T5" fmla="*/ 60 h 146"/>
                  <a:gd name="T6" fmla="*/ 141 w 141"/>
                  <a:gd name="T7" fmla="*/ 54 h 146"/>
                  <a:gd name="T8" fmla="*/ 139 w 141"/>
                  <a:gd name="T9" fmla="*/ 46 h 146"/>
                  <a:gd name="T10" fmla="*/ 129 w 141"/>
                  <a:gd name="T11" fmla="*/ 29 h 146"/>
                  <a:gd name="T12" fmla="*/ 122 w 141"/>
                  <a:gd name="T13" fmla="*/ 22 h 146"/>
                  <a:gd name="T14" fmla="*/ 117 w 141"/>
                  <a:gd name="T15" fmla="*/ 22 h 146"/>
                  <a:gd name="T16" fmla="*/ 110 w 141"/>
                  <a:gd name="T17" fmla="*/ 29 h 146"/>
                  <a:gd name="T18" fmla="*/ 93 w 141"/>
                  <a:gd name="T19" fmla="*/ 10 h 146"/>
                  <a:gd name="T20" fmla="*/ 93 w 141"/>
                  <a:gd name="T21" fmla="*/ 8 h 146"/>
                  <a:gd name="T22" fmla="*/ 89 w 141"/>
                  <a:gd name="T23" fmla="*/ 3 h 146"/>
                  <a:gd name="T24" fmla="*/ 71 w 141"/>
                  <a:gd name="T25" fmla="*/ 0 h 146"/>
                  <a:gd name="T26" fmla="*/ 52 w 141"/>
                  <a:gd name="T27" fmla="*/ 3 h 146"/>
                  <a:gd name="T28" fmla="*/ 50 w 141"/>
                  <a:gd name="T29" fmla="*/ 4 h 146"/>
                  <a:gd name="T30" fmla="*/ 50 w 141"/>
                  <a:gd name="T31" fmla="*/ 10 h 146"/>
                  <a:gd name="T32" fmla="*/ 41 w 141"/>
                  <a:gd name="T33" fmla="*/ 22 h 146"/>
                  <a:gd name="T34" fmla="*/ 27 w 141"/>
                  <a:gd name="T35" fmla="*/ 23 h 146"/>
                  <a:gd name="T36" fmla="*/ 21 w 141"/>
                  <a:gd name="T37" fmla="*/ 21 h 146"/>
                  <a:gd name="T38" fmla="*/ 19 w 141"/>
                  <a:gd name="T39" fmla="*/ 22 h 146"/>
                  <a:gd name="T40" fmla="*/ 8 w 141"/>
                  <a:gd name="T41" fmla="*/ 37 h 146"/>
                  <a:gd name="T42" fmla="*/ 0 w 141"/>
                  <a:gd name="T43" fmla="*/ 54 h 146"/>
                  <a:gd name="T44" fmla="*/ 2 w 141"/>
                  <a:gd name="T45" fmla="*/ 60 h 146"/>
                  <a:gd name="T46" fmla="*/ 13 w 141"/>
                  <a:gd name="T47" fmla="*/ 62 h 146"/>
                  <a:gd name="T48" fmla="*/ 12 w 141"/>
                  <a:gd name="T49" fmla="*/ 73 h 146"/>
                  <a:gd name="T50" fmla="*/ 5 w 141"/>
                  <a:gd name="T51" fmla="*/ 87 h 146"/>
                  <a:gd name="T52" fmla="*/ 1 w 141"/>
                  <a:gd name="T53" fmla="*/ 89 h 146"/>
                  <a:gd name="T54" fmla="*/ 0 w 141"/>
                  <a:gd name="T55" fmla="*/ 93 h 146"/>
                  <a:gd name="T56" fmla="*/ 8 w 141"/>
                  <a:gd name="T57" fmla="*/ 110 h 146"/>
                  <a:gd name="T58" fmla="*/ 19 w 141"/>
                  <a:gd name="T59" fmla="*/ 124 h 146"/>
                  <a:gd name="T60" fmla="*/ 25 w 141"/>
                  <a:gd name="T61" fmla="*/ 126 h 146"/>
                  <a:gd name="T62" fmla="*/ 32 w 141"/>
                  <a:gd name="T63" fmla="*/ 118 h 146"/>
                  <a:gd name="T64" fmla="*/ 52 w 141"/>
                  <a:gd name="T65" fmla="*/ 130 h 146"/>
                  <a:gd name="T66" fmla="*/ 48 w 141"/>
                  <a:gd name="T67" fmla="*/ 139 h 146"/>
                  <a:gd name="T68" fmla="*/ 52 w 141"/>
                  <a:gd name="T69" fmla="*/ 145 h 146"/>
                  <a:gd name="T70" fmla="*/ 62 w 141"/>
                  <a:gd name="T71" fmla="*/ 146 h 146"/>
                  <a:gd name="T72" fmla="*/ 81 w 141"/>
                  <a:gd name="T73" fmla="*/ 146 h 146"/>
                  <a:gd name="T74" fmla="*/ 89 w 141"/>
                  <a:gd name="T75" fmla="*/ 145 h 146"/>
                  <a:gd name="T76" fmla="*/ 93 w 141"/>
                  <a:gd name="T77" fmla="*/ 139 h 146"/>
                  <a:gd name="T78" fmla="*/ 90 w 141"/>
                  <a:gd name="T79" fmla="*/ 130 h 146"/>
                  <a:gd name="T80" fmla="*/ 116 w 141"/>
                  <a:gd name="T81" fmla="*/ 124 h 146"/>
                  <a:gd name="T82" fmla="*/ 117 w 141"/>
                  <a:gd name="T83" fmla="*/ 126 h 146"/>
                  <a:gd name="T84" fmla="*/ 122 w 141"/>
                  <a:gd name="T85" fmla="*/ 124 h 146"/>
                  <a:gd name="T86" fmla="*/ 135 w 141"/>
                  <a:gd name="T87" fmla="*/ 110 h 146"/>
                  <a:gd name="T88" fmla="*/ 141 w 141"/>
                  <a:gd name="T89" fmla="*/ 93 h 146"/>
                  <a:gd name="T90" fmla="*/ 141 w 141"/>
                  <a:gd name="T91" fmla="*/ 89 h 146"/>
                  <a:gd name="T92" fmla="*/ 137 w 141"/>
                  <a:gd name="T93" fmla="*/ 87 h 146"/>
                  <a:gd name="T94" fmla="*/ 71 w 141"/>
                  <a:gd name="T95" fmla="*/ 110 h 146"/>
                  <a:gd name="T96" fmla="*/ 51 w 141"/>
                  <a:gd name="T97" fmla="*/ 103 h 146"/>
                  <a:gd name="T98" fmla="*/ 37 w 141"/>
                  <a:gd name="T99" fmla="*/ 88 h 146"/>
                  <a:gd name="T100" fmla="*/ 35 w 141"/>
                  <a:gd name="T101" fmla="*/ 73 h 146"/>
                  <a:gd name="T102" fmla="*/ 41 w 141"/>
                  <a:gd name="T103" fmla="*/ 53 h 146"/>
                  <a:gd name="T104" fmla="*/ 56 w 141"/>
                  <a:gd name="T105" fmla="*/ 41 h 146"/>
                  <a:gd name="T106" fmla="*/ 71 w 141"/>
                  <a:gd name="T107" fmla="*/ 38 h 146"/>
                  <a:gd name="T108" fmla="*/ 91 w 141"/>
                  <a:gd name="T109" fmla="*/ 44 h 146"/>
                  <a:gd name="T110" fmla="*/ 104 w 141"/>
                  <a:gd name="T111" fmla="*/ 60 h 146"/>
                  <a:gd name="T112" fmla="*/ 106 w 141"/>
                  <a:gd name="T113" fmla="*/ 73 h 146"/>
                  <a:gd name="T114" fmla="*/ 101 w 141"/>
                  <a:gd name="T115" fmla="*/ 93 h 146"/>
                  <a:gd name="T116" fmla="*/ 85 w 141"/>
                  <a:gd name="T117" fmla="*/ 107 h 146"/>
                  <a:gd name="T118" fmla="*/ 71 w 141"/>
                  <a:gd name="T119" fmla="*/ 1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46">
                    <a:moveTo>
                      <a:pt x="137" y="87"/>
                    </a:moveTo>
                    <a:lnTo>
                      <a:pt x="129" y="85"/>
                    </a:lnTo>
                    <a:lnTo>
                      <a:pt x="129" y="85"/>
                    </a:lnTo>
                    <a:lnTo>
                      <a:pt x="130" y="73"/>
                    </a:lnTo>
                    <a:lnTo>
                      <a:pt x="130" y="73"/>
                    </a:lnTo>
                    <a:lnTo>
                      <a:pt x="129" y="62"/>
                    </a:lnTo>
                    <a:lnTo>
                      <a:pt x="137" y="61"/>
                    </a:lnTo>
                    <a:lnTo>
                      <a:pt x="137" y="61"/>
                    </a:lnTo>
                    <a:lnTo>
                      <a:pt x="139" y="60"/>
                    </a:lnTo>
                    <a:lnTo>
                      <a:pt x="139" y="60"/>
                    </a:lnTo>
                    <a:lnTo>
                      <a:pt x="141" y="57"/>
                    </a:lnTo>
                    <a:lnTo>
                      <a:pt x="141" y="54"/>
                    </a:lnTo>
                    <a:lnTo>
                      <a:pt x="141" y="54"/>
                    </a:lnTo>
                    <a:lnTo>
                      <a:pt x="141" y="54"/>
                    </a:lnTo>
                    <a:lnTo>
                      <a:pt x="139" y="46"/>
                    </a:lnTo>
                    <a:lnTo>
                      <a:pt x="135" y="37"/>
                    </a:lnTo>
                    <a:lnTo>
                      <a:pt x="135" y="37"/>
                    </a:lnTo>
                    <a:lnTo>
                      <a:pt x="129" y="29"/>
                    </a:lnTo>
                    <a:lnTo>
                      <a:pt x="122" y="22"/>
                    </a:lnTo>
                    <a:lnTo>
                      <a:pt x="122" y="22"/>
                    </a:lnTo>
                    <a:lnTo>
                      <a:pt x="122" y="22"/>
                    </a:lnTo>
                    <a:lnTo>
                      <a:pt x="120" y="21"/>
                    </a:lnTo>
                    <a:lnTo>
                      <a:pt x="117" y="22"/>
                    </a:lnTo>
                    <a:lnTo>
                      <a:pt x="117" y="22"/>
                    </a:lnTo>
                    <a:lnTo>
                      <a:pt x="116" y="23"/>
                    </a:lnTo>
                    <a:lnTo>
                      <a:pt x="110" y="29"/>
                    </a:lnTo>
                    <a:lnTo>
                      <a:pt x="110" y="29"/>
                    </a:lnTo>
                    <a:lnTo>
                      <a:pt x="101" y="22"/>
                    </a:lnTo>
                    <a:lnTo>
                      <a:pt x="90" y="18"/>
                    </a:lnTo>
                    <a:lnTo>
                      <a:pt x="93" y="10"/>
                    </a:lnTo>
                    <a:lnTo>
                      <a:pt x="93" y="10"/>
                    </a:lnTo>
                    <a:lnTo>
                      <a:pt x="93" y="8"/>
                    </a:lnTo>
                    <a:lnTo>
                      <a:pt x="93" y="8"/>
                    </a:lnTo>
                    <a:lnTo>
                      <a:pt x="91" y="4"/>
                    </a:lnTo>
                    <a:lnTo>
                      <a:pt x="89" y="3"/>
                    </a:lnTo>
                    <a:lnTo>
                      <a:pt x="89" y="3"/>
                    </a:lnTo>
                    <a:lnTo>
                      <a:pt x="89" y="3"/>
                    </a:lnTo>
                    <a:lnTo>
                      <a:pt x="81" y="2"/>
                    </a:lnTo>
                    <a:lnTo>
                      <a:pt x="71" y="0"/>
                    </a:lnTo>
                    <a:lnTo>
                      <a:pt x="71" y="0"/>
                    </a:lnTo>
                    <a:lnTo>
                      <a:pt x="62" y="2"/>
                    </a:lnTo>
                    <a:lnTo>
                      <a:pt x="52" y="3"/>
                    </a:lnTo>
                    <a:lnTo>
                      <a:pt x="52" y="3"/>
                    </a:lnTo>
                    <a:lnTo>
                      <a:pt x="52" y="3"/>
                    </a:lnTo>
                    <a:lnTo>
                      <a:pt x="50" y="4"/>
                    </a:lnTo>
                    <a:lnTo>
                      <a:pt x="48" y="8"/>
                    </a:lnTo>
                    <a:lnTo>
                      <a:pt x="48" y="8"/>
                    </a:lnTo>
                    <a:lnTo>
                      <a:pt x="50" y="10"/>
                    </a:lnTo>
                    <a:lnTo>
                      <a:pt x="52" y="18"/>
                    </a:lnTo>
                    <a:lnTo>
                      <a:pt x="52" y="18"/>
                    </a:lnTo>
                    <a:lnTo>
                      <a:pt x="41" y="22"/>
                    </a:lnTo>
                    <a:lnTo>
                      <a:pt x="32" y="29"/>
                    </a:lnTo>
                    <a:lnTo>
                      <a:pt x="27" y="23"/>
                    </a:lnTo>
                    <a:lnTo>
                      <a:pt x="27" y="23"/>
                    </a:lnTo>
                    <a:lnTo>
                      <a:pt x="25" y="22"/>
                    </a:lnTo>
                    <a:lnTo>
                      <a:pt x="25" y="22"/>
                    </a:lnTo>
                    <a:lnTo>
                      <a:pt x="21" y="21"/>
                    </a:lnTo>
                    <a:lnTo>
                      <a:pt x="19" y="22"/>
                    </a:lnTo>
                    <a:lnTo>
                      <a:pt x="19" y="22"/>
                    </a:lnTo>
                    <a:lnTo>
                      <a:pt x="19" y="22"/>
                    </a:lnTo>
                    <a:lnTo>
                      <a:pt x="13" y="29"/>
                    </a:lnTo>
                    <a:lnTo>
                      <a:pt x="8" y="37"/>
                    </a:lnTo>
                    <a:lnTo>
                      <a:pt x="8" y="37"/>
                    </a:lnTo>
                    <a:lnTo>
                      <a:pt x="4" y="46"/>
                    </a:lnTo>
                    <a:lnTo>
                      <a:pt x="0" y="54"/>
                    </a:lnTo>
                    <a:lnTo>
                      <a:pt x="0" y="54"/>
                    </a:lnTo>
                    <a:lnTo>
                      <a:pt x="0" y="54"/>
                    </a:lnTo>
                    <a:lnTo>
                      <a:pt x="1" y="57"/>
                    </a:lnTo>
                    <a:lnTo>
                      <a:pt x="2" y="60"/>
                    </a:lnTo>
                    <a:lnTo>
                      <a:pt x="2" y="60"/>
                    </a:lnTo>
                    <a:lnTo>
                      <a:pt x="5" y="61"/>
                    </a:lnTo>
                    <a:lnTo>
                      <a:pt x="13" y="62"/>
                    </a:lnTo>
                    <a:lnTo>
                      <a:pt x="13" y="62"/>
                    </a:lnTo>
                    <a:lnTo>
                      <a:pt x="12" y="73"/>
                    </a:lnTo>
                    <a:lnTo>
                      <a:pt x="12" y="73"/>
                    </a:lnTo>
                    <a:lnTo>
                      <a:pt x="13" y="85"/>
                    </a:lnTo>
                    <a:lnTo>
                      <a:pt x="5" y="87"/>
                    </a:lnTo>
                    <a:lnTo>
                      <a:pt x="5" y="87"/>
                    </a:lnTo>
                    <a:lnTo>
                      <a:pt x="2" y="87"/>
                    </a:lnTo>
                    <a:lnTo>
                      <a:pt x="2" y="87"/>
                    </a:lnTo>
                    <a:lnTo>
                      <a:pt x="1" y="89"/>
                    </a:lnTo>
                    <a:lnTo>
                      <a:pt x="0" y="93"/>
                    </a:lnTo>
                    <a:lnTo>
                      <a:pt x="0" y="93"/>
                    </a:lnTo>
                    <a:lnTo>
                      <a:pt x="0" y="93"/>
                    </a:lnTo>
                    <a:lnTo>
                      <a:pt x="4" y="101"/>
                    </a:lnTo>
                    <a:lnTo>
                      <a:pt x="8" y="110"/>
                    </a:lnTo>
                    <a:lnTo>
                      <a:pt x="8" y="110"/>
                    </a:lnTo>
                    <a:lnTo>
                      <a:pt x="13" y="118"/>
                    </a:lnTo>
                    <a:lnTo>
                      <a:pt x="19" y="124"/>
                    </a:lnTo>
                    <a:lnTo>
                      <a:pt x="19" y="124"/>
                    </a:lnTo>
                    <a:lnTo>
                      <a:pt x="19" y="124"/>
                    </a:lnTo>
                    <a:lnTo>
                      <a:pt x="21" y="126"/>
                    </a:lnTo>
                    <a:lnTo>
                      <a:pt x="25" y="126"/>
                    </a:lnTo>
                    <a:lnTo>
                      <a:pt x="25" y="126"/>
                    </a:lnTo>
                    <a:lnTo>
                      <a:pt x="27" y="124"/>
                    </a:lnTo>
                    <a:lnTo>
                      <a:pt x="32" y="118"/>
                    </a:lnTo>
                    <a:lnTo>
                      <a:pt x="32" y="118"/>
                    </a:lnTo>
                    <a:lnTo>
                      <a:pt x="41" y="124"/>
                    </a:lnTo>
                    <a:lnTo>
                      <a:pt x="52" y="130"/>
                    </a:lnTo>
                    <a:lnTo>
                      <a:pt x="50" y="138"/>
                    </a:lnTo>
                    <a:lnTo>
                      <a:pt x="50" y="138"/>
                    </a:lnTo>
                    <a:lnTo>
                      <a:pt x="48" y="139"/>
                    </a:lnTo>
                    <a:lnTo>
                      <a:pt x="48" y="139"/>
                    </a:lnTo>
                    <a:lnTo>
                      <a:pt x="50" y="142"/>
                    </a:lnTo>
                    <a:lnTo>
                      <a:pt x="52" y="145"/>
                    </a:lnTo>
                    <a:lnTo>
                      <a:pt x="52" y="145"/>
                    </a:lnTo>
                    <a:lnTo>
                      <a:pt x="52" y="145"/>
                    </a:lnTo>
                    <a:lnTo>
                      <a:pt x="62" y="146"/>
                    </a:lnTo>
                    <a:lnTo>
                      <a:pt x="71" y="146"/>
                    </a:lnTo>
                    <a:lnTo>
                      <a:pt x="71" y="146"/>
                    </a:lnTo>
                    <a:lnTo>
                      <a:pt x="81" y="146"/>
                    </a:lnTo>
                    <a:lnTo>
                      <a:pt x="89" y="145"/>
                    </a:lnTo>
                    <a:lnTo>
                      <a:pt x="89" y="145"/>
                    </a:lnTo>
                    <a:lnTo>
                      <a:pt x="89" y="145"/>
                    </a:lnTo>
                    <a:lnTo>
                      <a:pt x="91" y="142"/>
                    </a:lnTo>
                    <a:lnTo>
                      <a:pt x="93" y="139"/>
                    </a:lnTo>
                    <a:lnTo>
                      <a:pt x="93" y="139"/>
                    </a:lnTo>
                    <a:lnTo>
                      <a:pt x="93" y="138"/>
                    </a:lnTo>
                    <a:lnTo>
                      <a:pt x="90" y="130"/>
                    </a:lnTo>
                    <a:lnTo>
                      <a:pt x="90" y="130"/>
                    </a:lnTo>
                    <a:lnTo>
                      <a:pt x="101" y="124"/>
                    </a:lnTo>
                    <a:lnTo>
                      <a:pt x="110" y="118"/>
                    </a:lnTo>
                    <a:lnTo>
                      <a:pt x="116" y="124"/>
                    </a:lnTo>
                    <a:lnTo>
                      <a:pt x="116" y="124"/>
                    </a:lnTo>
                    <a:lnTo>
                      <a:pt x="117" y="126"/>
                    </a:lnTo>
                    <a:lnTo>
                      <a:pt x="117" y="126"/>
                    </a:lnTo>
                    <a:lnTo>
                      <a:pt x="120" y="126"/>
                    </a:lnTo>
                    <a:lnTo>
                      <a:pt x="122" y="124"/>
                    </a:lnTo>
                    <a:lnTo>
                      <a:pt x="122" y="124"/>
                    </a:lnTo>
                    <a:lnTo>
                      <a:pt x="122" y="124"/>
                    </a:lnTo>
                    <a:lnTo>
                      <a:pt x="129" y="118"/>
                    </a:lnTo>
                    <a:lnTo>
                      <a:pt x="135" y="110"/>
                    </a:lnTo>
                    <a:lnTo>
                      <a:pt x="135" y="110"/>
                    </a:lnTo>
                    <a:lnTo>
                      <a:pt x="139" y="101"/>
                    </a:lnTo>
                    <a:lnTo>
                      <a:pt x="141" y="93"/>
                    </a:lnTo>
                    <a:lnTo>
                      <a:pt x="141" y="93"/>
                    </a:lnTo>
                    <a:lnTo>
                      <a:pt x="141" y="93"/>
                    </a:lnTo>
                    <a:lnTo>
                      <a:pt x="141" y="89"/>
                    </a:lnTo>
                    <a:lnTo>
                      <a:pt x="139" y="87"/>
                    </a:lnTo>
                    <a:lnTo>
                      <a:pt x="139" y="87"/>
                    </a:lnTo>
                    <a:lnTo>
                      <a:pt x="137" y="87"/>
                    </a:lnTo>
                    <a:lnTo>
                      <a:pt x="137" y="87"/>
                    </a:lnTo>
                    <a:close/>
                    <a:moveTo>
                      <a:pt x="71" y="110"/>
                    </a:moveTo>
                    <a:lnTo>
                      <a:pt x="71" y="110"/>
                    </a:lnTo>
                    <a:lnTo>
                      <a:pt x="63" y="108"/>
                    </a:lnTo>
                    <a:lnTo>
                      <a:pt x="56" y="107"/>
                    </a:lnTo>
                    <a:lnTo>
                      <a:pt x="51" y="103"/>
                    </a:lnTo>
                    <a:lnTo>
                      <a:pt x="46" y="99"/>
                    </a:lnTo>
                    <a:lnTo>
                      <a:pt x="41" y="93"/>
                    </a:lnTo>
                    <a:lnTo>
                      <a:pt x="37" y="88"/>
                    </a:lnTo>
                    <a:lnTo>
                      <a:pt x="36" y="81"/>
                    </a:lnTo>
                    <a:lnTo>
                      <a:pt x="35" y="73"/>
                    </a:lnTo>
                    <a:lnTo>
                      <a:pt x="35" y="73"/>
                    </a:lnTo>
                    <a:lnTo>
                      <a:pt x="36" y="66"/>
                    </a:lnTo>
                    <a:lnTo>
                      <a:pt x="37" y="60"/>
                    </a:lnTo>
                    <a:lnTo>
                      <a:pt x="41" y="53"/>
                    </a:lnTo>
                    <a:lnTo>
                      <a:pt x="46" y="48"/>
                    </a:lnTo>
                    <a:lnTo>
                      <a:pt x="51" y="44"/>
                    </a:lnTo>
                    <a:lnTo>
                      <a:pt x="56" y="41"/>
                    </a:lnTo>
                    <a:lnTo>
                      <a:pt x="63" y="38"/>
                    </a:lnTo>
                    <a:lnTo>
                      <a:pt x="71" y="38"/>
                    </a:lnTo>
                    <a:lnTo>
                      <a:pt x="71" y="38"/>
                    </a:lnTo>
                    <a:lnTo>
                      <a:pt x="78" y="38"/>
                    </a:lnTo>
                    <a:lnTo>
                      <a:pt x="85" y="41"/>
                    </a:lnTo>
                    <a:lnTo>
                      <a:pt x="91" y="44"/>
                    </a:lnTo>
                    <a:lnTo>
                      <a:pt x="97" y="48"/>
                    </a:lnTo>
                    <a:lnTo>
                      <a:pt x="101" y="53"/>
                    </a:lnTo>
                    <a:lnTo>
                      <a:pt x="104" y="60"/>
                    </a:lnTo>
                    <a:lnTo>
                      <a:pt x="106" y="66"/>
                    </a:lnTo>
                    <a:lnTo>
                      <a:pt x="106" y="73"/>
                    </a:lnTo>
                    <a:lnTo>
                      <a:pt x="106" y="73"/>
                    </a:lnTo>
                    <a:lnTo>
                      <a:pt x="106" y="81"/>
                    </a:lnTo>
                    <a:lnTo>
                      <a:pt x="104" y="88"/>
                    </a:lnTo>
                    <a:lnTo>
                      <a:pt x="101" y="93"/>
                    </a:lnTo>
                    <a:lnTo>
                      <a:pt x="97" y="99"/>
                    </a:lnTo>
                    <a:lnTo>
                      <a:pt x="91" y="103"/>
                    </a:lnTo>
                    <a:lnTo>
                      <a:pt x="85" y="107"/>
                    </a:lnTo>
                    <a:lnTo>
                      <a:pt x="78" y="108"/>
                    </a:lnTo>
                    <a:lnTo>
                      <a:pt x="71" y="110"/>
                    </a:lnTo>
                    <a:lnTo>
                      <a:pt x="7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09" name="Freeform 162"/>
              <p:cNvSpPr>
                <a:spLocks/>
              </p:cNvSpPr>
              <p:nvPr/>
            </p:nvSpPr>
            <p:spPr bwMode="auto">
              <a:xfrm>
                <a:off x="3119438" y="4373563"/>
                <a:ext cx="55563" cy="55563"/>
              </a:xfrm>
              <a:custGeom>
                <a:avLst/>
                <a:gdLst>
                  <a:gd name="T0" fmla="*/ 35 w 70"/>
                  <a:gd name="T1" fmla="*/ 0 h 70"/>
                  <a:gd name="T2" fmla="*/ 35 w 70"/>
                  <a:gd name="T3" fmla="*/ 0 h 70"/>
                  <a:gd name="T4" fmla="*/ 29 w 70"/>
                  <a:gd name="T5" fmla="*/ 1 h 70"/>
                  <a:gd name="T6" fmla="*/ 22 w 70"/>
                  <a:gd name="T7" fmla="*/ 2 h 70"/>
                  <a:gd name="T8" fmla="*/ 17 w 70"/>
                  <a:gd name="T9" fmla="*/ 7 h 70"/>
                  <a:gd name="T10" fmla="*/ 11 w 70"/>
                  <a:gd name="T11" fmla="*/ 11 h 70"/>
                  <a:gd name="T12" fmla="*/ 7 w 70"/>
                  <a:gd name="T13" fmla="*/ 16 h 70"/>
                  <a:gd name="T14" fmla="*/ 3 w 70"/>
                  <a:gd name="T15" fmla="*/ 21 h 70"/>
                  <a:gd name="T16" fmla="*/ 2 w 70"/>
                  <a:gd name="T17" fmla="*/ 28 h 70"/>
                  <a:gd name="T18" fmla="*/ 0 w 70"/>
                  <a:gd name="T19" fmla="*/ 35 h 70"/>
                  <a:gd name="T20" fmla="*/ 0 w 70"/>
                  <a:gd name="T21" fmla="*/ 35 h 70"/>
                  <a:gd name="T22" fmla="*/ 2 w 70"/>
                  <a:gd name="T23" fmla="*/ 42 h 70"/>
                  <a:gd name="T24" fmla="*/ 3 w 70"/>
                  <a:gd name="T25" fmla="*/ 48 h 70"/>
                  <a:gd name="T26" fmla="*/ 7 w 70"/>
                  <a:gd name="T27" fmla="*/ 55 h 70"/>
                  <a:gd name="T28" fmla="*/ 11 w 70"/>
                  <a:gd name="T29" fmla="*/ 59 h 70"/>
                  <a:gd name="T30" fmla="*/ 17 w 70"/>
                  <a:gd name="T31" fmla="*/ 64 h 70"/>
                  <a:gd name="T32" fmla="*/ 22 w 70"/>
                  <a:gd name="T33" fmla="*/ 67 h 70"/>
                  <a:gd name="T34" fmla="*/ 29 w 70"/>
                  <a:gd name="T35" fmla="*/ 69 h 70"/>
                  <a:gd name="T36" fmla="*/ 35 w 70"/>
                  <a:gd name="T37" fmla="*/ 70 h 70"/>
                  <a:gd name="T38" fmla="*/ 35 w 70"/>
                  <a:gd name="T39" fmla="*/ 70 h 70"/>
                  <a:gd name="T40" fmla="*/ 42 w 70"/>
                  <a:gd name="T41" fmla="*/ 69 h 70"/>
                  <a:gd name="T42" fmla="*/ 49 w 70"/>
                  <a:gd name="T43" fmla="*/ 67 h 70"/>
                  <a:gd name="T44" fmla="*/ 54 w 70"/>
                  <a:gd name="T45" fmla="*/ 64 h 70"/>
                  <a:gd name="T46" fmla="*/ 60 w 70"/>
                  <a:gd name="T47" fmla="*/ 59 h 70"/>
                  <a:gd name="T48" fmla="*/ 64 w 70"/>
                  <a:gd name="T49" fmla="*/ 55 h 70"/>
                  <a:gd name="T50" fmla="*/ 68 w 70"/>
                  <a:gd name="T51" fmla="*/ 48 h 70"/>
                  <a:gd name="T52" fmla="*/ 69 w 70"/>
                  <a:gd name="T53" fmla="*/ 42 h 70"/>
                  <a:gd name="T54" fmla="*/ 70 w 70"/>
                  <a:gd name="T55" fmla="*/ 35 h 70"/>
                  <a:gd name="T56" fmla="*/ 70 w 70"/>
                  <a:gd name="T57" fmla="*/ 35 h 70"/>
                  <a:gd name="T58" fmla="*/ 69 w 70"/>
                  <a:gd name="T59" fmla="*/ 28 h 70"/>
                  <a:gd name="T60" fmla="*/ 68 w 70"/>
                  <a:gd name="T61" fmla="*/ 21 h 70"/>
                  <a:gd name="T62" fmla="*/ 64 w 70"/>
                  <a:gd name="T63" fmla="*/ 16 h 70"/>
                  <a:gd name="T64" fmla="*/ 60 w 70"/>
                  <a:gd name="T65" fmla="*/ 11 h 70"/>
                  <a:gd name="T66" fmla="*/ 54 w 70"/>
                  <a:gd name="T67" fmla="*/ 7 h 70"/>
                  <a:gd name="T68" fmla="*/ 49 w 70"/>
                  <a:gd name="T69" fmla="*/ 2 h 70"/>
                  <a:gd name="T70" fmla="*/ 42 w 70"/>
                  <a:gd name="T71" fmla="*/ 1 h 70"/>
                  <a:gd name="T72" fmla="*/ 35 w 70"/>
                  <a:gd name="T73" fmla="*/ 0 h 70"/>
                  <a:gd name="T74" fmla="*/ 35 w 70"/>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0">
                    <a:moveTo>
                      <a:pt x="35" y="0"/>
                    </a:moveTo>
                    <a:lnTo>
                      <a:pt x="35" y="0"/>
                    </a:lnTo>
                    <a:lnTo>
                      <a:pt x="29" y="1"/>
                    </a:lnTo>
                    <a:lnTo>
                      <a:pt x="22" y="2"/>
                    </a:lnTo>
                    <a:lnTo>
                      <a:pt x="17" y="7"/>
                    </a:lnTo>
                    <a:lnTo>
                      <a:pt x="11" y="11"/>
                    </a:lnTo>
                    <a:lnTo>
                      <a:pt x="7" y="16"/>
                    </a:lnTo>
                    <a:lnTo>
                      <a:pt x="3" y="21"/>
                    </a:lnTo>
                    <a:lnTo>
                      <a:pt x="2" y="28"/>
                    </a:lnTo>
                    <a:lnTo>
                      <a:pt x="0" y="35"/>
                    </a:lnTo>
                    <a:lnTo>
                      <a:pt x="0" y="35"/>
                    </a:lnTo>
                    <a:lnTo>
                      <a:pt x="2" y="42"/>
                    </a:lnTo>
                    <a:lnTo>
                      <a:pt x="3" y="48"/>
                    </a:lnTo>
                    <a:lnTo>
                      <a:pt x="7" y="55"/>
                    </a:lnTo>
                    <a:lnTo>
                      <a:pt x="11" y="59"/>
                    </a:lnTo>
                    <a:lnTo>
                      <a:pt x="17" y="64"/>
                    </a:lnTo>
                    <a:lnTo>
                      <a:pt x="22" y="67"/>
                    </a:lnTo>
                    <a:lnTo>
                      <a:pt x="29" y="69"/>
                    </a:lnTo>
                    <a:lnTo>
                      <a:pt x="35" y="70"/>
                    </a:lnTo>
                    <a:lnTo>
                      <a:pt x="35" y="70"/>
                    </a:lnTo>
                    <a:lnTo>
                      <a:pt x="42" y="69"/>
                    </a:lnTo>
                    <a:lnTo>
                      <a:pt x="49" y="67"/>
                    </a:lnTo>
                    <a:lnTo>
                      <a:pt x="54" y="64"/>
                    </a:lnTo>
                    <a:lnTo>
                      <a:pt x="60" y="59"/>
                    </a:lnTo>
                    <a:lnTo>
                      <a:pt x="64" y="55"/>
                    </a:lnTo>
                    <a:lnTo>
                      <a:pt x="68" y="48"/>
                    </a:lnTo>
                    <a:lnTo>
                      <a:pt x="69" y="42"/>
                    </a:lnTo>
                    <a:lnTo>
                      <a:pt x="70" y="35"/>
                    </a:lnTo>
                    <a:lnTo>
                      <a:pt x="70" y="35"/>
                    </a:lnTo>
                    <a:lnTo>
                      <a:pt x="69" y="28"/>
                    </a:lnTo>
                    <a:lnTo>
                      <a:pt x="68" y="21"/>
                    </a:lnTo>
                    <a:lnTo>
                      <a:pt x="64" y="16"/>
                    </a:lnTo>
                    <a:lnTo>
                      <a:pt x="60" y="11"/>
                    </a:lnTo>
                    <a:lnTo>
                      <a:pt x="54" y="7"/>
                    </a:lnTo>
                    <a:lnTo>
                      <a:pt x="49" y="2"/>
                    </a:lnTo>
                    <a:lnTo>
                      <a:pt x="42"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10" name="Freeform 163"/>
              <p:cNvSpPr>
                <a:spLocks/>
              </p:cNvSpPr>
              <p:nvPr/>
            </p:nvSpPr>
            <p:spPr bwMode="auto">
              <a:xfrm>
                <a:off x="3279775" y="4294188"/>
                <a:ext cx="26988" cy="26988"/>
              </a:xfrm>
              <a:custGeom>
                <a:avLst/>
                <a:gdLst>
                  <a:gd name="T0" fmla="*/ 16 w 32"/>
                  <a:gd name="T1" fmla="*/ 0 h 32"/>
                  <a:gd name="T2" fmla="*/ 16 w 32"/>
                  <a:gd name="T3" fmla="*/ 0 h 32"/>
                  <a:gd name="T4" fmla="*/ 9 w 32"/>
                  <a:gd name="T5" fmla="*/ 1 h 32"/>
                  <a:gd name="T6" fmla="*/ 4 w 32"/>
                  <a:gd name="T7" fmla="*/ 5 h 32"/>
                  <a:gd name="T8" fmla="*/ 1 w 32"/>
                  <a:gd name="T9" fmla="*/ 11 h 32"/>
                  <a:gd name="T10" fmla="*/ 0 w 32"/>
                  <a:gd name="T11" fmla="*/ 16 h 32"/>
                  <a:gd name="T12" fmla="*/ 0 w 32"/>
                  <a:gd name="T13" fmla="*/ 16 h 32"/>
                  <a:gd name="T14" fmla="*/ 1 w 32"/>
                  <a:gd name="T15" fmla="*/ 23 h 32"/>
                  <a:gd name="T16" fmla="*/ 4 w 32"/>
                  <a:gd name="T17" fmla="*/ 28 h 32"/>
                  <a:gd name="T18" fmla="*/ 9 w 32"/>
                  <a:gd name="T19" fmla="*/ 31 h 32"/>
                  <a:gd name="T20" fmla="*/ 16 w 32"/>
                  <a:gd name="T21" fmla="*/ 32 h 32"/>
                  <a:gd name="T22" fmla="*/ 16 w 32"/>
                  <a:gd name="T23" fmla="*/ 32 h 32"/>
                  <a:gd name="T24" fmla="*/ 22 w 32"/>
                  <a:gd name="T25" fmla="*/ 31 h 32"/>
                  <a:gd name="T26" fmla="*/ 27 w 32"/>
                  <a:gd name="T27" fmla="*/ 28 h 32"/>
                  <a:gd name="T28" fmla="*/ 31 w 32"/>
                  <a:gd name="T29" fmla="*/ 23 h 32"/>
                  <a:gd name="T30" fmla="*/ 32 w 32"/>
                  <a:gd name="T31" fmla="*/ 16 h 32"/>
                  <a:gd name="T32" fmla="*/ 32 w 32"/>
                  <a:gd name="T33" fmla="*/ 16 h 32"/>
                  <a:gd name="T34" fmla="*/ 31 w 32"/>
                  <a:gd name="T35" fmla="*/ 11 h 32"/>
                  <a:gd name="T36" fmla="*/ 27 w 32"/>
                  <a:gd name="T37" fmla="*/ 5 h 32"/>
                  <a:gd name="T38" fmla="*/ 22 w 32"/>
                  <a:gd name="T39" fmla="*/ 1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9" y="1"/>
                    </a:lnTo>
                    <a:lnTo>
                      <a:pt x="4" y="5"/>
                    </a:lnTo>
                    <a:lnTo>
                      <a:pt x="1" y="11"/>
                    </a:lnTo>
                    <a:lnTo>
                      <a:pt x="0" y="16"/>
                    </a:lnTo>
                    <a:lnTo>
                      <a:pt x="0" y="16"/>
                    </a:lnTo>
                    <a:lnTo>
                      <a:pt x="1" y="23"/>
                    </a:lnTo>
                    <a:lnTo>
                      <a:pt x="4" y="28"/>
                    </a:lnTo>
                    <a:lnTo>
                      <a:pt x="9" y="31"/>
                    </a:lnTo>
                    <a:lnTo>
                      <a:pt x="16" y="32"/>
                    </a:lnTo>
                    <a:lnTo>
                      <a:pt x="16" y="32"/>
                    </a:lnTo>
                    <a:lnTo>
                      <a:pt x="22" y="31"/>
                    </a:lnTo>
                    <a:lnTo>
                      <a:pt x="27" y="28"/>
                    </a:lnTo>
                    <a:lnTo>
                      <a:pt x="31" y="23"/>
                    </a:lnTo>
                    <a:lnTo>
                      <a:pt x="32" y="16"/>
                    </a:lnTo>
                    <a:lnTo>
                      <a:pt x="32" y="16"/>
                    </a:lnTo>
                    <a:lnTo>
                      <a:pt x="31" y="11"/>
                    </a:lnTo>
                    <a:lnTo>
                      <a:pt x="27" y="5"/>
                    </a:lnTo>
                    <a:lnTo>
                      <a:pt x="22" y="1"/>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grpSp>
        <p:nvGrpSpPr>
          <p:cNvPr id="111" name="Group 110"/>
          <p:cNvGrpSpPr/>
          <p:nvPr/>
        </p:nvGrpSpPr>
        <p:grpSpPr>
          <a:xfrm>
            <a:off x="2689039" y="3289526"/>
            <a:ext cx="430792" cy="544601"/>
            <a:chOff x="4012294" y="3893616"/>
            <a:chExt cx="671101" cy="848615"/>
          </a:xfrm>
          <a:solidFill>
            <a:srgbClr val="676767"/>
          </a:solidFill>
        </p:grpSpPr>
        <p:grpSp>
          <p:nvGrpSpPr>
            <p:cNvPr id="112" name="Group 111"/>
            <p:cNvGrpSpPr/>
            <p:nvPr/>
          </p:nvGrpSpPr>
          <p:grpSpPr>
            <a:xfrm>
              <a:off x="4012294" y="3893616"/>
              <a:ext cx="340943" cy="848615"/>
              <a:chOff x="5816600" y="1936751"/>
              <a:chExt cx="217488" cy="541336"/>
            </a:xfrm>
            <a:grpFill/>
          </p:grpSpPr>
          <p:sp>
            <p:nvSpPr>
              <p:cNvPr id="114" name="Freeform 279"/>
              <p:cNvSpPr>
                <a:spLocks/>
              </p:cNvSpPr>
              <p:nvPr/>
            </p:nvSpPr>
            <p:spPr bwMode="auto">
              <a:xfrm>
                <a:off x="5878503" y="1936751"/>
                <a:ext cx="93663" cy="117476"/>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sp>
            <p:nvSpPr>
              <p:cNvPr id="115" name="Freeform 280"/>
              <p:cNvSpPr>
                <a:spLocks/>
              </p:cNvSpPr>
              <p:nvPr/>
            </p:nvSpPr>
            <p:spPr bwMode="auto">
              <a:xfrm>
                <a:off x="5816600" y="2049462"/>
                <a:ext cx="217488" cy="428625"/>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grpSp>
        <p:sp>
          <p:nvSpPr>
            <p:cNvPr id="113" name="Freeform 179"/>
            <p:cNvSpPr>
              <a:spLocks noEditPoints="1"/>
            </p:cNvSpPr>
            <p:nvPr/>
          </p:nvSpPr>
          <p:spPr bwMode="auto">
            <a:xfrm>
              <a:off x="4293556" y="4340954"/>
              <a:ext cx="389839" cy="399707"/>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nvGrpSpPr>
          <p:cNvPr id="25" name="Group 24"/>
          <p:cNvGrpSpPr/>
          <p:nvPr/>
        </p:nvGrpSpPr>
        <p:grpSpPr>
          <a:xfrm>
            <a:off x="6573961" y="1000125"/>
            <a:ext cx="2250868" cy="2652887"/>
            <a:chOff x="8762999" y="1092200"/>
            <a:chExt cx="3000376" cy="3537182"/>
          </a:xfrm>
        </p:grpSpPr>
        <p:sp>
          <p:nvSpPr>
            <p:cNvPr id="78" name="TextBox 77"/>
            <p:cNvSpPr txBox="1"/>
            <p:nvPr/>
          </p:nvSpPr>
          <p:spPr>
            <a:xfrm>
              <a:off x="8762999" y="1092200"/>
              <a:ext cx="3000375" cy="3537182"/>
            </a:xfrm>
            <a:prstGeom prst="rect">
              <a:avLst/>
            </a:prstGeom>
            <a:noFill/>
          </p:spPr>
          <p:txBody>
            <a:bodyPr wrap="square" lIns="91420" tIns="45711" rIns="91420" bIns="45711" rtlCol="0">
              <a:spAutoFit/>
            </a:bodyPr>
            <a:lstStyle/>
            <a:p>
              <a:pPr defTabSz="456991">
                <a:spcAft>
                  <a:spcPts val="2025"/>
                </a:spcAft>
              </a:pPr>
              <a:r>
                <a:rPr lang="en-US" sz="1500" b="1" dirty="0">
                  <a:solidFill>
                    <a:srgbClr val="214794"/>
                  </a:solidFill>
                  <a:latin typeface="Arial"/>
                </a:rPr>
                <a:t>Key Benefits</a:t>
              </a:r>
            </a:p>
            <a:p>
              <a:pPr marL="600105">
                <a:spcAft>
                  <a:spcPts val="3751"/>
                </a:spcAft>
                <a:buClr>
                  <a:srgbClr val="D81F28"/>
                </a:buClr>
              </a:pPr>
              <a:r>
                <a:rPr lang="ja-JP" altLang="en-US" sz="1200" dirty="0" smtClean="0">
                  <a:solidFill>
                    <a:srgbClr val="214794"/>
                  </a:solidFill>
                  <a:latin typeface="Arial"/>
                </a:rPr>
                <a:t>クラウド利用によるネットワーク帯域の効率化</a:t>
              </a:r>
              <a:endParaRPr lang="en-US" sz="1200" dirty="0">
                <a:solidFill>
                  <a:srgbClr val="214794"/>
                </a:solidFill>
                <a:latin typeface="Arial"/>
              </a:endParaRPr>
            </a:p>
            <a:p>
              <a:pPr marL="600105">
                <a:spcAft>
                  <a:spcPts val="3751"/>
                </a:spcAft>
                <a:buClr>
                  <a:srgbClr val="D81F28"/>
                </a:buClr>
              </a:pPr>
              <a:r>
                <a:rPr lang="ja-JP" altLang="en-US" sz="1200" dirty="0" smtClean="0">
                  <a:solidFill>
                    <a:srgbClr val="214794"/>
                  </a:solidFill>
                  <a:latin typeface="Arial"/>
                </a:rPr>
                <a:t>ユーザ利便性向上と対策オプションの提供　　　　　　　　　</a:t>
              </a:r>
              <a:endParaRPr lang="en-US" altLang="ja-JP" sz="1200" dirty="0" smtClean="0">
                <a:solidFill>
                  <a:srgbClr val="214794"/>
                </a:solidFill>
                <a:latin typeface="Arial"/>
              </a:endParaRPr>
            </a:p>
            <a:p>
              <a:pPr marL="600105">
                <a:spcAft>
                  <a:spcPts val="3751"/>
                </a:spcAft>
                <a:buClr>
                  <a:srgbClr val="D81F28"/>
                </a:buClr>
              </a:pPr>
              <a:r>
                <a:rPr lang="ja-JP" altLang="en-US" sz="1200" dirty="0" smtClean="0">
                  <a:solidFill>
                    <a:srgbClr val="214794"/>
                  </a:solidFill>
                  <a:latin typeface="Arial"/>
                </a:rPr>
                <a:t>ウェブセキュリティ対策がどこでもいても実現</a:t>
              </a:r>
              <a:endParaRPr lang="en-US" sz="1200" dirty="0" smtClean="0">
                <a:solidFill>
                  <a:srgbClr val="214794"/>
                </a:solidFill>
                <a:latin typeface="Arial"/>
              </a:endParaRPr>
            </a:p>
          </p:txBody>
        </p:sp>
        <p:sp>
          <p:nvSpPr>
            <p:cNvPr id="83" name="Title 3"/>
            <p:cNvSpPr txBox="1">
              <a:spLocks/>
            </p:cNvSpPr>
            <p:nvPr/>
          </p:nvSpPr>
          <p:spPr bwMode="auto">
            <a:xfrm>
              <a:off x="8877299" y="1690024"/>
              <a:ext cx="659731" cy="659731"/>
            </a:xfrm>
            <a:prstGeom prst="ellipse">
              <a:avLst/>
            </a:prstGeom>
            <a:solidFill>
              <a:schemeClr val="accent1"/>
            </a:solidFill>
            <a:ln>
              <a:noFill/>
            </a:ln>
            <a:effectLst>
              <a:outerShdw dist="31750" dir="2700000" algn="tl" rotWithShape="0">
                <a:prstClr val="black">
                  <a:alpha val="15000"/>
                </a:prstClr>
              </a:outerShdw>
            </a:effectLst>
            <a:extLst>
              <a:ext uri="{FAA26D3D-D897-4be2-8F04-BA451C77F1D7}">
                <ma14:placeholderFlag xmlns:ma14="http://schemas.microsoft.com/office/mac/drawingml/2011/main" val="1"/>
              </a:ext>
            </a:extLst>
          </p:spPr>
          <p:txBody>
            <a:bodyPr vert="horz" wrap="none" lIns="0" tIns="0" rIns="0" bIns="0" numCol="1" anchor="ctr" anchorCtr="0" compatLnSpc="1">
              <a:prstTxWarp prst="textNoShape">
                <a:avLst/>
              </a:prstTxWarp>
              <a:noAutofit/>
            </a:bodyPr>
            <a:lstStyle>
              <a:defPPr>
                <a:defRPr lang="en-US"/>
              </a:defPPr>
              <a:lvl1pPr algn="ctr" defTabSz="684167" fontAlgn="base">
                <a:lnSpc>
                  <a:spcPct val="100000"/>
                </a:lnSpc>
                <a:spcBef>
                  <a:spcPct val="0"/>
                </a:spcBef>
                <a:spcAft>
                  <a:spcPct val="0"/>
                </a:spcAft>
                <a:defRPr sz="2000">
                  <a:solidFill>
                    <a:schemeClr val="bg1"/>
                  </a:solidFill>
                  <a:latin typeface="+mj-lt"/>
                  <a:ea typeface="ＭＳ Ｐゴシック" charset="0"/>
                  <a:cs typeface="CiscoSans"/>
                </a:defRPr>
              </a:lvl1pPr>
              <a:lvl2pPr defTabSz="684167" fontAlgn="base">
                <a:lnSpc>
                  <a:spcPct val="80000"/>
                </a:lnSpc>
                <a:spcBef>
                  <a:spcPct val="0"/>
                </a:spcBef>
                <a:spcAft>
                  <a:spcPct val="0"/>
                </a:spcAft>
                <a:defRPr sz="3200">
                  <a:solidFill>
                    <a:srgbClr val="676767"/>
                  </a:solidFill>
                  <a:latin typeface="Arial" charset="0"/>
                  <a:ea typeface="ＭＳ Ｐゴシック" charset="0"/>
                </a:defRPr>
              </a:lvl2pPr>
              <a:lvl3pPr defTabSz="684167" fontAlgn="base">
                <a:lnSpc>
                  <a:spcPct val="80000"/>
                </a:lnSpc>
                <a:spcBef>
                  <a:spcPct val="0"/>
                </a:spcBef>
                <a:spcAft>
                  <a:spcPct val="0"/>
                </a:spcAft>
                <a:defRPr sz="3200">
                  <a:solidFill>
                    <a:srgbClr val="676767"/>
                  </a:solidFill>
                  <a:latin typeface="Arial" charset="0"/>
                  <a:ea typeface="ＭＳ Ｐゴシック" charset="0"/>
                </a:defRPr>
              </a:lvl3pPr>
              <a:lvl4pPr defTabSz="684167" fontAlgn="base">
                <a:lnSpc>
                  <a:spcPct val="80000"/>
                </a:lnSpc>
                <a:spcBef>
                  <a:spcPct val="0"/>
                </a:spcBef>
                <a:spcAft>
                  <a:spcPct val="0"/>
                </a:spcAft>
                <a:defRPr sz="3200">
                  <a:solidFill>
                    <a:srgbClr val="676767"/>
                  </a:solidFill>
                  <a:latin typeface="Arial" charset="0"/>
                  <a:ea typeface="ＭＳ Ｐゴシック" charset="0"/>
                </a:defRPr>
              </a:lvl4pPr>
              <a:lvl5pPr defTabSz="684167" fontAlgn="base">
                <a:lnSpc>
                  <a:spcPct val="80000"/>
                </a:lnSpc>
                <a:spcBef>
                  <a:spcPct val="0"/>
                </a:spcBef>
                <a:spcAft>
                  <a:spcPct val="0"/>
                </a:spcAft>
                <a:defRPr sz="3200">
                  <a:solidFill>
                    <a:srgbClr val="676767"/>
                  </a:solidFill>
                  <a:latin typeface="Arial" charset="0"/>
                  <a:ea typeface="ＭＳ Ｐゴシック" charset="0"/>
                </a:defRPr>
              </a:lvl5pPr>
              <a:lvl6pPr marL="457169" defTabSz="684167" fontAlgn="base">
                <a:lnSpc>
                  <a:spcPct val="80000"/>
                </a:lnSpc>
                <a:spcBef>
                  <a:spcPct val="0"/>
                </a:spcBef>
                <a:spcAft>
                  <a:spcPct val="0"/>
                </a:spcAft>
                <a:defRPr sz="3200">
                  <a:solidFill>
                    <a:srgbClr val="676767"/>
                  </a:solidFill>
                  <a:latin typeface="Arial" charset="0"/>
                  <a:ea typeface="ＭＳ Ｐゴシック" charset="0"/>
                </a:defRPr>
              </a:lvl6pPr>
              <a:lvl7pPr marL="914339" defTabSz="684167" fontAlgn="base">
                <a:lnSpc>
                  <a:spcPct val="80000"/>
                </a:lnSpc>
                <a:spcBef>
                  <a:spcPct val="0"/>
                </a:spcBef>
                <a:spcAft>
                  <a:spcPct val="0"/>
                </a:spcAft>
                <a:defRPr sz="3200">
                  <a:solidFill>
                    <a:srgbClr val="676767"/>
                  </a:solidFill>
                  <a:latin typeface="Arial" charset="0"/>
                  <a:ea typeface="ＭＳ Ｐゴシック" charset="0"/>
                </a:defRPr>
              </a:lvl7pPr>
              <a:lvl8pPr marL="1371509" defTabSz="684167" fontAlgn="base">
                <a:lnSpc>
                  <a:spcPct val="80000"/>
                </a:lnSpc>
                <a:spcBef>
                  <a:spcPct val="0"/>
                </a:spcBef>
                <a:spcAft>
                  <a:spcPct val="0"/>
                </a:spcAft>
                <a:defRPr sz="3200">
                  <a:solidFill>
                    <a:srgbClr val="676767"/>
                  </a:solidFill>
                  <a:latin typeface="Arial" charset="0"/>
                  <a:ea typeface="ＭＳ Ｐゴシック" charset="0"/>
                </a:defRPr>
              </a:lvl8pPr>
              <a:lvl9pPr marL="1828679" defTabSz="684167" fontAlgn="base">
                <a:lnSpc>
                  <a:spcPct val="80000"/>
                </a:lnSpc>
                <a:spcBef>
                  <a:spcPct val="0"/>
                </a:spcBef>
                <a:spcAft>
                  <a:spcPct val="0"/>
                </a:spcAft>
                <a:defRPr sz="3200">
                  <a:solidFill>
                    <a:srgbClr val="676767"/>
                  </a:solidFill>
                  <a:latin typeface="Arial" charset="0"/>
                  <a:ea typeface="ＭＳ Ｐゴシック" charset="0"/>
                </a:defRPr>
              </a:lvl9pPr>
            </a:lstStyle>
            <a:p>
              <a:endParaRPr lang="en-US" dirty="0">
                <a:solidFill>
                  <a:srgbClr val="FFFFFF"/>
                </a:solidFill>
              </a:endParaRPr>
            </a:p>
          </p:txBody>
        </p:sp>
        <p:sp>
          <p:nvSpPr>
            <p:cNvPr id="84" name="Title 3"/>
            <p:cNvSpPr txBox="1">
              <a:spLocks/>
            </p:cNvSpPr>
            <p:nvPr/>
          </p:nvSpPr>
          <p:spPr bwMode="auto">
            <a:xfrm>
              <a:off x="8877299" y="2794520"/>
              <a:ext cx="659731" cy="659731"/>
            </a:xfrm>
            <a:prstGeom prst="ellipse">
              <a:avLst/>
            </a:prstGeom>
            <a:solidFill>
              <a:schemeClr val="accent1"/>
            </a:solidFill>
            <a:ln>
              <a:noFill/>
            </a:ln>
            <a:effectLst>
              <a:outerShdw dist="31750" dir="2700000" algn="tl" rotWithShape="0">
                <a:prstClr val="black">
                  <a:alpha val="15000"/>
                </a:prstClr>
              </a:outerShdw>
            </a:effectLst>
            <a:extLst>
              <a:ext uri="{FAA26D3D-D897-4be2-8F04-BA451C77F1D7}">
                <ma14:placeholderFlag xmlns:ma14="http://schemas.microsoft.com/office/mac/drawingml/2011/main" val="1"/>
              </a:ext>
            </a:extLst>
          </p:spPr>
          <p:txBody>
            <a:bodyPr vert="horz" wrap="none" lIns="0" tIns="0" rIns="0" bIns="0" numCol="1" anchor="ctr" anchorCtr="0" compatLnSpc="1">
              <a:prstTxWarp prst="textNoShape">
                <a:avLst/>
              </a:prstTxWarp>
              <a:noAutofit/>
            </a:bodyPr>
            <a:lstStyle>
              <a:defPPr>
                <a:defRPr lang="en-US"/>
              </a:defPPr>
              <a:lvl1pPr algn="ctr" defTabSz="684167" fontAlgn="base">
                <a:lnSpc>
                  <a:spcPct val="100000"/>
                </a:lnSpc>
                <a:spcBef>
                  <a:spcPct val="0"/>
                </a:spcBef>
                <a:spcAft>
                  <a:spcPct val="0"/>
                </a:spcAft>
                <a:defRPr sz="2000">
                  <a:solidFill>
                    <a:schemeClr val="bg1"/>
                  </a:solidFill>
                  <a:latin typeface="+mj-lt"/>
                  <a:ea typeface="ＭＳ Ｐゴシック" charset="0"/>
                  <a:cs typeface="CiscoSans"/>
                </a:defRPr>
              </a:lvl1pPr>
              <a:lvl2pPr defTabSz="684167" fontAlgn="base">
                <a:lnSpc>
                  <a:spcPct val="80000"/>
                </a:lnSpc>
                <a:spcBef>
                  <a:spcPct val="0"/>
                </a:spcBef>
                <a:spcAft>
                  <a:spcPct val="0"/>
                </a:spcAft>
                <a:defRPr sz="3200">
                  <a:solidFill>
                    <a:srgbClr val="676767"/>
                  </a:solidFill>
                  <a:latin typeface="Arial" charset="0"/>
                  <a:ea typeface="ＭＳ Ｐゴシック" charset="0"/>
                </a:defRPr>
              </a:lvl2pPr>
              <a:lvl3pPr defTabSz="684167" fontAlgn="base">
                <a:lnSpc>
                  <a:spcPct val="80000"/>
                </a:lnSpc>
                <a:spcBef>
                  <a:spcPct val="0"/>
                </a:spcBef>
                <a:spcAft>
                  <a:spcPct val="0"/>
                </a:spcAft>
                <a:defRPr sz="3200">
                  <a:solidFill>
                    <a:srgbClr val="676767"/>
                  </a:solidFill>
                  <a:latin typeface="Arial" charset="0"/>
                  <a:ea typeface="ＭＳ Ｐゴシック" charset="0"/>
                </a:defRPr>
              </a:lvl3pPr>
              <a:lvl4pPr defTabSz="684167" fontAlgn="base">
                <a:lnSpc>
                  <a:spcPct val="80000"/>
                </a:lnSpc>
                <a:spcBef>
                  <a:spcPct val="0"/>
                </a:spcBef>
                <a:spcAft>
                  <a:spcPct val="0"/>
                </a:spcAft>
                <a:defRPr sz="3200">
                  <a:solidFill>
                    <a:srgbClr val="676767"/>
                  </a:solidFill>
                  <a:latin typeface="Arial" charset="0"/>
                  <a:ea typeface="ＭＳ Ｐゴシック" charset="0"/>
                </a:defRPr>
              </a:lvl4pPr>
              <a:lvl5pPr defTabSz="684167" fontAlgn="base">
                <a:lnSpc>
                  <a:spcPct val="80000"/>
                </a:lnSpc>
                <a:spcBef>
                  <a:spcPct val="0"/>
                </a:spcBef>
                <a:spcAft>
                  <a:spcPct val="0"/>
                </a:spcAft>
                <a:defRPr sz="3200">
                  <a:solidFill>
                    <a:srgbClr val="676767"/>
                  </a:solidFill>
                  <a:latin typeface="Arial" charset="0"/>
                  <a:ea typeface="ＭＳ Ｐゴシック" charset="0"/>
                </a:defRPr>
              </a:lvl5pPr>
              <a:lvl6pPr marL="457169" defTabSz="684167" fontAlgn="base">
                <a:lnSpc>
                  <a:spcPct val="80000"/>
                </a:lnSpc>
                <a:spcBef>
                  <a:spcPct val="0"/>
                </a:spcBef>
                <a:spcAft>
                  <a:spcPct val="0"/>
                </a:spcAft>
                <a:defRPr sz="3200">
                  <a:solidFill>
                    <a:srgbClr val="676767"/>
                  </a:solidFill>
                  <a:latin typeface="Arial" charset="0"/>
                  <a:ea typeface="ＭＳ Ｐゴシック" charset="0"/>
                </a:defRPr>
              </a:lvl6pPr>
              <a:lvl7pPr marL="914339" defTabSz="684167" fontAlgn="base">
                <a:lnSpc>
                  <a:spcPct val="80000"/>
                </a:lnSpc>
                <a:spcBef>
                  <a:spcPct val="0"/>
                </a:spcBef>
                <a:spcAft>
                  <a:spcPct val="0"/>
                </a:spcAft>
                <a:defRPr sz="3200">
                  <a:solidFill>
                    <a:srgbClr val="676767"/>
                  </a:solidFill>
                  <a:latin typeface="Arial" charset="0"/>
                  <a:ea typeface="ＭＳ Ｐゴシック" charset="0"/>
                </a:defRPr>
              </a:lvl7pPr>
              <a:lvl8pPr marL="1371509" defTabSz="684167" fontAlgn="base">
                <a:lnSpc>
                  <a:spcPct val="80000"/>
                </a:lnSpc>
                <a:spcBef>
                  <a:spcPct val="0"/>
                </a:spcBef>
                <a:spcAft>
                  <a:spcPct val="0"/>
                </a:spcAft>
                <a:defRPr sz="3200">
                  <a:solidFill>
                    <a:srgbClr val="676767"/>
                  </a:solidFill>
                  <a:latin typeface="Arial" charset="0"/>
                  <a:ea typeface="ＭＳ Ｐゴシック" charset="0"/>
                </a:defRPr>
              </a:lvl8pPr>
              <a:lvl9pPr marL="1828679" defTabSz="684167" fontAlgn="base">
                <a:lnSpc>
                  <a:spcPct val="80000"/>
                </a:lnSpc>
                <a:spcBef>
                  <a:spcPct val="0"/>
                </a:spcBef>
                <a:spcAft>
                  <a:spcPct val="0"/>
                </a:spcAft>
                <a:defRPr sz="3200">
                  <a:solidFill>
                    <a:srgbClr val="676767"/>
                  </a:solidFill>
                  <a:latin typeface="Arial" charset="0"/>
                  <a:ea typeface="ＭＳ Ｐゴシック" charset="0"/>
                </a:defRPr>
              </a:lvl9pPr>
            </a:lstStyle>
            <a:p>
              <a:endParaRPr lang="en-US" dirty="0">
                <a:solidFill>
                  <a:srgbClr val="FFFFFF"/>
                </a:solidFill>
              </a:endParaRPr>
            </a:p>
          </p:txBody>
        </p:sp>
        <p:sp>
          <p:nvSpPr>
            <p:cNvPr id="85" name="Title 3"/>
            <p:cNvSpPr txBox="1">
              <a:spLocks/>
            </p:cNvSpPr>
            <p:nvPr/>
          </p:nvSpPr>
          <p:spPr bwMode="auto">
            <a:xfrm>
              <a:off x="8877299" y="3928044"/>
              <a:ext cx="659731" cy="659731"/>
            </a:xfrm>
            <a:prstGeom prst="ellipse">
              <a:avLst/>
            </a:prstGeom>
            <a:solidFill>
              <a:schemeClr val="accent1"/>
            </a:solidFill>
            <a:ln>
              <a:noFill/>
            </a:ln>
            <a:effectLst>
              <a:outerShdw dist="31750" dir="2700000" algn="tl" rotWithShape="0">
                <a:prstClr val="black">
                  <a:alpha val="15000"/>
                </a:prstClr>
              </a:outerShdw>
            </a:effectLst>
            <a:extLst>
              <a:ext uri="{FAA26D3D-D897-4be2-8F04-BA451C77F1D7}">
                <ma14:placeholderFlag xmlns:ma14="http://schemas.microsoft.com/office/mac/drawingml/2011/main" val="1"/>
              </a:ext>
            </a:extLst>
          </p:spPr>
          <p:txBody>
            <a:bodyPr vert="horz" wrap="none" lIns="0" tIns="0" rIns="0" bIns="0" numCol="1" anchor="ctr" anchorCtr="0" compatLnSpc="1">
              <a:prstTxWarp prst="textNoShape">
                <a:avLst/>
              </a:prstTxWarp>
              <a:noAutofit/>
            </a:bodyPr>
            <a:lstStyle>
              <a:defPPr>
                <a:defRPr lang="en-US"/>
              </a:defPPr>
              <a:lvl1pPr algn="ctr" defTabSz="684167" fontAlgn="base">
                <a:lnSpc>
                  <a:spcPct val="100000"/>
                </a:lnSpc>
                <a:spcBef>
                  <a:spcPct val="0"/>
                </a:spcBef>
                <a:spcAft>
                  <a:spcPct val="0"/>
                </a:spcAft>
                <a:defRPr sz="2000">
                  <a:solidFill>
                    <a:schemeClr val="bg1"/>
                  </a:solidFill>
                  <a:latin typeface="+mj-lt"/>
                  <a:ea typeface="ＭＳ Ｐゴシック" charset="0"/>
                  <a:cs typeface="CiscoSans"/>
                </a:defRPr>
              </a:lvl1pPr>
              <a:lvl2pPr defTabSz="684167" fontAlgn="base">
                <a:lnSpc>
                  <a:spcPct val="80000"/>
                </a:lnSpc>
                <a:spcBef>
                  <a:spcPct val="0"/>
                </a:spcBef>
                <a:spcAft>
                  <a:spcPct val="0"/>
                </a:spcAft>
                <a:defRPr sz="3200">
                  <a:solidFill>
                    <a:srgbClr val="676767"/>
                  </a:solidFill>
                  <a:latin typeface="Arial" charset="0"/>
                  <a:ea typeface="ＭＳ Ｐゴシック" charset="0"/>
                </a:defRPr>
              </a:lvl2pPr>
              <a:lvl3pPr defTabSz="684167" fontAlgn="base">
                <a:lnSpc>
                  <a:spcPct val="80000"/>
                </a:lnSpc>
                <a:spcBef>
                  <a:spcPct val="0"/>
                </a:spcBef>
                <a:spcAft>
                  <a:spcPct val="0"/>
                </a:spcAft>
                <a:defRPr sz="3200">
                  <a:solidFill>
                    <a:srgbClr val="676767"/>
                  </a:solidFill>
                  <a:latin typeface="Arial" charset="0"/>
                  <a:ea typeface="ＭＳ Ｐゴシック" charset="0"/>
                </a:defRPr>
              </a:lvl3pPr>
              <a:lvl4pPr defTabSz="684167" fontAlgn="base">
                <a:lnSpc>
                  <a:spcPct val="80000"/>
                </a:lnSpc>
                <a:spcBef>
                  <a:spcPct val="0"/>
                </a:spcBef>
                <a:spcAft>
                  <a:spcPct val="0"/>
                </a:spcAft>
                <a:defRPr sz="3200">
                  <a:solidFill>
                    <a:srgbClr val="676767"/>
                  </a:solidFill>
                  <a:latin typeface="Arial" charset="0"/>
                  <a:ea typeface="ＭＳ Ｐゴシック" charset="0"/>
                </a:defRPr>
              </a:lvl4pPr>
              <a:lvl5pPr defTabSz="684167" fontAlgn="base">
                <a:lnSpc>
                  <a:spcPct val="80000"/>
                </a:lnSpc>
                <a:spcBef>
                  <a:spcPct val="0"/>
                </a:spcBef>
                <a:spcAft>
                  <a:spcPct val="0"/>
                </a:spcAft>
                <a:defRPr sz="3200">
                  <a:solidFill>
                    <a:srgbClr val="676767"/>
                  </a:solidFill>
                  <a:latin typeface="Arial" charset="0"/>
                  <a:ea typeface="ＭＳ Ｐゴシック" charset="0"/>
                </a:defRPr>
              </a:lvl5pPr>
              <a:lvl6pPr marL="457169" defTabSz="684167" fontAlgn="base">
                <a:lnSpc>
                  <a:spcPct val="80000"/>
                </a:lnSpc>
                <a:spcBef>
                  <a:spcPct val="0"/>
                </a:spcBef>
                <a:spcAft>
                  <a:spcPct val="0"/>
                </a:spcAft>
                <a:defRPr sz="3200">
                  <a:solidFill>
                    <a:srgbClr val="676767"/>
                  </a:solidFill>
                  <a:latin typeface="Arial" charset="0"/>
                  <a:ea typeface="ＭＳ Ｐゴシック" charset="0"/>
                </a:defRPr>
              </a:lvl6pPr>
              <a:lvl7pPr marL="914339" defTabSz="684167" fontAlgn="base">
                <a:lnSpc>
                  <a:spcPct val="80000"/>
                </a:lnSpc>
                <a:spcBef>
                  <a:spcPct val="0"/>
                </a:spcBef>
                <a:spcAft>
                  <a:spcPct val="0"/>
                </a:spcAft>
                <a:defRPr sz="3200">
                  <a:solidFill>
                    <a:srgbClr val="676767"/>
                  </a:solidFill>
                  <a:latin typeface="Arial" charset="0"/>
                  <a:ea typeface="ＭＳ Ｐゴシック" charset="0"/>
                </a:defRPr>
              </a:lvl7pPr>
              <a:lvl8pPr marL="1371509" defTabSz="684167" fontAlgn="base">
                <a:lnSpc>
                  <a:spcPct val="80000"/>
                </a:lnSpc>
                <a:spcBef>
                  <a:spcPct val="0"/>
                </a:spcBef>
                <a:spcAft>
                  <a:spcPct val="0"/>
                </a:spcAft>
                <a:defRPr sz="3200">
                  <a:solidFill>
                    <a:srgbClr val="676767"/>
                  </a:solidFill>
                  <a:latin typeface="Arial" charset="0"/>
                  <a:ea typeface="ＭＳ Ｐゴシック" charset="0"/>
                </a:defRPr>
              </a:lvl8pPr>
              <a:lvl9pPr marL="1828679" defTabSz="684167" fontAlgn="base">
                <a:lnSpc>
                  <a:spcPct val="80000"/>
                </a:lnSpc>
                <a:spcBef>
                  <a:spcPct val="0"/>
                </a:spcBef>
                <a:spcAft>
                  <a:spcPct val="0"/>
                </a:spcAft>
                <a:defRPr sz="3200">
                  <a:solidFill>
                    <a:srgbClr val="676767"/>
                  </a:solidFill>
                  <a:latin typeface="Arial" charset="0"/>
                  <a:ea typeface="ＭＳ Ｐゴシック" charset="0"/>
                </a:defRPr>
              </a:lvl9pPr>
            </a:lstStyle>
            <a:p>
              <a:endParaRPr lang="en-US" dirty="0">
                <a:solidFill>
                  <a:srgbClr val="FFFFFF"/>
                </a:solidFill>
              </a:endParaRPr>
            </a:p>
          </p:txBody>
        </p:sp>
        <p:grpSp>
          <p:nvGrpSpPr>
            <p:cNvPr id="87" name="Group 86"/>
            <p:cNvGrpSpPr>
              <a:grpSpLocks noChangeAspect="1"/>
            </p:cNvGrpSpPr>
            <p:nvPr/>
          </p:nvGrpSpPr>
          <p:grpSpPr>
            <a:xfrm>
              <a:off x="9038763" y="4059166"/>
              <a:ext cx="336802" cy="417442"/>
              <a:chOff x="12145965" y="6863556"/>
              <a:chExt cx="338138" cy="419100"/>
            </a:xfrm>
            <a:solidFill>
              <a:schemeClr val="bg1"/>
            </a:solidFill>
          </p:grpSpPr>
          <p:sp>
            <p:nvSpPr>
              <p:cNvPr id="88" name="Freeform 413"/>
              <p:cNvSpPr>
                <a:spLocks noEditPoints="1"/>
              </p:cNvSpPr>
              <p:nvPr/>
            </p:nvSpPr>
            <p:spPr bwMode="auto">
              <a:xfrm>
                <a:off x="12145965" y="6863556"/>
                <a:ext cx="338138" cy="419100"/>
              </a:xfrm>
              <a:custGeom>
                <a:avLst/>
                <a:gdLst>
                  <a:gd name="T0" fmla="*/ 1455 w 1493"/>
                  <a:gd name="T1" fmla="*/ 157 h 1846"/>
                  <a:gd name="T2" fmla="*/ 1426 w 1493"/>
                  <a:gd name="T3" fmla="*/ 158 h 1846"/>
                  <a:gd name="T4" fmla="*/ 1326 w 1493"/>
                  <a:gd name="T5" fmla="*/ 182 h 1846"/>
                  <a:gd name="T6" fmla="*/ 1223 w 1493"/>
                  <a:gd name="T7" fmla="*/ 190 h 1846"/>
                  <a:gd name="T8" fmla="*/ 1072 w 1493"/>
                  <a:gd name="T9" fmla="*/ 172 h 1846"/>
                  <a:gd name="T10" fmla="*/ 930 w 1493"/>
                  <a:gd name="T11" fmla="*/ 120 h 1846"/>
                  <a:gd name="T12" fmla="*/ 805 w 1493"/>
                  <a:gd name="T13" fmla="*/ 34 h 1846"/>
                  <a:gd name="T14" fmla="*/ 757 w 1493"/>
                  <a:gd name="T15" fmla="*/ 1 h 1846"/>
                  <a:gd name="T16" fmla="*/ 711 w 1493"/>
                  <a:gd name="T17" fmla="*/ 14 h 1846"/>
                  <a:gd name="T18" fmla="*/ 615 w 1493"/>
                  <a:gd name="T19" fmla="*/ 89 h 1846"/>
                  <a:gd name="T20" fmla="*/ 480 w 1493"/>
                  <a:gd name="T21" fmla="*/ 156 h 1846"/>
                  <a:gd name="T22" fmla="*/ 332 w 1493"/>
                  <a:gd name="T23" fmla="*/ 187 h 1846"/>
                  <a:gd name="T24" fmla="*/ 219 w 1493"/>
                  <a:gd name="T25" fmla="*/ 188 h 1846"/>
                  <a:gd name="T26" fmla="*/ 93 w 1493"/>
                  <a:gd name="T27" fmla="*/ 166 h 1846"/>
                  <a:gd name="T28" fmla="*/ 50 w 1493"/>
                  <a:gd name="T29" fmla="*/ 156 h 1846"/>
                  <a:gd name="T30" fmla="*/ 21 w 1493"/>
                  <a:gd name="T31" fmla="*/ 165 h 1846"/>
                  <a:gd name="T32" fmla="*/ 6 w 1493"/>
                  <a:gd name="T33" fmla="*/ 183 h 1846"/>
                  <a:gd name="T34" fmla="*/ 0 w 1493"/>
                  <a:gd name="T35" fmla="*/ 681 h 1846"/>
                  <a:gd name="T36" fmla="*/ 13 w 1493"/>
                  <a:gd name="T37" fmla="*/ 865 h 1846"/>
                  <a:gd name="T38" fmla="*/ 64 w 1493"/>
                  <a:gd name="T39" fmla="*/ 1084 h 1846"/>
                  <a:gd name="T40" fmla="*/ 151 w 1493"/>
                  <a:gd name="T41" fmla="*/ 1288 h 1846"/>
                  <a:gd name="T42" fmla="*/ 271 w 1493"/>
                  <a:gd name="T43" fmla="*/ 1473 h 1846"/>
                  <a:gd name="T44" fmla="*/ 423 w 1493"/>
                  <a:gd name="T45" fmla="*/ 1637 h 1846"/>
                  <a:gd name="T46" fmla="*/ 603 w 1493"/>
                  <a:gd name="T47" fmla="*/ 1773 h 1846"/>
                  <a:gd name="T48" fmla="*/ 729 w 1493"/>
                  <a:gd name="T49" fmla="*/ 1843 h 1846"/>
                  <a:gd name="T50" fmla="*/ 758 w 1493"/>
                  <a:gd name="T51" fmla="*/ 1845 h 1846"/>
                  <a:gd name="T52" fmla="*/ 850 w 1493"/>
                  <a:gd name="T53" fmla="*/ 1797 h 1846"/>
                  <a:gd name="T54" fmla="*/ 1037 w 1493"/>
                  <a:gd name="T55" fmla="*/ 1666 h 1846"/>
                  <a:gd name="T56" fmla="*/ 1194 w 1493"/>
                  <a:gd name="T57" fmla="*/ 1508 h 1846"/>
                  <a:gd name="T58" fmla="*/ 1322 w 1493"/>
                  <a:gd name="T59" fmla="*/ 1327 h 1846"/>
                  <a:gd name="T60" fmla="*/ 1414 w 1493"/>
                  <a:gd name="T61" fmla="*/ 1126 h 1846"/>
                  <a:gd name="T62" fmla="*/ 1472 w 1493"/>
                  <a:gd name="T63" fmla="*/ 909 h 1846"/>
                  <a:gd name="T64" fmla="*/ 1493 w 1493"/>
                  <a:gd name="T65" fmla="*/ 681 h 1846"/>
                  <a:gd name="T66" fmla="*/ 1490 w 1493"/>
                  <a:gd name="T67" fmla="*/ 188 h 1846"/>
                  <a:gd name="T68" fmla="*/ 1471 w 1493"/>
                  <a:gd name="T69" fmla="*/ 165 h 1846"/>
                  <a:gd name="T70" fmla="*/ 1387 w 1493"/>
                  <a:gd name="T71" fmla="*/ 765 h 1846"/>
                  <a:gd name="T72" fmla="*/ 1355 w 1493"/>
                  <a:gd name="T73" fmla="*/ 967 h 1846"/>
                  <a:gd name="T74" fmla="*/ 1291 w 1493"/>
                  <a:gd name="T75" fmla="*/ 1157 h 1846"/>
                  <a:gd name="T76" fmla="*/ 1196 w 1493"/>
                  <a:gd name="T77" fmla="*/ 1334 h 1846"/>
                  <a:gd name="T78" fmla="*/ 1072 w 1493"/>
                  <a:gd name="T79" fmla="*/ 1491 h 1846"/>
                  <a:gd name="T80" fmla="*/ 922 w 1493"/>
                  <a:gd name="T81" fmla="*/ 1626 h 1846"/>
                  <a:gd name="T82" fmla="*/ 746 w 1493"/>
                  <a:gd name="T83" fmla="*/ 1736 h 1846"/>
                  <a:gd name="T84" fmla="*/ 605 w 1493"/>
                  <a:gd name="T85" fmla="*/ 1650 h 1846"/>
                  <a:gd name="T86" fmla="*/ 450 w 1493"/>
                  <a:gd name="T87" fmla="*/ 1519 h 1846"/>
                  <a:gd name="T88" fmla="*/ 320 w 1493"/>
                  <a:gd name="T89" fmla="*/ 1366 h 1846"/>
                  <a:gd name="T90" fmla="*/ 219 w 1493"/>
                  <a:gd name="T91" fmla="*/ 1194 h 1846"/>
                  <a:gd name="T92" fmla="*/ 148 w 1493"/>
                  <a:gd name="T93" fmla="*/ 1006 h 1846"/>
                  <a:gd name="T94" fmla="*/ 110 w 1493"/>
                  <a:gd name="T95" fmla="*/ 805 h 1846"/>
                  <a:gd name="T96" fmla="*/ 103 w 1493"/>
                  <a:gd name="T97" fmla="*/ 274 h 1846"/>
                  <a:gd name="T98" fmla="*/ 271 w 1493"/>
                  <a:gd name="T99" fmla="*/ 293 h 1846"/>
                  <a:gd name="T100" fmla="*/ 401 w 1493"/>
                  <a:gd name="T101" fmla="*/ 282 h 1846"/>
                  <a:gd name="T102" fmla="*/ 555 w 1493"/>
                  <a:gd name="T103" fmla="*/ 236 h 1846"/>
                  <a:gd name="T104" fmla="*/ 695 w 1493"/>
                  <a:gd name="T105" fmla="*/ 159 h 1846"/>
                  <a:gd name="T106" fmla="*/ 798 w 1493"/>
                  <a:gd name="T107" fmla="*/ 159 h 1846"/>
                  <a:gd name="T108" fmla="*/ 939 w 1493"/>
                  <a:gd name="T109" fmla="*/ 236 h 1846"/>
                  <a:gd name="T110" fmla="*/ 1093 w 1493"/>
                  <a:gd name="T111" fmla="*/ 282 h 1846"/>
                  <a:gd name="T112" fmla="*/ 1223 w 1493"/>
                  <a:gd name="T113" fmla="*/ 293 h 1846"/>
                  <a:gd name="T114" fmla="*/ 1390 w 1493"/>
                  <a:gd name="T115" fmla="*/ 274 h 1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93" h="1846">
                    <a:moveTo>
                      <a:pt x="1471" y="165"/>
                    </a:moveTo>
                    <a:lnTo>
                      <a:pt x="1471" y="165"/>
                    </a:lnTo>
                    <a:lnTo>
                      <a:pt x="1466" y="162"/>
                    </a:lnTo>
                    <a:lnTo>
                      <a:pt x="1460" y="159"/>
                    </a:lnTo>
                    <a:lnTo>
                      <a:pt x="1455" y="157"/>
                    </a:lnTo>
                    <a:lnTo>
                      <a:pt x="1449" y="156"/>
                    </a:lnTo>
                    <a:lnTo>
                      <a:pt x="1443" y="156"/>
                    </a:lnTo>
                    <a:lnTo>
                      <a:pt x="1437" y="156"/>
                    </a:lnTo>
                    <a:lnTo>
                      <a:pt x="1431" y="157"/>
                    </a:lnTo>
                    <a:lnTo>
                      <a:pt x="1426" y="158"/>
                    </a:lnTo>
                    <a:lnTo>
                      <a:pt x="1426" y="158"/>
                    </a:lnTo>
                    <a:lnTo>
                      <a:pt x="1400" y="166"/>
                    </a:lnTo>
                    <a:lnTo>
                      <a:pt x="1376" y="172"/>
                    </a:lnTo>
                    <a:lnTo>
                      <a:pt x="1350" y="178"/>
                    </a:lnTo>
                    <a:lnTo>
                      <a:pt x="1326" y="182"/>
                    </a:lnTo>
                    <a:lnTo>
                      <a:pt x="1300" y="186"/>
                    </a:lnTo>
                    <a:lnTo>
                      <a:pt x="1275" y="188"/>
                    </a:lnTo>
                    <a:lnTo>
                      <a:pt x="1248" y="190"/>
                    </a:lnTo>
                    <a:lnTo>
                      <a:pt x="1223" y="190"/>
                    </a:lnTo>
                    <a:lnTo>
                      <a:pt x="1223" y="190"/>
                    </a:lnTo>
                    <a:lnTo>
                      <a:pt x="1192" y="189"/>
                    </a:lnTo>
                    <a:lnTo>
                      <a:pt x="1161" y="187"/>
                    </a:lnTo>
                    <a:lnTo>
                      <a:pt x="1131" y="184"/>
                    </a:lnTo>
                    <a:lnTo>
                      <a:pt x="1101" y="179"/>
                    </a:lnTo>
                    <a:lnTo>
                      <a:pt x="1072" y="172"/>
                    </a:lnTo>
                    <a:lnTo>
                      <a:pt x="1042" y="165"/>
                    </a:lnTo>
                    <a:lnTo>
                      <a:pt x="1014" y="156"/>
                    </a:lnTo>
                    <a:lnTo>
                      <a:pt x="985" y="144"/>
                    </a:lnTo>
                    <a:lnTo>
                      <a:pt x="957" y="133"/>
                    </a:lnTo>
                    <a:lnTo>
                      <a:pt x="930" y="120"/>
                    </a:lnTo>
                    <a:lnTo>
                      <a:pt x="903" y="106"/>
                    </a:lnTo>
                    <a:lnTo>
                      <a:pt x="878" y="89"/>
                    </a:lnTo>
                    <a:lnTo>
                      <a:pt x="852" y="72"/>
                    </a:lnTo>
                    <a:lnTo>
                      <a:pt x="829" y="54"/>
                    </a:lnTo>
                    <a:lnTo>
                      <a:pt x="805" y="34"/>
                    </a:lnTo>
                    <a:lnTo>
                      <a:pt x="782" y="14"/>
                    </a:lnTo>
                    <a:lnTo>
                      <a:pt x="782" y="14"/>
                    </a:lnTo>
                    <a:lnTo>
                      <a:pt x="774" y="8"/>
                    </a:lnTo>
                    <a:lnTo>
                      <a:pt x="766" y="3"/>
                    </a:lnTo>
                    <a:lnTo>
                      <a:pt x="757" y="1"/>
                    </a:lnTo>
                    <a:lnTo>
                      <a:pt x="746" y="0"/>
                    </a:lnTo>
                    <a:lnTo>
                      <a:pt x="737" y="1"/>
                    </a:lnTo>
                    <a:lnTo>
                      <a:pt x="728" y="3"/>
                    </a:lnTo>
                    <a:lnTo>
                      <a:pt x="719" y="8"/>
                    </a:lnTo>
                    <a:lnTo>
                      <a:pt x="711" y="14"/>
                    </a:lnTo>
                    <a:lnTo>
                      <a:pt x="711" y="14"/>
                    </a:lnTo>
                    <a:lnTo>
                      <a:pt x="688" y="34"/>
                    </a:lnTo>
                    <a:lnTo>
                      <a:pt x="665" y="54"/>
                    </a:lnTo>
                    <a:lnTo>
                      <a:pt x="640" y="72"/>
                    </a:lnTo>
                    <a:lnTo>
                      <a:pt x="615" y="89"/>
                    </a:lnTo>
                    <a:lnTo>
                      <a:pt x="589" y="106"/>
                    </a:lnTo>
                    <a:lnTo>
                      <a:pt x="563" y="120"/>
                    </a:lnTo>
                    <a:lnTo>
                      <a:pt x="535" y="133"/>
                    </a:lnTo>
                    <a:lnTo>
                      <a:pt x="508" y="144"/>
                    </a:lnTo>
                    <a:lnTo>
                      <a:pt x="480" y="156"/>
                    </a:lnTo>
                    <a:lnTo>
                      <a:pt x="451" y="165"/>
                    </a:lnTo>
                    <a:lnTo>
                      <a:pt x="422" y="172"/>
                    </a:lnTo>
                    <a:lnTo>
                      <a:pt x="393" y="179"/>
                    </a:lnTo>
                    <a:lnTo>
                      <a:pt x="362" y="184"/>
                    </a:lnTo>
                    <a:lnTo>
                      <a:pt x="332" y="187"/>
                    </a:lnTo>
                    <a:lnTo>
                      <a:pt x="302" y="189"/>
                    </a:lnTo>
                    <a:lnTo>
                      <a:pt x="271" y="190"/>
                    </a:lnTo>
                    <a:lnTo>
                      <a:pt x="271" y="190"/>
                    </a:lnTo>
                    <a:lnTo>
                      <a:pt x="245" y="190"/>
                    </a:lnTo>
                    <a:lnTo>
                      <a:pt x="219" y="188"/>
                    </a:lnTo>
                    <a:lnTo>
                      <a:pt x="194" y="186"/>
                    </a:lnTo>
                    <a:lnTo>
                      <a:pt x="168" y="182"/>
                    </a:lnTo>
                    <a:lnTo>
                      <a:pt x="143" y="178"/>
                    </a:lnTo>
                    <a:lnTo>
                      <a:pt x="117" y="172"/>
                    </a:lnTo>
                    <a:lnTo>
                      <a:pt x="93" y="166"/>
                    </a:lnTo>
                    <a:lnTo>
                      <a:pt x="68" y="158"/>
                    </a:lnTo>
                    <a:lnTo>
                      <a:pt x="68" y="158"/>
                    </a:lnTo>
                    <a:lnTo>
                      <a:pt x="62" y="157"/>
                    </a:lnTo>
                    <a:lnTo>
                      <a:pt x="56" y="156"/>
                    </a:lnTo>
                    <a:lnTo>
                      <a:pt x="50" y="156"/>
                    </a:lnTo>
                    <a:lnTo>
                      <a:pt x="44" y="156"/>
                    </a:lnTo>
                    <a:lnTo>
                      <a:pt x="38" y="157"/>
                    </a:lnTo>
                    <a:lnTo>
                      <a:pt x="33" y="159"/>
                    </a:lnTo>
                    <a:lnTo>
                      <a:pt x="27" y="162"/>
                    </a:lnTo>
                    <a:lnTo>
                      <a:pt x="21" y="165"/>
                    </a:lnTo>
                    <a:lnTo>
                      <a:pt x="21" y="165"/>
                    </a:lnTo>
                    <a:lnTo>
                      <a:pt x="17" y="169"/>
                    </a:lnTo>
                    <a:lnTo>
                      <a:pt x="13" y="173"/>
                    </a:lnTo>
                    <a:lnTo>
                      <a:pt x="9" y="178"/>
                    </a:lnTo>
                    <a:lnTo>
                      <a:pt x="6" y="183"/>
                    </a:lnTo>
                    <a:lnTo>
                      <a:pt x="4" y="188"/>
                    </a:lnTo>
                    <a:lnTo>
                      <a:pt x="2" y="194"/>
                    </a:lnTo>
                    <a:lnTo>
                      <a:pt x="1" y="200"/>
                    </a:lnTo>
                    <a:lnTo>
                      <a:pt x="0" y="207"/>
                    </a:lnTo>
                    <a:lnTo>
                      <a:pt x="0" y="681"/>
                    </a:lnTo>
                    <a:lnTo>
                      <a:pt x="0" y="681"/>
                    </a:lnTo>
                    <a:lnTo>
                      <a:pt x="1" y="727"/>
                    </a:lnTo>
                    <a:lnTo>
                      <a:pt x="4" y="773"/>
                    </a:lnTo>
                    <a:lnTo>
                      <a:pt x="7" y="819"/>
                    </a:lnTo>
                    <a:lnTo>
                      <a:pt x="13" y="865"/>
                    </a:lnTo>
                    <a:lnTo>
                      <a:pt x="20" y="909"/>
                    </a:lnTo>
                    <a:lnTo>
                      <a:pt x="28" y="953"/>
                    </a:lnTo>
                    <a:lnTo>
                      <a:pt x="39" y="997"/>
                    </a:lnTo>
                    <a:lnTo>
                      <a:pt x="51" y="1041"/>
                    </a:lnTo>
                    <a:lnTo>
                      <a:pt x="64" y="1084"/>
                    </a:lnTo>
                    <a:lnTo>
                      <a:pt x="78" y="1126"/>
                    </a:lnTo>
                    <a:lnTo>
                      <a:pt x="94" y="1167"/>
                    </a:lnTo>
                    <a:lnTo>
                      <a:pt x="112" y="1208"/>
                    </a:lnTo>
                    <a:lnTo>
                      <a:pt x="130" y="1248"/>
                    </a:lnTo>
                    <a:lnTo>
                      <a:pt x="151" y="1288"/>
                    </a:lnTo>
                    <a:lnTo>
                      <a:pt x="172" y="1327"/>
                    </a:lnTo>
                    <a:lnTo>
                      <a:pt x="195" y="1365"/>
                    </a:lnTo>
                    <a:lnTo>
                      <a:pt x="219" y="1402"/>
                    </a:lnTo>
                    <a:lnTo>
                      <a:pt x="245" y="1439"/>
                    </a:lnTo>
                    <a:lnTo>
                      <a:pt x="271" y="1473"/>
                    </a:lnTo>
                    <a:lnTo>
                      <a:pt x="299" y="1508"/>
                    </a:lnTo>
                    <a:lnTo>
                      <a:pt x="328" y="1542"/>
                    </a:lnTo>
                    <a:lnTo>
                      <a:pt x="358" y="1574"/>
                    </a:lnTo>
                    <a:lnTo>
                      <a:pt x="389" y="1606"/>
                    </a:lnTo>
                    <a:lnTo>
                      <a:pt x="423" y="1637"/>
                    </a:lnTo>
                    <a:lnTo>
                      <a:pt x="457" y="1666"/>
                    </a:lnTo>
                    <a:lnTo>
                      <a:pt x="491" y="1695"/>
                    </a:lnTo>
                    <a:lnTo>
                      <a:pt x="527" y="1722"/>
                    </a:lnTo>
                    <a:lnTo>
                      <a:pt x="565" y="1748"/>
                    </a:lnTo>
                    <a:lnTo>
                      <a:pt x="603" y="1773"/>
                    </a:lnTo>
                    <a:lnTo>
                      <a:pt x="642" y="1797"/>
                    </a:lnTo>
                    <a:lnTo>
                      <a:pt x="683" y="1819"/>
                    </a:lnTo>
                    <a:lnTo>
                      <a:pt x="724" y="1841"/>
                    </a:lnTo>
                    <a:lnTo>
                      <a:pt x="724" y="1841"/>
                    </a:lnTo>
                    <a:lnTo>
                      <a:pt x="729" y="1843"/>
                    </a:lnTo>
                    <a:lnTo>
                      <a:pt x="735" y="1845"/>
                    </a:lnTo>
                    <a:lnTo>
                      <a:pt x="741" y="1846"/>
                    </a:lnTo>
                    <a:lnTo>
                      <a:pt x="746" y="1846"/>
                    </a:lnTo>
                    <a:lnTo>
                      <a:pt x="753" y="1846"/>
                    </a:lnTo>
                    <a:lnTo>
                      <a:pt x="758" y="1845"/>
                    </a:lnTo>
                    <a:lnTo>
                      <a:pt x="764" y="1843"/>
                    </a:lnTo>
                    <a:lnTo>
                      <a:pt x="769" y="1841"/>
                    </a:lnTo>
                    <a:lnTo>
                      <a:pt x="769" y="1841"/>
                    </a:lnTo>
                    <a:lnTo>
                      <a:pt x="811" y="1819"/>
                    </a:lnTo>
                    <a:lnTo>
                      <a:pt x="850" y="1797"/>
                    </a:lnTo>
                    <a:lnTo>
                      <a:pt x="890" y="1773"/>
                    </a:lnTo>
                    <a:lnTo>
                      <a:pt x="928" y="1748"/>
                    </a:lnTo>
                    <a:lnTo>
                      <a:pt x="966" y="1722"/>
                    </a:lnTo>
                    <a:lnTo>
                      <a:pt x="1001" y="1695"/>
                    </a:lnTo>
                    <a:lnTo>
                      <a:pt x="1037" y="1666"/>
                    </a:lnTo>
                    <a:lnTo>
                      <a:pt x="1071" y="1637"/>
                    </a:lnTo>
                    <a:lnTo>
                      <a:pt x="1103" y="1606"/>
                    </a:lnTo>
                    <a:lnTo>
                      <a:pt x="1135" y="1574"/>
                    </a:lnTo>
                    <a:lnTo>
                      <a:pt x="1166" y="1542"/>
                    </a:lnTo>
                    <a:lnTo>
                      <a:pt x="1194" y="1508"/>
                    </a:lnTo>
                    <a:lnTo>
                      <a:pt x="1223" y="1473"/>
                    </a:lnTo>
                    <a:lnTo>
                      <a:pt x="1249" y="1439"/>
                    </a:lnTo>
                    <a:lnTo>
                      <a:pt x="1275" y="1402"/>
                    </a:lnTo>
                    <a:lnTo>
                      <a:pt x="1298" y="1365"/>
                    </a:lnTo>
                    <a:lnTo>
                      <a:pt x="1322" y="1327"/>
                    </a:lnTo>
                    <a:lnTo>
                      <a:pt x="1343" y="1288"/>
                    </a:lnTo>
                    <a:lnTo>
                      <a:pt x="1362" y="1248"/>
                    </a:lnTo>
                    <a:lnTo>
                      <a:pt x="1382" y="1208"/>
                    </a:lnTo>
                    <a:lnTo>
                      <a:pt x="1399" y="1167"/>
                    </a:lnTo>
                    <a:lnTo>
                      <a:pt x="1414" y="1126"/>
                    </a:lnTo>
                    <a:lnTo>
                      <a:pt x="1430" y="1084"/>
                    </a:lnTo>
                    <a:lnTo>
                      <a:pt x="1443" y="1041"/>
                    </a:lnTo>
                    <a:lnTo>
                      <a:pt x="1454" y="997"/>
                    </a:lnTo>
                    <a:lnTo>
                      <a:pt x="1464" y="953"/>
                    </a:lnTo>
                    <a:lnTo>
                      <a:pt x="1472" y="909"/>
                    </a:lnTo>
                    <a:lnTo>
                      <a:pt x="1480" y="865"/>
                    </a:lnTo>
                    <a:lnTo>
                      <a:pt x="1486" y="819"/>
                    </a:lnTo>
                    <a:lnTo>
                      <a:pt x="1490" y="773"/>
                    </a:lnTo>
                    <a:lnTo>
                      <a:pt x="1492" y="727"/>
                    </a:lnTo>
                    <a:lnTo>
                      <a:pt x="1493" y="681"/>
                    </a:lnTo>
                    <a:lnTo>
                      <a:pt x="1493" y="207"/>
                    </a:lnTo>
                    <a:lnTo>
                      <a:pt x="1493" y="207"/>
                    </a:lnTo>
                    <a:lnTo>
                      <a:pt x="1492" y="200"/>
                    </a:lnTo>
                    <a:lnTo>
                      <a:pt x="1491" y="194"/>
                    </a:lnTo>
                    <a:lnTo>
                      <a:pt x="1490" y="188"/>
                    </a:lnTo>
                    <a:lnTo>
                      <a:pt x="1487" y="183"/>
                    </a:lnTo>
                    <a:lnTo>
                      <a:pt x="1484" y="178"/>
                    </a:lnTo>
                    <a:lnTo>
                      <a:pt x="1481" y="173"/>
                    </a:lnTo>
                    <a:lnTo>
                      <a:pt x="1476" y="169"/>
                    </a:lnTo>
                    <a:lnTo>
                      <a:pt x="1471" y="165"/>
                    </a:lnTo>
                    <a:lnTo>
                      <a:pt x="1471" y="165"/>
                    </a:lnTo>
                    <a:close/>
                    <a:moveTo>
                      <a:pt x="1390" y="681"/>
                    </a:moveTo>
                    <a:lnTo>
                      <a:pt x="1390" y="681"/>
                    </a:lnTo>
                    <a:lnTo>
                      <a:pt x="1389" y="723"/>
                    </a:lnTo>
                    <a:lnTo>
                      <a:pt x="1387" y="765"/>
                    </a:lnTo>
                    <a:lnTo>
                      <a:pt x="1384" y="805"/>
                    </a:lnTo>
                    <a:lnTo>
                      <a:pt x="1379" y="846"/>
                    </a:lnTo>
                    <a:lnTo>
                      <a:pt x="1373" y="887"/>
                    </a:lnTo>
                    <a:lnTo>
                      <a:pt x="1364" y="927"/>
                    </a:lnTo>
                    <a:lnTo>
                      <a:pt x="1355" y="967"/>
                    </a:lnTo>
                    <a:lnTo>
                      <a:pt x="1345" y="1006"/>
                    </a:lnTo>
                    <a:lnTo>
                      <a:pt x="1334" y="1045"/>
                    </a:lnTo>
                    <a:lnTo>
                      <a:pt x="1321" y="1083"/>
                    </a:lnTo>
                    <a:lnTo>
                      <a:pt x="1306" y="1121"/>
                    </a:lnTo>
                    <a:lnTo>
                      <a:pt x="1291" y="1157"/>
                    </a:lnTo>
                    <a:lnTo>
                      <a:pt x="1275" y="1194"/>
                    </a:lnTo>
                    <a:lnTo>
                      <a:pt x="1256" y="1230"/>
                    </a:lnTo>
                    <a:lnTo>
                      <a:pt x="1238" y="1265"/>
                    </a:lnTo>
                    <a:lnTo>
                      <a:pt x="1218" y="1300"/>
                    </a:lnTo>
                    <a:lnTo>
                      <a:pt x="1196" y="1334"/>
                    </a:lnTo>
                    <a:lnTo>
                      <a:pt x="1174" y="1366"/>
                    </a:lnTo>
                    <a:lnTo>
                      <a:pt x="1149" y="1399"/>
                    </a:lnTo>
                    <a:lnTo>
                      <a:pt x="1125" y="1431"/>
                    </a:lnTo>
                    <a:lnTo>
                      <a:pt x="1099" y="1461"/>
                    </a:lnTo>
                    <a:lnTo>
                      <a:pt x="1072" y="1491"/>
                    </a:lnTo>
                    <a:lnTo>
                      <a:pt x="1044" y="1519"/>
                    </a:lnTo>
                    <a:lnTo>
                      <a:pt x="1015" y="1548"/>
                    </a:lnTo>
                    <a:lnTo>
                      <a:pt x="985" y="1574"/>
                    </a:lnTo>
                    <a:lnTo>
                      <a:pt x="953" y="1601"/>
                    </a:lnTo>
                    <a:lnTo>
                      <a:pt x="922" y="1626"/>
                    </a:lnTo>
                    <a:lnTo>
                      <a:pt x="888" y="1650"/>
                    </a:lnTo>
                    <a:lnTo>
                      <a:pt x="854" y="1673"/>
                    </a:lnTo>
                    <a:lnTo>
                      <a:pt x="819" y="1695"/>
                    </a:lnTo>
                    <a:lnTo>
                      <a:pt x="783" y="1716"/>
                    </a:lnTo>
                    <a:lnTo>
                      <a:pt x="746" y="1736"/>
                    </a:lnTo>
                    <a:lnTo>
                      <a:pt x="746" y="1736"/>
                    </a:lnTo>
                    <a:lnTo>
                      <a:pt x="710" y="1716"/>
                    </a:lnTo>
                    <a:lnTo>
                      <a:pt x="674" y="1695"/>
                    </a:lnTo>
                    <a:lnTo>
                      <a:pt x="639" y="1673"/>
                    </a:lnTo>
                    <a:lnTo>
                      <a:pt x="605" y="1650"/>
                    </a:lnTo>
                    <a:lnTo>
                      <a:pt x="572" y="1626"/>
                    </a:lnTo>
                    <a:lnTo>
                      <a:pt x="539" y="1601"/>
                    </a:lnTo>
                    <a:lnTo>
                      <a:pt x="509" y="1574"/>
                    </a:lnTo>
                    <a:lnTo>
                      <a:pt x="478" y="1548"/>
                    </a:lnTo>
                    <a:lnTo>
                      <a:pt x="450" y="1519"/>
                    </a:lnTo>
                    <a:lnTo>
                      <a:pt x="421" y="1491"/>
                    </a:lnTo>
                    <a:lnTo>
                      <a:pt x="395" y="1461"/>
                    </a:lnTo>
                    <a:lnTo>
                      <a:pt x="368" y="1431"/>
                    </a:lnTo>
                    <a:lnTo>
                      <a:pt x="344" y="1399"/>
                    </a:lnTo>
                    <a:lnTo>
                      <a:pt x="320" y="1366"/>
                    </a:lnTo>
                    <a:lnTo>
                      <a:pt x="298" y="1334"/>
                    </a:lnTo>
                    <a:lnTo>
                      <a:pt x="276" y="1300"/>
                    </a:lnTo>
                    <a:lnTo>
                      <a:pt x="256" y="1265"/>
                    </a:lnTo>
                    <a:lnTo>
                      <a:pt x="237" y="1230"/>
                    </a:lnTo>
                    <a:lnTo>
                      <a:pt x="219" y="1194"/>
                    </a:lnTo>
                    <a:lnTo>
                      <a:pt x="202" y="1157"/>
                    </a:lnTo>
                    <a:lnTo>
                      <a:pt x="187" y="1121"/>
                    </a:lnTo>
                    <a:lnTo>
                      <a:pt x="172" y="1083"/>
                    </a:lnTo>
                    <a:lnTo>
                      <a:pt x="160" y="1045"/>
                    </a:lnTo>
                    <a:lnTo>
                      <a:pt x="148" y="1006"/>
                    </a:lnTo>
                    <a:lnTo>
                      <a:pt x="138" y="967"/>
                    </a:lnTo>
                    <a:lnTo>
                      <a:pt x="128" y="927"/>
                    </a:lnTo>
                    <a:lnTo>
                      <a:pt x="121" y="887"/>
                    </a:lnTo>
                    <a:lnTo>
                      <a:pt x="115" y="846"/>
                    </a:lnTo>
                    <a:lnTo>
                      <a:pt x="110" y="805"/>
                    </a:lnTo>
                    <a:lnTo>
                      <a:pt x="106" y="765"/>
                    </a:lnTo>
                    <a:lnTo>
                      <a:pt x="104" y="723"/>
                    </a:lnTo>
                    <a:lnTo>
                      <a:pt x="103" y="681"/>
                    </a:lnTo>
                    <a:lnTo>
                      <a:pt x="103" y="274"/>
                    </a:lnTo>
                    <a:lnTo>
                      <a:pt x="103" y="274"/>
                    </a:lnTo>
                    <a:lnTo>
                      <a:pt x="145" y="282"/>
                    </a:lnTo>
                    <a:lnTo>
                      <a:pt x="187" y="288"/>
                    </a:lnTo>
                    <a:lnTo>
                      <a:pt x="228" y="292"/>
                    </a:lnTo>
                    <a:lnTo>
                      <a:pt x="250" y="293"/>
                    </a:lnTo>
                    <a:lnTo>
                      <a:pt x="271" y="293"/>
                    </a:lnTo>
                    <a:lnTo>
                      <a:pt x="271" y="293"/>
                    </a:lnTo>
                    <a:lnTo>
                      <a:pt x="304" y="292"/>
                    </a:lnTo>
                    <a:lnTo>
                      <a:pt x="336" y="290"/>
                    </a:lnTo>
                    <a:lnTo>
                      <a:pt x="368" y="287"/>
                    </a:lnTo>
                    <a:lnTo>
                      <a:pt x="401" y="282"/>
                    </a:lnTo>
                    <a:lnTo>
                      <a:pt x="432" y="275"/>
                    </a:lnTo>
                    <a:lnTo>
                      <a:pt x="463" y="268"/>
                    </a:lnTo>
                    <a:lnTo>
                      <a:pt x="495" y="259"/>
                    </a:lnTo>
                    <a:lnTo>
                      <a:pt x="524" y="248"/>
                    </a:lnTo>
                    <a:lnTo>
                      <a:pt x="555" y="236"/>
                    </a:lnTo>
                    <a:lnTo>
                      <a:pt x="584" y="224"/>
                    </a:lnTo>
                    <a:lnTo>
                      <a:pt x="613" y="209"/>
                    </a:lnTo>
                    <a:lnTo>
                      <a:pt x="640" y="193"/>
                    </a:lnTo>
                    <a:lnTo>
                      <a:pt x="668" y="177"/>
                    </a:lnTo>
                    <a:lnTo>
                      <a:pt x="695" y="159"/>
                    </a:lnTo>
                    <a:lnTo>
                      <a:pt x="721" y="139"/>
                    </a:lnTo>
                    <a:lnTo>
                      <a:pt x="746" y="119"/>
                    </a:lnTo>
                    <a:lnTo>
                      <a:pt x="746" y="119"/>
                    </a:lnTo>
                    <a:lnTo>
                      <a:pt x="772" y="139"/>
                    </a:lnTo>
                    <a:lnTo>
                      <a:pt x="798" y="159"/>
                    </a:lnTo>
                    <a:lnTo>
                      <a:pt x="825" y="177"/>
                    </a:lnTo>
                    <a:lnTo>
                      <a:pt x="852" y="193"/>
                    </a:lnTo>
                    <a:lnTo>
                      <a:pt x="881" y="209"/>
                    </a:lnTo>
                    <a:lnTo>
                      <a:pt x="910" y="224"/>
                    </a:lnTo>
                    <a:lnTo>
                      <a:pt x="939" y="236"/>
                    </a:lnTo>
                    <a:lnTo>
                      <a:pt x="969" y="248"/>
                    </a:lnTo>
                    <a:lnTo>
                      <a:pt x="999" y="259"/>
                    </a:lnTo>
                    <a:lnTo>
                      <a:pt x="1030" y="268"/>
                    </a:lnTo>
                    <a:lnTo>
                      <a:pt x="1062" y="275"/>
                    </a:lnTo>
                    <a:lnTo>
                      <a:pt x="1093" y="282"/>
                    </a:lnTo>
                    <a:lnTo>
                      <a:pt x="1125" y="287"/>
                    </a:lnTo>
                    <a:lnTo>
                      <a:pt x="1157" y="290"/>
                    </a:lnTo>
                    <a:lnTo>
                      <a:pt x="1190" y="292"/>
                    </a:lnTo>
                    <a:lnTo>
                      <a:pt x="1223" y="293"/>
                    </a:lnTo>
                    <a:lnTo>
                      <a:pt x="1223" y="293"/>
                    </a:lnTo>
                    <a:lnTo>
                      <a:pt x="1244" y="293"/>
                    </a:lnTo>
                    <a:lnTo>
                      <a:pt x="1264" y="292"/>
                    </a:lnTo>
                    <a:lnTo>
                      <a:pt x="1307" y="288"/>
                    </a:lnTo>
                    <a:lnTo>
                      <a:pt x="1349" y="282"/>
                    </a:lnTo>
                    <a:lnTo>
                      <a:pt x="1390" y="274"/>
                    </a:lnTo>
                    <a:lnTo>
                      <a:pt x="1390" y="6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89" name="Freeform 414"/>
              <p:cNvSpPr>
                <a:spLocks/>
              </p:cNvSpPr>
              <p:nvPr/>
            </p:nvSpPr>
            <p:spPr bwMode="auto">
              <a:xfrm>
                <a:off x="12279315" y="7046118"/>
                <a:ext cx="152400" cy="177800"/>
              </a:xfrm>
              <a:custGeom>
                <a:avLst/>
                <a:gdLst>
                  <a:gd name="T0" fmla="*/ 157 w 671"/>
                  <a:gd name="T1" fmla="*/ 785 h 785"/>
                  <a:gd name="T2" fmla="*/ 157 w 671"/>
                  <a:gd name="T3" fmla="*/ 785 h 785"/>
                  <a:gd name="T4" fmla="*/ 184 w 671"/>
                  <a:gd name="T5" fmla="*/ 769 h 785"/>
                  <a:gd name="T6" fmla="*/ 210 w 671"/>
                  <a:gd name="T7" fmla="*/ 751 h 785"/>
                  <a:gd name="T8" fmla="*/ 236 w 671"/>
                  <a:gd name="T9" fmla="*/ 734 h 785"/>
                  <a:gd name="T10" fmla="*/ 261 w 671"/>
                  <a:gd name="T11" fmla="*/ 715 h 785"/>
                  <a:gd name="T12" fmla="*/ 286 w 671"/>
                  <a:gd name="T13" fmla="*/ 696 h 785"/>
                  <a:gd name="T14" fmla="*/ 309 w 671"/>
                  <a:gd name="T15" fmla="*/ 677 h 785"/>
                  <a:gd name="T16" fmla="*/ 333 w 671"/>
                  <a:gd name="T17" fmla="*/ 656 h 785"/>
                  <a:gd name="T18" fmla="*/ 354 w 671"/>
                  <a:gd name="T19" fmla="*/ 636 h 785"/>
                  <a:gd name="T20" fmla="*/ 377 w 671"/>
                  <a:gd name="T21" fmla="*/ 614 h 785"/>
                  <a:gd name="T22" fmla="*/ 397 w 671"/>
                  <a:gd name="T23" fmla="*/ 593 h 785"/>
                  <a:gd name="T24" fmla="*/ 417 w 671"/>
                  <a:gd name="T25" fmla="*/ 571 h 785"/>
                  <a:gd name="T26" fmla="*/ 438 w 671"/>
                  <a:gd name="T27" fmla="*/ 547 h 785"/>
                  <a:gd name="T28" fmla="*/ 456 w 671"/>
                  <a:gd name="T29" fmla="*/ 524 h 785"/>
                  <a:gd name="T30" fmla="*/ 475 w 671"/>
                  <a:gd name="T31" fmla="*/ 500 h 785"/>
                  <a:gd name="T32" fmla="*/ 492 w 671"/>
                  <a:gd name="T33" fmla="*/ 476 h 785"/>
                  <a:gd name="T34" fmla="*/ 509 w 671"/>
                  <a:gd name="T35" fmla="*/ 450 h 785"/>
                  <a:gd name="T36" fmla="*/ 525 w 671"/>
                  <a:gd name="T37" fmla="*/ 426 h 785"/>
                  <a:gd name="T38" fmla="*/ 540 w 671"/>
                  <a:gd name="T39" fmla="*/ 399 h 785"/>
                  <a:gd name="T40" fmla="*/ 554 w 671"/>
                  <a:gd name="T41" fmla="*/ 374 h 785"/>
                  <a:gd name="T42" fmla="*/ 568 w 671"/>
                  <a:gd name="T43" fmla="*/ 347 h 785"/>
                  <a:gd name="T44" fmla="*/ 582 w 671"/>
                  <a:gd name="T45" fmla="*/ 320 h 785"/>
                  <a:gd name="T46" fmla="*/ 594 w 671"/>
                  <a:gd name="T47" fmla="*/ 292 h 785"/>
                  <a:gd name="T48" fmla="*/ 605 w 671"/>
                  <a:gd name="T49" fmla="*/ 265 h 785"/>
                  <a:gd name="T50" fmla="*/ 615 w 671"/>
                  <a:gd name="T51" fmla="*/ 236 h 785"/>
                  <a:gd name="T52" fmla="*/ 625 w 671"/>
                  <a:gd name="T53" fmla="*/ 209 h 785"/>
                  <a:gd name="T54" fmla="*/ 635 w 671"/>
                  <a:gd name="T55" fmla="*/ 179 h 785"/>
                  <a:gd name="T56" fmla="*/ 643 w 671"/>
                  <a:gd name="T57" fmla="*/ 150 h 785"/>
                  <a:gd name="T58" fmla="*/ 650 w 671"/>
                  <a:gd name="T59" fmla="*/ 121 h 785"/>
                  <a:gd name="T60" fmla="*/ 657 w 671"/>
                  <a:gd name="T61" fmla="*/ 91 h 785"/>
                  <a:gd name="T62" fmla="*/ 662 w 671"/>
                  <a:gd name="T63" fmla="*/ 61 h 785"/>
                  <a:gd name="T64" fmla="*/ 667 w 671"/>
                  <a:gd name="T65" fmla="*/ 31 h 785"/>
                  <a:gd name="T66" fmla="*/ 671 w 671"/>
                  <a:gd name="T67" fmla="*/ 0 h 785"/>
                  <a:gd name="T68" fmla="*/ 0 w 671"/>
                  <a:gd name="T69" fmla="*/ 672 h 785"/>
                  <a:gd name="T70" fmla="*/ 0 w 671"/>
                  <a:gd name="T71" fmla="*/ 672 h 785"/>
                  <a:gd name="T72" fmla="*/ 37 w 671"/>
                  <a:gd name="T73" fmla="*/ 702 h 785"/>
                  <a:gd name="T74" fmla="*/ 76 w 671"/>
                  <a:gd name="T75" fmla="*/ 732 h 785"/>
                  <a:gd name="T76" fmla="*/ 116 w 671"/>
                  <a:gd name="T77" fmla="*/ 759 h 785"/>
                  <a:gd name="T78" fmla="*/ 157 w 671"/>
                  <a:gd name="T79" fmla="*/ 785 h 785"/>
                  <a:gd name="T80" fmla="*/ 157 w 671"/>
                  <a:gd name="T81" fmla="*/ 785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71" h="785">
                    <a:moveTo>
                      <a:pt x="157" y="785"/>
                    </a:moveTo>
                    <a:lnTo>
                      <a:pt x="157" y="785"/>
                    </a:lnTo>
                    <a:lnTo>
                      <a:pt x="184" y="769"/>
                    </a:lnTo>
                    <a:lnTo>
                      <a:pt x="210" y="751"/>
                    </a:lnTo>
                    <a:lnTo>
                      <a:pt x="236" y="734"/>
                    </a:lnTo>
                    <a:lnTo>
                      <a:pt x="261" y="715"/>
                    </a:lnTo>
                    <a:lnTo>
                      <a:pt x="286" y="696"/>
                    </a:lnTo>
                    <a:lnTo>
                      <a:pt x="309" y="677"/>
                    </a:lnTo>
                    <a:lnTo>
                      <a:pt x="333" y="656"/>
                    </a:lnTo>
                    <a:lnTo>
                      <a:pt x="354" y="636"/>
                    </a:lnTo>
                    <a:lnTo>
                      <a:pt x="377" y="614"/>
                    </a:lnTo>
                    <a:lnTo>
                      <a:pt x="397" y="593"/>
                    </a:lnTo>
                    <a:lnTo>
                      <a:pt x="417" y="571"/>
                    </a:lnTo>
                    <a:lnTo>
                      <a:pt x="438" y="547"/>
                    </a:lnTo>
                    <a:lnTo>
                      <a:pt x="456" y="524"/>
                    </a:lnTo>
                    <a:lnTo>
                      <a:pt x="475" y="500"/>
                    </a:lnTo>
                    <a:lnTo>
                      <a:pt x="492" y="476"/>
                    </a:lnTo>
                    <a:lnTo>
                      <a:pt x="509" y="450"/>
                    </a:lnTo>
                    <a:lnTo>
                      <a:pt x="525" y="426"/>
                    </a:lnTo>
                    <a:lnTo>
                      <a:pt x="540" y="399"/>
                    </a:lnTo>
                    <a:lnTo>
                      <a:pt x="554" y="374"/>
                    </a:lnTo>
                    <a:lnTo>
                      <a:pt x="568" y="347"/>
                    </a:lnTo>
                    <a:lnTo>
                      <a:pt x="582" y="320"/>
                    </a:lnTo>
                    <a:lnTo>
                      <a:pt x="594" y="292"/>
                    </a:lnTo>
                    <a:lnTo>
                      <a:pt x="605" y="265"/>
                    </a:lnTo>
                    <a:lnTo>
                      <a:pt x="615" y="236"/>
                    </a:lnTo>
                    <a:lnTo>
                      <a:pt x="625" y="209"/>
                    </a:lnTo>
                    <a:lnTo>
                      <a:pt x="635" y="179"/>
                    </a:lnTo>
                    <a:lnTo>
                      <a:pt x="643" y="150"/>
                    </a:lnTo>
                    <a:lnTo>
                      <a:pt x="650" y="121"/>
                    </a:lnTo>
                    <a:lnTo>
                      <a:pt x="657" y="91"/>
                    </a:lnTo>
                    <a:lnTo>
                      <a:pt x="662" y="61"/>
                    </a:lnTo>
                    <a:lnTo>
                      <a:pt x="667" y="31"/>
                    </a:lnTo>
                    <a:lnTo>
                      <a:pt x="671" y="0"/>
                    </a:lnTo>
                    <a:lnTo>
                      <a:pt x="0" y="672"/>
                    </a:lnTo>
                    <a:lnTo>
                      <a:pt x="0" y="672"/>
                    </a:lnTo>
                    <a:lnTo>
                      <a:pt x="37" y="702"/>
                    </a:lnTo>
                    <a:lnTo>
                      <a:pt x="76" y="732"/>
                    </a:lnTo>
                    <a:lnTo>
                      <a:pt x="116" y="759"/>
                    </a:lnTo>
                    <a:lnTo>
                      <a:pt x="157" y="785"/>
                    </a:lnTo>
                    <a:lnTo>
                      <a:pt x="157" y="7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90" name="Freeform 415"/>
              <p:cNvSpPr>
                <a:spLocks/>
              </p:cNvSpPr>
              <p:nvPr/>
            </p:nvSpPr>
            <p:spPr bwMode="auto">
              <a:xfrm>
                <a:off x="12196765" y="6923881"/>
                <a:ext cx="187325" cy="195263"/>
              </a:xfrm>
              <a:custGeom>
                <a:avLst/>
                <a:gdLst>
                  <a:gd name="T0" fmla="*/ 521 w 824"/>
                  <a:gd name="T1" fmla="*/ 0 h 858"/>
                  <a:gd name="T2" fmla="*/ 521 w 824"/>
                  <a:gd name="T3" fmla="*/ 0 h 858"/>
                  <a:gd name="T4" fmla="*/ 495 w 824"/>
                  <a:gd name="T5" fmla="*/ 17 h 858"/>
                  <a:gd name="T6" fmla="*/ 466 w 824"/>
                  <a:gd name="T7" fmla="*/ 33 h 858"/>
                  <a:gd name="T8" fmla="*/ 439 w 824"/>
                  <a:gd name="T9" fmla="*/ 49 h 858"/>
                  <a:gd name="T10" fmla="*/ 410 w 824"/>
                  <a:gd name="T11" fmla="*/ 63 h 858"/>
                  <a:gd name="T12" fmla="*/ 382 w 824"/>
                  <a:gd name="T13" fmla="*/ 76 h 858"/>
                  <a:gd name="T14" fmla="*/ 352 w 824"/>
                  <a:gd name="T15" fmla="*/ 89 h 858"/>
                  <a:gd name="T16" fmla="*/ 323 w 824"/>
                  <a:gd name="T17" fmla="*/ 100 h 858"/>
                  <a:gd name="T18" fmla="*/ 293 w 824"/>
                  <a:gd name="T19" fmla="*/ 110 h 858"/>
                  <a:gd name="T20" fmla="*/ 263 w 824"/>
                  <a:gd name="T21" fmla="*/ 119 h 858"/>
                  <a:gd name="T22" fmla="*/ 233 w 824"/>
                  <a:gd name="T23" fmla="*/ 126 h 858"/>
                  <a:gd name="T24" fmla="*/ 202 w 824"/>
                  <a:gd name="T25" fmla="*/ 133 h 858"/>
                  <a:gd name="T26" fmla="*/ 172 w 824"/>
                  <a:gd name="T27" fmla="*/ 139 h 858"/>
                  <a:gd name="T28" fmla="*/ 140 w 824"/>
                  <a:gd name="T29" fmla="*/ 143 h 858"/>
                  <a:gd name="T30" fmla="*/ 108 w 824"/>
                  <a:gd name="T31" fmla="*/ 146 h 858"/>
                  <a:gd name="T32" fmla="*/ 78 w 824"/>
                  <a:gd name="T33" fmla="*/ 148 h 858"/>
                  <a:gd name="T34" fmla="*/ 46 w 824"/>
                  <a:gd name="T35" fmla="*/ 148 h 858"/>
                  <a:gd name="T36" fmla="*/ 46 w 824"/>
                  <a:gd name="T37" fmla="*/ 148 h 858"/>
                  <a:gd name="T38" fmla="*/ 0 w 824"/>
                  <a:gd name="T39" fmla="*/ 145 h 858"/>
                  <a:gd name="T40" fmla="*/ 0 w 824"/>
                  <a:gd name="T41" fmla="*/ 145 h 858"/>
                  <a:gd name="T42" fmla="*/ 0 w 824"/>
                  <a:gd name="T43" fmla="*/ 414 h 858"/>
                  <a:gd name="T44" fmla="*/ 0 w 824"/>
                  <a:gd name="T45" fmla="*/ 414 h 858"/>
                  <a:gd name="T46" fmla="*/ 0 w 824"/>
                  <a:gd name="T47" fmla="*/ 443 h 858"/>
                  <a:gd name="T48" fmla="*/ 1 w 824"/>
                  <a:gd name="T49" fmla="*/ 472 h 858"/>
                  <a:gd name="T50" fmla="*/ 3 w 824"/>
                  <a:gd name="T51" fmla="*/ 502 h 858"/>
                  <a:gd name="T52" fmla="*/ 6 w 824"/>
                  <a:gd name="T53" fmla="*/ 530 h 858"/>
                  <a:gd name="T54" fmla="*/ 9 w 824"/>
                  <a:gd name="T55" fmla="*/ 559 h 858"/>
                  <a:gd name="T56" fmla="*/ 14 w 824"/>
                  <a:gd name="T57" fmla="*/ 587 h 858"/>
                  <a:gd name="T58" fmla="*/ 19 w 824"/>
                  <a:gd name="T59" fmla="*/ 616 h 858"/>
                  <a:gd name="T60" fmla="*/ 25 w 824"/>
                  <a:gd name="T61" fmla="*/ 643 h 858"/>
                  <a:gd name="T62" fmla="*/ 31 w 824"/>
                  <a:gd name="T63" fmla="*/ 671 h 858"/>
                  <a:gd name="T64" fmla="*/ 38 w 824"/>
                  <a:gd name="T65" fmla="*/ 699 h 858"/>
                  <a:gd name="T66" fmla="*/ 46 w 824"/>
                  <a:gd name="T67" fmla="*/ 726 h 858"/>
                  <a:gd name="T68" fmla="*/ 55 w 824"/>
                  <a:gd name="T69" fmla="*/ 753 h 858"/>
                  <a:gd name="T70" fmla="*/ 65 w 824"/>
                  <a:gd name="T71" fmla="*/ 779 h 858"/>
                  <a:gd name="T72" fmla="*/ 75 w 824"/>
                  <a:gd name="T73" fmla="*/ 806 h 858"/>
                  <a:gd name="T74" fmla="*/ 85 w 824"/>
                  <a:gd name="T75" fmla="*/ 832 h 858"/>
                  <a:gd name="T76" fmla="*/ 96 w 824"/>
                  <a:gd name="T77" fmla="*/ 858 h 858"/>
                  <a:gd name="T78" fmla="*/ 824 w 824"/>
                  <a:gd name="T79" fmla="*/ 129 h 858"/>
                  <a:gd name="T80" fmla="*/ 824 w 824"/>
                  <a:gd name="T81" fmla="*/ 129 h 858"/>
                  <a:gd name="T82" fmla="*/ 784 w 824"/>
                  <a:gd name="T83" fmla="*/ 119 h 858"/>
                  <a:gd name="T84" fmla="*/ 746 w 824"/>
                  <a:gd name="T85" fmla="*/ 108 h 858"/>
                  <a:gd name="T86" fmla="*/ 707 w 824"/>
                  <a:gd name="T87" fmla="*/ 95 h 858"/>
                  <a:gd name="T88" fmla="*/ 668 w 824"/>
                  <a:gd name="T89" fmla="*/ 79 h 858"/>
                  <a:gd name="T90" fmla="*/ 631 w 824"/>
                  <a:gd name="T91" fmla="*/ 62 h 858"/>
                  <a:gd name="T92" fmla="*/ 594 w 824"/>
                  <a:gd name="T93" fmla="*/ 44 h 858"/>
                  <a:gd name="T94" fmla="*/ 557 w 824"/>
                  <a:gd name="T95" fmla="*/ 22 h 858"/>
                  <a:gd name="T96" fmla="*/ 521 w 824"/>
                  <a:gd name="T97" fmla="*/ 0 h 858"/>
                  <a:gd name="T98" fmla="*/ 521 w 824"/>
                  <a:gd name="T99" fmla="*/ 0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4" h="858">
                    <a:moveTo>
                      <a:pt x="521" y="0"/>
                    </a:moveTo>
                    <a:lnTo>
                      <a:pt x="521" y="0"/>
                    </a:lnTo>
                    <a:lnTo>
                      <a:pt x="495" y="17"/>
                    </a:lnTo>
                    <a:lnTo>
                      <a:pt x="466" y="33"/>
                    </a:lnTo>
                    <a:lnTo>
                      <a:pt x="439" y="49"/>
                    </a:lnTo>
                    <a:lnTo>
                      <a:pt x="410" y="63"/>
                    </a:lnTo>
                    <a:lnTo>
                      <a:pt x="382" y="76"/>
                    </a:lnTo>
                    <a:lnTo>
                      <a:pt x="352" y="89"/>
                    </a:lnTo>
                    <a:lnTo>
                      <a:pt x="323" y="100"/>
                    </a:lnTo>
                    <a:lnTo>
                      <a:pt x="293" y="110"/>
                    </a:lnTo>
                    <a:lnTo>
                      <a:pt x="263" y="119"/>
                    </a:lnTo>
                    <a:lnTo>
                      <a:pt x="233" y="126"/>
                    </a:lnTo>
                    <a:lnTo>
                      <a:pt x="202" y="133"/>
                    </a:lnTo>
                    <a:lnTo>
                      <a:pt x="172" y="139"/>
                    </a:lnTo>
                    <a:lnTo>
                      <a:pt x="140" y="143"/>
                    </a:lnTo>
                    <a:lnTo>
                      <a:pt x="108" y="146"/>
                    </a:lnTo>
                    <a:lnTo>
                      <a:pt x="78" y="148"/>
                    </a:lnTo>
                    <a:lnTo>
                      <a:pt x="46" y="148"/>
                    </a:lnTo>
                    <a:lnTo>
                      <a:pt x="46" y="148"/>
                    </a:lnTo>
                    <a:lnTo>
                      <a:pt x="0" y="145"/>
                    </a:lnTo>
                    <a:lnTo>
                      <a:pt x="0" y="145"/>
                    </a:lnTo>
                    <a:lnTo>
                      <a:pt x="0" y="414"/>
                    </a:lnTo>
                    <a:lnTo>
                      <a:pt x="0" y="414"/>
                    </a:lnTo>
                    <a:lnTo>
                      <a:pt x="0" y="443"/>
                    </a:lnTo>
                    <a:lnTo>
                      <a:pt x="1" y="472"/>
                    </a:lnTo>
                    <a:lnTo>
                      <a:pt x="3" y="502"/>
                    </a:lnTo>
                    <a:lnTo>
                      <a:pt x="6" y="530"/>
                    </a:lnTo>
                    <a:lnTo>
                      <a:pt x="9" y="559"/>
                    </a:lnTo>
                    <a:lnTo>
                      <a:pt x="14" y="587"/>
                    </a:lnTo>
                    <a:lnTo>
                      <a:pt x="19" y="616"/>
                    </a:lnTo>
                    <a:lnTo>
                      <a:pt x="25" y="643"/>
                    </a:lnTo>
                    <a:lnTo>
                      <a:pt x="31" y="671"/>
                    </a:lnTo>
                    <a:lnTo>
                      <a:pt x="38" y="699"/>
                    </a:lnTo>
                    <a:lnTo>
                      <a:pt x="46" y="726"/>
                    </a:lnTo>
                    <a:lnTo>
                      <a:pt x="55" y="753"/>
                    </a:lnTo>
                    <a:lnTo>
                      <a:pt x="65" y="779"/>
                    </a:lnTo>
                    <a:lnTo>
                      <a:pt x="75" y="806"/>
                    </a:lnTo>
                    <a:lnTo>
                      <a:pt x="85" y="832"/>
                    </a:lnTo>
                    <a:lnTo>
                      <a:pt x="96" y="858"/>
                    </a:lnTo>
                    <a:lnTo>
                      <a:pt x="824" y="129"/>
                    </a:lnTo>
                    <a:lnTo>
                      <a:pt x="824" y="129"/>
                    </a:lnTo>
                    <a:lnTo>
                      <a:pt x="784" y="119"/>
                    </a:lnTo>
                    <a:lnTo>
                      <a:pt x="746" y="108"/>
                    </a:lnTo>
                    <a:lnTo>
                      <a:pt x="707" y="95"/>
                    </a:lnTo>
                    <a:lnTo>
                      <a:pt x="668" y="79"/>
                    </a:lnTo>
                    <a:lnTo>
                      <a:pt x="631" y="62"/>
                    </a:lnTo>
                    <a:lnTo>
                      <a:pt x="594" y="44"/>
                    </a:lnTo>
                    <a:lnTo>
                      <a:pt x="557" y="22"/>
                    </a:lnTo>
                    <a:lnTo>
                      <a:pt x="521" y="0"/>
                    </a:lnTo>
                    <a:lnTo>
                      <a:pt x="52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91" name="Freeform 416"/>
              <p:cNvSpPr>
                <a:spLocks/>
              </p:cNvSpPr>
              <p:nvPr/>
            </p:nvSpPr>
            <p:spPr bwMode="auto">
              <a:xfrm>
                <a:off x="12239627" y="6958806"/>
                <a:ext cx="193675" cy="212725"/>
              </a:xfrm>
              <a:custGeom>
                <a:avLst/>
                <a:gdLst>
                  <a:gd name="T0" fmla="*/ 59 w 859"/>
                  <a:gd name="T1" fmla="*/ 937 h 937"/>
                  <a:gd name="T2" fmla="*/ 859 w 859"/>
                  <a:gd name="T3" fmla="*/ 139 h 937"/>
                  <a:gd name="T4" fmla="*/ 859 w 859"/>
                  <a:gd name="T5" fmla="*/ 139 h 937"/>
                  <a:gd name="T6" fmla="*/ 859 w 859"/>
                  <a:gd name="T7" fmla="*/ 0 h 937"/>
                  <a:gd name="T8" fmla="*/ 0 w 859"/>
                  <a:gd name="T9" fmla="*/ 859 h 937"/>
                  <a:gd name="T10" fmla="*/ 0 w 859"/>
                  <a:gd name="T11" fmla="*/ 859 h 937"/>
                  <a:gd name="T12" fmla="*/ 28 w 859"/>
                  <a:gd name="T13" fmla="*/ 898 h 937"/>
                  <a:gd name="T14" fmla="*/ 44 w 859"/>
                  <a:gd name="T15" fmla="*/ 919 h 937"/>
                  <a:gd name="T16" fmla="*/ 59 w 859"/>
                  <a:gd name="T17" fmla="*/ 937 h 937"/>
                  <a:gd name="T18" fmla="*/ 59 w 859"/>
                  <a:gd name="T19" fmla="*/ 937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9" h="937">
                    <a:moveTo>
                      <a:pt x="59" y="937"/>
                    </a:moveTo>
                    <a:lnTo>
                      <a:pt x="859" y="139"/>
                    </a:lnTo>
                    <a:lnTo>
                      <a:pt x="859" y="139"/>
                    </a:lnTo>
                    <a:lnTo>
                      <a:pt x="859" y="0"/>
                    </a:lnTo>
                    <a:lnTo>
                      <a:pt x="0" y="859"/>
                    </a:lnTo>
                    <a:lnTo>
                      <a:pt x="0" y="859"/>
                    </a:lnTo>
                    <a:lnTo>
                      <a:pt x="28" y="898"/>
                    </a:lnTo>
                    <a:lnTo>
                      <a:pt x="44" y="919"/>
                    </a:lnTo>
                    <a:lnTo>
                      <a:pt x="59" y="937"/>
                    </a:lnTo>
                    <a:lnTo>
                      <a:pt x="59" y="9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nvGrpSpPr>
            <p:cNvPr id="93" name="Group 92"/>
            <p:cNvGrpSpPr/>
            <p:nvPr/>
          </p:nvGrpSpPr>
          <p:grpSpPr>
            <a:xfrm>
              <a:off x="8995774" y="2962715"/>
              <a:ext cx="422780" cy="342440"/>
              <a:chOff x="6462713" y="4818063"/>
              <a:chExt cx="509587" cy="412750"/>
            </a:xfrm>
          </p:grpSpPr>
          <p:sp>
            <p:nvSpPr>
              <p:cNvPr id="94" name="Freeform 93"/>
              <p:cNvSpPr>
                <a:spLocks/>
              </p:cNvSpPr>
              <p:nvPr/>
            </p:nvSpPr>
            <p:spPr bwMode="auto">
              <a:xfrm>
                <a:off x="6724650" y="4872038"/>
                <a:ext cx="247650" cy="325438"/>
              </a:xfrm>
              <a:custGeom>
                <a:avLst/>
                <a:gdLst>
                  <a:gd name="T0" fmla="*/ 302 w 312"/>
                  <a:gd name="T1" fmla="*/ 333 h 410"/>
                  <a:gd name="T2" fmla="*/ 298 w 312"/>
                  <a:gd name="T3" fmla="*/ 322 h 410"/>
                  <a:gd name="T4" fmla="*/ 283 w 312"/>
                  <a:gd name="T5" fmla="*/ 303 h 410"/>
                  <a:gd name="T6" fmla="*/ 274 w 312"/>
                  <a:gd name="T7" fmla="*/ 298 h 410"/>
                  <a:gd name="T8" fmla="*/ 197 w 312"/>
                  <a:gd name="T9" fmla="*/ 259 h 410"/>
                  <a:gd name="T10" fmla="*/ 209 w 312"/>
                  <a:gd name="T11" fmla="*/ 255 h 410"/>
                  <a:gd name="T12" fmla="*/ 232 w 312"/>
                  <a:gd name="T13" fmla="*/ 246 h 410"/>
                  <a:gd name="T14" fmla="*/ 256 w 312"/>
                  <a:gd name="T15" fmla="*/ 230 h 410"/>
                  <a:gd name="T16" fmla="*/ 276 w 312"/>
                  <a:gd name="T17" fmla="*/ 210 h 410"/>
                  <a:gd name="T18" fmla="*/ 286 w 312"/>
                  <a:gd name="T19" fmla="*/ 194 h 410"/>
                  <a:gd name="T20" fmla="*/ 276 w 312"/>
                  <a:gd name="T21" fmla="*/ 191 h 410"/>
                  <a:gd name="T22" fmla="*/ 259 w 312"/>
                  <a:gd name="T23" fmla="*/ 180 h 410"/>
                  <a:gd name="T24" fmla="*/ 251 w 312"/>
                  <a:gd name="T25" fmla="*/ 168 h 410"/>
                  <a:gd name="T26" fmla="*/ 244 w 312"/>
                  <a:gd name="T27" fmla="*/ 152 h 410"/>
                  <a:gd name="T28" fmla="*/ 241 w 312"/>
                  <a:gd name="T29" fmla="*/ 131 h 410"/>
                  <a:gd name="T30" fmla="*/ 243 w 312"/>
                  <a:gd name="T31" fmla="*/ 104 h 410"/>
                  <a:gd name="T32" fmla="*/ 244 w 312"/>
                  <a:gd name="T33" fmla="*/ 94 h 410"/>
                  <a:gd name="T34" fmla="*/ 243 w 312"/>
                  <a:gd name="T35" fmla="*/ 85 h 410"/>
                  <a:gd name="T36" fmla="*/ 241 w 312"/>
                  <a:gd name="T37" fmla="*/ 68 h 410"/>
                  <a:gd name="T38" fmla="*/ 237 w 312"/>
                  <a:gd name="T39" fmla="*/ 54 h 410"/>
                  <a:gd name="T40" fmla="*/ 229 w 312"/>
                  <a:gd name="T41" fmla="*/ 39 h 410"/>
                  <a:gd name="T42" fmla="*/ 217 w 312"/>
                  <a:gd name="T43" fmla="*/ 25 h 410"/>
                  <a:gd name="T44" fmla="*/ 204 w 312"/>
                  <a:gd name="T45" fmla="*/ 15 h 410"/>
                  <a:gd name="T46" fmla="*/ 186 w 312"/>
                  <a:gd name="T47" fmla="*/ 6 h 410"/>
                  <a:gd name="T48" fmla="*/ 166 w 312"/>
                  <a:gd name="T49" fmla="*/ 1 h 410"/>
                  <a:gd name="T50" fmla="*/ 143 w 312"/>
                  <a:gd name="T51" fmla="*/ 0 h 410"/>
                  <a:gd name="T52" fmla="*/ 131 w 312"/>
                  <a:gd name="T53" fmla="*/ 0 h 410"/>
                  <a:gd name="T54" fmla="*/ 109 w 312"/>
                  <a:gd name="T55" fmla="*/ 4 h 410"/>
                  <a:gd name="T56" fmla="*/ 90 w 312"/>
                  <a:gd name="T57" fmla="*/ 11 h 410"/>
                  <a:gd name="T58" fmla="*/ 74 w 312"/>
                  <a:gd name="T59" fmla="*/ 20 h 410"/>
                  <a:gd name="T60" fmla="*/ 62 w 312"/>
                  <a:gd name="T61" fmla="*/ 32 h 410"/>
                  <a:gd name="T62" fmla="*/ 51 w 312"/>
                  <a:gd name="T63" fmla="*/ 46 h 410"/>
                  <a:gd name="T64" fmla="*/ 45 w 312"/>
                  <a:gd name="T65" fmla="*/ 60 h 410"/>
                  <a:gd name="T66" fmla="*/ 42 w 312"/>
                  <a:gd name="T67" fmla="*/ 77 h 410"/>
                  <a:gd name="T68" fmla="*/ 42 w 312"/>
                  <a:gd name="T69" fmla="*/ 85 h 410"/>
                  <a:gd name="T70" fmla="*/ 42 w 312"/>
                  <a:gd name="T71" fmla="*/ 104 h 410"/>
                  <a:gd name="T72" fmla="*/ 45 w 312"/>
                  <a:gd name="T73" fmla="*/ 118 h 410"/>
                  <a:gd name="T74" fmla="*/ 43 w 312"/>
                  <a:gd name="T75" fmla="*/ 143 h 410"/>
                  <a:gd name="T76" fmla="*/ 38 w 312"/>
                  <a:gd name="T77" fmla="*/ 162 h 410"/>
                  <a:gd name="T78" fmla="*/ 31 w 312"/>
                  <a:gd name="T79" fmla="*/ 175 h 410"/>
                  <a:gd name="T80" fmla="*/ 16 w 312"/>
                  <a:gd name="T81" fmla="*/ 187 h 410"/>
                  <a:gd name="T82" fmla="*/ 0 w 312"/>
                  <a:gd name="T83" fmla="*/ 194 h 410"/>
                  <a:gd name="T84" fmla="*/ 1 w 312"/>
                  <a:gd name="T85" fmla="*/ 198 h 410"/>
                  <a:gd name="T86" fmla="*/ 15 w 312"/>
                  <a:gd name="T87" fmla="*/ 218 h 410"/>
                  <a:gd name="T88" fmla="*/ 30 w 312"/>
                  <a:gd name="T89" fmla="*/ 232 h 410"/>
                  <a:gd name="T90" fmla="*/ 80 w 312"/>
                  <a:gd name="T91" fmla="*/ 252 h 410"/>
                  <a:gd name="T92" fmla="*/ 88 w 312"/>
                  <a:gd name="T93" fmla="*/ 256 h 410"/>
                  <a:gd name="T94" fmla="*/ 103 w 312"/>
                  <a:gd name="T95" fmla="*/ 269 h 410"/>
                  <a:gd name="T96" fmla="*/ 117 w 312"/>
                  <a:gd name="T97" fmla="*/ 286 h 410"/>
                  <a:gd name="T98" fmla="*/ 127 w 312"/>
                  <a:gd name="T99" fmla="*/ 306 h 410"/>
                  <a:gd name="T100" fmla="*/ 144 w 312"/>
                  <a:gd name="T101" fmla="*/ 410 h 410"/>
                  <a:gd name="T102" fmla="*/ 181 w 312"/>
                  <a:gd name="T103" fmla="*/ 408 h 410"/>
                  <a:gd name="T104" fmla="*/ 243 w 312"/>
                  <a:gd name="T105" fmla="*/ 403 h 410"/>
                  <a:gd name="T106" fmla="*/ 286 w 312"/>
                  <a:gd name="T107" fmla="*/ 393 h 410"/>
                  <a:gd name="T108" fmla="*/ 305 w 312"/>
                  <a:gd name="T109" fmla="*/ 385 h 410"/>
                  <a:gd name="T110" fmla="*/ 312 w 312"/>
                  <a:gd name="T111" fmla="*/ 377 h 410"/>
                  <a:gd name="T112" fmla="*/ 312 w 312"/>
                  <a:gd name="T113" fmla="*/ 375 h 410"/>
                  <a:gd name="T114" fmla="*/ 302 w 312"/>
                  <a:gd name="T115" fmla="*/ 333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2" h="410">
                    <a:moveTo>
                      <a:pt x="302" y="333"/>
                    </a:moveTo>
                    <a:lnTo>
                      <a:pt x="302" y="333"/>
                    </a:lnTo>
                    <a:lnTo>
                      <a:pt x="301" y="327"/>
                    </a:lnTo>
                    <a:lnTo>
                      <a:pt x="298" y="322"/>
                    </a:lnTo>
                    <a:lnTo>
                      <a:pt x="291" y="311"/>
                    </a:lnTo>
                    <a:lnTo>
                      <a:pt x="283" y="303"/>
                    </a:lnTo>
                    <a:lnTo>
                      <a:pt x="274" y="298"/>
                    </a:lnTo>
                    <a:lnTo>
                      <a:pt x="274" y="298"/>
                    </a:lnTo>
                    <a:lnTo>
                      <a:pt x="197" y="259"/>
                    </a:lnTo>
                    <a:lnTo>
                      <a:pt x="197" y="259"/>
                    </a:lnTo>
                    <a:lnTo>
                      <a:pt x="197" y="259"/>
                    </a:lnTo>
                    <a:lnTo>
                      <a:pt x="209" y="255"/>
                    </a:lnTo>
                    <a:lnTo>
                      <a:pt x="221" y="251"/>
                    </a:lnTo>
                    <a:lnTo>
                      <a:pt x="232" y="246"/>
                    </a:lnTo>
                    <a:lnTo>
                      <a:pt x="241" y="241"/>
                    </a:lnTo>
                    <a:lnTo>
                      <a:pt x="256" y="230"/>
                    </a:lnTo>
                    <a:lnTo>
                      <a:pt x="268" y="220"/>
                    </a:lnTo>
                    <a:lnTo>
                      <a:pt x="276" y="210"/>
                    </a:lnTo>
                    <a:lnTo>
                      <a:pt x="282" y="202"/>
                    </a:lnTo>
                    <a:lnTo>
                      <a:pt x="286" y="194"/>
                    </a:lnTo>
                    <a:lnTo>
                      <a:pt x="286" y="194"/>
                    </a:lnTo>
                    <a:lnTo>
                      <a:pt x="276" y="191"/>
                    </a:lnTo>
                    <a:lnTo>
                      <a:pt x="268" y="187"/>
                    </a:lnTo>
                    <a:lnTo>
                      <a:pt x="259" y="180"/>
                    </a:lnTo>
                    <a:lnTo>
                      <a:pt x="255" y="175"/>
                    </a:lnTo>
                    <a:lnTo>
                      <a:pt x="251" y="168"/>
                    </a:lnTo>
                    <a:lnTo>
                      <a:pt x="247" y="162"/>
                    </a:lnTo>
                    <a:lnTo>
                      <a:pt x="244" y="152"/>
                    </a:lnTo>
                    <a:lnTo>
                      <a:pt x="241" y="143"/>
                    </a:lnTo>
                    <a:lnTo>
                      <a:pt x="241" y="131"/>
                    </a:lnTo>
                    <a:lnTo>
                      <a:pt x="241" y="118"/>
                    </a:lnTo>
                    <a:lnTo>
                      <a:pt x="243" y="104"/>
                    </a:lnTo>
                    <a:lnTo>
                      <a:pt x="243" y="104"/>
                    </a:lnTo>
                    <a:lnTo>
                      <a:pt x="244" y="94"/>
                    </a:lnTo>
                    <a:lnTo>
                      <a:pt x="243" y="85"/>
                    </a:lnTo>
                    <a:lnTo>
                      <a:pt x="243" y="85"/>
                    </a:lnTo>
                    <a:lnTo>
                      <a:pt x="243" y="77"/>
                    </a:lnTo>
                    <a:lnTo>
                      <a:pt x="241" y="68"/>
                    </a:lnTo>
                    <a:lnTo>
                      <a:pt x="240" y="60"/>
                    </a:lnTo>
                    <a:lnTo>
                      <a:pt x="237" y="54"/>
                    </a:lnTo>
                    <a:lnTo>
                      <a:pt x="233" y="46"/>
                    </a:lnTo>
                    <a:lnTo>
                      <a:pt x="229" y="39"/>
                    </a:lnTo>
                    <a:lnTo>
                      <a:pt x="224" y="32"/>
                    </a:lnTo>
                    <a:lnTo>
                      <a:pt x="217" y="25"/>
                    </a:lnTo>
                    <a:lnTo>
                      <a:pt x="210" y="20"/>
                    </a:lnTo>
                    <a:lnTo>
                      <a:pt x="204" y="15"/>
                    </a:lnTo>
                    <a:lnTo>
                      <a:pt x="194" y="11"/>
                    </a:lnTo>
                    <a:lnTo>
                      <a:pt x="186" y="6"/>
                    </a:lnTo>
                    <a:lnTo>
                      <a:pt x="175" y="4"/>
                    </a:lnTo>
                    <a:lnTo>
                      <a:pt x="166" y="1"/>
                    </a:lnTo>
                    <a:lnTo>
                      <a:pt x="154" y="0"/>
                    </a:lnTo>
                    <a:lnTo>
                      <a:pt x="143" y="0"/>
                    </a:lnTo>
                    <a:lnTo>
                      <a:pt x="143" y="0"/>
                    </a:lnTo>
                    <a:lnTo>
                      <a:pt x="131" y="0"/>
                    </a:lnTo>
                    <a:lnTo>
                      <a:pt x="120" y="1"/>
                    </a:lnTo>
                    <a:lnTo>
                      <a:pt x="109" y="4"/>
                    </a:lnTo>
                    <a:lnTo>
                      <a:pt x="100" y="6"/>
                    </a:lnTo>
                    <a:lnTo>
                      <a:pt x="90" y="11"/>
                    </a:lnTo>
                    <a:lnTo>
                      <a:pt x="82" y="15"/>
                    </a:lnTo>
                    <a:lnTo>
                      <a:pt x="74" y="20"/>
                    </a:lnTo>
                    <a:lnTo>
                      <a:pt x="67" y="25"/>
                    </a:lnTo>
                    <a:lnTo>
                      <a:pt x="62" y="32"/>
                    </a:lnTo>
                    <a:lnTo>
                      <a:pt x="57" y="39"/>
                    </a:lnTo>
                    <a:lnTo>
                      <a:pt x="51" y="46"/>
                    </a:lnTo>
                    <a:lnTo>
                      <a:pt x="49" y="54"/>
                    </a:lnTo>
                    <a:lnTo>
                      <a:pt x="45" y="60"/>
                    </a:lnTo>
                    <a:lnTo>
                      <a:pt x="43" y="68"/>
                    </a:lnTo>
                    <a:lnTo>
                      <a:pt x="42" y="77"/>
                    </a:lnTo>
                    <a:lnTo>
                      <a:pt x="42" y="85"/>
                    </a:lnTo>
                    <a:lnTo>
                      <a:pt x="42" y="85"/>
                    </a:lnTo>
                    <a:lnTo>
                      <a:pt x="42" y="94"/>
                    </a:lnTo>
                    <a:lnTo>
                      <a:pt x="42" y="104"/>
                    </a:lnTo>
                    <a:lnTo>
                      <a:pt x="42" y="104"/>
                    </a:lnTo>
                    <a:lnTo>
                      <a:pt x="45" y="118"/>
                    </a:lnTo>
                    <a:lnTo>
                      <a:pt x="45" y="131"/>
                    </a:lnTo>
                    <a:lnTo>
                      <a:pt x="43" y="143"/>
                    </a:lnTo>
                    <a:lnTo>
                      <a:pt x="42" y="152"/>
                    </a:lnTo>
                    <a:lnTo>
                      <a:pt x="38" y="162"/>
                    </a:lnTo>
                    <a:lnTo>
                      <a:pt x="35" y="168"/>
                    </a:lnTo>
                    <a:lnTo>
                      <a:pt x="31" y="175"/>
                    </a:lnTo>
                    <a:lnTo>
                      <a:pt x="26" y="180"/>
                    </a:lnTo>
                    <a:lnTo>
                      <a:pt x="16" y="187"/>
                    </a:lnTo>
                    <a:lnTo>
                      <a:pt x="8" y="191"/>
                    </a:lnTo>
                    <a:lnTo>
                      <a:pt x="0" y="194"/>
                    </a:lnTo>
                    <a:lnTo>
                      <a:pt x="0" y="194"/>
                    </a:lnTo>
                    <a:lnTo>
                      <a:pt x="1" y="198"/>
                    </a:lnTo>
                    <a:lnTo>
                      <a:pt x="5" y="206"/>
                    </a:lnTo>
                    <a:lnTo>
                      <a:pt x="15" y="218"/>
                    </a:lnTo>
                    <a:lnTo>
                      <a:pt x="22" y="225"/>
                    </a:lnTo>
                    <a:lnTo>
                      <a:pt x="30" y="232"/>
                    </a:lnTo>
                    <a:lnTo>
                      <a:pt x="30" y="232"/>
                    </a:lnTo>
                    <a:lnTo>
                      <a:pt x="80" y="252"/>
                    </a:lnTo>
                    <a:lnTo>
                      <a:pt x="80" y="252"/>
                    </a:lnTo>
                    <a:lnTo>
                      <a:pt x="88" y="256"/>
                    </a:lnTo>
                    <a:lnTo>
                      <a:pt x="96" y="261"/>
                    </a:lnTo>
                    <a:lnTo>
                      <a:pt x="103" y="269"/>
                    </a:lnTo>
                    <a:lnTo>
                      <a:pt x="111" y="277"/>
                    </a:lnTo>
                    <a:lnTo>
                      <a:pt x="117" y="286"/>
                    </a:lnTo>
                    <a:lnTo>
                      <a:pt x="123" y="295"/>
                    </a:lnTo>
                    <a:lnTo>
                      <a:pt x="127" y="306"/>
                    </a:lnTo>
                    <a:lnTo>
                      <a:pt x="128" y="315"/>
                    </a:lnTo>
                    <a:lnTo>
                      <a:pt x="144" y="410"/>
                    </a:lnTo>
                    <a:lnTo>
                      <a:pt x="144" y="410"/>
                    </a:lnTo>
                    <a:lnTo>
                      <a:pt x="181" y="408"/>
                    </a:lnTo>
                    <a:lnTo>
                      <a:pt x="214" y="407"/>
                    </a:lnTo>
                    <a:lnTo>
                      <a:pt x="243" y="403"/>
                    </a:lnTo>
                    <a:lnTo>
                      <a:pt x="267" y="399"/>
                    </a:lnTo>
                    <a:lnTo>
                      <a:pt x="286" y="393"/>
                    </a:lnTo>
                    <a:lnTo>
                      <a:pt x="299" y="388"/>
                    </a:lnTo>
                    <a:lnTo>
                      <a:pt x="305" y="385"/>
                    </a:lnTo>
                    <a:lnTo>
                      <a:pt x="309" y="381"/>
                    </a:lnTo>
                    <a:lnTo>
                      <a:pt x="312" y="377"/>
                    </a:lnTo>
                    <a:lnTo>
                      <a:pt x="312" y="375"/>
                    </a:lnTo>
                    <a:lnTo>
                      <a:pt x="312" y="375"/>
                    </a:lnTo>
                    <a:lnTo>
                      <a:pt x="302" y="333"/>
                    </a:lnTo>
                    <a:lnTo>
                      <a:pt x="302" y="3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676767"/>
                  </a:solidFill>
                </a:endParaRPr>
              </a:p>
            </p:txBody>
          </p:sp>
          <p:sp>
            <p:nvSpPr>
              <p:cNvPr id="95" name="Freeform 94"/>
              <p:cNvSpPr>
                <a:spLocks/>
              </p:cNvSpPr>
              <p:nvPr/>
            </p:nvSpPr>
            <p:spPr bwMode="auto">
              <a:xfrm>
                <a:off x="6462713" y="4818063"/>
                <a:ext cx="355600" cy="412750"/>
              </a:xfrm>
              <a:custGeom>
                <a:avLst/>
                <a:gdLst>
                  <a:gd name="T0" fmla="*/ 433 w 447"/>
                  <a:gd name="T1" fmla="*/ 381 h 521"/>
                  <a:gd name="T2" fmla="*/ 420 w 447"/>
                  <a:gd name="T3" fmla="*/ 360 h 521"/>
                  <a:gd name="T4" fmla="*/ 399 w 447"/>
                  <a:gd name="T5" fmla="*/ 341 h 521"/>
                  <a:gd name="T6" fmla="*/ 341 w 447"/>
                  <a:gd name="T7" fmla="*/ 319 h 521"/>
                  <a:gd name="T8" fmla="*/ 295 w 447"/>
                  <a:gd name="T9" fmla="*/ 294 h 521"/>
                  <a:gd name="T10" fmla="*/ 290 w 447"/>
                  <a:gd name="T11" fmla="*/ 288 h 521"/>
                  <a:gd name="T12" fmla="*/ 287 w 447"/>
                  <a:gd name="T13" fmla="*/ 254 h 521"/>
                  <a:gd name="T14" fmla="*/ 290 w 447"/>
                  <a:gd name="T15" fmla="*/ 234 h 521"/>
                  <a:gd name="T16" fmla="*/ 311 w 447"/>
                  <a:gd name="T17" fmla="*/ 188 h 521"/>
                  <a:gd name="T18" fmla="*/ 313 w 447"/>
                  <a:gd name="T19" fmla="*/ 188 h 521"/>
                  <a:gd name="T20" fmla="*/ 326 w 447"/>
                  <a:gd name="T21" fmla="*/ 181 h 521"/>
                  <a:gd name="T22" fmla="*/ 340 w 447"/>
                  <a:gd name="T23" fmla="*/ 154 h 521"/>
                  <a:gd name="T24" fmla="*/ 340 w 447"/>
                  <a:gd name="T25" fmla="*/ 131 h 521"/>
                  <a:gd name="T26" fmla="*/ 333 w 447"/>
                  <a:gd name="T27" fmla="*/ 122 h 521"/>
                  <a:gd name="T28" fmla="*/ 326 w 447"/>
                  <a:gd name="T29" fmla="*/ 122 h 521"/>
                  <a:gd name="T30" fmla="*/ 331 w 447"/>
                  <a:gd name="T31" fmla="*/ 100 h 521"/>
                  <a:gd name="T32" fmla="*/ 329 w 447"/>
                  <a:gd name="T33" fmla="*/ 68 h 521"/>
                  <a:gd name="T34" fmla="*/ 314 w 447"/>
                  <a:gd name="T35" fmla="*/ 39 h 521"/>
                  <a:gd name="T36" fmla="*/ 288 w 447"/>
                  <a:gd name="T37" fmla="*/ 16 h 521"/>
                  <a:gd name="T38" fmla="*/ 253 w 447"/>
                  <a:gd name="T39" fmla="*/ 3 h 521"/>
                  <a:gd name="T40" fmla="*/ 224 w 447"/>
                  <a:gd name="T41" fmla="*/ 0 h 521"/>
                  <a:gd name="T42" fmla="*/ 180 w 447"/>
                  <a:gd name="T43" fmla="*/ 7 h 521"/>
                  <a:gd name="T44" fmla="*/ 148 w 447"/>
                  <a:gd name="T45" fmla="*/ 23 h 521"/>
                  <a:gd name="T46" fmla="*/ 126 w 447"/>
                  <a:gd name="T47" fmla="*/ 49 h 521"/>
                  <a:gd name="T48" fmla="*/ 116 w 447"/>
                  <a:gd name="T49" fmla="*/ 79 h 521"/>
                  <a:gd name="T50" fmla="*/ 117 w 447"/>
                  <a:gd name="T51" fmla="*/ 111 h 521"/>
                  <a:gd name="T52" fmla="*/ 118 w 447"/>
                  <a:gd name="T53" fmla="*/ 122 h 521"/>
                  <a:gd name="T54" fmla="*/ 110 w 447"/>
                  <a:gd name="T55" fmla="*/ 124 h 521"/>
                  <a:gd name="T56" fmla="*/ 106 w 447"/>
                  <a:gd name="T57" fmla="*/ 142 h 521"/>
                  <a:gd name="T58" fmla="*/ 112 w 447"/>
                  <a:gd name="T59" fmla="*/ 166 h 521"/>
                  <a:gd name="T60" fmla="*/ 125 w 447"/>
                  <a:gd name="T61" fmla="*/ 185 h 521"/>
                  <a:gd name="T62" fmla="*/ 135 w 447"/>
                  <a:gd name="T63" fmla="*/ 188 h 521"/>
                  <a:gd name="T64" fmla="*/ 145 w 447"/>
                  <a:gd name="T65" fmla="*/ 212 h 521"/>
                  <a:gd name="T66" fmla="*/ 157 w 447"/>
                  <a:gd name="T67" fmla="*/ 234 h 521"/>
                  <a:gd name="T68" fmla="*/ 160 w 447"/>
                  <a:gd name="T69" fmla="*/ 273 h 521"/>
                  <a:gd name="T70" fmla="*/ 157 w 447"/>
                  <a:gd name="T71" fmla="*/ 288 h 521"/>
                  <a:gd name="T72" fmla="*/ 139 w 447"/>
                  <a:gd name="T73" fmla="*/ 302 h 521"/>
                  <a:gd name="T74" fmla="*/ 70 w 447"/>
                  <a:gd name="T75" fmla="*/ 333 h 521"/>
                  <a:gd name="T76" fmla="*/ 43 w 447"/>
                  <a:gd name="T77" fmla="*/ 344 h 521"/>
                  <a:gd name="T78" fmla="*/ 21 w 447"/>
                  <a:gd name="T79" fmla="*/ 367 h 521"/>
                  <a:gd name="T80" fmla="*/ 12 w 447"/>
                  <a:gd name="T81" fmla="*/ 387 h 521"/>
                  <a:gd name="T82" fmla="*/ 1 w 447"/>
                  <a:gd name="T83" fmla="*/ 479 h 521"/>
                  <a:gd name="T84" fmla="*/ 16 w 447"/>
                  <a:gd name="T85" fmla="*/ 492 h 521"/>
                  <a:gd name="T86" fmla="*/ 60 w 447"/>
                  <a:gd name="T87" fmla="*/ 507 h 521"/>
                  <a:gd name="T88" fmla="*/ 175 w 447"/>
                  <a:gd name="T89" fmla="*/ 519 h 521"/>
                  <a:gd name="T90" fmla="*/ 272 w 447"/>
                  <a:gd name="T91" fmla="*/ 519 h 521"/>
                  <a:gd name="T92" fmla="*/ 387 w 447"/>
                  <a:gd name="T93" fmla="*/ 507 h 521"/>
                  <a:gd name="T94" fmla="*/ 431 w 447"/>
                  <a:gd name="T95" fmla="*/ 492 h 521"/>
                  <a:gd name="T96" fmla="*/ 446 w 447"/>
                  <a:gd name="T97" fmla="*/ 479 h 521"/>
                  <a:gd name="T98" fmla="*/ 447 w 447"/>
                  <a:gd name="T99" fmla="*/ 474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521">
                    <a:moveTo>
                      <a:pt x="434" y="387"/>
                    </a:moveTo>
                    <a:lnTo>
                      <a:pt x="434" y="387"/>
                    </a:lnTo>
                    <a:lnTo>
                      <a:pt x="433" y="381"/>
                    </a:lnTo>
                    <a:lnTo>
                      <a:pt x="430" y="374"/>
                    </a:lnTo>
                    <a:lnTo>
                      <a:pt x="426" y="367"/>
                    </a:lnTo>
                    <a:lnTo>
                      <a:pt x="420" y="360"/>
                    </a:lnTo>
                    <a:lnTo>
                      <a:pt x="410" y="350"/>
                    </a:lnTo>
                    <a:lnTo>
                      <a:pt x="404" y="344"/>
                    </a:lnTo>
                    <a:lnTo>
                      <a:pt x="399" y="341"/>
                    </a:lnTo>
                    <a:lnTo>
                      <a:pt x="399" y="341"/>
                    </a:lnTo>
                    <a:lnTo>
                      <a:pt x="376" y="333"/>
                    </a:lnTo>
                    <a:lnTo>
                      <a:pt x="341" y="319"/>
                    </a:lnTo>
                    <a:lnTo>
                      <a:pt x="323" y="310"/>
                    </a:lnTo>
                    <a:lnTo>
                      <a:pt x="307" y="302"/>
                    </a:lnTo>
                    <a:lnTo>
                      <a:pt x="295" y="294"/>
                    </a:lnTo>
                    <a:lnTo>
                      <a:pt x="291" y="292"/>
                    </a:lnTo>
                    <a:lnTo>
                      <a:pt x="290" y="288"/>
                    </a:lnTo>
                    <a:lnTo>
                      <a:pt x="290" y="288"/>
                    </a:lnTo>
                    <a:lnTo>
                      <a:pt x="287" y="281"/>
                    </a:lnTo>
                    <a:lnTo>
                      <a:pt x="286" y="273"/>
                    </a:lnTo>
                    <a:lnTo>
                      <a:pt x="287" y="254"/>
                    </a:lnTo>
                    <a:lnTo>
                      <a:pt x="288" y="240"/>
                    </a:lnTo>
                    <a:lnTo>
                      <a:pt x="290" y="234"/>
                    </a:lnTo>
                    <a:lnTo>
                      <a:pt x="290" y="234"/>
                    </a:lnTo>
                    <a:lnTo>
                      <a:pt x="295" y="223"/>
                    </a:lnTo>
                    <a:lnTo>
                      <a:pt x="302" y="212"/>
                    </a:lnTo>
                    <a:lnTo>
                      <a:pt x="311" y="188"/>
                    </a:lnTo>
                    <a:lnTo>
                      <a:pt x="311" y="188"/>
                    </a:lnTo>
                    <a:lnTo>
                      <a:pt x="313" y="188"/>
                    </a:lnTo>
                    <a:lnTo>
                      <a:pt x="313" y="188"/>
                    </a:lnTo>
                    <a:lnTo>
                      <a:pt x="317" y="188"/>
                    </a:lnTo>
                    <a:lnTo>
                      <a:pt x="322" y="185"/>
                    </a:lnTo>
                    <a:lnTo>
                      <a:pt x="326" y="181"/>
                    </a:lnTo>
                    <a:lnTo>
                      <a:pt x="330" y="177"/>
                    </a:lnTo>
                    <a:lnTo>
                      <a:pt x="335" y="166"/>
                    </a:lnTo>
                    <a:lnTo>
                      <a:pt x="340" y="154"/>
                    </a:lnTo>
                    <a:lnTo>
                      <a:pt x="340" y="154"/>
                    </a:lnTo>
                    <a:lnTo>
                      <a:pt x="341" y="142"/>
                    </a:lnTo>
                    <a:lnTo>
                      <a:pt x="340" y="131"/>
                    </a:lnTo>
                    <a:lnTo>
                      <a:pt x="338" y="127"/>
                    </a:lnTo>
                    <a:lnTo>
                      <a:pt x="337" y="124"/>
                    </a:lnTo>
                    <a:lnTo>
                      <a:pt x="333" y="122"/>
                    </a:lnTo>
                    <a:lnTo>
                      <a:pt x="329" y="122"/>
                    </a:lnTo>
                    <a:lnTo>
                      <a:pt x="329" y="122"/>
                    </a:lnTo>
                    <a:lnTo>
                      <a:pt x="326" y="122"/>
                    </a:lnTo>
                    <a:lnTo>
                      <a:pt x="326" y="122"/>
                    </a:lnTo>
                    <a:lnTo>
                      <a:pt x="330" y="111"/>
                    </a:lnTo>
                    <a:lnTo>
                      <a:pt x="331" y="100"/>
                    </a:lnTo>
                    <a:lnTo>
                      <a:pt x="331" y="89"/>
                    </a:lnTo>
                    <a:lnTo>
                      <a:pt x="331" y="79"/>
                    </a:lnTo>
                    <a:lnTo>
                      <a:pt x="329" y="68"/>
                    </a:lnTo>
                    <a:lnTo>
                      <a:pt x="326" y="58"/>
                    </a:lnTo>
                    <a:lnTo>
                      <a:pt x="321" y="49"/>
                    </a:lnTo>
                    <a:lnTo>
                      <a:pt x="314" y="39"/>
                    </a:lnTo>
                    <a:lnTo>
                      <a:pt x="307" y="31"/>
                    </a:lnTo>
                    <a:lnTo>
                      <a:pt x="299" y="23"/>
                    </a:lnTo>
                    <a:lnTo>
                      <a:pt x="288" y="16"/>
                    </a:lnTo>
                    <a:lnTo>
                      <a:pt x="277" y="11"/>
                    </a:lnTo>
                    <a:lnTo>
                      <a:pt x="265" y="7"/>
                    </a:lnTo>
                    <a:lnTo>
                      <a:pt x="253" y="3"/>
                    </a:lnTo>
                    <a:lnTo>
                      <a:pt x="238" y="2"/>
                    </a:lnTo>
                    <a:lnTo>
                      <a:pt x="224" y="0"/>
                    </a:lnTo>
                    <a:lnTo>
                      <a:pt x="224" y="0"/>
                    </a:lnTo>
                    <a:lnTo>
                      <a:pt x="209" y="2"/>
                    </a:lnTo>
                    <a:lnTo>
                      <a:pt x="194" y="3"/>
                    </a:lnTo>
                    <a:lnTo>
                      <a:pt x="180" y="7"/>
                    </a:lnTo>
                    <a:lnTo>
                      <a:pt x="168" y="11"/>
                    </a:lnTo>
                    <a:lnTo>
                      <a:pt x="157" y="16"/>
                    </a:lnTo>
                    <a:lnTo>
                      <a:pt x="148" y="23"/>
                    </a:lnTo>
                    <a:lnTo>
                      <a:pt x="140" y="31"/>
                    </a:lnTo>
                    <a:lnTo>
                      <a:pt x="132" y="39"/>
                    </a:lnTo>
                    <a:lnTo>
                      <a:pt x="126" y="49"/>
                    </a:lnTo>
                    <a:lnTo>
                      <a:pt x="121" y="58"/>
                    </a:lnTo>
                    <a:lnTo>
                      <a:pt x="118" y="68"/>
                    </a:lnTo>
                    <a:lnTo>
                      <a:pt x="116" y="79"/>
                    </a:lnTo>
                    <a:lnTo>
                      <a:pt x="114" y="89"/>
                    </a:lnTo>
                    <a:lnTo>
                      <a:pt x="116" y="100"/>
                    </a:lnTo>
                    <a:lnTo>
                      <a:pt x="117" y="111"/>
                    </a:lnTo>
                    <a:lnTo>
                      <a:pt x="121" y="122"/>
                    </a:lnTo>
                    <a:lnTo>
                      <a:pt x="121" y="122"/>
                    </a:lnTo>
                    <a:lnTo>
                      <a:pt x="118" y="122"/>
                    </a:lnTo>
                    <a:lnTo>
                      <a:pt x="118" y="122"/>
                    </a:lnTo>
                    <a:lnTo>
                      <a:pt x="113" y="122"/>
                    </a:lnTo>
                    <a:lnTo>
                      <a:pt x="110" y="124"/>
                    </a:lnTo>
                    <a:lnTo>
                      <a:pt x="108" y="127"/>
                    </a:lnTo>
                    <a:lnTo>
                      <a:pt x="106" y="131"/>
                    </a:lnTo>
                    <a:lnTo>
                      <a:pt x="106" y="142"/>
                    </a:lnTo>
                    <a:lnTo>
                      <a:pt x="108" y="154"/>
                    </a:lnTo>
                    <a:lnTo>
                      <a:pt x="108" y="154"/>
                    </a:lnTo>
                    <a:lnTo>
                      <a:pt x="112" y="166"/>
                    </a:lnTo>
                    <a:lnTo>
                      <a:pt x="117" y="177"/>
                    </a:lnTo>
                    <a:lnTo>
                      <a:pt x="121" y="181"/>
                    </a:lnTo>
                    <a:lnTo>
                      <a:pt x="125" y="185"/>
                    </a:lnTo>
                    <a:lnTo>
                      <a:pt x="129" y="188"/>
                    </a:lnTo>
                    <a:lnTo>
                      <a:pt x="135" y="188"/>
                    </a:lnTo>
                    <a:lnTo>
                      <a:pt x="135" y="188"/>
                    </a:lnTo>
                    <a:lnTo>
                      <a:pt x="136" y="188"/>
                    </a:lnTo>
                    <a:lnTo>
                      <a:pt x="136" y="188"/>
                    </a:lnTo>
                    <a:lnTo>
                      <a:pt x="145" y="212"/>
                    </a:lnTo>
                    <a:lnTo>
                      <a:pt x="151" y="223"/>
                    </a:lnTo>
                    <a:lnTo>
                      <a:pt x="157" y="234"/>
                    </a:lnTo>
                    <a:lnTo>
                      <a:pt x="157" y="234"/>
                    </a:lnTo>
                    <a:lnTo>
                      <a:pt x="159" y="240"/>
                    </a:lnTo>
                    <a:lnTo>
                      <a:pt x="160" y="254"/>
                    </a:lnTo>
                    <a:lnTo>
                      <a:pt x="160" y="273"/>
                    </a:lnTo>
                    <a:lnTo>
                      <a:pt x="160" y="281"/>
                    </a:lnTo>
                    <a:lnTo>
                      <a:pt x="157" y="288"/>
                    </a:lnTo>
                    <a:lnTo>
                      <a:pt x="157" y="288"/>
                    </a:lnTo>
                    <a:lnTo>
                      <a:pt x="155" y="292"/>
                    </a:lnTo>
                    <a:lnTo>
                      <a:pt x="151" y="294"/>
                    </a:lnTo>
                    <a:lnTo>
                      <a:pt x="139" y="302"/>
                    </a:lnTo>
                    <a:lnTo>
                      <a:pt x="124" y="310"/>
                    </a:lnTo>
                    <a:lnTo>
                      <a:pt x="105" y="319"/>
                    </a:lnTo>
                    <a:lnTo>
                      <a:pt x="70" y="333"/>
                    </a:lnTo>
                    <a:lnTo>
                      <a:pt x="48" y="341"/>
                    </a:lnTo>
                    <a:lnTo>
                      <a:pt x="48" y="341"/>
                    </a:lnTo>
                    <a:lnTo>
                      <a:pt x="43" y="344"/>
                    </a:lnTo>
                    <a:lnTo>
                      <a:pt x="37" y="350"/>
                    </a:lnTo>
                    <a:lnTo>
                      <a:pt x="25" y="360"/>
                    </a:lnTo>
                    <a:lnTo>
                      <a:pt x="21" y="367"/>
                    </a:lnTo>
                    <a:lnTo>
                      <a:pt x="17" y="374"/>
                    </a:lnTo>
                    <a:lnTo>
                      <a:pt x="15" y="381"/>
                    </a:lnTo>
                    <a:lnTo>
                      <a:pt x="12" y="387"/>
                    </a:lnTo>
                    <a:lnTo>
                      <a:pt x="0" y="475"/>
                    </a:lnTo>
                    <a:lnTo>
                      <a:pt x="0" y="475"/>
                    </a:lnTo>
                    <a:lnTo>
                      <a:pt x="1" y="479"/>
                    </a:lnTo>
                    <a:lnTo>
                      <a:pt x="4" y="484"/>
                    </a:lnTo>
                    <a:lnTo>
                      <a:pt x="9" y="488"/>
                    </a:lnTo>
                    <a:lnTo>
                      <a:pt x="16" y="492"/>
                    </a:lnTo>
                    <a:lnTo>
                      <a:pt x="24" y="496"/>
                    </a:lnTo>
                    <a:lnTo>
                      <a:pt x="35" y="501"/>
                    </a:lnTo>
                    <a:lnTo>
                      <a:pt x="60" y="507"/>
                    </a:lnTo>
                    <a:lnTo>
                      <a:pt x="93" y="513"/>
                    </a:lnTo>
                    <a:lnTo>
                      <a:pt x="132" y="517"/>
                    </a:lnTo>
                    <a:lnTo>
                      <a:pt x="175" y="519"/>
                    </a:lnTo>
                    <a:lnTo>
                      <a:pt x="224" y="521"/>
                    </a:lnTo>
                    <a:lnTo>
                      <a:pt x="224" y="521"/>
                    </a:lnTo>
                    <a:lnTo>
                      <a:pt x="272" y="519"/>
                    </a:lnTo>
                    <a:lnTo>
                      <a:pt x="315" y="517"/>
                    </a:lnTo>
                    <a:lnTo>
                      <a:pt x="354" y="513"/>
                    </a:lnTo>
                    <a:lnTo>
                      <a:pt x="387" y="507"/>
                    </a:lnTo>
                    <a:lnTo>
                      <a:pt x="412" y="501"/>
                    </a:lnTo>
                    <a:lnTo>
                      <a:pt x="423" y="496"/>
                    </a:lnTo>
                    <a:lnTo>
                      <a:pt x="431" y="492"/>
                    </a:lnTo>
                    <a:lnTo>
                      <a:pt x="438" y="488"/>
                    </a:lnTo>
                    <a:lnTo>
                      <a:pt x="443" y="484"/>
                    </a:lnTo>
                    <a:lnTo>
                      <a:pt x="446" y="479"/>
                    </a:lnTo>
                    <a:lnTo>
                      <a:pt x="447" y="475"/>
                    </a:lnTo>
                    <a:lnTo>
                      <a:pt x="447" y="475"/>
                    </a:lnTo>
                    <a:lnTo>
                      <a:pt x="447" y="474"/>
                    </a:lnTo>
                    <a:lnTo>
                      <a:pt x="434" y="3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676767"/>
                  </a:solidFill>
                </a:endParaRPr>
              </a:p>
            </p:txBody>
          </p:sp>
        </p:grpSp>
        <p:sp>
          <p:nvSpPr>
            <p:cNvPr id="96" name="Freeform 11"/>
            <p:cNvSpPr>
              <a:spLocks noChangeAspect="1" noEditPoints="1"/>
            </p:cNvSpPr>
            <p:nvPr/>
          </p:nvSpPr>
          <p:spPr bwMode="auto">
            <a:xfrm>
              <a:off x="9005090" y="1813719"/>
              <a:ext cx="404149" cy="412341"/>
            </a:xfrm>
            <a:custGeom>
              <a:avLst/>
              <a:gdLst>
                <a:gd name="T0" fmla="*/ 138111325 w 1115"/>
                <a:gd name="T1" fmla="*/ 838504 h 1114"/>
                <a:gd name="T2" fmla="*/ 91237345 w 1115"/>
                <a:gd name="T3" fmla="*/ 40809145 h 1114"/>
                <a:gd name="T4" fmla="*/ 118580500 w 1115"/>
                <a:gd name="T5" fmla="*/ 50871725 h 1114"/>
                <a:gd name="T6" fmla="*/ 208143925 w 1115"/>
                <a:gd name="T7" fmla="*/ 51150874 h 1114"/>
                <a:gd name="T8" fmla="*/ 155689332 w 1115"/>
                <a:gd name="T9" fmla="*/ 0 h 1114"/>
                <a:gd name="T10" fmla="*/ 289057796 w 1115"/>
                <a:gd name="T11" fmla="*/ 89444506 h 1114"/>
                <a:gd name="T12" fmla="*/ 282082161 w 1115"/>
                <a:gd name="T13" fmla="*/ 64847148 h 1114"/>
                <a:gd name="T14" fmla="*/ 274828157 w 1115"/>
                <a:gd name="T15" fmla="*/ 103699607 h 1114"/>
                <a:gd name="T16" fmla="*/ 157363251 w 1115"/>
                <a:gd name="T17" fmla="*/ 225008861 h 1114"/>
                <a:gd name="T18" fmla="*/ 239114346 w 1115"/>
                <a:gd name="T19" fmla="*/ 233394432 h 1114"/>
                <a:gd name="T20" fmla="*/ 304961354 w 1115"/>
                <a:gd name="T21" fmla="*/ 112085178 h 1114"/>
                <a:gd name="T22" fmla="*/ 274828157 w 1115"/>
                <a:gd name="T23" fmla="*/ 103699607 h 1114"/>
                <a:gd name="T24" fmla="*/ 267294725 w 1115"/>
                <a:gd name="T25" fmla="*/ 101743450 h 1114"/>
                <a:gd name="T26" fmla="*/ 222094665 w 1115"/>
                <a:gd name="T27" fmla="*/ 72394215 h 1114"/>
                <a:gd name="T28" fmla="*/ 154294310 w 1115"/>
                <a:gd name="T29" fmla="*/ 218859654 h 1114"/>
                <a:gd name="T30" fmla="*/ 143691938 w 1115"/>
                <a:gd name="T31" fmla="*/ 214667133 h 1114"/>
                <a:gd name="T32" fmla="*/ 203958861 w 1115"/>
                <a:gd name="T33" fmla="*/ 78543422 h 1114"/>
                <a:gd name="T34" fmla="*/ 118580500 w 1115"/>
                <a:gd name="T35" fmla="*/ 57579759 h 1114"/>
                <a:gd name="T36" fmla="*/ 91237345 w 1115"/>
                <a:gd name="T37" fmla="*/ 69599025 h 1114"/>
                <a:gd name="T38" fmla="*/ 41293895 w 1115"/>
                <a:gd name="T39" fmla="*/ 168267607 h 1114"/>
                <a:gd name="T40" fmla="*/ 62778067 w 1115"/>
                <a:gd name="T41" fmla="*/ 195939833 h 1114"/>
                <a:gd name="T42" fmla="*/ 263667459 w 1115"/>
                <a:gd name="T43" fmla="*/ 80500109 h 1114"/>
                <a:gd name="T44" fmla="*/ 275107055 w 1115"/>
                <a:gd name="T45" fmla="*/ 55902750 h 1114"/>
                <a:gd name="T46" fmla="*/ 214561234 w 1115"/>
                <a:gd name="T47" fmla="*/ 51989907 h 1114"/>
                <a:gd name="T48" fmla="*/ 246368879 w 1115"/>
                <a:gd name="T49" fmla="*/ 248767715 h 1114"/>
                <a:gd name="T50" fmla="*/ 289336694 w 1115"/>
                <a:gd name="T51" fmla="*/ 235071441 h 1114"/>
                <a:gd name="T52" fmla="*/ 241346591 w 1115"/>
                <a:gd name="T53" fmla="*/ 244015839 h 1114"/>
                <a:gd name="T54" fmla="*/ 156526556 w 1115"/>
                <a:gd name="T55" fmla="*/ 234792292 h 1114"/>
                <a:gd name="T56" fmla="*/ 102955840 w 1115"/>
                <a:gd name="T57" fmla="*/ 280912140 h 1114"/>
                <a:gd name="T58" fmla="*/ 225163606 w 1115"/>
                <a:gd name="T59" fmla="*/ 260228154 h 1114"/>
                <a:gd name="T60" fmla="*/ 264504683 w 1115"/>
                <a:gd name="T61" fmla="*/ 227245225 h 1114"/>
                <a:gd name="T62" fmla="*/ 311099765 w 1115"/>
                <a:gd name="T63" fmla="*/ 155689514 h 1114"/>
                <a:gd name="T64" fmla="*/ 129182872 w 1115"/>
                <a:gd name="T65" fmla="*/ 228922233 h 1114"/>
                <a:gd name="T66" fmla="*/ 35434912 w 1115"/>
                <a:gd name="T67" fmla="*/ 195100800 h 1114"/>
                <a:gd name="T68" fmla="*/ 39619976 w 1115"/>
                <a:gd name="T69" fmla="*/ 259668799 h 1114"/>
                <a:gd name="T70" fmla="*/ 20646948 w 1115"/>
                <a:gd name="T71" fmla="*/ 180845699 h 1114"/>
                <a:gd name="T72" fmla="*/ 0 w 1115"/>
                <a:gd name="T73" fmla="*/ 155689514 h 1114"/>
                <a:gd name="T74" fmla="*/ 20646948 w 1115"/>
                <a:gd name="T75" fmla="*/ 180845699 h 1114"/>
                <a:gd name="T76" fmla="*/ 50780673 w 1115"/>
                <a:gd name="T77" fmla="*/ 120191072 h 1114"/>
                <a:gd name="T78" fmla="*/ 25948134 w 1115"/>
                <a:gd name="T79" fmla="*/ 69878702 h 1114"/>
                <a:gd name="T80" fmla="*/ 34876587 w 1115"/>
                <a:gd name="T81" fmla="*/ 166590598 h 1114"/>
                <a:gd name="T82" fmla="*/ 128903974 w 1115"/>
                <a:gd name="T83" fmla="*/ 239264491 h 1114"/>
                <a:gd name="T84" fmla="*/ 98491878 w 1115"/>
                <a:gd name="T85" fmla="*/ 275880586 h 11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15"/>
                <a:gd name="T130" fmla="*/ 0 h 1114"/>
                <a:gd name="T131" fmla="*/ 1115 w 1115"/>
                <a:gd name="T132" fmla="*/ 1114 h 11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bg1"/>
            </a:solidFill>
            <a:ln w="25400">
              <a:noFill/>
              <a:miter lim="800000"/>
              <a:headEnd/>
              <a:tailEnd/>
            </a:ln>
          </p:spPr>
          <p:txBody>
            <a:bodyPr lIns="121899" tIns="60949" rIns="121899" bIns="60949" anchor="ctr">
              <a:prstTxWarp prst="textNoShape">
                <a:avLst/>
              </a:prstTxWarp>
            </a:bodyPr>
            <a:lstStyle/>
            <a:p>
              <a:pPr algn="ctr" defTabSz="257056"/>
              <a:endParaRPr lang="en-US" sz="1400" dirty="0">
                <a:solidFill>
                  <a:srgbClr val="6DB344"/>
                </a:solidFill>
                <a:latin typeface="Arial"/>
                <a:ea typeface="ＭＳ Ｐゴシック" pitchFamily="30" charset="-128"/>
                <a:cs typeface="ＭＳ Ｐゴシック" pitchFamily="30" charset="-128"/>
              </a:endParaRPr>
            </a:p>
          </p:txBody>
        </p:sp>
        <p:cxnSp>
          <p:nvCxnSpPr>
            <p:cNvPr id="23" name="Straight Connector 22"/>
            <p:cNvCxnSpPr/>
            <p:nvPr/>
          </p:nvCxnSpPr>
          <p:spPr>
            <a:xfrm>
              <a:off x="8763000" y="1532129"/>
              <a:ext cx="3000375"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p:cNvGrpSpPr/>
          <p:nvPr/>
        </p:nvGrpSpPr>
        <p:grpSpPr>
          <a:xfrm>
            <a:off x="3609718" y="2432118"/>
            <a:ext cx="1434807" cy="926796"/>
            <a:chOff x="4811697" y="3242824"/>
            <a:chExt cx="1912578" cy="1235728"/>
          </a:xfrm>
        </p:grpSpPr>
        <p:cxnSp>
          <p:nvCxnSpPr>
            <p:cNvPr id="119" name="Straight Connector 118"/>
            <p:cNvCxnSpPr/>
            <p:nvPr/>
          </p:nvCxnSpPr>
          <p:spPr>
            <a:xfrm>
              <a:off x="4811697" y="4466548"/>
              <a:ext cx="1912578" cy="0"/>
            </a:xfrm>
            <a:prstGeom prst="line">
              <a:avLst/>
            </a:prstGeom>
            <a:ln w="381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flipV="1">
              <a:off x="6722099" y="3242824"/>
              <a:ext cx="0" cy="1235728"/>
            </a:xfrm>
            <a:prstGeom prst="line">
              <a:avLst/>
            </a:prstGeom>
            <a:ln w="38100">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grpSp>
      <p:sp>
        <p:nvSpPr>
          <p:cNvPr id="121" name="TextBox 120"/>
          <p:cNvSpPr txBox="1"/>
          <p:nvPr/>
        </p:nvSpPr>
        <p:spPr>
          <a:xfrm>
            <a:off x="2733901" y="2925408"/>
            <a:ext cx="938544" cy="242372"/>
          </a:xfrm>
          <a:prstGeom prst="rect">
            <a:avLst/>
          </a:prstGeom>
          <a:noFill/>
        </p:spPr>
        <p:txBody>
          <a:bodyPr wrap="square" lIns="68583" tIns="34292" rIns="68583" bIns="34292" rtlCol="0">
            <a:spAutoFit/>
          </a:bodyPr>
          <a:lstStyle/>
          <a:p>
            <a:r>
              <a:rPr lang="en-US" sz="1100" dirty="0">
                <a:solidFill>
                  <a:srgbClr val="2968AF"/>
                </a:solidFill>
                <a:latin typeface="Arial"/>
              </a:rPr>
              <a:t>Use Case 2</a:t>
            </a:r>
          </a:p>
        </p:txBody>
      </p:sp>
      <p:grpSp>
        <p:nvGrpSpPr>
          <p:cNvPr id="20" name="Group 19"/>
          <p:cNvGrpSpPr/>
          <p:nvPr/>
        </p:nvGrpSpPr>
        <p:grpSpPr>
          <a:xfrm>
            <a:off x="3111945" y="3181828"/>
            <a:ext cx="419648" cy="355088"/>
            <a:chOff x="4148179" y="4242437"/>
            <a:chExt cx="559385" cy="473450"/>
          </a:xfrm>
        </p:grpSpPr>
        <p:sp>
          <p:nvSpPr>
            <p:cNvPr id="123" name="Freeform 159"/>
            <p:cNvSpPr>
              <a:spLocks noEditPoints="1"/>
            </p:cNvSpPr>
            <p:nvPr/>
          </p:nvSpPr>
          <p:spPr bwMode="auto">
            <a:xfrm>
              <a:off x="4148179" y="4242437"/>
              <a:ext cx="559385" cy="473450"/>
            </a:xfrm>
            <a:custGeom>
              <a:avLst/>
              <a:gdLst>
                <a:gd name="T0" fmla="*/ 27 w 690"/>
                <a:gd name="T1" fmla="*/ 0 h 582"/>
                <a:gd name="T2" fmla="*/ 7 w 690"/>
                <a:gd name="T3" fmla="*/ 15 h 582"/>
                <a:gd name="T4" fmla="*/ 0 w 690"/>
                <a:gd name="T5" fmla="*/ 550 h 582"/>
                <a:gd name="T6" fmla="*/ 7 w 690"/>
                <a:gd name="T7" fmla="*/ 567 h 582"/>
                <a:gd name="T8" fmla="*/ 27 w 690"/>
                <a:gd name="T9" fmla="*/ 582 h 582"/>
                <a:gd name="T10" fmla="*/ 663 w 690"/>
                <a:gd name="T11" fmla="*/ 582 h 582"/>
                <a:gd name="T12" fmla="*/ 685 w 690"/>
                <a:gd name="T13" fmla="*/ 567 h 582"/>
                <a:gd name="T14" fmla="*/ 690 w 690"/>
                <a:gd name="T15" fmla="*/ 32 h 582"/>
                <a:gd name="T16" fmla="*/ 685 w 690"/>
                <a:gd name="T17" fmla="*/ 15 h 582"/>
                <a:gd name="T18" fmla="*/ 663 w 690"/>
                <a:gd name="T19" fmla="*/ 0 h 582"/>
                <a:gd name="T20" fmla="*/ 232 w 690"/>
                <a:gd name="T21" fmla="*/ 40 h 582"/>
                <a:gd name="T22" fmla="*/ 249 w 690"/>
                <a:gd name="T23" fmla="*/ 48 h 582"/>
                <a:gd name="T24" fmla="*/ 256 w 690"/>
                <a:gd name="T25" fmla="*/ 66 h 582"/>
                <a:gd name="T26" fmla="*/ 252 w 690"/>
                <a:gd name="T27" fmla="*/ 79 h 582"/>
                <a:gd name="T28" fmla="*/ 237 w 690"/>
                <a:gd name="T29" fmla="*/ 89 h 582"/>
                <a:gd name="T30" fmla="*/ 222 w 690"/>
                <a:gd name="T31" fmla="*/ 87 h 582"/>
                <a:gd name="T32" fmla="*/ 209 w 690"/>
                <a:gd name="T33" fmla="*/ 75 h 582"/>
                <a:gd name="T34" fmla="*/ 208 w 690"/>
                <a:gd name="T35" fmla="*/ 60 h 582"/>
                <a:gd name="T36" fmla="*/ 218 w 690"/>
                <a:gd name="T37" fmla="*/ 46 h 582"/>
                <a:gd name="T38" fmla="*/ 232 w 690"/>
                <a:gd name="T39" fmla="*/ 40 h 582"/>
                <a:gd name="T40" fmla="*/ 160 w 690"/>
                <a:gd name="T41" fmla="*/ 43 h 582"/>
                <a:gd name="T42" fmla="*/ 173 w 690"/>
                <a:gd name="T43" fmla="*/ 55 h 582"/>
                <a:gd name="T44" fmla="*/ 174 w 690"/>
                <a:gd name="T45" fmla="*/ 70 h 582"/>
                <a:gd name="T46" fmla="*/ 165 w 690"/>
                <a:gd name="T47" fmla="*/ 86 h 582"/>
                <a:gd name="T48" fmla="*/ 150 w 690"/>
                <a:gd name="T49" fmla="*/ 90 h 582"/>
                <a:gd name="T50" fmla="*/ 133 w 690"/>
                <a:gd name="T51" fmla="*/ 82 h 582"/>
                <a:gd name="T52" fmla="*/ 125 w 690"/>
                <a:gd name="T53" fmla="*/ 66 h 582"/>
                <a:gd name="T54" fmla="*/ 129 w 690"/>
                <a:gd name="T55" fmla="*/ 51 h 582"/>
                <a:gd name="T56" fmla="*/ 146 w 690"/>
                <a:gd name="T57" fmla="*/ 42 h 582"/>
                <a:gd name="T58" fmla="*/ 69 w 690"/>
                <a:gd name="T59" fmla="*/ 40 h 582"/>
                <a:gd name="T60" fmla="*/ 86 w 690"/>
                <a:gd name="T61" fmla="*/ 48 h 582"/>
                <a:gd name="T62" fmla="*/ 93 w 690"/>
                <a:gd name="T63" fmla="*/ 66 h 582"/>
                <a:gd name="T64" fmla="*/ 89 w 690"/>
                <a:gd name="T65" fmla="*/ 79 h 582"/>
                <a:gd name="T66" fmla="*/ 74 w 690"/>
                <a:gd name="T67" fmla="*/ 89 h 582"/>
                <a:gd name="T68" fmla="*/ 59 w 690"/>
                <a:gd name="T69" fmla="*/ 87 h 582"/>
                <a:gd name="T70" fmla="*/ 46 w 690"/>
                <a:gd name="T71" fmla="*/ 75 h 582"/>
                <a:gd name="T72" fmla="*/ 44 w 690"/>
                <a:gd name="T73" fmla="*/ 60 h 582"/>
                <a:gd name="T74" fmla="*/ 55 w 690"/>
                <a:gd name="T75" fmla="*/ 46 h 582"/>
                <a:gd name="T76" fmla="*/ 69 w 690"/>
                <a:gd name="T77" fmla="*/ 40 h 582"/>
                <a:gd name="T78" fmla="*/ 647 w 690"/>
                <a:gd name="T79" fmla="*/ 518 h 582"/>
                <a:gd name="T80" fmla="*/ 630 w 690"/>
                <a:gd name="T81" fmla="*/ 535 h 582"/>
                <a:gd name="T82" fmla="*/ 74 w 690"/>
                <a:gd name="T83" fmla="*/ 538 h 582"/>
                <a:gd name="T84" fmla="*/ 51 w 690"/>
                <a:gd name="T85" fmla="*/ 528 h 582"/>
                <a:gd name="T86" fmla="*/ 42 w 690"/>
                <a:gd name="T87" fmla="*/ 505 h 582"/>
                <a:gd name="T88" fmla="*/ 44 w 690"/>
                <a:gd name="T89" fmla="*/ 172 h 582"/>
                <a:gd name="T90" fmla="*/ 61 w 690"/>
                <a:gd name="T91" fmla="*/ 155 h 582"/>
                <a:gd name="T92" fmla="*/ 616 w 690"/>
                <a:gd name="T93" fmla="*/ 152 h 582"/>
                <a:gd name="T94" fmla="*/ 639 w 690"/>
                <a:gd name="T95" fmla="*/ 162 h 582"/>
                <a:gd name="T96" fmla="*/ 649 w 690"/>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0" h="582">
                  <a:moveTo>
                    <a:pt x="658" y="0"/>
                  </a:moveTo>
                  <a:lnTo>
                    <a:pt x="32" y="0"/>
                  </a:lnTo>
                  <a:lnTo>
                    <a:pt x="32" y="0"/>
                  </a:lnTo>
                  <a:lnTo>
                    <a:pt x="27" y="0"/>
                  </a:lnTo>
                  <a:lnTo>
                    <a:pt x="20" y="3"/>
                  </a:lnTo>
                  <a:lnTo>
                    <a:pt x="15" y="5"/>
                  </a:lnTo>
                  <a:lnTo>
                    <a:pt x="9" y="9"/>
                  </a:lnTo>
                  <a:lnTo>
                    <a:pt x="7" y="15"/>
                  </a:lnTo>
                  <a:lnTo>
                    <a:pt x="3" y="20"/>
                  </a:lnTo>
                  <a:lnTo>
                    <a:pt x="1" y="25"/>
                  </a:lnTo>
                  <a:lnTo>
                    <a:pt x="0" y="32"/>
                  </a:lnTo>
                  <a:lnTo>
                    <a:pt x="0" y="550"/>
                  </a:lnTo>
                  <a:lnTo>
                    <a:pt x="0" y="550"/>
                  </a:lnTo>
                  <a:lnTo>
                    <a:pt x="1" y="557"/>
                  </a:lnTo>
                  <a:lnTo>
                    <a:pt x="3" y="562"/>
                  </a:lnTo>
                  <a:lnTo>
                    <a:pt x="7" y="567"/>
                  </a:lnTo>
                  <a:lnTo>
                    <a:pt x="9" y="573"/>
                  </a:lnTo>
                  <a:lnTo>
                    <a:pt x="15" y="577"/>
                  </a:lnTo>
                  <a:lnTo>
                    <a:pt x="20" y="580"/>
                  </a:lnTo>
                  <a:lnTo>
                    <a:pt x="27" y="582"/>
                  </a:lnTo>
                  <a:lnTo>
                    <a:pt x="32" y="582"/>
                  </a:lnTo>
                  <a:lnTo>
                    <a:pt x="658" y="582"/>
                  </a:lnTo>
                  <a:lnTo>
                    <a:pt x="658" y="582"/>
                  </a:lnTo>
                  <a:lnTo>
                    <a:pt x="663" y="582"/>
                  </a:lnTo>
                  <a:lnTo>
                    <a:pt x="670" y="580"/>
                  </a:lnTo>
                  <a:lnTo>
                    <a:pt x="676" y="577"/>
                  </a:lnTo>
                  <a:lnTo>
                    <a:pt x="681" y="573"/>
                  </a:lnTo>
                  <a:lnTo>
                    <a:pt x="685" y="567"/>
                  </a:lnTo>
                  <a:lnTo>
                    <a:pt x="688" y="562"/>
                  </a:lnTo>
                  <a:lnTo>
                    <a:pt x="689" y="557"/>
                  </a:lnTo>
                  <a:lnTo>
                    <a:pt x="690" y="550"/>
                  </a:lnTo>
                  <a:lnTo>
                    <a:pt x="690" y="32"/>
                  </a:lnTo>
                  <a:lnTo>
                    <a:pt x="690" y="32"/>
                  </a:lnTo>
                  <a:lnTo>
                    <a:pt x="689" y="25"/>
                  </a:lnTo>
                  <a:lnTo>
                    <a:pt x="688" y="20"/>
                  </a:lnTo>
                  <a:lnTo>
                    <a:pt x="685" y="15"/>
                  </a:lnTo>
                  <a:lnTo>
                    <a:pt x="681" y="9"/>
                  </a:lnTo>
                  <a:lnTo>
                    <a:pt x="676" y="5"/>
                  </a:lnTo>
                  <a:lnTo>
                    <a:pt x="670" y="3"/>
                  </a:lnTo>
                  <a:lnTo>
                    <a:pt x="663" y="0"/>
                  </a:lnTo>
                  <a:lnTo>
                    <a:pt x="658" y="0"/>
                  </a:lnTo>
                  <a:lnTo>
                    <a:pt x="658" y="0"/>
                  </a:lnTo>
                  <a:close/>
                  <a:moveTo>
                    <a:pt x="232" y="40"/>
                  </a:moveTo>
                  <a:lnTo>
                    <a:pt x="232" y="40"/>
                  </a:lnTo>
                  <a:lnTo>
                    <a:pt x="237" y="42"/>
                  </a:lnTo>
                  <a:lnTo>
                    <a:pt x="241" y="43"/>
                  </a:lnTo>
                  <a:lnTo>
                    <a:pt x="245" y="46"/>
                  </a:lnTo>
                  <a:lnTo>
                    <a:pt x="249" y="48"/>
                  </a:lnTo>
                  <a:lnTo>
                    <a:pt x="252" y="51"/>
                  </a:lnTo>
                  <a:lnTo>
                    <a:pt x="255" y="55"/>
                  </a:lnTo>
                  <a:lnTo>
                    <a:pt x="256" y="60"/>
                  </a:lnTo>
                  <a:lnTo>
                    <a:pt x="256" y="66"/>
                  </a:lnTo>
                  <a:lnTo>
                    <a:pt x="256" y="66"/>
                  </a:lnTo>
                  <a:lnTo>
                    <a:pt x="256" y="70"/>
                  </a:lnTo>
                  <a:lnTo>
                    <a:pt x="255" y="75"/>
                  </a:lnTo>
                  <a:lnTo>
                    <a:pt x="252" y="79"/>
                  </a:lnTo>
                  <a:lnTo>
                    <a:pt x="249" y="82"/>
                  </a:lnTo>
                  <a:lnTo>
                    <a:pt x="245" y="86"/>
                  </a:lnTo>
                  <a:lnTo>
                    <a:pt x="241" y="87"/>
                  </a:lnTo>
                  <a:lnTo>
                    <a:pt x="237" y="89"/>
                  </a:lnTo>
                  <a:lnTo>
                    <a:pt x="232" y="90"/>
                  </a:lnTo>
                  <a:lnTo>
                    <a:pt x="232" y="90"/>
                  </a:lnTo>
                  <a:lnTo>
                    <a:pt x="227" y="89"/>
                  </a:lnTo>
                  <a:lnTo>
                    <a:pt x="222" y="87"/>
                  </a:lnTo>
                  <a:lnTo>
                    <a:pt x="218" y="86"/>
                  </a:lnTo>
                  <a:lnTo>
                    <a:pt x="214" y="82"/>
                  </a:lnTo>
                  <a:lnTo>
                    <a:pt x="212" y="79"/>
                  </a:lnTo>
                  <a:lnTo>
                    <a:pt x="209" y="75"/>
                  </a:lnTo>
                  <a:lnTo>
                    <a:pt x="208" y="70"/>
                  </a:lnTo>
                  <a:lnTo>
                    <a:pt x="208" y="66"/>
                  </a:lnTo>
                  <a:lnTo>
                    <a:pt x="208" y="66"/>
                  </a:lnTo>
                  <a:lnTo>
                    <a:pt x="208" y="60"/>
                  </a:lnTo>
                  <a:lnTo>
                    <a:pt x="209" y="55"/>
                  </a:lnTo>
                  <a:lnTo>
                    <a:pt x="212" y="51"/>
                  </a:lnTo>
                  <a:lnTo>
                    <a:pt x="214" y="48"/>
                  </a:lnTo>
                  <a:lnTo>
                    <a:pt x="218" y="46"/>
                  </a:lnTo>
                  <a:lnTo>
                    <a:pt x="222" y="43"/>
                  </a:lnTo>
                  <a:lnTo>
                    <a:pt x="227" y="42"/>
                  </a:lnTo>
                  <a:lnTo>
                    <a:pt x="232" y="40"/>
                  </a:lnTo>
                  <a:lnTo>
                    <a:pt x="232" y="40"/>
                  </a:lnTo>
                  <a:close/>
                  <a:moveTo>
                    <a:pt x="150" y="40"/>
                  </a:moveTo>
                  <a:lnTo>
                    <a:pt x="150" y="40"/>
                  </a:lnTo>
                  <a:lnTo>
                    <a:pt x="155" y="42"/>
                  </a:lnTo>
                  <a:lnTo>
                    <a:pt x="160" y="43"/>
                  </a:lnTo>
                  <a:lnTo>
                    <a:pt x="165" y="46"/>
                  </a:lnTo>
                  <a:lnTo>
                    <a:pt x="167" y="48"/>
                  </a:lnTo>
                  <a:lnTo>
                    <a:pt x="171" y="51"/>
                  </a:lnTo>
                  <a:lnTo>
                    <a:pt x="173" y="55"/>
                  </a:lnTo>
                  <a:lnTo>
                    <a:pt x="174" y="60"/>
                  </a:lnTo>
                  <a:lnTo>
                    <a:pt x="175" y="66"/>
                  </a:lnTo>
                  <a:lnTo>
                    <a:pt x="175" y="66"/>
                  </a:lnTo>
                  <a:lnTo>
                    <a:pt x="174" y="70"/>
                  </a:lnTo>
                  <a:lnTo>
                    <a:pt x="173" y="75"/>
                  </a:lnTo>
                  <a:lnTo>
                    <a:pt x="171" y="79"/>
                  </a:lnTo>
                  <a:lnTo>
                    <a:pt x="167" y="82"/>
                  </a:lnTo>
                  <a:lnTo>
                    <a:pt x="165" y="86"/>
                  </a:lnTo>
                  <a:lnTo>
                    <a:pt x="160" y="87"/>
                  </a:lnTo>
                  <a:lnTo>
                    <a:pt x="155" y="89"/>
                  </a:lnTo>
                  <a:lnTo>
                    <a:pt x="150" y="90"/>
                  </a:lnTo>
                  <a:lnTo>
                    <a:pt x="150" y="90"/>
                  </a:lnTo>
                  <a:lnTo>
                    <a:pt x="146" y="89"/>
                  </a:lnTo>
                  <a:lnTo>
                    <a:pt x="140" y="87"/>
                  </a:lnTo>
                  <a:lnTo>
                    <a:pt x="136" y="86"/>
                  </a:lnTo>
                  <a:lnTo>
                    <a:pt x="133" y="82"/>
                  </a:lnTo>
                  <a:lnTo>
                    <a:pt x="129" y="79"/>
                  </a:lnTo>
                  <a:lnTo>
                    <a:pt x="128" y="75"/>
                  </a:lnTo>
                  <a:lnTo>
                    <a:pt x="127" y="70"/>
                  </a:lnTo>
                  <a:lnTo>
                    <a:pt x="125" y="66"/>
                  </a:lnTo>
                  <a:lnTo>
                    <a:pt x="125" y="66"/>
                  </a:lnTo>
                  <a:lnTo>
                    <a:pt x="127" y="60"/>
                  </a:lnTo>
                  <a:lnTo>
                    <a:pt x="128" y="55"/>
                  </a:lnTo>
                  <a:lnTo>
                    <a:pt x="129" y="51"/>
                  </a:lnTo>
                  <a:lnTo>
                    <a:pt x="133" y="48"/>
                  </a:lnTo>
                  <a:lnTo>
                    <a:pt x="136" y="46"/>
                  </a:lnTo>
                  <a:lnTo>
                    <a:pt x="140" y="43"/>
                  </a:lnTo>
                  <a:lnTo>
                    <a:pt x="146" y="42"/>
                  </a:lnTo>
                  <a:lnTo>
                    <a:pt x="150" y="40"/>
                  </a:lnTo>
                  <a:lnTo>
                    <a:pt x="150" y="40"/>
                  </a:lnTo>
                  <a:close/>
                  <a:moveTo>
                    <a:pt x="69" y="40"/>
                  </a:moveTo>
                  <a:lnTo>
                    <a:pt x="69" y="40"/>
                  </a:lnTo>
                  <a:lnTo>
                    <a:pt x="74" y="42"/>
                  </a:lnTo>
                  <a:lnTo>
                    <a:pt x="78" y="43"/>
                  </a:lnTo>
                  <a:lnTo>
                    <a:pt x="82" y="46"/>
                  </a:lnTo>
                  <a:lnTo>
                    <a:pt x="86" y="48"/>
                  </a:lnTo>
                  <a:lnTo>
                    <a:pt x="89" y="51"/>
                  </a:lnTo>
                  <a:lnTo>
                    <a:pt x="92" y="55"/>
                  </a:lnTo>
                  <a:lnTo>
                    <a:pt x="93" y="60"/>
                  </a:lnTo>
                  <a:lnTo>
                    <a:pt x="93" y="66"/>
                  </a:lnTo>
                  <a:lnTo>
                    <a:pt x="93" y="66"/>
                  </a:lnTo>
                  <a:lnTo>
                    <a:pt x="93" y="70"/>
                  </a:lnTo>
                  <a:lnTo>
                    <a:pt x="92" y="75"/>
                  </a:lnTo>
                  <a:lnTo>
                    <a:pt x="89" y="79"/>
                  </a:lnTo>
                  <a:lnTo>
                    <a:pt x="86" y="82"/>
                  </a:lnTo>
                  <a:lnTo>
                    <a:pt x="82" y="86"/>
                  </a:lnTo>
                  <a:lnTo>
                    <a:pt x="78" y="87"/>
                  </a:lnTo>
                  <a:lnTo>
                    <a:pt x="74" y="89"/>
                  </a:lnTo>
                  <a:lnTo>
                    <a:pt x="69" y="90"/>
                  </a:lnTo>
                  <a:lnTo>
                    <a:pt x="69" y="90"/>
                  </a:lnTo>
                  <a:lnTo>
                    <a:pt x="63" y="89"/>
                  </a:lnTo>
                  <a:lnTo>
                    <a:pt x="59" y="87"/>
                  </a:lnTo>
                  <a:lnTo>
                    <a:pt x="55" y="86"/>
                  </a:lnTo>
                  <a:lnTo>
                    <a:pt x="51" y="82"/>
                  </a:lnTo>
                  <a:lnTo>
                    <a:pt x="49" y="79"/>
                  </a:lnTo>
                  <a:lnTo>
                    <a:pt x="46" y="75"/>
                  </a:lnTo>
                  <a:lnTo>
                    <a:pt x="44" y="70"/>
                  </a:lnTo>
                  <a:lnTo>
                    <a:pt x="44" y="66"/>
                  </a:lnTo>
                  <a:lnTo>
                    <a:pt x="44" y="66"/>
                  </a:lnTo>
                  <a:lnTo>
                    <a:pt x="44" y="60"/>
                  </a:lnTo>
                  <a:lnTo>
                    <a:pt x="46" y="55"/>
                  </a:lnTo>
                  <a:lnTo>
                    <a:pt x="49" y="51"/>
                  </a:lnTo>
                  <a:lnTo>
                    <a:pt x="51" y="48"/>
                  </a:lnTo>
                  <a:lnTo>
                    <a:pt x="55" y="46"/>
                  </a:lnTo>
                  <a:lnTo>
                    <a:pt x="59" y="43"/>
                  </a:lnTo>
                  <a:lnTo>
                    <a:pt x="63" y="42"/>
                  </a:lnTo>
                  <a:lnTo>
                    <a:pt x="69" y="40"/>
                  </a:lnTo>
                  <a:lnTo>
                    <a:pt x="69" y="40"/>
                  </a:lnTo>
                  <a:close/>
                  <a:moveTo>
                    <a:pt x="649" y="505"/>
                  </a:moveTo>
                  <a:lnTo>
                    <a:pt x="649" y="505"/>
                  </a:lnTo>
                  <a:lnTo>
                    <a:pt x="649" y="511"/>
                  </a:lnTo>
                  <a:lnTo>
                    <a:pt x="647" y="518"/>
                  </a:lnTo>
                  <a:lnTo>
                    <a:pt x="643" y="523"/>
                  </a:lnTo>
                  <a:lnTo>
                    <a:pt x="639" y="528"/>
                  </a:lnTo>
                  <a:lnTo>
                    <a:pt x="635" y="532"/>
                  </a:lnTo>
                  <a:lnTo>
                    <a:pt x="630" y="535"/>
                  </a:lnTo>
                  <a:lnTo>
                    <a:pt x="623" y="536"/>
                  </a:lnTo>
                  <a:lnTo>
                    <a:pt x="616" y="538"/>
                  </a:lnTo>
                  <a:lnTo>
                    <a:pt x="74" y="538"/>
                  </a:lnTo>
                  <a:lnTo>
                    <a:pt x="74" y="538"/>
                  </a:lnTo>
                  <a:lnTo>
                    <a:pt x="67" y="536"/>
                  </a:lnTo>
                  <a:lnTo>
                    <a:pt x="61" y="535"/>
                  </a:lnTo>
                  <a:lnTo>
                    <a:pt x="55" y="532"/>
                  </a:lnTo>
                  <a:lnTo>
                    <a:pt x="51" y="528"/>
                  </a:lnTo>
                  <a:lnTo>
                    <a:pt x="47" y="523"/>
                  </a:lnTo>
                  <a:lnTo>
                    <a:pt x="44" y="518"/>
                  </a:lnTo>
                  <a:lnTo>
                    <a:pt x="42" y="511"/>
                  </a:lnTo>
                  <a:lnTo>
                    <a:pt x="42" y="505"/>
                  </a:lnTo>
                  <a:lnTo>
                    <a:pt x="42" y="185"/>
                  </a:lnTo>
                  <a:lnTo>
                    <a:pt x="42" y="185"/>
                  </a:lnTo>
                  <a:lnTo>
                    <a:pt x="42" y="179"/>
                  </a:lnTo>
                  <a:lnTo>
                    <a:pt x="44" y="172"/>
                  </a:lnTo>
                  <a:lnTo>
                    <a:pt x="47" y="167"/>
                  </a:lnTo>
                  <a:lnTo>
                    <a:pt x="51" y="162"/>
                  </a:lnTo>
                  <a:lnTo>
                    <a:pt x="55" y="158"/>
                  </a:lnTo>
                  <a:lnTo>
                    <a:pt x="61" y="155"/>
                  </a:lnTo>
                  <a:lnTo>
                    <a:pt x="67" y="154"/>
                  </a:lnTo>
                  <a:lnTo>
                    <a:pt x="74" y="152"/>
                  </a:lnTo>
                  <a:lnTo>
                    <a:pt x="616" y="152"/>
                  </a:lnTo>
                  <a:lnTo>
                    <a:pt x="616" y="152"/>
                  </a:lnTo>
                  <a:lnTo>
                    <a:pt x="623" y="154"/>
                  </a:lnTo>
                  <a:lnTo>
                    <a:pt x="630" y="155"/>
                  </a:lnTo>
                  <a:lnTo>
                    <a:pt x="635" y="158"/>
                  </a:lnTo>
                  <a:lnTo>
                    <a:pt x="639" y="162"/>
                  </a:lnTo>
                  <a:lnTo>
                    <a:pt x="643" y="167"/>
                  </a:lnTo>
                  <a:lnTo>
                    <a:pt x="647" y="172"/>
                  </a:lnTo>
                  <a:lnTo>
                    <a:pt x="649" y="179"/>
                  </a:lnTo>
                  <a:lnTo>
                    <a:pt x="649" y="185"/>
                  </a:lnTo>
                  <a:lnTo>
                    <a:pt x="649" y="505"/>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nvGrpSpPr>
            <p:cNvPr id="132" name="Group 131"/>
            <p:cNvGrpSpPr/>
            <p:nvPr/>
          </p:nvGrpSpPr>
          <p:grpSpPr>
            <a:xfrm>
              <a:off x="4306869" y="4408539"/>
              <a:ext cx="242004" cy="237237"/>
              <a:chOff x="10453497" y="2113913"/>
              <a:chExt cx="640080" cy="640080"/>
            </a:xfrm>
            <a:solidFill>
              <a:srgbClr val="2968AF"/>
            </a:solidFill>
          </p:grpSpPr>
          <p:sp>
            <p:nvSpPr>
              <p:cNvPr id="133" name="Freeform 284"/>
              <p:cNvSpPr>
                <a:spLocks/>
              </p:cNvSpPr>
              <p:nvPr/>
            </p:nvSpPr>
            <p:spPr bwMode="auto">
              <a:xfrm>
                <a:off x="10453497" y="2500376"/>
                <a:ext cx="253616" cy="253617"/>
              </a:xfrm>
              <a:custGeom>
                <a:avLst/>
                <a:gdLst>
                  <a:gd name="T0" fmla="*/ 350 w 735"/>
                  <a:gd name="T1" fmla="*/ 281 h 734"/>
                  <a:gd name="T2" fmla="*/ 225 w 735"/>
                  <a:gd name="T3" fmla="*/ 307 h 734"/>
                  <a:gd name="T4" fmla="*/ 0 w 735"/>
                  <a:gd name="T5" fmla="*/ 649 h 734"/>
                  <a:gd name="T6" fmla="*/ 42 w 735"/>
                  <a:gd name="T7" fmla="*/ 692 h 734"/>
                  <a:gd name="T8" fmla="*/ 85 w 735"/>
                  <a:gd name="T9" fmla="*/ 734 h 734"/>
                  <a:gd name="T10" fmla="*/ 427 w 735"/>
                  <a:gd name="T11" fmla="*/ 509 h 734"/>
                  <a:gd name="T12" fmla="*/ 454 w 735"/>
                  <a:gd name="T13" fmla="*/ 384 h 734"/>
                  <a:gd name="T14" fmla="*/ 735 w 735"/>
                  <a:gd name="T15" fmla="*/ 102 h 734"/>
                  <a:gd name="T16" fmla="*/ 633 w 735"/>
                  <a:gd name="T17" fmla="*/ 0 h 734"/>
                  <a:gd name="T18" fmla="*/ 350 w 735"/>
                  <a:gd name="T19" fmla="*/ 281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5" h="734">
                    <a:moveTo>
                      <a:pt x="350" y="281"/>
                    </a:moveTo>
                    <a:lnTo>
                      <a:pt x="225" y="307"/>
                    </a:lnTo>
                    <a:lnTo>
                      <a:pt x="0" y="649"/>
                    </a:lnTo>
                    <a:lnTo>
                      <a:pt x="42" y="692"/>
                    </a:lnTo>
                    <a:lnTo>
                      <a:pt x="85" y="734"/>
                    </a:lnTo>
                    <a:lnTo>
                      <a:pt x="427" y="509"/>
                    </a:lnTo>
                    <a:lnTo>
                      <a:pt x="454" y="384"/>
                    </a:lnTo>
                    <a:lnTo>
                      <a:pt x="735" y="102"/>
                    </a:lnTo>
                    <a:lnTo>
                      <a:pt x="633" y="0"/>
                    </a:lnTo>
                    <a:lnTo>
                      <a:pt x="350" y="2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34" name="Freeform 285"/>
              <p:cNvSpPr>
                <a:spLocks/>
              </p:cNvSpPr>
              <p:nvPr/>
            </p:nvSpPr>
            <p:spPr bwMode="auto">
              <a:xfrm>
                <a:off x="10803730" y="2113913"/>
                <a:ext cx="289847" cy="289847"/>
              </a:xfrm>
              <a:custGeom>
                <a:avLst/>
                <a:gdLst>
                  <a:gd name="T0" fmla="*/ 563 w 838"/>
                  <a:gd name="T1" fmla="*/ 112 h 838"/>
                  <a:gd name="T2" fmla="*/ 573 w 838"/>
                  <a:gd name="T3" fmla="*/ 106 h 838"/>
                  <a:gd name="T4" fmla="*/ 584 w 838"/>
                  <a:gd name="T5" fmla="*/ 103 h 838"/>
                  <a:gd name="T6" fmla="*/ 595 w 838"/>
                  <a:gd name="T7" fmla="*/ 106 h 838"/>
                  <a:gd name="T8" fmla="*/ 606 w 838"/>
                  <a:gd name="T9" fmla="*/ 112 h 838"/>
                  <a:gd name="T10" fmla="*/ 610 w 838"/>
                  <a:gd name="T11" fmla="*/ 117 h 838"/>
                  <a:gd name="T12" fmla="*/ 615 w 838"/>
                  <a:gd name="T13" fmla="*/ 129 h 838"/>
                  <a:gd name="T14" fmla="*/ 615 w 838"/>
                  <a:gd name="T15" fmla="*/ 140 h 838"/>
                  <a:gd name="T16" fmla="*/ 610 w 838"/>
                  <a:gd name="T17" fmla="*/ 151 h 838"/>
                  <a:gd name="T18" fmla="*/ 113 w 838"/>
                  <a:gd name="T19" fmla="*/ 649 h 838"/>
                  <a:gd name="T20" fmla="*/ 683 w 838"/>
                  <a:gd name="T21" fmla="*/ 233 h 838"/>
                  <a:gd name="T22" fmla="*/ 688 w 838"/>
                  <a:gd name="T23" fmla="*/ 229 h 838"/>
                  <a:gd name="T24" fmla="*/ 699 w 838"/>
                  <a:gd name="T25" fmla="*/ 224 h 838"/>
                  <a:gd name="T26" fmla="*/ 710 w 838"/>
                  <a:gd name="T27" fmla="*/ 224 h 838"/>
                  <a:gd name="T28" fmla="*/ 721 w 838"/>
                  <a:gd name="T29" fmla="*/ 229 h 838"/>
                  <a:gd name="T30" fmla="*/ 726 w 838"/>
                  <a:gd name="T31" fmla="*/ 233 h 838"/>
                  <a:gd name="T32" fmla="*/ 733 w 838"/>
                  <a:gd name="T33" fmla="*/ 242 h 838"/>
                  <a:gd name="T34" fmla="*/ 736 w 838"/>
                  <a:gd name="T35" fmla="*/ 254 h 838"/>
                  <a:gd name="T36" fmla="*/ 733 w 838"/>
                  <a:gd name="T37" fmla="*/ 266 h 838"/>
                  <a:gd name="T38" fmla="*/ 726 w 838"/>
                  <a:gd name="T39" fmla="*/ 276 h 838"/>
                  <a:gd name="T40" fmla="*/ 302 w 838"/>
                  <a:gd name="T41" fmla="*/ 838 h 838"/>
                  <a:gd name="T42" fmla="*/ 305 w 838"/>
                  <a:gd name="T43" fmla="*/ 835 h 838"/>
                  <a:gd name="T44" fmla="*/ 357 w 838"/>
                  <a:gd name="T45" fmla="*/ 783 h 838"/>
                  <a:gd name="T46" fmla="*/ 776 w 838"/>
                  <a:gd name="T47" fmla="*/ 365 h 838"/>
                  <a:gd name="T48" fmla="*/ 803 w 838"/>
                  <a:gd name="T49" fmla="*/ 331 h 838"/>
                  <a:gd name="T50" fmla="*/ 823 w 838"/>
                  <a:gd name="T51" fmla="*/ 294 h 838"/>
                  <a:gd name="T52" fmla="*/ 834 w 838"/>
                  <a:gd name="T53" fmla="*/ 254 h 838"/>
                  <a:gd name="T54" fmla="*/ 838 w 838"/>
                  <a:gd name="T55" fmla="*/ 213 h 838"/>
                  <a:gd name="T56" fmla="*/ 834 w 838"/>
                  <a:gd name="T57" fmla="*/ 173 h 838"/>
                  <a:gd name="T58" fmla="*/ 823 w 838"/>
                  <a:gd name="T59" fmla="*/ 134 h 838"/>
                  <a:gd name="T60" fmla="*/ 803 w 838"/>
                  <a:gd name="T61" fmla="*/ 97 h 838"/>
                  <a:gd name="T62" fmla="*/ 776 w 838"/>
                  <a:gd name="T63" fmla="*/ 63 h 838"/>
                  <a:gd name="T64" fmla="*/ 759 w 838"/>
                  <a:gd name="T65" fmla="*/ 49 h 838"/>
                  <a:gd name="T66" fmla="*/ 724 w 838"/>
                  <a:gd name="T67" fmla="*/ 25 h 838"/>
                  <a:gd name="T68" fmla="*/ 686 w 838"/>
                  <a:gd name="T69" fmla="*/ 9 h 838"/>
                  <a:gd name="T70" fmla="*/ 646 w 838"/>
                  <a:gd name="T71" fmla="*/ 1 h 838"/>
                  <a:gd name="T72" fmla="*/ 605 w 838"/>
                  <a:gd name="T73" fmla="*/ 1 h 838"/>
                  <a:gd name="T74" fmla="*/ 564 w 838"/>
                  <a:gd name="T75" fmla="*/ 9 h 838"/>
                  <a:gd name="T76" fmla="*/ 526 w 838"/>
                  <a:gd name="T77" fmla="*/ 25 h 838"/>
                  <a:gd name="T78" fmla="*/ 490 w 838"/>
                  <a:gd name="T79" fmla="*/ 49 h 838"/>
                  <a:gd name="T80" fmla="*/ 58 w 838"/>
                  <a:gd name="T81" fmla="*/ 478 h 838"/>
                  <a:gd name="T82" fmla="*/ 3 w 838"/>
                  <a:gd name="T83" fmla="*/ 534 h 838"/>
                  <a:gd name="T84" fmla="*/ 70 w 838"/>
                  <a:gd name="T85" fmla="*/ 605 h 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838">
                    <a:moveTo>
                      <a:pt x="563" y="112"/>
                    </a:moveTo>
                    <a:lnTo>
                      <a:pt x="563" y="112"/>
                    </a:lnTo>
                    <a:lnTo>
                      <a:pt x="568" y="108"/>
                    </a:lnTo>
                    <a:lnTo>
                      <a:pt x="573" y="106"/>
                    </a:lnTo>
                    <a:lnTo>
                      <a:pt x="578" y="104"/>
                    </a:lnTo>
                    <a:lnTo>
                      <a:pt x="584" y="103"/>
                    </a:lnTo>
                    <a:lnTo>
                      <a:pt x="590" y="104"/>
                    </a:lnTo>
                    <a:lnTo>
                      <a:pt x="595" y="106"/>
                    </a:lnTo>
                    <a:lnTo>
                      <a:pt x="602" y="108"/>
                    </a:lnTo>
                    <a:lnTo>
                      <a:pt x="606" y="112"/>
                    </a:lnTo>
                    <a:lnTo>
                      <a:pt x="606" y="112"/>
                    </a:lnTo>
                    <a:lnTo>
                      <a:pt x="610" y="117"/>
                    </a:lnTo>
                    <a:lnTo>
                      <a:pt x="613" y="122"/>
                    </a:lnTo>
                    <a:lnTo>
                      <a:pt x="615" y="129"/>
                    </a:lnTo>
                    <a:lnTo>
                      <a:pt x="615" y="134"/>
                    </a:lnTo>
                    <a:lnTo>
                      <a:pt x="615" y="140"/>
                    </a:lnTo>
                    <a:lnTo>
                      <a:pt x="613" y="146"/>
                    </a:lnTo>
                    <a:lnTo>
                      <a:pt x="610" y="151"/>
                    </a:lnTo>
                    <a:lnTo>
                      <a:pt x="606" y="155"/>
                    </a:lnTo>
                    <a:lnTo>
                      <a:pt x="113" y="649"/>
                    </a:lnTo>
                    <a:lnTo>
                      <a:pt x="189" y="726"/>
                    </a:lnTo>
                    <a:lnTo>
                      <a:pt x="683" y="233"/>
                    </a:lnTo>
                    <a:lnTo>
                      <a:pt x="683" y="233"/>
                    </a:lnTo>
                    <a:lnTo>
                      <a:pt x="688" y="229"/>
                    </a:lnTo>
                    <a:lnTo>
                      <a:pt x="693" y="226"/>
                    </a:lnTo>
                    <a:lnTo>
                      <a:pt x="699" y="224"/>
                    </a:lnTo>
                    <a:lnTo>
                      <a:pt x="705" y="224"/>
                    </a:lnTo>
                    <a:lnTo>
                      <a:pt x="710" y="224"/>
                    </a:lnTo>
                    <a:lnTo>
                      <a:pt x="716" y="226"/>
                    </a:lnTo>
                    <a:lnTo>
                      <a:pt x="721" y="229"/>
                    </a:lnTo>
                    <a:lnTo>
                      <a:pt x="726" y="233"/>
                    </a:lnTo>
                    <a:lnTo>
                      <a:pt x="726" y="233"/>
                    </a:lnTo>
                    <a:lnTo>
                      <a:pt x="731" y="237"/>
                    </a:lnTo>
                    <a:lnTo>
                      <a:pt x="733" y="242"/>
                    </a:lnTo>
                    <a:lnTo>
                      <a:pt x="735" y="248"/>
                    </a:lnTo>
                    <a:lnTo>
                      <a:pt x="736" y="254"/>
                    </a:lnTo>
                    <a:lnTo>
                      <a:pt x="735" y="260"/>
                    </a:lnTo>
                    <a:lnTo>
                      <a:pt x="733" y="266"/>
                    </a:lnTo>
                    <a:lnTo>
                      <a:pt x="731" y="271"/>
                    </a:lnTo>
                    <a:lnTo>
                      <a:pt x="726" y="276"/>
                    </a:lnTo>
                    <a:lnTo>
                      <a:pt x="232" y="769"/>
                    </a:lnTo>
                    <a:lnTo>
                      <a:pt x="302" y="838"/>
                    </a:lnTo>
                    <a:lnTo>
                      <a:pt x="302" y="838"/>
                    </a:lnTo>
                    <a:lnTo>
                      <a:pt x="305" y="835"/>
                    </a:lnTo>
                    <a:lnTo>
                      <a:pt x="357" y="783"/>
                    </a:lnTo>
                    <a:lnTo>
                      <a:pt x="357" y="783"/>
                    </a:lnTo>
                    <a:lnTo>
                      <a:pt x="776" y="365"/>
                    </a:lnTo>
                    <a:lnTo>
                      <a:pt x="776" y="365"/>
                    </a:lnTo>
                    <a:lnTo>
                      <a:pt x="790" y="348"/>
                    </a:lnTo>
                    <a:lnTo>
                      <a:pt x="803" y="331"/>
                    </a:lnTo>
                    <a:lnTo>
                      <a:pt x="813" y="313"/>
                    </a:lnTo>
                    <a:lnTo>
                      <a:pt x="823" y="294"/>
                    </a:lnTo>
                    <a:lnTo>
                      <a:pt x="830" y="275"/>
                    </a:lnTo>
                    <a:lnTo>
                      <a:pt x="834" y="254"/>
                    </a:lnTo>
                    <a:lnTo>
                      <a:pt x="837" y="234"/>
                    </a:lnTo>
                    <a:lnTo>
                      <a:pt x="838" y="213"/>
                    </a:lnTo>
                    <a:lnTo>
                      <a:pt x="837" y="193"/>
                    </a:lnTo>
                    <a:lnTo>
                      <a:pt x="834" y="173"/>
                    </a:lnTo>
                    <a:lnTo>
                      <a:pt x="830" y="153"/>
                    </a:lnTo>
                    <a:lnTo>
                      <a:pt x="823" y="134"/>
                    </a:lnTo>
                    <a:lnTo>
                      <a:pt x="813" y="114"/>
                    </a:lnTo>
                    <a:lnTo>
                      <a:pt x="803" y="97"/>
                    </a:lnTo>
                    <a:lnTo>
                      <a:pt x="790" y="80"/>
                    </a:lnTo>
                    <a:lnTo>
                      <a:pt x="776" y="63"/>
                    </a:lnTo>
                    <a:lnTo>
                      <a:pt x="776" y="63"/>
                    </a:lnTo>
                    <a:lnTo>
                      <a:pt x="759" y="49"/>
                    </a:lnTo>
                    <a:lnTo>
                      <a:pt x="742" y="36"/>
                    </a:lnTo>
                    <a:lnTo>
                      <a:pt x="724" y="25"/>
                    </a:lnTo>
                    <a:lnTo>
                      <a:pt x="705" y="16"/>
                    </a:lnTo>
                    <a:lnTo>
                      <a:pt x="686" y="9"/>
                    </a:lnTo>
                    <a:lnTo>
                      <a:pt x="666" y="4"/>
                    </a:lnTo>
                    <a:lnTo>
                      <a:pt x="646" y="1"/>
                    </a:lnTo>
                    <a:lnTo>
                      <a:pt x="625" y="0"/>
                    </a:lnTo>
                    <a:lnTo>
                      <a:pt x="605" y="1"/>
                    </a:lnTo>
                    <a:lnTo>
                      <a:pt x="584" y="4"/>
                    </a:lnTo>
                    <a:lnTo>
                      <a:pt x="564" y="9"/>
                    </a:lnTo>
                    <a:lnTo>
                      <a:pt x="544" y="16"/>
                    </a:lnTo>
                    <a:lnTo>
                      <a:pt x="526" y="25"/>
                    </a:lnTo>
                    <a:lnTo>
                      <a:pt x="508" y="36"/>
                    </a:lnTo>
                    <a:lnTo>
                      <a:pt x="490" y="49"/>
                    </a:lnTo>
                    <a:lnTo>
                      <a:pt x="474" y="63"/>
                    </a:lnTo>
                    <a:lnTo>
                      <a:pt x="58" y="478"/>
                    </a:lnTo>
                    <a:lnTo>
                      <a:pt x="3" y="534"/>
                    </a:lnTo>
                    <a:lnTo>
                      <a:pt x="3" y="534"/>
                    </a:lnTo>
                    <a:lnTo>
                      <a:pt x="0" y="537"/>
                    </a:lnTo>
                    <a:lnTo>
                      <a:pt x="70" y="605"/>
                    </a:lnTo>
                    <a:lnTo>
                      <a:pt x="563"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35" name="Freeform 286"/>
              <p:cNvSpPr>
                <a:spLocks noEditPoints="1"/>
              </p:cNvSpPr>
              <p:nvPr/>
            </p:nvSpPr>
            <p:spPr bwMode="auto">
              <a:xfrm>
                <a:off x="10458328" y="2116329"/>
                <a:ext cx="632833" cy="637664"/>
              </a:xfrm>
              <a:custGeom>
                <a:avLst/>
                <a:gdLst>
                  <a:gd name="T0" fmla="*/ 1405 w 1838"/>
                  <a:gd name="T1" fmla="*/ 1775 h 1849"/>
                  <a:gd name="T2" fmla="*/ 1445 w 1838"/>
                  <a:gd name="T3" fmla="*/ 1808 h 1849"/>
                  <a:gd name="T4" fmla="*/ 1489 w 1838"/>
                  <a:gd name="T5" fmla="*/ 1831 h 1849"/>
                  <a:gd name="T6" fmla="*/ 1584 w 1838"/>
                  <a:gd name="T7" fmla="*/ 1849 h 1849"/>
                  <a:gd name="T8" fmla="*/ 1679 w 1838"/>
                  <a:gd name="T9" fmla="*/ 1831 h 1849"/>
                  <a:gd name="T10" fmla="*/ 1723 w 1838"/>
                  <a:gd name="T11" fmla="*/ 1808 h 1849"/>
                  <a:gd name="T12" fmla="*/ 1763 w 1838"/>
                  <a:gd name="T13" fmla="*/ 1775 h 1849"/>
                  <a:gd name="T14" fmla="*/ 1795 w 1838"/>
                  <a:gd name="T15" fmla="*/ 1736 h 1849"/>
                  <a:gd name="T16" fmla="*/ 1833 w 1838"/>
                  <a:gd name="T17" fmla="*/ 1646 h 1849"/>
                  <a:gd name="T18" fmla="*/ 1838 w 1838"/>
                  <a:gd name="T19" fmla="*/ 1596 h 1849"/>
                  <a:gd name="T20" fmla="*/ 1827 w 1838"/>
                  <a:gd name="T21" fmla="*/ 1523 h 1849"/>
                  <a:gd name="T22" fmla="*/ 1788 w 1838"/>
                  <a:gd name="T23" fmla="*/ 1446 h 1849"/>
                  <a:gd name="T24" fmla="*/ 857 w 1838"/>
                  <a:gd name="T25" fmla="*/ 510 h 1849"/>
                  <a:gd name="T26" fmla="*/ 864 w 1838"/>
                  <a:gd name="T27" fmla="*/ 422 h 1849"/>
                  <a:gd name="T28" fmla="*/ 857 w 1838"/>
                  <a:gd name="T29" fmla="*/ 356 h 1849"/>
                  <a:gd name="T30" fmla="*/ 838 w 1838"/>
                  <a:gd name="T31" fmla="*/ 285 h 1849"/>
                  <a:gd name="T32" fmla="*/ 807 w 1838"/>
                  <a:gd name="T33" fmla="*/ 218 h 1849"/>
                  <a:gd name="T34" fmla="*/ 764 w 1838"/>
                  <a:gd name="T35" fmla="*/ 155 h 1849"/>
                  <a:gd name="T36" fmla="*/ 725 w 1838"/>
                  <a:gd name="T37" fmla="*/ 114 h 1849"/>
                  <a:gd name="T38" fmla="*/ 674 w 1838"/>
                  <a:gd name="T39" fmla="*/ 73 h 1849"/>
                  <a:gd name="T40" fmla="*/ 573 w 1838"/>
                  <a:gd name="T41" fmla="*/ 23 h 1849"/>
                  <a:gd name="T42" fmla="*/ 450 w 1838"/>
                  <a:gd name="T43" fmla="*/ 0 h 1849"/>
                  <a:gd name="T44" fmla="*/ 325 w 1838"/>
                  <a:gd name="T45" fmla="*/ 13 h 1849"/>
                  <a:gd name="T46" fmla="*/ 518 w 1838"/>
                  <a:gd name="T47" fmla="*/ 286 h 1849"/>
                  <a:gd name="T48" fmla="*/ 540 w 1838"/>
                  <a:gd name="T49" fmla="*/ 319 h 1849"/>
                  <a:gd name="T50" fmla="*/ 547 w 1838"/>
                  <a:gd name="T51" fmla="*/ 356 h 1849"/>
                  <a:gd name="T52" fmla="*/ 540 w 1838"/>
                  <a:gd name="T53" fmla="*/ 393 h 1849"/>
                  <a:gd name="T54" fmla="*/ 518 w 1838"/>
                  <a:gd name="T55" fmla="*/ 425 h 1849"/>
                  <a:gd name="T56" fmla="*/ 398 w 1838"/>
                  <a:gd name="T57" fmla="*/ 543 h 1849"/>
                  <a:gd name="T58" fmla="*/ 362 w 1838"/>
                  <a:gd name="T59" fmla="*/ 557 h 1849"/>
                  <a:gd name="T60" fmla="*/ 325 w 1838"/>
                  <a:gd name="T61" fmla="*/ 557 h 1849"/>
                  <a:gd name="T62" fmla="*/ 289 w 1838"/>
                  <a:gd name="T63" fmla="*/ 543 h 1849"/>
                  <a:gd name="T64" fmla="*/ 26 w 1838"/>
                  <a:gd name="T65" fmla="*/ 282 h 1849"/>
                  <a:gd name="T66" fmla="*/ 1 w 1838"/>
                  <a:gd name="T67" fmla="*/ 401 h 1849"/>
                  <a:gd name="T68" fmla="*/ 9 w 1838"/>
                  <a:gd name="T69" fmla="*/ 521 h 1849"/>
                  <a:gd name="T70" fmla="*/ 51 w 1838"/>
                  <a:gd name="T71" fmla="*/ 636 h 1849"/>
                  <a:gd name="T72" fmla="*/ 125 w 1838"/>
                  <a:gd name="T73" fmla="*/ 737 h 1849"/>
                  <a:gd name="T74" fmla="*/ 165 w 1838"/>
                  <a:gd name="T75" fmla="*/ 772 h 1849"/>
                  <a:gd name="T76" fmla="*/ 223 w 1838"/>
                  <a:gd name="T77" fmla="*/ 810 h 1849"/>
                  <a:gd name="T78" fmla="*/ 284 w 1838"/>
                  <a:gd name="T79" fmla="*/ 837 h 1849"/>
                  <a:gd name="T80" fmla="*/ 348 w 1838"/>
                  <a:gd name="T81" fmla="*/ 855 h 1849"/>
                  <a:gd name="T82" fmla="*/ 427 w 1838"/>
                  <a:gd name="T83" fmla="*/ 863 h 1849"/>
                  <a:gd name="T84" fmla="*/ 1498 w 1838"/>
                  <a:gd name="T85" fmla="*/ 1510 h 1849"/>
                  <a:gd name="T86" fmla="*/ 1531 w 1838"/>
                  <a:gd name="T87" fmla="*/ 1487 h 1849"/>
                  <a:gd name="T88" fmla="*/ 1579 w 1838"/>
                  <a:gd name="T89" fmla="*/ 1473 h 1849"/>
                  <a:gd name="T90" fmla="*/ 1629 w 1838"/>
                  <a:gd name="T91" fmla="*/ 1478 h 1849"/>
                  <a:gd name="T92" fmla="*/ 1675 w 1838"/>
                  <a:gd name="T93" fmla="*/ 1501 h 1849"/>
                  <a:gd name="T94" fmla="*/ 1702 w 1838"/>
                  <a:gd name="T95" fmla="*/ 1531 h 1849"/>
                  <a:gd name="T96" fmla="*/ 1721 w 1838"/>
                  <a:gd name="T97" fmla="*/ 1579 h 1849"/>
                  <a:gd name="T98" fmla="*/ 1721 w 1838"/>
                  <a:gd name="T99" fmla="*/ 1629 h 1849"/>
                  <a:gd name="T100" fmla="*/ 1702 w 1838"/>
                  <a:gd name="T101" fmla="*/ 1676 h 1849"/>
                  <a:gd name="T102" fmla="*/ 1675 w 1838"/>
                  <a:gd name="T103" fmla="*/ 1706 h 1849"/>
                  <a:gd name="T104" fmla="*/ 1629 w 1838"/>
                  <a:gd name="T105" fmla="*/ 1730 h 1849"/>
                  <a:gd name="T106" fmla="*/ 1579 w 1838"/>
                  <a:gd name="T107" fmla="*/ 1735 h 1849"/>
                  <a:gd name="T108" fmla="*/ 1531 w 1838"/>
                  <a:gd name="T109" fmla="*/ 1721 h 1849"/>
                  <a:gd name="T110" fmla="*/ 1498 w 1838"/>
                  <a:gd name="T111" fmla="*/ 1698 h 1849"/>
                  <a:gd name="T112" fmla="*/ 1470 w 1838"/>
                  <a:gd name="T113" fmla="*/ 1654 h 1849"/>
                  <a:gd name="T114" fmla="*/ 1460 w 1838"/>
                  <a:gd name="T115" fmla="*/ 1603 h 1849"/>
                  <a:gd name="T116" fmla="*/ 1470 w 1838"/>
                  <a:gd name="T117" fmla="*/ 1554 h 1849"/>
                  <a:gd name="T118" fmla="*/ 1498 w 1838"/>
                  <a:gd name="T119" fmla="*/ 151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38" h="1849">
                    <a:moveTo>
                      <a:pt x="490" y="859"/>
                    </a:moveTo>
                    <a:lnTo>
                      <a:pt x="490" y="859"/>
                    </a:lnTo>
                    <a:lnTo>
                      <a:pt x="1405" y="1775"/>
                    </a:lnTo>
                    <a:lnTo>
                      <a:pt x="1405" y="1775"/>
                    </a:lnTo>
                    <a:lnTo>
                      <a:pt x="1414" y="1784"/>
                    </a:lnTo>
                    <a:lnTo>
                      <a:pt x="1425" y="1793"/>
                    </a:lnTo>
                    <a:lnTo>
                      <a:pt x="1435" y="1801"/>
                    </a:lnTo>
                    <a:lnTo>
                      <a:pt x="1445" y="1808"/>
                    </a:lnTo>
                    <a:lnTo>
                      <a:pt x="1455" y="1814"/>
                    </a:lnTo>
                    <a:lnTo>
                      <a:pt x="1467" y="1820"/>
                    </a:lnTo>
                    <a:lnTo>
                      <a:pt x="1478" y="1826"/>
                    </a:lnTo>
                    <a:lnTo>
                      <a:pt x="1489" y="1831"/>
                    </a:lnTo>
                    <a:lnTo>
                      <a:pt x="1513" y="1839"/>
                    </a:lnTo>
                    <a:lnTo>
                      <a:pt x="1536" y="1845"/>
                    </a:lnTo>
                    <a:lnTo>
                      <a:pt x="1560" y="1848"/>
                    </a:lnTo>
                    <a:lnTo>
                      <a:pt x="1584" y="1849"/>
                    </a:lnTo>
                    <a:lnTo>
                      <a:pt x="1609" y="1848"/>
                    </a:lnTo>
                    <a:lnTo>
                      <a:pt x="1632" y="1845"/>
                    </a:lnTo>
                    <a:lnTo>
                      <a:pt x="1657" y="1839"/>
                    </a:lnTo>
                    <a:lnTo>
                      <a:pt x="1679" y="1831"/>
                    </a:lnTo>
                    <a:lnTo>
                      <a:pt x="1691" y="1826"/>
                    </a:lnTo>
                    <a:lnTo>
                      <a:pt x="1702" y="1820"/>
                    </a:lnTo>
                    <a:lnTo>
                      <a:pt x="1713" y="1814"/>
                    </a:lnTo>
                    <a:lnTo>
                      <a:pt x="1723" y="1808"/>
                    </a:lnTo>
                    <a:lnTo>
                      <a:pt x="1735" y="1801"/>
                    </a:lnTo>
                    <a:lnTo>
                      <a:pt x="1744" y="1793"/>
                    </a:lnTo>
                    <a:lnTo>
                      <a:pt x="1754" y="1784"/>
                    </a:lnTo>
                    <a:lnTo>
                      <a:pt x="1763" y="1775"/>
                    </a:lnTo>
                    <a:lnTo>
                      <a:pt x="1763" y="1775"/>
                    </a:lnTo>
                    <a:lnTo>
                      <a:pt x="1772" y="1766"/>
                    </a:lnTo>
                    <a:lnTo>
                      <a:pt x="1781" y="1757"/>
                    </a:lnTo>
                    <a:lnTo>
                      <a:pt x="1795" y="1736"/>
                    </a:lnTo>
                    <a:lnTo>
                      <a:pt x="1808" y="1715"/>
                    </a:lnTo>
                    <a:lnTo>
                      <a:pt x="1818" y="1693"/>
                    </a:lnTo>
                    <a:lnTo>
                      <a:pt x="1827" y="1670"/>
                    </a:lnTo>
                    <a:lnTo>
                      <a:pt x="1833" y="1646"/>
                    </a:lnTo>
                    <a:lnTo>
                      <a:pt x="1836" y="1621"/>
                    </a:lnTo>
                    <a:lnTo>
                      <a:pt x="1837" y="1609"/>
                    </a:lnTo>
                    <a:lnTo>
                      <a:pt x="1838" y="1596"/>
                    </a:lnTo>
                    <a:lnTo>
                      <a:pt x="1838" y="1596"/>
                    </a:lnTo>
                    <a:lnTo>
                      <a:pt x="1837" y="1584"/>
                    </a:lnTo>
                    <a:lnTo>
                      <a:pt x="1836" y="1571"/>
                    </a:lnTo>
                    <a:lnTo>
                      <a:pt x="1833" y="1546"/>
                    </a:lnTo>
                    <a:lnTo>
                      <a:pt x="1827" y="1523"/>
                    </a:lnTo>
                    <a:lnTo>
                      <a:pt x="1818" y="1499"/>
                    </a:lnTo>
                    <a:lnTo>
                      <a:pt x="1808" y="1477"/>
                    </a:lnTo>
                    <a:lnTo>
                      <a:pt x="1795" y="1456"/>
                    </a:lnTo>
                    <a:lnTo>
                      <a:pt x="1788" y="1446"/>
                    </a:lnTo>
                    <a:lnTo>
                      <a:pt x="1781" y="1436"/>
                    </a:lnTo>
                    <a:lnTo>
                      <a:pt x="1772" y="1427"/>
                    </a:lnTo>
                    <a:lnTo>
                      <a:pt x="1763" y="1417"/>
                    </a:lnTo>
                    <a:lnTo>
                      <a:pt x="857" y="510"/>
                    </a:lnTo>
                    <a:lnTo>
                      <a:pt x="857" y="510"/>
                    </a:lnTo>
                    <a:lnTo>
                      <a:pt x="861" y="481"/>
                    </a:lnTo>
                    <a:lnTo>
                      <a:pt x="863" y="452"/>
                    </a:lnTo>
                    <a:lnTo>
                      <a:pt x="864" y="422"/>
                    </a:lnTo>
                    <a:lnTo>
                      <a:pt x="862" y="393"/>
                    </a:lnTo>
                    <a:lnTo>
                      <a:pt x="862" y="393"/>
                    </a:lnTo>
                    <a:lnTo>
                      <a:pt x="860" y="374"/>
                    </a:lnTo>
                    <a:lnTo>
                      <a:pt x="857" y="356"/>
                    </a:lnTo>
                    <a:lnTo>
                      <a:pt x="854" y="338"/>
                    </a:lnTo>
                    <a:lnTo>
                      <a:pt x="849" y="320"/>
                    </a:lnTo>
                    <a:lnTo>
                      <a:pt x="845" y="303"/>
                    </a:lnTo>
                    <a:lnTo>
                      <a:pt x="838" y="285"/>
                    </a:lnTo>
                    <a:lnTo>
                      <a:pt x="831" y="268"/>
                    </a:lnTo>
                    <a:lnTo>
                      <a:pt x="824" y="250"/>
                    </a:lnTo>
                    <a:lnTo>
                      <a:pt x="816" y="234"/>
                    </a:lnTo>
                    <a:lnTo>
                      <a:pt x="807" y="218"/>
                    </a:lnTo>
                    <a:lnTo>
                      <a:pt x="797" y="201"/>
                    </a:lnTo>
                    <a:lnTo>
                      <a:pt x="787" y="185"/>
                    </a:lnTo>
                    <a:lnTo>
                      <a:pt x="776" y="170"/>
                    </a:lnTo>
                    <a:lnTo>
                      <a:pt x="764" y="155"/>
                    </a:lnTo>
                    <a:lnTo>
                      <a:pt x="750" y="140"/>
                    </a:lnTo>
                    <a:lnTo>
                      <a:pt x="737" y="126"/>
                    </a:lnTo>
                    <a:lnTo>
                      <a:pt x="737" y="126"/>
                    </a:lnTo>
                    <a:lnTo>
                      <a:pt x="725" y="114"/>
                    </a:lnTo>
                    <a:lnTo>
                      <a:pt x="713" y="103"/>
                    </a:lnTo>
                    <a:lnTo>
                      <a:pt x="700" y="93"/>
                    </a:lnTo>
                    <a:lnTo>
                      <a:pt x="687" y="83"/>
                    </a:lnTo>
                    <a:lnTo>
                      <a:pt x="674" y="73"/>
                    </a:lnTo>
                    <a:lnTo>
                      <a:pt x="659" y="64"/>
                    </a:lnTo>
                    <a:lnTo>
                      <a:pt x="632" y="48"/>
                    </a:lnTo>
                    <a:lnTo>
                      <a:pt x="603" y="35"/>
                    </a:lnTo>
                    <a:lnTo>
                      <a:pt x="573" y="23"/>
                    </a:lnTo>
                    <a:lnTo>
                      <a:pt x="543" y="14"/>
                    </a:lnTo>
                    <a:lnTo>
                      <a:pt x="512" y="7"/>
                    </a:lnTo>
                    <a:lnTo>
                      <a:pt x="481" y="2"/>
                    </a:lnTo>
                    <a:lnTo>
                      <a:pt x="450" y="0"/>
                    </a:lnTo>
                    <a:lnTo>
                      <a:pt x="418" y="0"/>
                    </a:lnTo>
                    <a:lnTo>
                      <a:pt x="387" y="2"/>
                    </a:lnTo>
                    <a:lnTo>
                      <a:pt x="356" y="6"/>
                    </a:lnTo>
                    <a:lnTo>
                      <a:pt x="325" y="13"/>
                    </a:lnTo>
                    <a:lnTo>
                      <a:pt x="294" y="21"/>
                    </a:lnTo>
                    <a:lnTo>
                      <a:pt x="265" y="33"/>
                    </a:lnTo>
                    <a:lnTo>
                      <a:pt x="518" y="286"/>
                    </a:lnTo>
                    <a:lnTo>
                      <a:pt x="518" y="286"/>
                    </a:lnTo>
                    <a:lnTo>
                      <a:pt x="525" y="293"/>
                    </a:lnTo>
                    <a:lnTo>
                      <a:pt x="532" y="301"/>
                    </a:lnTo>
                    <a:lnTo>
                      <a:pt x="536" y="310"/>
                    </a:lnTo>
                    <a:lnTo>
                      <a:pt x="540" y="319"/>
                    </a:lnTo>
                    <a:lnTo>
                      <a:pt x="543" y="328"/>
                    </a:lnTo>
                    <a:lnTo>
                      <a:pt x="546" y="337"/>
                    </a:lnTo>
                    <a:lnTo>
                      <a:pt x="547" y="346"/>
                    </a:lnTo>
                    <a:lnTo>
                      <a:pt x="547" y="356"/>
                    </a:lnTo>
                    <a:lnTo>
                      <a:pt x="547" y="365"/>
                    </a:lnTo>
                    <a:lnTo>
                      <a:pt x="546" y="374"/>
                    </a:lnTo>
                    <a:lnTo>
                      <a:pt x="543" y="383"/>
                    </a:lnTo>
                    <a:lnTo>
                      <a:pt x="540" y="393"/>
                    </a:lnTo>
                    <a:lnTo>
                      <a:pt x="536" y="402"/>
                    </a:lnTo>
                    <a:lnTo>
                      <a:pt x="532" y="410"/>
                    </a:lnTo>
                    <a:lnTo>
                      <a:pt x="525" y="417"/>
                    </a:lnTo>
                    <a:lnTo>
                      <a:pt x="518" y="425"/>
                    </a:lnTo>
                    <a:lnTo>
                      <a:pt x="413" y="531"/>
                    </a:lnTo>
                    <a:lnTo>
                      <a:pt x="413" y="531"/>
                    </a:lnTo>
                    <a:lnTo>
                      <a:pt x="406" y="538"/>
                    </a:lnTo>
                    <a:lnTo>
                      <a:pt x="398" y="543"/>
                    </a:lnTo>
                    <a:lnTo>
                      <a:pt x="389" y="548"/>
                    </a:lnTo>
                    <a:lnTo>
                      <a:pt x="380" y="552"/>
                    </a:lnTo>
                    <a:lnTo>
                      <a:pt x="371" y="555"/>
                    </a:lnTo>
                    <a:lnTo>
                      <a:pt x="362" y="557"/>
                    </a:lnTo>
                    <a:lnTo>
                      <a:pt x="353" y="559"/>
                    </a:lnTo>
                    <a:lnTo>
                      <a:pt x="343" y="559"/>
                    </a:lnTo>
                    <a:lnTo>
                      <a:pt x="334" y="559"/>
                    </a:lnTo>
                    <a:lnTo>
                      <a:pt x="325" y="557"/>
                    </a:lnTo>
                    <a:lnTo>
                      <a:pt x="316" y="555"/>
                    </a:lnTo>
                    <a:lnTo>
                      <a:pt x="306" y="552"/>
                    </a:lnTo>
                    <a:lnTo>
                      <a:pt x="298" y="548"/>
                    </a:lnTo>
                    <a:lnTo>
                      <a:pt x="289" y="543"/>
                    </a:lnTo>
                    <a:lnTo>
                      <a:pt x="282" y="538"/>
                    </a:lnTo>
                    <a:lnTo>
                      <a:pt x="274" y="531"/>
                    </a:lnTo>
                    <a:lnTo>
                      <a:pt x="26" y="282"/>
                    </a:lnTo>
                    <a:lnTo>
                      <a:pt x="26" y="282"/>
                    </a:lnTo>
                    <a:lnTo>
                      <a:pt x="17" y="312"/>
                    </a:lnTo>
                    <a:lnTo>
                      <a:pt x="10" y="341"/>
                    </a:lnTo>
                    <a:lnTo>
                      <a:pt x="4" y="371"/>
                    </a:lnTo>
                    <a:lnTo>
                      <a:pt x="1" y="401"/>
                    </a:lnTo>
                    <a:lnTo>
                      <a:pt x="0" y="431"/>
                    </a:lnTo>
                    <a:lnTo>
                      <a:pt x="1" y="461"/>
                    </a:lnTo>
                    <a:lnTo>
                      <a:pt x="4" y="492"/>
                    </a:lnTo>
                    <a:lnTo>
                      <a:pt x="9" y="521"/>
                    </a:lnTo>
                    <a:lnTo>
                      <a:pt x="16" y="551"/>
                    </a:lnTo>
                    <a:lnTo>
                      <a:pt x="25" y="580"/>
                    </a:lnTo>
                    <a:lnTo>
                      <a:pt x="37" y="608"/>
                    </a:lnTo>
                    <a:lnTo>
                      <a:pt x="51" y="636"/>
                    </a:lnTo>
                    <a:lnTo>
                      <a:pt x="66" y="663"/>
                    </a:lnTo>
                    <a:lnTo>
                      <a:pt x="83" y="689"/>
                    </a:lnTo>
                    <a:lnTo>
                      <a:pt x="104" y="714"/>
                    </a:lnTo>
                    <a:lnTo>
                      <a:pt x="125" y="737"/>
                    </a:lnTo>
                    <a:lnTo>
                      <a:pt x="125" y="737"/>
                    </a:lnTo>
                    <a:lnTo>
                      <a:pt x="139" y="749"/>
                    </a:lnTo>
                    <a:lnTo>
                      <a:pt x="152" y="761"/>
                    </a:lnTo>
                    <a:lnTo>
                      <a:pt x="165" y="772"/>
                    </a:lnTo>
                    <a:lnTo>
                      <a:pt x="180" y="782"/>
                    </a:lnTo>
                    <a:lnTo>
                      <a:pt x="193" y="792"/>
                    </a:lnTo>
                    <a:lnTo>
                      <a:pt x="208" y="802"/>
                    </a:lnTo>
                    <a:lnTo>
                      <a:pt x="223" y="810"/>
                    </a:lnTo>
                    <a:lnTo>
                      <a:pt x="238" y="818"/>
                    </a:lnTo>
                    <a:lnTo>
                      <a:pt x="253" y="825"/>
                    </a:lnTo>
                    <a:lnTo>
                      <a:pt x="269" y="831"/>
                    </a:lnTo>
                    <a:lnTo>
                      <a:pt x="284" y="837"/>
                    </a:lnTo>
                    <a:lnTo>
                      <a:pt x="300" y="843"/>
                    </a:lnTo>
                    <a:lnTo>
                      <a:pt x="316" y="848"/>
                    </a:lnTo>
                    <a:lnTo>
                      <a:pt x="332" y="852"/>
                    </a:lnTo>
                    <a:lnTo>
                      <a:pt x="348" y="855"/>
                    </a:lnTo>
                    <a:lnTo>
                      <a:pt x="365" y="858"/>
                    </a:lnTo>
                    <a:lnTo>
                      <a:pt x="365" y="858"/>
                    </a:lnTo>
                    <a:lnTo>
                      <a:pt x="395" y="862"/>
                    </a:lnTo>
                    <a:lnTo>
                      <a:pt x="427" y="863"/>
                    </a:lnTo>
                    <a:lnTo>
                      <a:pt x="458" y="862"/>
                    </a:lnTo>
                    <a:lnTo>
                      <a:pt x="490" y="859"/>
                    </a:lnTo>
                    <a:lnTo>
                      <a:pt x="490" y="859"/>
                    </a:lnTo>
                    <a:close/>
                    <a:moveTo>
                      <a:pt x="1498" y="1510"/>
                    </a:moveTo>
                    <a:lnTo>
                      <a:pt x="1498" y="1510"/>
                    </a:lnTo>
                    <a:lnTo>
                      <a:pt x="1508" y="1501"/>
                    </a:lnTo>
                    <a:lnTo>
                      <a:pt x="1520" y="1494"/>
                    </a:lnTo>
                    <a:lnTo>
                      <a:pt x="1531" y="1487"/>
                    </a:lnTo>
                    <a:lnTo>
                      <a:pt x="1542" y="1482"/>
                    </a:lnTo>
                    <a:lnTo>
                      <a:pt x="1554" y="1478"/>
                    </a:lnTo>
                    <a:lnTo>
                      <a:pt x="1567" y="1475"/>
                    </a:lnTo>
                    <a:lnTo>
                      <a:pt x="1579" y="1473"/>
                    </a:lnTo>
                    <a:lnTo>
                      <a:pt x="1592" y="1473"/>
                    </a:lnTo>
                    <a:lnTo>
                      <a:pt x="1605" y="1473"/>
                    </a:lnTo>
                    <a:lnTo>
                      <a:pt x="1617" y="1475"/>
                    </a:lnTo>
                    <a:lnTo>
                      <a:pt x="1629" y="1478"/>
                    </a:lnTo>
                    <a:lnTo>
                      <a:pt x="1641" y="1482"/>
                    </a:lnTo>
                    <a:lnTo>
                      <a:pt x="1654" y="1487"/>
                    </a:lnTo>
                    <a:lnTo>
                      <a:pt x="1665" y="1494"/>
                    </a:lnTo>
                    <a:lnTo>
                      <a:pt x="1675" y="1501"/>
                    </a:lnTo>
                    <a:lnTo>
                      <a:pt x="1685" y="1510"/>
                    </a:lnTo>
                    <a:lnTo>
                      <a:pt x="1685" y="1510"/>
                    </a:lnTo>
                    <a:lnTo>
                      <a:pt x="1695" y="1521"/>
                    </a:lnTo>
                    <a:lnTo>
                      <a:pt x="1702" y="1531"/>
                    </a:lnTo>
                    <a:lnTo>
                      <a:pt x="1709" y="1542"/>
                    </a:lnTo>
                    <a:lnTo>
                      <a:pt x="1714" y="1554"/>
                    </a:lnTo>
                    <a:lnTo>
                      <a:pt x="1718" y="1567"/>
                    </a:lnTo>
                    <a:lnTo>
                      <a:pt x="1721" y="1579"/>
                    </a:lnTo>
                    <a:lnTo>
                      <a:pt x="1723" y="1591"/>
                    </a:lnTo>
                    <a:lnTo>
                      <a:pt x="1724" y="1603"/>
                    </a:lnTo>
                    <a:lnTo>
                      <a:pt x="1723" y="1617"/>
                    </a:lnTo>
                    <a:lnTo>
                      <a:pt x="1721" y="1629"/>
                    </a:lnTo>
                    <a:lnTo>
                      <a:pt x="1718" y="1641"/>
                    </a:lnTo>
                    <a:lnTo>
                      <a:pt x="1714" y="1654"/>
                    </a:lnTo>
                    <a:lnTo>
                      <a:pt x="1709" y="1665"/>
                    </a:lnTo>
                    <a:lnTo>
                      <a:pt x="1702" y="1676"/>
                    </a:lnTo>
                    <a:lnTo>
                      <a:pt x="1695" y="1687"/>
                    </a:lnTo>
                    <a:lnTo>
                      <a:pt x="1685" y="1698"/>
                    </a:lnTo>
                    <a:lnTo>
                      <a:pt x="1685" y="1698"/>
                    </a:lnTo>
                    <a:lnTo>
                      <a:pt x="1675" y="1706"/>
                    </a:lnTo>
                    <a:lnTo>
                      <a:pt x="1665" y="1714"/>
                    </a:lnTo>
                    <a:lnTo>
                      <a:pt x="1654" y="1721"/>
                    </a:lnTo>
                    <a:lnTo>
                      <a:pt x="1641" y="1726"/>
                    </a:lnTo>
                    <a:lnTo>
                      <a:pt x="1629" y="1730"/>
                    </a:lnTo>
                    <a:lnTo>
                      <a:pt x="1617" y="1733"/>
                    </a:lnTo>
                    <a:lnTo>
                      <a:pt x="1605" y="1735"/>
                    </a:lnTo>
                    <a:lnTo>
                      <a:pt x="1592" y="1735"/>
                    </a:lnTo>
                    <a:lnTo>
                      <a:pt x="1579" y="1735"/>
                    </a:lnTo>
                    <a:lnTo>
                      <a:pt x="1567" y="1733"/>
                    </a:lnTo>
                    <a:lnTo>
                      <a:pt x="1554" y="1730"/>
                    </a:lnTo>
                    <a:lnTo>
                      <a:pt x="1542" y="1726"/>
                    </a:lnTo>
                    <a:lnTo>
                      <a:pt x="1531" y="1721"/>
                    </a:lnTo>
                    <a:lnTo>
                      <a:pt x="1520" y="1714"/>
                    </a:lnTo>
                    <a:lnTo>
                      <a:pt x="1508" y="1707"/>
                    </a:lnTo>
                    <a:lnTo>
                      <a:pt x="1498" y="1698"/>
                    </a:lnTo>
                    <a:lnTo>
                      <a:pt x="1498" y="1698"/>
                    </a:lnTo>
                    <a:lnTo>
                      <a:pt x="1489" y="1687"/>
                    </a:lnTo>
                    <a:lnTo>
                      <a:pt x="1482" y="1676"/>
                    </a:lnTo>
                    <a:lnTo>
                      <a:pt x="1475" y="1665"/>
                    </a:lnTo>
                    <a:lnTo>
                      <a:pt x="1470" y="1654"/>
                    </a:lnTo>
                    <a:lnTo>
                      <a:pt x="1465" y="1641"/>
                    </a:lnTo>
                    <a:lnTo>
                      <a:pt x="1462" y="1629"/>
                    </a:lnTo>
                    <a:lnTo>
                      <a:pt x="1460" y="1617"/>
                    </a:lnTo>
                    <a:lnTo>
                      <a:pt x="1460" y="1603"/>
                    </a:lnTo>
                    <a:lnTo>
                      <a:pt x="1460" y="1591"/>
                    </a:lnTo>
                    <a:lnTo>
                      <a:pt x="1462" y="1579"/>
                    </a:lnTo>
                    <a:lnTo>
                      <a:pt x="1465" y="1567"/>
                    </a:lnTo>
                    <a:lnTo>
                      <a:pt x="1470" y="1554"/>
                    </a:lnTo>
                    <a:lnTo>
                      <a:pt x="1475" y="1542"/>
                    </a:lnTo>
                    <a:lnTo>
                      <a:pt x="1482" y="1531"/>
                    </a:lnTo>
                    <a:lnTo>
                      <a:pt x="1490" y="1521"/>
                    </a:lnTo>
                    <a:lnTo>
                      <a:pt x="1498" y="1510"/>
                    </a:lnTo>
                    <a:lnTo>
                      <a:pt x="1498" y="1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sp>
        <p:nvSpPr>
          <p:cNvPr id="104" name="Rounded Rectangle 191"/>
          <p:cNvSpPr/>
          <p:nvPr/>
        </p:nvSpPr>
        <p:spPr>
          <a:xfrm>
            <a:off x="5693771" y="3840511"/>
            <a:ext cx="766703" cy="415497"/>
          </a:xfrm>
          <a:prstGeom prst="rect">
            <a:avLst/>
          </a:prstGeom>
          <a:noFill/>
        </p:spPr>
        <p:txBody>
          <a:bodyPr wrap="square" lIns="68583" tIns="34292" rIns="68583" bIns="34292" rtlCol="0" anchor="b">
            <a:spAutoFit/>
          </a:bodyPr>
          <a:lstStyle/>
          <a:p>
            <a:r>
              <a:rPr lang="en-US" sz="1100" dirty="0">
                <a:solidFill>
                  <a:srgbClr val="2968AF"/>
                </a:solidFill>
                <a:latin typeface="Arial"/>
              </a:rPr>
              <a:t>Roaming User</a:t>
            </a:r>
          </a:p>
        </p:txBody>
      </p:sp>
      <p:grpSp>
        <p:nvGrpSpPr>
          <p:cNvPr id="116" name="Group 115"/>
          <p:cNvGrpSpPr/>
          <p:nvPr/>
        </p:nvGrpSpPr>
        <p:grpSpPr>
          <a:xfrm>
            <a:off x="5383219" y="3723191"/>
            <a:ext cx="353118" cy="485009"/>
            <a:chOff x="2427200" y="7613831"/>
            <a:chExt cx="1051866" cy="1445113"/>
          </a:xfrm>
          <a:solidFill>
            <a:schemeClr val="tx2"/>
          </a:solidFill>
        </p:grpSpPr>
        <p:grpSp>
          <p:nvGrpSpPr>
            <p:cNvPr id="117" name="Group 116"/>
            <p:cNvGrpSpPr/>
            <p:nvPr/>
          </p:nvGrpSpPr>
          <p:grpSpPr>
            <a:xfrm rot="19897570">
              <a:off x="3208484" y="7613831"/>
              <a:ext cx="270582" cy="541943"/>
              <a:chOff x="4630738" y="4803775"/>
              <a:chExt cx="2216150" cy="4438650"/>
            </a:xfrm>
            <a:grpFill/>
          </p:grpSpPr>
          <p:sp>
            <p:nvSpPr>
              <p:cNvPr id="122"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2968AF"/>
                  </a:solidFill>
                  <a:latin typeface="Arial"/>
                </a:endParaRPr>
              </a:p>
            </p:txBody>
          </p:sp>
          <p:sp>
            <p:nvSpPr>
              <p:cNvPr id="124"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2968AF"/>
                  </a:solidFill>
                  <a:latin typeface="Arial"/>
                </a:endParaRPr>
              </a:p>
            </p:txBody>
          </p:sp>
        </p:grpSp>
        <p:sp>
          <p:nvSpPr>
            <p:cNvPr id="118" name="Freeform 117"/>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a:solidFill>
                  <a:srgbClr val="2968AF"/>
                </a:solidFill>
                <a:latin typeface="Arial"/>
              </a:endParaRPr>
            </a:p>
          </p:txBody>
        </p:sp>
      </p:grpSp>
      <p:cxnSp>
        <p:nvCxnSpPr>
          <p:cNvPr id="131" name="Straight Arrow Connector 130"/>
          <p:cNvCxnSpPr/>
          <p:nvPr/>
        </p:nvCxnSpPr>
        <p:spPr>
          <a:xfrm flipV="1">
            <a:off x="5320022" y="2435954"/>
            <a:ext cx="0" cy="710981"/>
          </a:xfrm>
          <a:prstGeom prst="straightConnector1">
            <a:avLst/>
          </a:prstGeom>
          <a:ln w="38100">
            <a:solidFill>
              <a:srgbClr val="676767"/>
            </a:solidFill>
            <a:tailEnd type="triangle" w="lg" len="med"/>
          </a:ln>
        </p:spPr>
        <p:style>
          <a:lnRef idx="1">
            <a:schemeClr val="accent1"/>
          </a:lnRef>
          <a:fillRef idx="0">
            <a:schemeClr val="accent1"/>
          </a:fillRef>
          <a:effectRef idx="0">
            <a:schemeClr val="accent1"/>
          </a:effectRef>
          <a:fontRef idx="minor">
            <a:schemeClr val="tx1"/>
          </a:fontRef>
        </p:style>
      </p:cxnSp>
      <p:sp>
        <p:nvSpPr>
          <p:cNvPr id="136" name="TextBox 135"/>
          <p:cNvSpPr txBox="1"/>
          <p:nvPr/>
        </p:nvSpPr>
        <p:spPr>
          <a:xfrm>
            <a:off x="5549915" y="3162518"/>
            <a:ext cx="572680" cy="588621"/>
          </a:xfrm>
          <a:prstGeom prst="rect">
            <a:avLst/>
          </a:prstGeom>
          <a:noFill/>
        </p:spPr>
        <p:txBody>
          <a:bodyPr wrap="square" lIns="68583" tIns="34292" rIns="68583" bIns="34292" rtlCol="0">
            <a:spAutoFit/>
          </a:bodyPr>
          <a:lstStyle/>
          <a:p>
            <a:r>
              <a:rPr lang="en-US" sz="1100" dirty="0">
                <a:solidFill>
                  <a:srgbClr val="676767"/>
                </a:solidFill>
                <a:latin typeface="Arial"/>
              </a:rPr>
              <a:t>Use Case 1</a:t>
            </a:r>
          </a:p>
        </p:txBody>
      </p:sp>
      <p:grpSp>
        <p:nvGrpSpPr>
          <p:cNvPr id="137" name="Group 136"/>
          <p:cNvGrpSpPr/>
          <p:nvPr/>
        </p:nvGrpSpPr>
        <p:grpSpPr>
          <a:xfrm>
            <a:off x="5130268" y="3181185"/>
            <a:ext cx="419648" cy="355088"/>
            <a:chOff x="6838575" y="4242437"/>
            <a:chExt cx="559385" cy="473450"/>
          </a:xfrm>
          <a:solidFill>
            <a:srgbClr val="676767"/>
          </a:solidFill>
        </p:grpSpPr>
        <p:grpSp>
          <p:nvGrpSpPr>
            <p:cNvPr id="138" name="Group 137"/>
            <p:cNvGrpSpPr/>
            <p:nvPr/>
          </p:nvGrpSpPr>
          <p:grpSpPr>
            <a:xfrm>
              <a:off x="6838575" y="4242437"/>
              <a:ext cx="559385" cy="473450"/>
              <a:chOff x="2927350" y="4090988"/>
              <a:chExt cx="547688" cy="463550"/>
            </a:xfrm>
            <a:grpFill/>
          </p:grpSpPr>
          <p:sp>
            <p:nvSpPr>
              <p:cNvPr id="144" name="Freeform 159"/>
              <p:cNvSpPr>
                <a:spLocks noEditPoints="1"/>
              </p:cNvSpPr>
              <p:nvPr/>
            </p:nvSpPr>
            <p:spPr bwMode="auto">
              <a:xfrm>
                <a:off x="2927350" y="4090988"/>
                <a:ext cx="547688" cy="463550"/>
              </a:xfrm>
              <a:custGeom>
                <a:avLst/>
                <a:gdLst>
                  <a:gd name="T0" fmla="*/ 27 w 690"/>
                  <a:gd name="T1" fmla="*/ 0 h 582"/>
                  <a:gd name="T2" fmla="*/ 7 w 690"/>
                  <a:gd name="T3" fmla="*/ 15 h 582"/>
                  <a:gd name="T4" fmla="*/ 0 w 690"/>
                  <a:gd name="T5" fmla="*/ 550 h 582"/>
                  <a:gd name="T6" fmla="*/ 7 w 690"/>
                  <a:gd name="T7" fmla="*/ 567 h 582"/>
                  <a:gd name="T8" fmla="*/ 27 w 690"/>
                  <a:gd name="T9" fmla="*/ 582 h 582"/>
                  <a:gd name="T10" fmla="*/ 663 w 690"/>
                  <a:gd name="T11" fmla="*/ 582 h 582"/>
                  <a:gd name="T12" fmla="*/ 685 w 690"/>
                  <a:gd name="T13" fmla="*/ 567 h 582"/>
                  <a:gd name="T14" fmla="*/ 690 w 690"/>
                  <a:gd name="T15" fmla="*/ 32 h 582"/>
                  <a:gd name="T16" fmla="*/ 685 w 690"/>
                  <a:gd name="T17" fmla="*/ 15 h 582"/>
                  <a:gd name="T18" fmla="*/ 663 w 690"/>
                  <a:gd name="T19" fmla="*/ 0 h 582"/>
                  <a:gd name="T20" fmla="*/ 232 w 690"/>
                  <a:gd name="T21" fmla="*/ 40 h 582"/>
                  <a:gd name="T22" fmla="*/ 249 w 690"/>
                  <a:gd name="T23" fmla="*/ 48 h 582"/>
                  <a:gd name="T24" fmla="*/ 256 w 690"/>
                  <a:gd name="T25" fmla="*/ 66 h 582"/>
                  <a:gd name="T26" fmla="*/ 252 w 690"/>
                  <a:gd name="T27" fmla="*/ 79 h 582"/>
                  <a:gd name="T28" fmla="*/ 237 w 690"/>
                  <a:gd name="T29" fmla="*/ 89 h 582"/>
                  <a:gd name="T30" fmla="*/ 222 w 690"/>
                  <a:gd name="T31" fmla="*/ 87 h 582"/>
                  <a:gd name="T32" fmla="*/ 209 w 690"/>
                  <a:gd name="T33" fmla="*/ 75 h 582"/>
                  <a:gd name="T34" fmla="*/ 208 w 690"/>
                  <a:gd name="T35" fmla="*/ 60 h 582"/>
                  <a:gd name="T36" fmla="*/ 218 w 690"/>
                  <a:gd name="T37" fmla="*/ 46 h 582"/>
                  <a:gd name="T38" fmla="*/ 232 w 690"/>
                  <a:gd name="T39" fmla="*/ 40 h 582"/>
                  <a:gd name="T40" fmla="*/ 160 w 690"/>
                  <a:gd name="T41" fmla="*/ 43 h 582"/>
                  <a:gd name="T42" fmla="*/ 173 w 690"/>
                  <a:gd name="T43" fmla="*/ 55 h 582"/>
                  <a:gd name="T44" fmla="*/ 174 w 690"/>
                  <a:gd name="T45" fmla="*/ 70 h 582"/>
                  <a:gd name="T46" fmla="*/ 165 w 690"/>
                  <a:gd name="T47" fmla="*/ 86 h 582"/>
                  <a:gd name="T48" fmla="*/ 150 w 690"/>
                  <a:gd name="T49" fmla="*/ 90 h 582"/>
                  <a:gd name="T50" fmla="*/ 133 w 690"/>
                  <a:gd name="T51" fmla="*/ 82 h 582"/>
                  <a:gd name="T52" fmla="*/ 125 w 690"/>
                  <a:gd name="T53" fmla="*/ 66 h 582"/>
                  <a:gd name="T54" fmla="*/ 129 w 690"/>
                  <a:gd name="T55" fmla="*/ 51 h 582"/>
                  <a:gd name="T56" fmla="*/ 146 w 690"/>
                  <a:gd name="T57" fmla="*/ 42 h 582"/>
                  <a:gd name="T58" fmla="*/ 69 w 690"/>
                  <a:gd name="T59" fmla="*/ 40 h 582"/>
                  <a:gd name="T60" fmla="*/ 86 w 690"/>
                  <a:gd name="T61" fmla="*/ 48 h 582"/>
                  <a:gd name="T62" fmla="*/ 93 w 690"/>
                  <a:gd name="T63" fmla="*/ 66 h 582"/>
                  <a:gd name="T64" fmla="*/ 89 w 690"/>
                  <a:gd name="T65" fmla="*/ 79 h 582"/>
                  <a:gd name="T66" fmla="*/ 74 w 690"/>
                  <a:gd name="T67" fmla="*/ 89 h 582"/>
                  <a:gd name="T68" fmla="*/ 59 w 690"/>
                  <a:gd name="T69" fmla="*/ 87 h 582"/>
                  <a:gd name="T70" fmla="*/ 46 w 690"/>
                  <a:gd name="T71" fmla="*/ 75 h 582"/>
                  <a:gd name="T72" fmla="*/ 44 w 690"/>
                  <a:gd name="T73" fmla="*/ 60 h 582"/>
                  <a:gd name="T74" fmla="*/ 55 w 690"/>
                  <a:gd name="T75" fmla="*/ 46 h 582"/>
                  <a:gd name="T76" fmla="*/ 69 w 690"/>
                  <a:gd name="T77" fmla="*/ 40 h 582"/>
                  <a:gd name="T78" fmla="*/ 647 w 690"/>
                  <a:gd name="T79" fmla="*/ 518 h 582"/>
                  <a:gd name="T80" fmla="*/ 630 w 690"/>
                  <a:gd name="T81" fmla="*/ 535 h 582"/>
                  <a:gd name="T82" fmla="*/ 74 w 690"/>
                  <a:gd name="T83" fmla="*/ 538 h 582"/>
                  <a:gd name="T84" fmla="*/ 51 w 690"/>
                  <a:gd name="T85" fmla="*/ 528 h 582"/>
                  <a:gd name="T86" fmla="*/ 42 w 690"/>
                  <a:gd name="T87" fmla="*/ 505 h 582"/>
                  <a:gd name="T88" fmla="*/ 44 w 690"/>
                  <a:gd name="T89" fmla="*/ 172 h 582"/>
                  <a:gd name="T90" fmla="*/ 61 w 690"/>
                  <a:gd name="T91" fmla="*/ 155 h 582"/>
                  <a:gd name="T92" fmla="*/ 616 w 690"/>
                  <a:gd name="T93" fmla="*/ 152 h 582"/>
                  <a:gd name="T94" fmla="*/ 639 w 690"/>
                  <a:gd name="T95" fmla="*/ 162 h 582"/>
                  <a:gd name="T96" fmla="*/ 649 w 690"/>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0" h="582">
                    <a:moveTo>
                      <a:pt x="658" y="0"/>
                    </a:moveTo>
                    <a:lnTo>
                      <a:pt x="32" y="0"/>
                    </a:lnTo>
                    <a:lnTo>
                      <a:pt x="32" y="0"/>
                    </a:lnTo>
                    <a:lnTo>
                      <a:pt x="27" y="0"/>
                    </a:lnTo>
                    <a:lnTo>
                      <a:pt x="20" y="3"/>
                    </a:lnTo>
                    <a:lnTo>
                      <a:pt x="15" y="5"/>
                    </a:lnTo>
                    <a:lnTo>
                      <a:pt x="9" y="9"/>
                    </a:lnTo>
                    <a:lnTo>
                      <a:pt x="7" y="15"/>
                    </a:lnTo>
                    <a:lnTo>
                      <a:pt x="3" y="20"/>
                    </a:lnTo>
                    <a:lnTo>
                      <a:pt x="1" y="25"/>
                    </a:lnTo>
                    <a:lnTo>
                      <a:pt x="0" y="32"/>
                    </a:lnTo>
                    <a:lnTo>
                      <a:pt x="0" y="550"/>
                    </a:lnTo>
                    <a:lnTo>
                      <a:pt x="0" y="550"/>
                    </a:lnTo>
                    <a:lnTo>
                      <a:pt x="1" y="557"/>
                    </a:lnTo>
                    <a:lnTo>
                      <a:pt x="3" y="562"/>
                    </a:lnTo>
                    <a:lnTo>
                      <a:pt x="7" y="567"/>
                    </a:lnTo>
                    <a:lnTo>
                      <a:pt x="9" y="573"/>
                    </a:lnTo>
                    <a:lnTo>
                      <a:pt x="15" y="577"/>
                    </a:lnTo>
                    <a:lnTo>
                      <a:pt x="20" y="580"/>
                    </a:lnTo>
                    <a:lnTo>
                      <a:pt x="27" y="582"/>
                    </a:lnTo>
                    <a:lnTo>
                      <a:pt x="32" y="582"/>
                    </a:lnTo>
                    <a:lnTo>
                      <a:pt x="658" y="582"/>
                    </a:lnTo>
                    <a:lnTo>
                      <a:pt x="658" y="582"/>
                    </a:lnTo>
                    <a:lnTo>
                      <a:pt x="663" y="582"/>
                    </a:lnTo>
                    <a:lnTo>
                      <a:pt x="670" y="580"/>
                    </a:lnTo>
                    <a:lnTo>
                      <a:pt x="676" y="577"/>
                    </a:lnTo>
                    <a:lnTo>
                      <a:pt x="681" y="573"/>
                    </a:lnTo>
                    <a:lnTo>
                      <a:pt x="685" y="567"/>
                    </a:lnTo>
                    <a:lnTo>
                      <a:pt x="688" y="562"/>
                    </a:lnTo>
                    <a:lnTo>
                      <a:pt x="689" y="557"/>
                    </a:lnTo>
                    <a:lnTo>
                      <a:pt x="690" y="550"/>
                    </a:lnTo>
                    <a:lnTo>
                      <a:pt x="690" y="32"/>
                    </a:lnTo>
                    <a:lnTo>
                      <a:pt x="690" y="32"/>
                    </a:lnTo>
                    <a:lnTo>
                      <a:pt x="689" y="25"/>
                    </a:lnTo>
                    <a:lnTo>
                      <a:pt x="688" y="20"/>
                    </a:lnTo>
                    <a:lnTo>
                      <a:pt x="685" y="15"/>
                    </a:lnTo>
                    <a:lnTo>
                      <a:pt x="681" y="9"/>
                    </a:lnTo>
                    <a:lnTo>
                      <a:pt x="676" y="5"/>
                    </a:lnTo>
                    <a:lnTo>
                      <a:pt x="670" y="3"/>
                    </a:lnTo>
                    <a:lnTo>
                      <a:pt x="663" y="0"/>
                    </a:lnTo>
                    <a:lnTo>
                      <a:pt x="658" y="0"/>
                    </a:lnTo>
                    <a:lnTo>
                      <a:pt x="658" y="0"/>
                    </a:lnTo>
                    <a:close/>
                    <a:moveTo>
                      <a:pt x="232" y="40"/>
                    </a:moveTo>
                    <a:lnTo>
                      <a:pt x="232" y="40"/>
                    </a:lnTo>
                    <a:lnTo>
                      <a:pt x="237" y="42"/>
                    </a:lnTo>
                    <a:lnTo>
                      <a:pt x="241" y="43"/>
                    </a:lnTo>
                    <a:lnTo>
                      <a:pt x="245" y="46"/>
                    </a:lnTo>
                    <a:lnTo>
                      <a:pt x="249" y="48"/>
                    </a:lnTo>
                    <a:lnTo>
                      <a:pt x="252" y="51"/>
                    </a:lnTo>
                    <a:lnTo>
                      <a:pt x="255" y="55"/>
                    </a:lnTo>
                    <a:lnTo>
                      <a:pt x="256" y="60"/>
                    </a:lnTo>
                    <a:lnTo>
                      <a:pt x="256" y="66"/>
                    </a:lnTo>
                    <a:lnTo>
                      <a:pt x="256" y="66"/>
                    </a:lnTo>
                    <a:lnTo>
                      <a:pt x="256" y="70"/>
                    </a:lnTo>
                    <a:lnTo>
                      <a:pt x="255" y="75"/>
                    </a:lnTo>
                    <a:lnTo>
                      <a:pt x="252" y="79"/>
                    </a:lnTo>
                    <a:lnTo>
                      <a:pt x="249" y="82"/>
                    </a:lnTo>
                    <a:lnTo>
                      <a:pt x="245" y="86"/>
                    </a:lnTo>
                    <a:lnTo>
                      <a:pt x="241" y="87"/>
                    </a:lnTo>
                    <a:lnTo>
                      <a:pt x="237" y="89"/>
                    </a:lnTo>
                    <a:lnTo>
                      <a:pt x="232" y="90"/>
                    </a:lnTo>
                    <a:lnTo>
                      <a:pt x="232" y="90"/>
                    </a:lnTo>
                    <a:lnTo>
                      <a:pt x="227" y="89"/>
                    </a:lnTo>
                    <a:lnTo>
                      <a:pt x="222" y="87"/>
                    </a:lnTo>
                    <a:lnTo>
                      <a:pt x="218" y="86"/>
                    </a:lnTo>
                    <a:lnTo>
                      <a:pt x="214" y="82"/>
                    </a:lnTo>
                    <a:lnTo>
                      <a:pt x="212" y="79"/>
                    </a:lnTo>
                    <a:lnTo>
                      <a:pt x="209" y="75"/>
                    </a:lnTo>
                    <a:lnTo>
                      <a:pt x="208" y="70"/>
                    </a:lnTo>
                    <a:lnTo>
                      <a:pt x="208" y="66"/>
                    </a:lnTo>
                    <a:lnTo>
                      <a:pt x="208" y="66"/>
                    </a:lnTo>
                    <a:lnTo>
                      <a:pt x="208" y="60"/>
                    </a:lnTo>
                    <a:lnTo>
                      <a:pt x="209" y="55"/>
                    </a:lnTo>
                    <a:lnTo>
                      <a:pt x="212" y="51"/>
                    </a:lnTo>
                    <a:lnTo>
                      <a:pt x="214" y="48"/>
                    </a:lnTo>
                    <a:lnTo>
                      <a:pt x="218" y="46"/>
                    </a:lnTo>
                    <a:lnTo>
                      <a:pt x="222" y="43"/>
                    </a:lnTo>
                    <a:lnTo>
                      <a:pt x="227" y="42"/>
                    </a:lnTo>
                    <a:lnTo>
                      <a:pt x="232" y="40"/>
                    </a:lnTo>
                    <a:lnTo>
                      <a:pt x="232" y="40"/>
                    </a:lnTo>
                    <a:close/>
                    <a:moveTo>
                      <a:pt x="150" y="40"/>
                    </a:moveTo>
                    <a:lnTo>
                      <a:pt x="150" y="40"/>
                    </a:lnTo>
                    <a:lnTo>
                      <a:pt x="155" y="42"/>
                    </a:lnTo>
                    <a:lnTo>
                      <a:pt x="160" y="43"/>
                    </a:lnTo>
                    <a:lnTo>
                      <a:pt x="165" y="46"/>
                    </a:lnTo>
                    <a:lnTo>
                      <a:pt x="167" y="48"/>
                    </a:lnTo>
                    <a:lnTo>
                      <a:pt x="171" y="51"/>
                    </a:lnTo>
                    <a:lnTo>
                      <a:pt x="173" y="55"/>
                    </a:lnTo>
                    <a:lnTo>
                      <a:pt x="174" y="60"/>
                    </a:lnTo>
                    <a:lnTo>
                      <a:pt x="175" y="66"/>
                    </a:lnTo>
                    <a:lnTo>
                      <a:pt x="175" y="66"/>
                    </a:lnTo>
                    <a:lnTo>
                      <a:pt x="174" y="70"/>
                    </a:lnTo>
                    <a:lnTo>
                      <a:pt x="173" y="75"/>
                    </a:lnTo>
                    <a:lnTo>
                      <a:pt x="171" y="79"/>
                    </a:lnTo>
                    <a:lnTo>
                      <a:pt x="167" y="82"/>
                    </a:lnTo>
                    <a:lnTo>
                      <a:pt x="165" y="86"/>
                    </a:lnTo>
                    <a:lnTo>
                      <a:pt x="160" y="87"/>
                    </a:lnTo>
                    <a:lnTo>
                      <a:pt x="155" y="89"/>
                    </a:lnTo>
                    <a:lnTo>
                      <a:pt x="150" y="90"/>
                    </a:lnTo>
                    <a:lnTo>
                      <a:pt x="150" y="90"/>
                    </a:lnTo>
                    <a:lnTo>
                      <a:pt x="146" y="89"/>
                    </a:lnTo>
                    <a:lnTo>
                      <a:pt x="140" y="87"/>
                    </a:lnTo>
                    <a:lnTo>
                      <a:pt x="136" y="86"/>
                    </a:lnTo>
                    <a:lnTo>
                      <a:pt x="133" y="82"/>
                    </a:lnTo>
                    <a:lnTo>
                      <a:pt x="129" y="79"/>
                    </a:lnTo>
                    <a:lnTo>
                      <a:pt x="128" y="75"/>
                    </a:lnTo>
                    <a:lnTo>
                      <a:pt x="127" y="70"/>
                    </a:lnTo>
                    <a:lnTo>
                      <a:pt x="125" y="66"/>
                    </a:lnTo>
                    <a:lnTo>
                      <a:pt x="125" y="66"/>
                    </a:lnTo>
                    <a:lnTo>
                      <a:pt x="127" y="60"/>
                    </a:lnTo>
                    <a:lnTo>
                      <a:pt x="128" y="55"/>
                    </a:lnTo>
                    <a:lnTo>
                      <a:pt x="129" y="51"/>
                    </a:lnTo>
                    <a:lnTo>
                      <a:pt x="133" y="48"/>
                    </a:lnTo>
                    <a:lnTo>
                      <a:pt x="136" y="46"/>
                    </a:lnTo>
                    <a:lnTo>
                      <a:pt x="140" y="43"/>
                    </a:lnTo>
                    <a:lnTo>
                      <a:pt x="146" y="42"/>
                    </a:lnTo>
                    <a:lnTo>
                      <a:pt x="150" y="40"/>
                    </a:lnTo>
                    <a:lnTo>
                      <a:pt x="150" y="40"/>
                    </a:lnTo>
                    <a:close/>
                    <a:moveTo>
                      <a:pt x="69" y="40"/>
                    </a:moveTo>
                    <a:lnTo>
                      <a:pt x="69" y="40"/>
                    </a:lnTo>
                    <a:lnTo>
                      <a:pt x="74" y="42"/>
                    </a:lnTo>
                    <a:lnTo>
                      <a:pt x="78" y="43"/>
                    </a:lnTo>
                    <a:lnTo>
                      <a:pt x="82" y="46"/>
                    </a:lnTo>
                    <a:lnTo>
                      <a:pt x="86" y="48"/>
                    </a:lnTo>
                    <a:lnTo>
                      <a:pt x="89" y="51"/>
                    </a:lnTo>
                    <a:lnTo>
                      <a:pt x="92" y="55"/>
                    </a:lnTo>
                    <a:lnTo>
                      <a:pt x="93" y="60"/>
                    </a:lnTo>
                    <a:lnTo>
                      <a:pt x="93" y="66"/>
                    </a:lnTo>
                    <a:lnTo>
                      <a:pt x="93" y="66"/>
                    </a:lnTo>
                    <a:lnTo>
                      <a:pt x="93" y="70"/>
                    </a:lnTo>
                    <a:lnTo>
                      <a:pt x="92" y="75"/>
                    </a:lnTo>
                    <a:lnTo>
                      <a:pt x="89" y="79"/>
                    </a:lnTo>
                    <a:lnTo>
                      <a:pt x="86" y="82"/>
                    </a:lnTo>
                    <a:lnTo>
                      <a:pt x="82" y="86"/>
                    </a:lnTo>
                    <a:lnTo>
                      <a:pt x="78" y="87"/>
                    </a:lnTo>
                    <a:lnTo>
                      <a:pt x="74" y="89"/>
                    </a:lnTo>
                    <a:lnTo>
                      <a:pt x="69" y="90"/>
                    </a:lnTo>
                    <a:lnTo>
                      <a:pt x="69" y="90"/>
                    </a:lnTo>
                    <a:lnTo>
                      <a:pt x="63" y="89"/>
                    </a:lnTo>
                    <a:lnTo>
                      <a:pt x="59" y="87"/>
                    </a:lnTo>
                    <a:lnTo>
                      <a:pt x="55" y="86"/>
                    </a:lnTo>
                    <a:lnTo>
                      <a:pt x="51" y="82"/>
                    </a:lnTo>
                    <a:lnTo>
                      <a:pt x="49" y="79"/>
                    </a:lnTo>
                    <a:lnTo>
                      <a:pt x="46" y="75"/>
                    </a:lnTo>
                    <a:lnTo>
                      <a:pt x="44" y="70"/>
                    </a:lnTo>
                    <a:lnTo>
                      <a:pt x="44" y="66"/>
                    </a:lnTo>
                    <a:lnTo>
                      <a:pt x="44" y="66"/>
                    </a:lnTo>
                    <a:lnTo>
                      <a:pt x="44" y="60"/>
                    </a:lnTo>
                    <a:lnTo>
                      <a:pt x="46" y="55"/>
                    </a:lnTo>
                    <a:lnTo>
                      <a:pt x="49" y="51"/>
                    </a:lnTo>
                    <a:lnTo>
                      <a:pt x="51" y="48"/>
                    </a:lnTo>
                    <a:lnTo>
                      <a:pt x="55" y="46"/>
                    </a:lnTo>
                    <a:lnTo>
                      <a:pt x="59" y="43"/>
                    </a:lnTo>
                    <a:lnTo>
                      <a:pt x="63" y="42"/>
                    </a:lnTo>
                    <a:lnTo>
                      <a:pt x="69" y="40"/>
                    </a:lnTo>
                    <a:lnTo>
                      <a:pt x="69" y="40"/>
                    </a:lnTo>
                    <a:close/>
                    <a:moveTo>
                      <a:pt x="649" y="505"/>
                    </a:moveTo>
                    <a:lnTo>
                      <a:pt x="649" y="505"/>
                    </a:lnTo>
                    <a:lnTo>
                      <a:pt x="649" y="511"/>
                    </a:lnTo>
                    <a:lnTo>
                      <a:pt x="647" y="518"/>
                    </a:lnTo>
                    <a:lnTo>
                      <a:pt x="643" y="523"/>
                    </a:lnTo>
                    <a:lnTo>
                      <a:pt x="639" y="528"/>
                    </a:lnTo>
                    <a:lnTo>
                      <a:pt x="635" y="532"/>
                    </a:lnTo>
                    <a:lnTo>
                      <a:pt x="630" y="535"/>
                    </a:lnTo>
                    <a:lnTo>
                      <a:pt x="623" y="536"/>
                    </a:lnTo>
                    <a:lnTo>
                      <a:pt x="616" y="538"/>
                    </a:lnTo>
                    <a:lnTo>
                      <a:pt x="74" y="538"/>
                    </a:lnTo>
                    <a:lnTo>
                      <a:pt x="74" y="538"/>
                    </a:lnTo>
                    <a:lnTo>
                      <a:pt x="67" y="536"/>
                    </a:lnTo>
                    <a:lnTo>
                      <a:pt x="61" y="535"/>
                    </a:lnTo>
                    <a:lnTo>
                      <a:pt x="55" y="532"/>
                    </a:lnTo>
                    <a:lnTo>
                      <a:pt x="51" y="528"/>
                    </a:lnTo>
                    <a:lnTo>
                      <a:pt x="47" y="523"/>
                    </a:lnTo>
                    <a:lnTo>
                      <a:pt x="44" y="518"/>
                    </a:lnTo>
                    <a:lnTo>
                      <a:pt x="42" y="511"/>
                    </a:lnTo>
                    <a:lnTo>
                      <a:pt x="42" y="505"/>
                    </a:lnTo>
                    <a:lnTo>
                      <a:pt x="42" y="185"/>
                    </a:lnTo>
                    <a:lnTo>
                      <a:pt x="42" y="185"/>
                    </a:lnTo>
                    <a:lnTo>
                      <a:pt x="42" y="179"/>
                    </a:lnTo>
                    <a:lnTo>
                      <a:pt x="44" y="172"/>
                    </a:lnTo>
                    <a:lnTo>
                      <a:pt x="47" y="167"/>
                    </a:lnTo>
                    <a:lnTo>
                      <a:pt x="51" y="162"/>
                    </a:lnTo>
                    <a:lnTo>
                      <a:pt x="55" y="158"/>
                    </a:lnTo>
                    <a:lnTo>
                      <a:pt x="61" y="155"/>
                    </a:lnTo>
                    <a:lnTo>
                      <a:pt x="67" y="154"/>
                    </a:lnTo>
                    <a:lnTo>
                      <a:pt x="74" y="152"/>
                    </a:lnTo>
                    <a:lnTo>
                      <a:pt x="616" y="152"/>
                    </a:lnTo>
                    <a:lnTo>
                      <a:pt x="616" y="152"/>
                    </a:lnTo>
                    <a:lnTo>
                      <a:pt x="623" y="154"/>
                    </a:lnTo>
                    <a:lnTo>
                      <a:pt x="630" y="155"/>
                    </a:lnTo>
                    <a:lnTo>
                      <a:pt x="635" y="158"/>
                    </a:lnTo>
                    <a:lnTo>
                      <a:pt x="639" y="162"/>
                    </a:lnTo>
                    <a:lnTo>
                      <a:pt x="643" y="167"/>
                    </a:lnTo>
                    <a:lnTo>
                      <a:pt x="647" y="172"/>
                    </a:lnTo>
                    <a:lnTo>
                      <a:pt x="649" y="179"/>
                    </a:lnTo>
                    <a:lnTo>
                      <a:pt x="649" y="185"/>
                    </a:lnTo>
                    <a:lnTo>
                      <a:pt x="649" y="5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5" name="Freeform 160"/>
              <p:cNvSpPr>
                <a:spLocks noEditPoints="1"/>
              </p:cNvSpPr>
              <p:nvPr/>
            </p:nvSpPr>
            <p:spPr bwMode="auto">
              <a:xfrm>
                <a:off x="3046413" y="4298950"/>
                <a:ext cx="201613" cy="206375"/>
              </a:xfrm>
              <a:custGeom>
                <a:avLst/>
                <a:gdLst>
                  <a:gd name="T0" fmla="*/ 252 w 253"/>
                  <a:gd name="T1" fmla="*/ 103 h 262"/>
                  <a:gd name="T2" fmla="*/ 253 w 253"/>
                  <a:gd name="T3" fmla="*/ 97 h 262"/>
                  <a:gd name="T4" fmla="*/ 230 w 253"/>
                  <a:gd name="T5" fmla="*/ 51 h 262"/>
                  <a:gd name="T6" fmla="*/ 217 w 253"/>
                  <a:gd name="T7" fmla="*/ 38 h 262"/>
                  <a:gd name="T8" fmla="*/ 209 w 253"/>
                  <a:gd name="T9" fmla="*/ 38 h 262"/>
                  <a:gd name="T10" fmla="*/ 191 w 253"/>
                  <a:gd name="T11" fmla="*/ 40 h 262"/>
                  <a:gd name="T12" fmla="*/ 166 w 253"/>
                  <a:gd name="T13" fmla="*/ 18 h 262"/>
                  <a:gd name="T14" fmla="*/ 166 w 253"/>
                  <a:gd name="T15" fmla="*/ 11 h 262"/>
                  <a:gd name="T16" fmla="*/ 160 w 253"/>
                  <a:gd name="T17" fmla="*/ 4 h 262"/>
                  <a:gd name="T18" fmla="*/ 126 w 253"/>
                  <a:gd name="T19" fmla="*/ 0 h 262"/>
                  <a:gd name="T20" fmla="*/ 91 w 253"/>
                  <a:gd name="T21" fmla="*/ 5 h 262"/>
                  <a:gd name="T22" fmla="*/ 87 w 253"/>
                  <a:gd name="T23" fmla="*/ 14 h 262"/>
                  <a:gd name="T24" fmla="*/ 81 w 253"/>
                  <a:gd name="T25" fmla="*/ 30 h 262"/>
                  <a:gd name="T26" fmla="*/ 47 w 253"/>
                  <a:gd name="T27" fmla="*/ 40 h 262"/>
                  <a:gd name="T28" fmla="*/ 41 w 253"/>
                  <a:gd name="T29" fmla="*/ 36 h 262"/>
                  <a:gd name="T30" fmla="*/ 33 w 253"/>
                  <a:gd name="T31" fmla="*/ 39 h 262"/>
                  <a:gd name="T32" fmla="*/ 13 w 253"/>
                  <a:gd name="T33" fmla="*/ 66 h 262"/>
                  <a:gd name="T34" fmla="*/ 1 w 253"/>
                  <a:gd name="T35" fmla="*/ 97 h 262"/>
                  <a:gd name="T36" fmla="*/ 5 w 253"/>
                  <a:gd name="T37" fmla="*/ 107 h 262"/>
                  <a:gd name="T38" fmla="*/ 17 w 253"/>
                  <a:gd name="T39" fmla="*/ 109 h 262"/>
                  <a:gd name="T40" fmla="*/ 16 w 253"/>
                  <a:gd name="T41" fmla="*/ 142 h 262"/>
                  <a:gd name="T42" fmla="*/ 5 w 253"/>
                  <a:gd name="T43" fmla="*/ 155 h 262"/>
                  <a:gd name="T44" fmla="*/ 0 w 253"/>
                  <a:gd name="T45" fmla="*/ 163 h 262"/>
                  <a:gd name="T46" fmla="*/ 6 w 253"/>
                  <a:gd name="T47" fmla="*/ 181 h 262"/>
                  <a:gd name="T48" fmla="*/ 33 w 253"/>
                  <a:gd name="T49" fmla="*/ 223 h 262"/>
                  <a:gd name="T50" fmla="*/ 39 w 253"/>
                  <a:gd name="T51" fmla="*/ 225 h 262"/>
                  <a:gd name="T52" fmla="*/ 47 w 253"/>
                  <a:gd name="T53" fmla="*/ 221 h 262"/>
                  <a:gd name="T54" fmla="*/ 71 w 253"/>
                  <a:gd name="T55" fmla="*/ 227 h 262"/>
                  <a:gd name="T56" fmla="*/ 87 w 253"/>
                  <a:gd name="T57" fmla="*/ 245 h 262"/>
                  <a:gd name="T58" fmla="*/ 89 w 253"/>
                  <a:gd name="T59" fmla="*/ 254 h 262"/>
                  <a:gd name="T60" fmla="*/ 94 w 253"/>
                  <a:gd name="T61" fmla="*/ 258 h 262"/>
                  <a:gd name="T62" fmla="*/ 144 w 253"/>
                  <a:gd name="T63" fmla="*/ 260 h 262"/>
                  <a:gd name="T64" fmla="*/ 163 w 253"/>
                  <a:gd name="T65" fmla="*/ 256 h 262"/>
                  <a:gd name="T66" fmla="*/ 166 w 253"/>
                  <a:gd name="T67" fmla="*/ 248 h 262"/>
                  <a:gd name="T68" fmla="*/ 172 w 253"/>
                  <a:gd name="T69" fmla="*/ 232 h 262"/>
                  <a:gd name="T70" fmla="*/ 206 w 253"/>
                  <a:gd name="T71" fmla="*/ 221 h 262"/>
                  <a:gd name="T72" fmla="*/ 211 w 253"/>
                  <a:gd name="T73" fmla="*/ 225 h 262"/>
                  <a:gd name="T74" fmla="*/ 219 w 253"/>
                  <a:gd name="T75" fmla="*/ 223 h 262"/>
                  <a:gd name="T76" fmla="*/ 240 w 253"/>
                  <a:gd name="T77" fmla="*/ 197 h 262"/>
                  <a:gd name="T78" fmla="*/ 253 w 253"/>
                  <a:gd name="T79" fmla="*/ 166 h 262"/>
                  <a:gd name="T80" fmla="*/ 248 w 253"/>
                  <a:gd name="T81" fmla="*/ 155 h 262"/>
                  <a:gd name="T82" fmla="*/ 236 w 253"/>
                  <a:gd name="T83" fmla="*/ 152 h 262"/>
                  <a:gd name="T84" fmla="*/ 237 w 253"/>
                  <a:gd name="T85" fmla="*/ 120 h 262"/>
                  <a:gd name="T86" fmla="*/ 248 w 253"/>
                  <a:gd name="T87" fmla="*/ 107 h 262"/>
                  <a:gd name="T88" fmla="*/ 114 w 253"/>
                  <a:gd name="T89" fmla="*/ 191 h 262"/>
                  <a:gd name="T90" fmla="*/ 75 w 253"/>
                  <a:gd name="T91" fmla="*/ 166 h 262"/>
                  <a:gd name="T92" fmla="*/ 64 w 253"/>
                  <a:gd name="T93" fmla="*/ 131 h 262"/>
                  <a:gd name="T94" fmla="*/ 83 w 253"/>
                  <a:gd name="T95" fmla="*/ 88 h 262"/>
                  <a:gd name="T96" fmla="*/ 126 w 253"/>
                  <a:gd name="T97" fmla="*/ 70 h 262"/>
                  <a:gd name="T98" fmla="*/ 161 w 253"/>
                  <a:gd name="T99" fmla="*/ 80 h 262"/>
                  <a:gd name="T100" fmla="*/ 187 w 253"/>
                  <a:gd name="T101" fmla="*/ 119 h 262"/>
                  <a:gd name="T102" fmla="*/ 183 w 253"/>
                  <a:gd name="T103" fmla="*/ 155 h 262"/>
                  <a:gd name="T104" fmla="*/ 151 w 253"/>
                  <a:gd name="T105" fmla="*/ 1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62">
                    <a:moveTo>
                      <a:pt x="248" y="107"/>
                    </a:moveTo>
                    <a:lnTo>
                      <a:pt x="248" y="107"/>
                    </a:lnTo>
                    <a:lnTo>
                      <a:pt x="250" y="105"/>
                    </a:lnTo>
                    <a:lnTo>
                      <a:pt x="252" y="103"/>
                    </a:lnTo>
                    <a:lnTo>
                      <a:pt x="253" y="100"/>
                    </a:lnTo>
                    <a:lnTo>
                      <a:pt x="253" y="97"/>
                    </a:lnTo>
                    <a:lnTo>
                      <a:pt x="253" y="97"/>
                    </a:lnTo>
                    <a:lnTo>
                      <a:pt x="253" y="97"/>
                    </a:lnTo>
                    <a:lnTo>
                      <a:pt x="246" y="81"/>
                    </a:lnTo>
                    <a:lnTo>
                      <a:pt x="240" y="66"/>
                    </a:lnTo>
                    <a:lnTo>
                      <a:pt x="240" y="66"/>
                    </a:lnTo>
                    <a:lnTo>
                      <a:pt x="230" y="51"/>
                    </a:lnTo>
                    <a:lnTo>
                      <a:pt x="219" y="39"/>
                    </a:lnTo>
                    <a:lnTo>
                      <a:pt x="219" y="39"/>
                    </a:lnTo>
                    <a:lnTo>
                      <a:pt x="219" y="39"/>
                    </a:lnTo>
                    <a:lnTo>
                      <a:pt x="217" y="38"/>
                    </a:lnTo>
                    <a:lnTo>
                      <a:pt x="214" y="36"/>
                    </a:lnTo>
                    <a:lnTo>
                      <a:pt x="211" y="36"/>
                    </a:lnTo>
                    <a:lnTo>
                      <a:pt x="209" y="38"/>
                    </a:lnTo>
                    <a:lnTo>
                      <a:pt x="209" y="38"/>
                    </a:lnTo>
                    <a:lnTo>
                      <a:pt x="206" y="40"/>
                    </a:lnTo>
                    <a:lnTo>
                      <a:pt x="199" y="47"/>
                    </a:lnTo>
                    <a:lnTo>
                      <a:pt x="199" y="47"/>
                    </a:lnTo>
                    <a:lnTo>
                      <a:pt x="191" y="40"/>
                    </a:lnTo>
                    <a:lnTo>
                      <a:pt x="182" y="35"/>
                    </a:lnTo>
                    <a:lnTo>
                      <a:pt x="172" y="30"/>
                    </a:lnTo>
                    <a:lnTo>
                      <a:pt x="163" y="26"/>
                    </a:lnTo>
                    <a:lnTo>
                      <a:pt x="166" y="18"/>
                    </a:lnTo>
                    <a:lnTo>
                      <a:pt x="166" y="18"/>
                    </a:lnTo>
                    <a:lnTo>
                      <a:pt x="166" y="14"/>
                    </a:lnTo>
                    <a:lnTo>
                      <a:pt x="166" y="14"/>
                    </a:lnTo>
                    <a:lnTo>
                      <a:pt x="166" y="11"/>
                    </a:lnTo>
                    <a:lnTo>
                      <a:pt x="164" y="8"/>
                    </a:lnTo>
                    <a:lnTo>
                      <a:pt x="163" y="5"/>
                    </a:lnTo>
                    <a:lnTo>
                      <a:pt x="160" y="4"/>
                    </a:lnTo>
                    <a:lnTo>
                      <a:pt x="160" y="4"/>
                    </a:lnTo>
                    <a:lnTo>
                      <a:pt x="160" y="4"/>
                    </a:lnTo>
                    <a:lnTo>
                      <a:pt x="144" y="1"/>
                    </a:lnTo>
                    <a:lnTo>
                      <a:pt x="126" y="0"/>
                    </a:lnTo>
                    <a:lnTo>
                      <a:pt x="126" y="0"/>
                    </a:lnTo>
                    <a:lnTo>
                      <a:pt x="110" y="1"/>
                    </a:lnTo>
                    <a:lnTo>
                      <a:pt x="93" y="4"/>
                    </a:lnTo>
                    <a:lnTo>
                      <a:pt x="93" y="4"/>
                    </a:lnTo>
                    <a:lnTo>
                      <a:pt x="91" y="5"/>
                    </a:lnTo>
                    <a:lnTo>
                      <a:pt x="89" y="8"/>
                    </a:lnTo>
                    <a:lnTo>
                      <a:pt x="87" y="11"/>
                    </a:lnTo>
                    <a:lnTo>
                      <a:pt x="87" y="14"/>
                    </a:lnTo>
                    <a:lnTo>
                      <a:pt x="87" y="14"/>
                    </a:lnTo>
                    <a:lnTo>
                      <a:pt x="87" y="18"/>
                    </a:lnTo>
                    <a:lnTo>
                      <a:pt x="91" y="26"/>
                    </a:lnTo>
                    <a:lnTo>
                      <a:pt x="91" y="26"/>
                    </a:lnTo>
                    <a:lnTo>
                      <a:pt x="81" y="30"/>
                    </a:lnTo>
                    <a:lnTo>
                      <a:pt x="71" y="35"/>
                    </a:lnTo>
                    <a:lnTo>
                      <a:pt x="62" y="40"/>
                    </a:lnTo>
                    <a:lnTo>
                      <a:pt x="54" y="47"/>
                    </a:lnTo>
                    <a:lnTo>
                      <a:pt x="47" y="40"/>
                    </a:lnTo>
                    <a:lnTo>
                      <a:pt x="47" y="40"/>
                    </a:lnTo>
                    <a:lnTo>
                      <a:pt x="44" y="38"/>
                    </a:lnTo>
                    <a:lnTo>
                      <a:pt x="44" y="38"/>
                    </a:lnTo>
                    <a:lnTo>
                      <a:pt x="41" y="36"/>
                    </a:lnTo>
                    <a:lnTo>
                      <a:pt x="39" y="36"/>
                    </a:lnTo>
                    <a:lnTo>
                      <a:pt x="36" y="38"/>
                    </a:lnTo>
                    <a:lnTo>
                      <a:pt x="33" y="39"/>
                    </a:lnTo>
                    <a:lnTo>
                      <a:pt x="33" y="39"/>
                    </a:lnTo>
                    <a:lnTo>
                      <a:pt x="33" y="39"/>
                    </a:lnTo>
                    <a:lnTo>
                      <a:pt x="23" y="51"/>
                    </a:lnTo>
                    <a:lnTo>
                      <a:pt x="13" y="66"/>
                    </a:lnTo>
                    <a:lnTo>
                      <a:pt x="13" y="66"/>
                    </a:lnTo>
                    <a:lnTo>
                      <a:pt x="6" y="81"/>
                    </a:lnTo>
                    <a:lnTo>
                      <a:pt x="1" y="97"/>
                    </a:lnTo>
                    <a:lnTo>
                      <a:pt x="1" y="97"/>
                    </a:lnTo>
                    <a:lnTo>
                      <a:pt x="1" y="97"/>
                    </a:lnTo>
                    <a:lnTo>
                      <a:pt x="0" y="100"/>
                    </a:lnTo>
                    <a:lnTo>
                      <a:pt x="1" y="103"/>
                    </a:lnTo>
                    <a:lnTo>
                      <a:pt x="2" y="105"/>
                    </a:lnTo>
                    <a:lnTo>
                      <a:pt x="5" y="107"/>
                    </a:lnTo>
                    <a:lnTo>
                      <a:pt x="5" y="107"/>
                    </a:lnTo>
                    <a:lnTo>
                      <a:pt x="9" y="108"/>
                    </a:lnTo>
                    <a:lnTo>
                      <a:pt x="17" y="109"/>
                    </a:lnTo>
                    <a:lnTo>
                      <a:pt x="17" y="109"/>
                    </a:lnTo>
                    <a:lnTo>
                      <a:pt x="16" y="120"/>
                    </a:lnTo>
                    <a:lnTo>
                      <a:pt x="16" y="131"/>
                    </a:lnTo>
                    <a:lnTo>
                      <a:pt x="16" y="131"/>
                    </a:lnTo>
                    <a:lnTo>
                      <a:pt x="16" y="142"/>
                    </a:lnTo>
                    <a:lnTo>
                      <a:pt x="17" y="152"/>
                    </a:lnTo>
                    <a:lnTo>
                      <a:pt x="9" y="154"/>
                    </a:lnTo>
                    <a:lnTo>
                      <a:pt x="9" y="154"/>
                    </a:lnTo>
                    <a:lnTo>
                      <a:pt x="5" y="155"/>
                    </a:lnTo>
                    <a:lnTo>
                      <a:pt x="5" y="155"/>
                    </a:lnTo>
                    <a:lnTo>
                      <a:pt x="2" y="158"/>
                    </a:lnTo>
                    <a:lnTo>
                      <a:pt x="1" y="160"/>
                    </a:lnTo>
                    <a:lnTo>
                      <a:pt x="0" y="163"/>
                    </a:lnTo>
                    <a:lnTo>
                      <a:pt x="1" y="166"/>
                    </a:lnTo>
                    <a:lnTo>
                      <a:pt x="1" y="166"/>
                    </a:lnTo>
                    <a:lnTo>
                      <a:pt x="1" y="166"/>
                    </a:lnTo>
                    <a:lnTo>
                      <a:pt x="6" y="181"/>
                    </a:lnTo>
                    <a:lnTo>
                      <a:pt x="13" y="197"/>
                    </a:lnTo>
                    <a:lnTo>
                      <a:pt x="13" y="197"/>
                    </a:lnTo>
                    <a:lnTo>
                      <a:pt x="23" y="210"/>
                    </a:lnTo>
                    <a:lnTo>
                      <a:pt x="33" y="223"/>
                    </a:lnTo>
                    <a:lnTo>
                      <a:pt x="33" y="223"/>
                    </a:lnTo>
                    <a:lnTo>
                      <a:pt x="33" y="223"/>
                    </a:lnTo>
                    <a:lnTo>
                      <a:pt x="36" y="224"/>
                    </a:lnTo>
                    <a:lnTo>
                      <a:pt x="39" y="225"/>
                    </a:lnTo>
                    <a:lnTo>
                      <a:pt x="41" y="225"/>
                    </a:lnTo>
                    <a:lnTo>
                      <a:pt x="44" y="224"/>
                    </a:lnTo>
                    <a:lnTo>
                      <a:pt x="44" y="224"/>
                    </a:lnTo>
                    <a:lnTo>
                      <a:pt x="47" y="221"/>
                    </a:lnTo>
                    <a:lnTo>
                      <a:pt x="54" y="214"/>
                    </a:lnTo>
                    <a:lnTo>
                      <a:pt x="54" y="214"/>
                    </a:lnTo>
                    <a:lnTo>
                      <a:pt x="62" y="221"/>
                    </a:lnTo>
                    <a:lnTo>
                      <a:pt x="71" y="227"/>
                    </a:lnTo>
                    <a:lnTo>
                      <a:pt x="81" y="232"/>
                    </a:lnTo>
                    <a:lnTo>
                      <a:pt x="91" y="236"/>
                    </a:lnTo>
                    <a:lnTo>
                      <a:pt x="87" y="245"/>
                    </a:lnTo>
                    <a:lnTo>
                      <a:pt x="87" y="245"/>
                    </a:lnTo>
                    <a:lnTo>
                      <a:pt x="87" y="248"/>
                    </a:lnTo>
                    <a:lnTo>
                      <a:pt x="87" y="248"/>
                    </a:lnTo>
                    <a:lnTo>
                      <a:pt x="87" y="252"/>
                    </a:lnTo>
                    <a:lnTo>
                      <a:pt x="89" y="254"/>
                    </a:lnTo>
                    <a:lnTo>
                      <a:pt x="91" y="256"/>
                    </a:lnTo>
                    <a:lnTo>
                      <a:pt x="94" y="258"/>
                    </a:lnTo>
                    <a:lnTo>
                      <a:pt x="94" y="258"/>
                    </a:lnTo>
                    <a:lnTo>
                      <a:pt x="94" y="258"/>
                    </a:lnTo>
                    <a:lnTo>
                      <a:pt x="110" y="260"/>
                    </a:lnTo>
                    <a:lnTo>
                      <a:pt x="126" y="262"/>
                    </a:lnTo>
                    <a:lnTo>
                      <a:pt x="126" y="262"/>
                    </a:lnTo>
                    <a:lnTo>
                      <a:pt x="144" y="260"/>
                    </a:lnTo>
                    <a:lnTo>
                      <a:pt x="160" y="258"/>
                    </a:lnTo>
                    <a:lnTo>
                      <a:pt x="160" y="258"/>
                    </a:lnTo>
                    <a:lnTo>
                      <a:pt x="160" y="258"/>
                    </a:lnTo>
                    <a:lnTo>
                      <a:pt x="163" y="256"/>
                    </a:lnTo>
                    <a:lnTo>
                      <a:pt x="164" y="254"/>
                    </a:lnTo>
                    <a:lnTo>
                      <a:pt x="166" y="252"/>
                    </a:lnTo>
                    <a:lnTo>
                      <a:pt x="166" y="248"/>
                    </a:lnTo>
                    <a:lnTo>
                      <a:pt x="166" y="248"/>
                    </a:lnTo>
                    <a:lnTo>
                      <a:pt x="166" y="245"/>
                    </a:lnTo>
                    <a:lnTo>
                      <a:pt x="163" y="236"/>
                    </a:lnTo>
                    <a:lnTo>
                      <a:pt x="163" y="236"/>
                    </a:lnTo>
                    <a:lnTo>
                      <a:pt x="172" y="232"/>
                    </a:lnTo>
                    <a:lnTo>
                      <a:pt x="182" y="227"/>
                    </a:lnTo>
                    <a:lnTo>
                      <a:pt x="191" y="221"/>
                    </a:lnTo>
                    <a:lnTo>
                      <a:pt x="199" y="214"/>
                    </a:lnTo>
                    <a:lnTo>
                      <a:pt x="206" y="221"/>
                    </a:lnTo>
                    <a:lnTo>
                      <a:pt x="206" y="221"/>
                    </a:lnTo>
                    <a:lnTo>
                      <a:pt x="209" y="224"/>
                    </a:lnTo>
                    <a:lnTo>
                      <a:pt x="209" y="224"/>
                    </a:lnTo>
                    <a:lnTo>
                      <a:pt x="211" y="225"/>
                    </a:lnTo>
                    <a:lnTo>
                      <a:pt x="214" y="225"/>
                    </a:lnTo>
                    <a:lnTo>
                      <a:pt x="217" y="224"/>
                    </a:lnTo>
                    <a:lnTo>
                      <a:pt x="219" y="223"/>
                    </a:lnTo>
                    <a:lnTo>
                      <a:pt x="219" y="223"/>
                    </a:lnTo>
                    <a:lnTo>
                      <a:pt x="219" y="223"/>
                    </a:lnTo>
                    <a:lnTo>
                      <a:pt x="230" y="210"/>
                    </a:lnTo>
                    <a:lnTo>
                      <a:pt x="240" y="197"/>
                    </a:lnTo>
                    <a:lnTo>
                      <a:pt x="240" y="197"/>
                    </a:lnTo>
                    <a:lnTo>
                      <a:pt x="246" y="181"/>
                    </a:lnTo>
                    <a:lnTo>
                      <a:pt x="253" y="166"/>
                    </a:lnTo>
                    <a:lnTo>
                      <a:pt x="253" y="166"/>
                    </a:lnTo>
                    <a:lnTo>
                      <a:pt x="253" y="166"/>
                    </a:lnTo>
                    <a:lnTo>
                      <a:pt x="253" y="163"/>
                    </a:lnTo>
                    <a:lnTo>
                      <a:pt x="252" y="160"/>
                    </a:lnTo>
                    <a:lnTo>
                      <a:pt x="250" y="158"/>
                    </a:lnTo>
                    <a:lnTo>
                      <a:pt x="248" y="155"/>
                    </a:lnTo>
                    <a:lnTo>
                      <a:pt x="248" y="155"/>
                    </a:lnTo>
                    <a:lnTo>
                      <a:pt x="245" y="154"/>
                    </a:lnTo>
                    <a:lnTo>
                      <a:pt x="236" y="152"/>
                    </a:lnTo>
                    <a:lnTo>
                      <a:pt x="236" y="152"/>
                    </a:lnTo>
                    <a:lnTo>
                      <a:pt x="237" y="142"/>
                    </a:lnTo>
                    <a:lnTo>
                      <a:pt x="237" y="131"/>
                    </a:lnTo>
                    <a:lnTo>
                      <a:pt x="237" y="131"/>
                    </a:lnTo>
                    <a:lnTo>
                      <a:pt x="237" y="120"/>
                    </a:lnTo>
                    <a:lnTo>
                      <a:pt x="236" y="109"/>
                    </a:lnTo>
                    <a:lnTo>
                      <a:pt x="245" y="108"/>
                    </a:lnTo>
                    <a:lnTo>
                      <a:pt x="245" y="108"/>
                    </a:lnTo>
                    <a:lnTo>
                      <a:pt x="248" y="107"/>
                    </a:lnTo>
                    <a:lnTo>
                      <a:pt x="248" y="107"/>
                    </a:lnTo>
                    <a:close/>
                    <a:moveTo>
                      <a:pt x="126" y="193"/>
                    </a:moveTo>
                    <a:lnTo>
                      <a:pt x="126" y="193"/>
                    </a:lnTo>
                    <a:lnTo>
                      <a:pt x="114" y="191"/>
                    </a:lnTo>
                    <a:lnTo>
                      <a:pt x="102" y="187"/>
                    </a:lnTo>
                    <a:lnTo>
                      <a:pt x="93" y="182"/>
                    </a:lnTo>
                    <a:lnTo>
                      <a:pt x="83" y="174"/>
                    </a:lnTo>
                    <a:lnTo>
                      <a:pt x="75" y="166"/>
                    </a:lnTo>
                    <a:lnTo>
                      <a:pt x="70" y="155"/>
                    </a:lnTo>
                    <a:lnTo>
                      <a:pt x="66" y="143"/>
                    </a:lnTo>
                    <a:lnTo>
                      <a:pt x="64" y="131"/>
                    </a:lnTo>
                    <a:lnTo>
                      <a:pt x="64" y="131"/>
                    </a:lnTo>
                    <a:lnTo>
                      <a:pt x="66" y="119"/>
                    </a:lnTo>
                    <a:lnTo>
                      <a:pt x="70" y="107"/>
                    </a:lnTo>
                    <a:lnTo>
                      <a:pt x="75" y="97"/>
                    </a:lnTo>
                    <a:lnTo>
                      <a:pt x="83" y="88"/>
                    </a:lnTo>
                    <a:lnTo>
                      <a:pt x="93" y="80"/>
                    </a:lnTo>
                    <a:lnTo>
                      <a:pt x="102" y="74"/>
                    </a:lnTo>
                    <a:lnTo>
                      <a:pt x="114" y="70"/>
                    </a:lnTo>
                    <a:lnTo>
                      <a:pt x="126" y="70"/>
                    </a:lnTo>
                    <a:lnTo>
                      <a:pt x="126" y="70"/>
                    </a:lnTo>
                    <a:lnTo>
                      <a:pt x="139" y="70"/>
                    </a:lnTo>
                    <a:lnTo>
                      <a:pt x="151" y="74"/>
                    </a:lnTo>
                    <a:lnTo>
                      <a:pt x="161" y="80"/>
                    </a:lnTo>
                    <a:lnTo>
                      <a:pt x="170" y="88"/>
                    </a:lnTo>
                    <a:lnTo>
                      <a:pt x="178" y="97"/>
                    </a:lnTo>
                    <a:lnTo>
                      <a:pt x="183" y="107"/>
                    </a:lnTo>
                    <a:lnTo>
                      <a:pt x="187" y="119"/>
                    </a:lnTo>
                    <a:lnTo>
                      <a:pt x="188" y="131"/>
                    </a:lnTo>
                    <a:lnTo>
                      <a:pt x="188" y="131"/>
                    </a:lnTo>
                    <a:lnTo>
                      <a:pt x="187" y="143"/>
                    </a:lnTo>
                    <a:lnTo>
                      <a:pt x="183" y="155"/>
                    </a:lnTo>
                    <a:lnTo>
                      <a:pt x="178" y="166"/>
                    </a:lnTo>
                    <a:lnTo>
                      <a:pt x="170" y="174"/>
                    </a:lnTo>
                    <a:lnTo>
                      <a:pt x="161" y="182"/>
                    </a:lnTo>
                    <a:lnTo>
                      <a:pt x="151" y="187"/>
                    </a:lnTo>
                    <a:lnTo>
                      <a:pt x="139" y="191"/>
                    </a:lnTo>
                    <a:lnTo>
                      <a:pt x="126" y="193"/>
                    </a:lnTo>
                    <a:lnTo>
                      <a:pt x="12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6" name="Freeform 161"/>
              <p:cNvSpPr>
                <a:spLocks noEditPoints="1"/>
              </p:cNvSpPr>
              <p:nvPr/>
            </p:nvSpPr>
            <p:spPr bwMode="auto">
              <a:xfrm>
                <a:off x="3236913" y="4249738"/>
                <a:ext cx="112713" cy="115888"/>
              </a:xfrm>
              <a:custGeom>
                <a:avLst/>
                <a:gdLst>
                  <a:gd name="T0" fmla="*/ 129 w 141"/>
                  <a:gd name="T1" fmla="*/ 85 h 146"/>
                  <a:gd name="T2" fmla="*/ 129 w 141"/>
                  <a:gd name="T3" fmla="*/ 62 h 146"/>
                  <a:gd name="T4" fmla="*/ 139 w 141"/>
                  <a:gd name="T5" fmla="*/ 60 h 146"/>
                  <a:gd name="T6" fmla="*/ 141 w 141"/>
                  <a:gd name="T7" fmla="*/ 54 h 146"/>
                  <a:gd name="T8" fmla="*/ 139 w 141"/>
                  <a:gd name="T9" fmla="*/ 46 h 146"/>
                  <a:gd name="T10" fmla="*/ 129 w 141"/>
                  <a:gd name="T11" fmla="*/ 29 h 146"/>
                  <a:gd name="T12" fmla="*/ 122 w 141"/>
                  <a:gd name="T13" fmla="*/ 22 h 146"/>
                  <a:gd name="T14" fmla="*/ 117 w 141"/>
                  <a:gd name="T15" fmla="*/ 22 h 146"/>
                  <a:gd name="T16" fmla="*/ 110 w 141"/>
                  <a:gd name="T17" fmla="*/ 29 h 146"/>
                  <a:gd name="T18" fmla="*/ 93 w 141"/>
                  <a:gd name="T19" fmla="*/ 10 h 146"/>
                  <a:gd name="T20" fmla="*/ 93 w 141"/>
                  <a:gd name="T21" fmla="*/ 8 h 146"/>
                  <a:gd name="T22" fmla="*/ 89 w 141"/>
                  <a:gd name="T23" fmla="*/ 3 h 146"/>
                  <a:gd name="T24" fmla="*/ 71 w 141"/>
                  <a:gd name="T25" fmla="*/ 0 h 146"/>
                  <a:gd name="T26" fmla="*/ 52 w 141"/>
                  <a:gd name="T27" fmla="*/ 3 h 146"/>
                  <a:gd name="T28" fmla="*/ 50 w 141"/>
                  <a:gd name="T29" fmla="*/ 4 h 146"/>
                  <a:gd name="T30" fmla="*/ 50 w 141"/>
                  <a:gd name="T31" fmla="*/ 10 h 146"/>
                  <a:gd name="T32" fmla="*/ 41 w 141"/>
                  <a:gd name="T33" fmla="*/ 22 h 146"/>
                  <a:gd name="T34" fmla="*/ 27 w 141"/>
                  <a:gd name="T35" fmla="*/ 23 h 146"/>
                  <a:gd name="T36" fmla="*/ 21 w 141"/>
                  <a:gd name="T37" fmla="*/ 21 h 146"/>
                  <a:gd name="T38" fmla="*/ 19 w 141"/>
                  <a:gd name="T39" fmla="*/ 22 h 146"/>
                  <a:gd name="T40" fmla="*/ 8 w 141"/>
                  <a:gd name="T41" fmla="*/ 37 h 146"/>
                  <a:gd name="T42" fmla="*/ 0 w 141"/>
                  <a:gd name="T43" fmla="*/ 54 h 146"/>
                  <a:gd name="T44" fmla="*/ 2 w 141"/>
                  <a:gd name="T45" fmla="*/ 60 h 146"/>
                  <a:gd name="T46" fmla="*/ 13 w 141"/>
                  <a:gd name="T47" fmla="*/ 62 h 146"/>
                  <a:gd name="T48" fmla="*/ 12 w 141"/>
                  <a:gd name="T49" fmla="*/ 73 h 146"/>
                  <a:gd name="T50" fmla="*/ 5 w 141"/>
                  <a:gd name="T51" fmla="*/ 87 h 146"/>
                  <a:gd name="T52" fmla="*/ 1 w 141"/>
                  <a:gd name="T53" fmla="*/ 89 h 146"/>
                  <a:gd name="T54" fmla="*/ 0 w 141"/>
                  <a:gd name="T55" fmla="*/ 93 h 146"/>
                  <a:gd name="T56" fmla="*/ 8 w 141"/>
                  <a:gd name="T57" fmla="*/ 110 h 146"/>
                  <a:gd name="T58" fmla="*/ 19 w 141"/>
                  <a:gd name="T59" fmla="*/ 124 h 146"/>
                  <a:gd name="T60" fmla="*/ 25 w 141"/>
                  <a:gd name="T61" fmla="*/ 126 h 146"/>
                  <a:gd name="T62" fmla="*/ 32 w 141"/>
                  <a:gd name="T63" fmla="*/ 118 h 146"/>
                  <a:gd name="T64" fmla="*/ 52 w 141"/>
                  <a:gd name="T65" fmla="*/ 130 h 146"/>
                  <a:gd name="T66" fmla="*/ 48 w 141"/>
                  <a:gd name="T67" fmla="*/ 139 h 146"/>
                  <a:gd name="T68" fmla="*/ 52 w 141"/>
                  <a:gd name="T69" fmla="*/ 145 h 146"/>
                  <a:gd name="T70" fmla="*/ 62 w 141"/>
                  <a:gd name="T71" fmla="*/ 146 h 146"/>
                  <a:gd name="T72" fmla="*/ 81 w 141"/>
                  <a:gd name="T73" fmla="*/ 146 h 146"/>
                  <a:gd name="T74" fmla="*/ 89 w 141"/>
                  <a:gd name="T75" fmla="*/ 145 h 146"/>
                  <a:gd name="T76" fmla="*/ 93 w 141"/>
                  <a:gd name="T77" fmla="*/ 139 h 146"/>
                  <a:gd name="T78" fmla="*/ 90 w 141"/>
                  <a:gd name="T79" fmla="*/ 130 h 146"/>
                  <a:gd name="T80" fmla="*/ 116 w 141"/>
                  <a:gd name="T81" fmla="*/ 124 h 146"/>
                  <a:gd name="T82" fmla="*/ 117 w 141"/>
                  <a:gd name="T83" fmla="*/ 126 h 146"/>
                  <a:gd name="T84" fmla="*/ 122 w 141"/>
                  <a:gd name="T85" fmla="*/ 124 h 146"/>
                  <a:gd name="T86" fmla="*/ 135 w 141"/>
                  <a:gd name="T87" fmla="*/ 110 h 146"/>
                  <a:gd name="T88" fmla="*/ 141 w 141"/>
                  <a:gd name="T89" fmla="*/ 93 h 146"/>
                  <a:gd name="T90" fmla="*/ 141 w 141"/>
                  <a:gd name="T91" fmla="*/ 89 h 146"/>
                  <a:gd name="T92" fmla="*/ 137 w 141"/>
                  <a:gd name="T93" fmla="*/ 87 h 146"/>
                  <a:gd name="T94" fmla="*/ 71 w 141"/>
                  <a:gd name="T95" fmla="*/ 110 h 146"/>
                  <a:gd name="T96" fmla="*/ 51 w 141"/>
                  <a:gd name="T97" fmla="*/ 103 h 146"/>
                  <a:gd name="T98" fmla="*/ 37 w 141"/>
                  <a:gd name="T99" fmla="*/ 88 h 146"/>
                  <a:gd name="T100" fmla="*/ 35 w 141"/>
                  <a:gd name="T101" fmla="*/ 73 h 146"/>
                  <a:gd name="T102" fmla="*/ 41 w 141"/>
                  <a:gd name="T103" fmla="*/ 53 h 146"/>
                  <a:gd name="T104" fmla="*/ 56 w 141"/>
                  <a:gd name="T105" fmla="*/ 41 h 146"/>
                  <a:gd name="T106" fmla="*/ 71 w 141"/>
                  <a:gd name="T107" fmla="*/ 38 h 146"/>
                  <a:gd name="T108" fmla="*/ 91 w 141"/>
                  <a:gd name="T109" fmla="*/ 44 h 146"/>
                  <a:gd name="T110" fmla="*/ 104 w 141"/>
                  <a:gd name="T111" fmla="*/ 60 h 146"/>
                  <a:gd name="T112" fmla="*/ 106 w 141"/>
                  <a:gd name="T113" fmla="*/ 73 h 146"/>
                  <a:gd name="T114" fmla="*/ 101 w 141"/>
                  <a:gd name="T115" fmla="*/ 93 h 146"/>
                  <a:gd name="T116" fmla="*/ 85 w 141"/>
                  <a:gd name="T117" fmla="*/ 107 h 146"/>
                  <a:gd name="T118" fmla="*/ 71 w 141"/>
                  <a:gd name="T119" fmla="*/ 1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46">
                    <a:moveTo>
                      <a:pt x="137" y="87"/>
                    </a:moveTo>
                    <a:lnTo>
                      <a:pt x="129" y="85"/>
                    </a:lnTo>
                    <a:lnTo>
                      <a:pt x="129" y="85"/>
                    </a:lnTo>
                    <a:lnTo>
                      <a:pt x="130" y="73"/>
                    </a:lnTo>
                    <a:lnTo>
                      <a:pt x="130" y="73"/>
                    </a:lnTo>
                    <a:lnTo>
                      <a:pt x="129" y="62"/>
                    </a:lnTo>
                    <a:lnTo>
                      <a:pt x="137" y="61"/>
                    </a:lnTo>
                    <a:lnTo>
                      <a:pt x="137" y="61"/>
                    </a:lnTo>
                    <a:lnTo>
                      <a:pt x="139" y="60"/>
                    </a:lnTo>
                    <a:lnTo>
                      <a:pt x="139" y="60"/>
                    </a:lnTo>
                    <a:lnTo>
                      <a:pt x="141" y="57"/>
                    </a:lnTo>
                    <a:lnTo>
                      <a:pt x="141" y="54"/>
                    </a:lnTo>
                    <a:lnTo>
                      <a:pt x="141" y="54"/>
                    </a:lnTo>
                    <a:lnTo>
                      <a:pt x="141" y="54"/>
                    </a:lnTo>
                    <a:lnTo>
                      <a:pt x="139" y="46"/>
                    </a:lnTo>
                    <a:lnTo>
                      <a:pt x="135" y="37"/>
                    </a:lnTo>
                    <a:lnTo>
                      <a:pt x="135" y="37"/>
                    </a:lnTo>
                    <a:lnTo>
                      <a:pt x="129" y="29"/>
                    </a:lnTo>
                    <a:lnTo>
                      <a:pt x="122" y="22"/>
                    </a:lnTo>
                    <a:lnTo>
                      <a:pt x="122" y="22"/>
                    </a:lnTo>
                    <a:lnTo>
                      <a:pt x="122" y="22"/>
                    </a:lnTo>
                    <a:lnTo>
                      <a:pt x="120" y="21"/>
                    </a:lnTo>
                    <a:lnTo>
                      <a:pt x="117" y="22"/>
                    </a:lnTo>
                    <a:lnTo>
                      <a:pt x="117" y="22"/>
                    </a:lnTo>
                    <a:lnTo>
                      <a:pt x="116" y="23"/>
                    </a:lnTo>
                    <a:lnTo>
                      <a:pt x="110" y="29"/>
                    </a:lnTo>
                    <a:lnTo>
                      <a:pt x="110" y="29"/>
                    </a:lnTo>
                    <a:lnTo>
                      <a:pt x="101" y="22"/>
                    </a:lnTo>
                    <a:lnTo>
                      <a:pt x="90" y="18"/>
                    </a:lnTo>
                    <a:lnTo>
                      <a:pt x="93" y="10"/>
                    </a:lnTo>
                    <a:lnTo>
                      <a:pt x="93" y="10"/>
                    </a:lnTo>
                    <a:lnTo>
                      <a:pt x="93" y="8"/>
                    </a:lnTo>
                    <a:lnTo>
                      <a:pt x="93" y="8"/>
                    </a:lnTo>
                    <a:lnTo>
                      <a:pt x="91" y="4"/>
                    </a:lnTo>
                    <a:lnTo>
                      <a:pt x="89" y="3"/>
                    </a:lnTo>
                    <a:lnTo>
                      <a:pt x="89" y="3"/>
                    </a:lnTo>
                    <a:lnTo>
                      <a:pt x="89" y="3"/>
                    </a:lnTo>
                    <a:lnTo>
                      <a:pt x="81" y="2"/>
                    </a:lnTo>
                    <a:lnTo>
                      <a:pt x="71" y="0"/>
                    </a:lnTo>
                    <a:lnTo>
                      <a:pt x="71" y="0"/>
                    </a:lnTo>
                    <a:lnTo>
                      <a:pt x="62" y="2"/>
                    </a:lnTo>
                    <a:lnTo>
                      <a:pt x="52" y="3"/>
                    </a:lnTo>
                    <a:lnTo>
                      <a:pt x="52" y="3"/>
                    </a:lnTo>
                    <a:lnTo>
                      <a:pt x="52" y="3"/>
                    </a:lnTo>
                    <a:lnTo>
                      <a:pt x="50" y="4"/>
                    </a:lnTo>
                    <a:lnTo>
                      <a:pt x="48" y="8"/>
                    </a:lnTo>
                    <a:lnTo>
                      <a:pt x="48" y="8"/>
                    </a:lnTo>
                    <a:lnTo>
                      <a:pt x="50" y="10"/>
                    </a:lnTo>
                    <a:lnTo>
                      <a:pt x="52" y="18"/>
                    </a:lnTo>
                    <a:lnTo>
                      <a:pt x="52" y="18"/>
                    </a:lnTo>
                    <a:lnTo>
                      <a:pt x="41" y="22"/>
                    </a:lnTo>
                    <a:lnTo>
                      <a:pt x="32" y="29"/>
                    </a:lnTo>
                    <a:lnTo>
                      <a:pt x="27" y="23"/>
                    </a:lnTo>
                    <a:lnTo>
                      <a:pt x="27" y="23"/>
                    </a:lnTo>
                    <a:lnTo>
                      <a:pt x="25" y="22"/>
                    </a:lnTo>
                    <a:lnTo>
                      <a:pt x="25" y="22"/>
                    </a:lnTo>
                    <a:lnTo>
                      <a:pt x="21" y="21"/>
                    </a:lnTo>
                    <a:lnTo>
                      <a:pt x="19" y="22"/>
                    </a:lnTo>
                    <a:lnTo>
                      <a:pt x="19" y="22"/>
                    </a:lnTo>
                    <a:lnTo>
                      <a:pt x="19" y="22"/>
                    </a:lnTo>
                    <a:lnTo>
                      <a:pt x="13" y="29"/>
                    </a:lnTo>
                    <a:lnTo>
                      <a:pt x="8" y="37"/>
                    </a:lnTo>
                    <a:lnTo>
                      <a:pt x="8" y="37"/>
                    </a:lnTo>
                    <a:lnTo>
                      <a:pt x="4" y="46"/>
                    </a:lnTo>
                    <a:lnTo>
                      <a:pt x="0" y="54"/>
                    </a:lnTo>
                    <a:lnTo>
                      <a:pt x="0" y="54"/>
                    </a:lnTo>
                    <a:lnTo>
                      <a:pt x="0" y="54"/>
                    </a:lnTo>
                    <a:lnTo>
                      <a:pt x="1" y="57"/>
                    </a:lnTo>
                    <a:lnTo>
                      <a:pt x="2" y="60"/>
                    </a:lnTo>
                    <a:lnTo>
                      <a:pt x="2" y="60"/>
                    </a:lnTo>
                    <a:lnTo>
                      <a:pt x="5" y="61"/>
                    </a:lnTo>
                    <a:lnTo>
                      <a:pt x="13" y="62"/>
                    </a:lnTo>
                    <a:lnTo>
                      <a:pt x="13" y="62"/>
                    </a:lnTo>
                    <a:lnTo>
                      <a:pt x="12" y="73"/>
                    </a:lnTo>
                    <a:lnTo>
                      <a:pt x="12" y="73"/>
                    </a:lnTo>
                    <a:lnTo>
                      <a:pt x="13" y="85"/>
                    </a:lnTo>
                    <a:lnTo>
                      <a:pt x="5" y="87"/>
                    </a:lnTo>
                    <a:lnTo>
                      <a:pt x="5" y="87"/>
                    </a:lnTo>
                    <a:lnTo>
                      <a:pt x="2" y="87"/>
                    </a:lnTo>
                    <a:lnTo>
                      <a:pt x="2" y="87"/>
                    </a:lnTo>
                    <a:lnTo>
                      <a:pt x="1" y="89"/>
                    </a:lnTo>
                    <a:lnTo>
                      <a:pt x="0" y="93"/>
                    </a:lnTo>
                    <a:lnTo>
                      <a:pt x="0" y="93"/>
                    </a:lnTo>
                    <a:lnTo>
                      <a:pt x="0" y="93"/>
                    </a:lnTo>
                    <a:lnTo>
                      <a:pt x="4" y="101"/>
                    </a:lnTo>
                    <a:lnTo>
                      <a:pt x="8" y="110"/>
                    </a:lnTo>
                    <a:lnTo>
                      <a:pt x="8" y="110"/>
                    </a:lnTo>
                    <a:lnTo>
                      <a:pt x="13" y="118"/>
                    </a:lnTo>
                    <a:lnTo>
                      <a:pt x="19" y="124"/>
                    </a:lnTo>
                    <a:lnTo>
                      <a:pt x="19" y="124"/>
                    </a:lnTo>
                    <a:lnTo>
                      <a:pt x="19" y="124"/>
                    </a:lnTo>
                    <a:lnTo>
                      <a:pt x="21" y="126"/>
                    </a:lnTo>
                    <a:lnTo>
                      <a:pt x="25" y="126"/>
                    </a:lnTo>
                    <a:lnTo>
                      <a:pt x="25" y="126"/>
                    </a:lnTo>
                    <a:lnTo>
                      <a:pt x="27" y="124"/>
                    </a:lnTo>
                    <a:lnTo>
                      <a:pt x="32" y="118"/>
                    </a:lnTo>
                    <a:lnTo>
                      <a:pt x="32" y="118"/>
                    </a:lnTo>
                    <a:lnTo>
                      <a:pt x="41" y="124"/>
                    </a:lnTo>
                    <a:lnTo>
                      <a:pt x="52" y="130"/>
                    </a:lnTo>
                    <a:lnTo>
                      <a:pt x="50" y="138"/>
                    </a:lnTo>
                    <a:lnTo>
                      <a:pt x="50" y="138"/>
                    </a:lnTo>
                    <a:lnTo>
                      <a:pt x="48" y="139"/>
                    </a:lnTo>
                    <a:lnTo>
                      <a:pt x="48" y="139"/>
                    </a:lnTo>
                    <a:lnTo>
                      <a:pt x="50" y="142"/>
                    </a:lnTo>
                    <a:lnTo>
                      <a:pt x="52" y="145"/>
                    </a:lnTo>
                    <a:lnTo>
                      <a:pt x="52" y="145"/>
                    </a:lnTo>
                    <a:lnTo>
                      <a:pt x="52" y="145"/>
                    </a:lnTo>
                    <a:lnTo>
                      <a:pt x="62" y="146"/>
                    </a:lnTo>
                    <a:lnTo>
                      <a:pt x="71" y="146"/>
                    </a:lnTo>
                    <a:lnTo>
                      <a:pt x="71" y="146"/>
                    </a:lnTo>
                    <a:lnTo>
                      <a:pt x="81" y="146"/>
                    </a:lnTo>
                    <a:lnTo>
                      <a:pt x="89" y="145"/>
                    </a:lnTo>
                    <a:lnTo>
                      <a:pt x="89" y="145"/>
                    </a:lnTo>
                    <a:lnTo>
                      <a:pt x="89" y="145"/>
                    </a:lnTo>
                    <a:lnTo>
                      <a:pt x="91" y="142"/>
                    </a:lnTo>
                    <a:lnTo>
                      <a:pt x="93" y="139"/>
                    </a:lnTo>
                    <a:lnTo>
                      <a:pt x="93" y="139"/>
                    </a:lnTo>
                    <a:lnTo>
                      <a:pt x="93" y="138"/>
                    </a:lnTo>
                    <a:lnTo>
                      <a:pt x="90" y="130"/>
                    </a:lnTo>
                    <a:lnTo>
                      <a:pt x="90" y="130"/>
                    </a:lnTo>
                    <a:lnTo>
                      <a:pt x="101" y="124"/>
                    </a:lnTo>
                    <a:lnTo>
                      <a:pt x="110" y="118"/>
                    </a:lnTo>
                    <a:lnTo>
                      <a:pt x="116" y="124"/>
                    </a:lnTo>
                    <a:lnTo>
                      <a:pt x="116" y="124"/>
                    </a:lnTo>
                    <a:lnTo>
                      <a:pt x="117" y="126"/>
                    </a:lnTo>
                    <a:lnTo>
                      <a:pt x="117" y="126"/>
                    </a:lnTo>
                    <a:lnTo>
                      <a:pt x="120" y="126"/>
                    </a:lnTo>
                    <a:lnTo>
                      <a:pt x="122" y="124"/>
                    </a:lnTo>
                    <a:lnTo>
                      <a:pt x="122" y="124"/>
                    </a:lnTo>
                    <a:lnTo>
                      <a:pt x="122" y="124"/>
                    </a:lnTo>
                    <a:lnTo>
                      <a:pt x="129" y="118"/>
                    </a:lnTo>
                    <a:lnTo>
                      <a:pt x="135" y="110"/>
                    </a:lnTo>
                    <a:lnTo>
                      <a:pt x="135" y="110"/>
                    </a:lnTo>
                    <a:lnTo>
                      <a:pt x="139" y="101"/>
                    </a:lnTo>
                    <a:lnTo>
                      <a:pt x="141" y="93"/>
                    </a:lnTo>
                    <a:lnTo>
                      <a:pt x="141" y="93"/>
                    </a:lnTo>
                    <a:lnTo>
                      <a:pt x="141" y="93"/>
                    </a:lnTo>
                    <a:lnTo>
                      <a:pt x="141" y="89"/>
                    </a:lnTo>
                    <a:lnTo>
                      <a:pt x="139" y="87"/>
                    </a:lnTo>
                    <a:lnTo>
                      <a:pt x="139" y="87"/>
                    </a:lnTo>
                    <a:lnTo>
                      <a:pt x="137" y="87"/>
                    </a:lnTo>
                    <a:lnTo>
                      <a:pt x="137" y="87"/>
                    </a:lnTo>
                    <a:close/>
                    <a:moveTo>
                      <a:pt x="71" y="110"/>
                    </a:moveTo>
                    <a:lnTo>
                      <a:pt x="71" y="110"/>
                    </a:lnTo>
                    <a:lnTo>
                      <a:pt x="63" y="108"/>
                    </a:lnTo>
                    <a:lnTo>
                      <a:pt x="56" y="107"/>
                    </a:lnTo>
                    <a:lnTo>
                      <a:pt x="51" y="103"/>
                    </a:lnTo>
                    <a:lnTo>
                      <a:pt x="46" y="99"/>
                    </a:lnTo>
                    <a:lnTo>
                      <a:pt x="41" y="93"/>
                    </a:lnTo>
                    <a:lnTo>
                      <a:pt x="37" y="88"/>
                    </a:lnTo>
                    <a:lnTo>
                      <a:pt x="36" y="81"/>
                    </a:lnTo>
                    <a:lnTo>
                      <a:pt x="35" y="73"/>
                    </a:lnTo>
                    <a:lnTo>
                      <a:pt x="35" y="73"/>
                    </a:lnTo>
                    <a:lnTo>
                      <a:pt x="36" y="66"/>
                    </a:lnTo>
                    <a:lnTo>
                      <a:pt x="37" y="60"/>
                    </a:lnTo>
                    <a:lnTo>
                      <a:pt x="41" y="53"/>
                    </a:lnTo>
                    <a:lnTo>
                      <a:pt x="46" y="48"/>
                    </a:lnTo>
                    <a:lnTo>
                      <a:pt x="51" y="44"/>
                    </a:lnTo>
                    <a:lnTo>
                      <a:pt x="56" y="41"/>
                    </a:lnTo>
                    <a:lnTo>
                      <a:pt x="63" y="38"/>
                    </a:lnTo>
                    <a:lnTo>
                      <a:pt x="71" y="38"/>
                    </a:lnTo>
                    <a:lnTo>
                      <a:pt x="71" y="38"/>
                    </a:lnTo>
                    <a:lnTo>
                      <a:pt x="78" y="38"/>
                    </a:lnTo>
                    <a:lnTo>
                      <a:pt x="85" y="41"/>
                    </a:lnTo>
                    <a:lnTo>
                      <a:pt x="91" y="44"/>
                    </a:lnTo>
                    <a:lnTo>
                      <a:pt x="97" y="48"/>
                    </a:lnTo>
                    <a:lnTo>
                      <a:pt x="101" y="53"/>
                    </a:lnTo>
                    <a:lnTo>
                      <a:pt x="104" y="60"/>
                    </a:lnTo>
                    <a:lnTo>
                      <a:pt x="106" y="66"/>
                    </a:lnTo>
                    <a:lnTo>
                      <a:pt x="106" y="73"/>
                    </a:lnTo>
                    <a:lnTo>
                      <a:pt x="106" y="73"/>
                    </a:lnTo>
                    <a:lnTo>
                      <a:pt x="106" y="81"/>
                    </a:lnTo>
                    <a:lnTo>
                      <a:pt x="104" y="88"/>
                    </a:lnTo>
                    <a:lnTo>
                      <a:pt x="101" y="93"/>
                    </a:lnTo>
                    <a:lnTo>
                      <a:pt x="97" y="99"/>
                    </a:lnTo>
                    <a:lnTo>
                      <a:pt x="91" y="103"/>
                    </a:lnTo>
                    <a:lnTo>
                      <a:pt x="85" y="107"/>
                    </a:lnTo>
                    <a:lnTo>
                      <a:pt x="78" y="108"/>
                    </a:lnTo>
                    <a:lnTo>
                      <a:pt x="71" y="110"/>
                    </a:lnTo>
                    <a:lnTo>
                      <a:pt x="7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7" name="Freeform 162"/>
              <p:cNvSpPr>
                <a:spLocks/>
              </p:cNvSpPr>
              <p:nvPr/>
            </p:nvSpPr>
            <p:spPr bwMode="auto">
              <a:xfrm>
                <a:off x="3119438" y="4373563"/>
                <a:ext cx="55563" cy="55563"/>
              </a:xfrm>
              <a:custGeom>
                <a:avLst/>
                <a:gdLst>
                  <a:gd name="T0" fmla="*/ 35 w 70"/>
                  <a:gd name="T1" fmla="*/ 0 h 70"/>
                  <a:gd name="T2" fmla="*/ 35 w 70"/>
                  <a:gd name="T3" fmla="*/ 0 h 70"/>
                  <a:gd name="T4" fmla="*/ 29 w 70"/>
                  <a:gd name="T5" fmla="*/ 1 h 70"/>
                  <a:gd name="T6" fmla="*/ 22 w 70"/>
                  <a:gd name="T7" fmla="*/ 2 h 70"/>
                  <a:gd name="T8" fmla="*/ 17 w 70"/>
                  <a:gd name="T9" fmla="*/ 7 h 70"/>
                  <a:gd name="T10" fmla="*/ 11 w 70"/>
                  <a:gd name="T11" fmla="*/ 11 h 70"/>
                  <a:gd name="T12" fmla="*/ 7 w 70"/>
                  <a:gd name="T13" fmla="*/ 16 h 70"/>
                  <a:gd name="T14" fmla="*/ 3 w 70"/>
                  <a:gd name="T15" fmla="*/ 21 h 70"/>
                  <a:gd name="T16" fmla="*/ 2 w 70"/>
                  <a:gd name="T17" fmla="*/ 28 h 70"/>
                  <a:gd name="T18" fmla="*/ 0 w 70"/>
                  <a:gd name="T19" fmla="*/ 35 h 70"/>
                  <a:gd name="T20" fmla="*/ 0 w 70"/>
                  <a:gd name="T21" fmla="*/ 35 h 70"/>
                  <a:gd name="T22" fmla="*/ 2 w 70"/>
                  <a:gd name="T23" fmla="*/ 42 h 70"/>
                  <a:gd name="T24" fmla="*/ 3 w 70"/>
                  <a:gd name="T25" fmla="*/ 48 h 70"/>
                  <a:gd name="T26" fmla="*/ 7 w 70"/>
                  <a:gd name="T27" fmla="*/ 55 h 70"/>
                  <a:gd name="T28" fmla="*/ 11 w 70"/>
                  <a:gd name="T29" fmla="*/ 59 h 70"/>
                  <a:gd name="T30" fmla="*/ 17 w 70"/>
                  <a:gd name="T31" fmla="*/ 64 h 70"/>
                  <a:gd name="T32" fmla="*/ 22 w 70"/>
                  <a:gd name="T33" fmla="*/ 67 h 70"/>
                  <a:gd name="T34" fmla="*/ 29 w 70"/>
                  <a:gd name="T35" fmla="*/ 69 h 70"/>
                  <a:gd name="T36" fmla="*/ 35 w 70"/>
                  <a:gd name="T37" fmla="*/ 70 h 70"/>
                  <a:gd name="T38" fmla="*/ 35 w 70"/>
                  <a:gd name="T39" fmla="*/ 70 h 70"/>
                  <a:gd name="T40" fmla="*/ 42 w 70"/>
                  <a:gd name="T41" fmla="*/ 69 h 70"/>
                  <a:gd name="T42" fmla="*/ 49 w 70"/>
                  <a:gd name="T43" fmla="*/ 67 h 70"/>
                  <a:gd name="T44" fmla="*/ 54 w 70"/>
                  <a:gd name="T45" fmla="*/ 64 h 70"/>
                  <a:gd name="T46" fmla="*/ 60 w 70"/>
                  <a:gd name="T47" fmla="*/ 59 h 70"/>
                  <a:gd name="T48" fmla="*/ 64 w 70"/>
                  <a:gd name="T49" fmla="*/ 55 h 70"/>
                  <a:gd name="T50" fmla="*/ 68 w 70"/>
                  <a:gd name="T51" fmla="*/ 48 h 70"/>
                  <a:gd name="T52" fmla="*/ 69 w 70"/>
                  <a:gd name="T53" fmla="*/ 42 h 70"/>
                  <a:gd name="T54" fmla="*/ 70 w 70"/>
                  <a:gd name="T55" fmla="*/ 35 h 70"/>
                  <a:gd name="T56" fmla="*/ 70 w 70"/>
                  <a:gd name="T57" fmla="*/ 35 h 70"/>
                  <a:gd name="T58" fmla="*/ 69 w 70"/>
                  <a:gd name="T59" fmla="*/ 28 h 70"/>
                  <a:gd name="T60" fmla="*/ 68 w 70"/>
                  <a:gd name="T61" fmla="*/ 21 h 70"/>
                  <a:gd name="T62" fmla="*/ 64 w 70"/>
                  <a:gd name="T63" fmla="*/ 16 h 70"/>
                  <a:gd name="T64" fmla="*/ 60 w 70"/>
                  <a:gd name="T65" fmla="*/ 11 h 70"/>
                  <a:gd name="T66" fmla="*/ 54 w 70"/>
                  <a:gd name="T67" fmla="*/ 7 h 70"/>
                  <a:gd name="T68" fmla="*/ 49 w 70"/>
                  <a:gd name="T69" fmla="*/ 2 h 70"/>
                  <a:gd name="T70" fmla="*/ 42 w 70"/>
                  <a:gd name="T71" fmla="*/ 1 h 70"/>
                  <a:gd name="T72" fmla="*/ 35 w 70"/>
                  <a:gd name="T73" fmla="*/ 0 h 70"/>
                  <a:gd name="T74" fmla="*/ 35 w 70"/>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0">
                    <a:moveTo>
                      <a:pt x="35" y="0"/>
                    </a:moveTo>
                    <a:lnTo>
                      <a:pt x="35" y="0"/>
                    </a:lnTo>
                    <a:lnTo>
                      <a:pt x="29" y="1"/>
                    </a:lnTo>
                    <a:lnTo>
                      <a:pt x="22" y="2"/>
                    </a:lnTo>
                    <a:lnTo>
                      <a:pt x="17" y="7"/>
                    </a:lnTo>
                    <a:lnTo>
                      <a:pt x="11" y="11"/>
                    </a:lnTo>
                    <a:lnTo>
                      <a:pt x="7" y="16"/>
                    </a:lnTo>
                    <a:lnTo>
                      <a:pt x="3" y="21"/>
                    </a:lnTo>
                    <a:lnTo>
                      <a:pt x="2" y="28"/>
                    </a:lnTo>
                    <a:lnTo>
                      <a:pt x="0" y="35"/>
                    </a:lnTo>
                    <a:lnTo>
                      <a:pt x="0" y="35"/>
                    </a:lnTo>
                    <a:lnTo>
                      <a:pt x="2" y="42"/>
                    </a:lnTo>
                    <a:lnTo>
                      <a:pt x="3" y="48"/>
                    </a:lnTo>
                    <a:lnTo>
                      <a:pt x="7" y="55"/>
                    </a:lnTo>
                    <a:lnTo>
                      <a:pt x="11" y="59"/>
                    </a:lnTo>
                    <a:lnTo>
                      <a:pt x="17" y="64"/>
                    </a:lnTo>
                    <a:lnTo>
                      <a:pt x="22" y="67"/>
                    </a:lnTo>
                    <a:lnTo>
                      <a:pt x="29" y="69"/>
                    </a:lnTo>
                    <a:lnTo>
                      <a:pt x="35" y="70"/>
                    </a:lnTo>
                    <a:lnTo>
                      <a:pt x="35" y="70"/>
                    </a:lnTo>
                    <a:lnTo>
                      <a:pt x="42" y="69"/>
                    </a:lnTo>
                    <a:lnTo>
                      <a:pt x="49" y="67"/>
                    </a:lnTo>
                    <a:lnTo>
                      <a:pt x="54" y="64"/>
                    </a:lnTo>
                    <a:lnTo>
                      <a:pt x="60" y="59"/>
                    </a:lnTo>
                    <a:lnTo>
                      <a:pt x="64" y="55"/>
                    </a:lnTo>
                    <a:lnTo>
                      <a:pt x="68" y="48"/>
                    </a:lnTo>
                    <a:lnTo>
                      <a:pt x="69" y="42"/>
                    </a:lnTo>
                    <a:lnTo>
                      <a:pt x="70" y="35"/>
                    </a:lnTo>
                    <a:lnTo>
                      <a:pt x="70" y="35"/>
                    </a:lnTo>
                    <a:lnTo>
                      <a:pt x="69" y="28"/>
                    </a:lnTo>
                    <a:lnTo>
                      <a:pt x="68" y="21"/>
                    </a:lnTo>
                    <a:lnTo>
                      <a:pt x="64" y="16"/>
                    </a:lnTo>
                    <a:lnTo>
                      <a:pt x="60" y="11"/>
                    </a:lnTo>
                    <a:lnTo>
                      <a:pt x="54" y="7"/>
                    </a:lnTo>
                    <a:lnTo>
                      <a:pt x="49" y="2"/>
                    </a:lnTo>
                    <a:lnTo>
                      <a:pt x="42"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8" name="Freeform 163"/>
              <p:cNvSpPr>
                <a:spLocks/>
              </p:cNvSpPr>
              <p:nvPr/>
            </p:nvSpPr>
            <p:spPr bwMode="auto">
              <a:xfrm>
                <a:off x="3279775" y="4294188"/>
                <a:ext cx="26988" cy="26988"/>
              </a:xfrm>
              <a:custGeom>
                <a:avLst/>
                <a:gdLst>
                  <a:gd name="T0" fmla="*/ 16 w 32"/>
                  <a:gd name="T1" fmla="*/ 0 h 32"/>
                  <a:gd name="T2" fmla="*/ 16 w 32"/>
                  <a:gd name="T3" fmla="*/ 0 h 32"/>
                  <a:gd name="T4" fmla="*/ 9 w 32"/>
                  <a:gd name="T5" fmla="*/ 1 h 32"/>
                  <a:gd name="T6" fmla="*/ 4 w 32"/>
                  <a:gd name="T7" fmla="*/ 5 h 32"/>
                  <a:gd name="T8" fmla="*/ 1 w 32"/>
                  <a:gd name="T9" fmla="*/ 11 h 32"/>
                  <a:gd name="T10" fmla="*/ 0 w 32"/>
                  <a:gd name="T11" fmla="*/ 16 h 32"/>
                  <a:gd name="T12" fmla="*/ 0 w 32"/>
                  <a:gd name="T13" fmla="*/ 16 h 32"/>
                  <a:gd name="T14" fmla="*/ 1 w 32"/>
                  <a:gd name="T15" fmla="*/ 23 h 32"/>
                  <a:gd name="T16" fmla="*/ 4 w 32"/>
                  <a:gd name="T17" fmla="*/ 28 h 32"/>
                  <a:gd name="T18" fmla="*/ 9 w 32"/>
                  <a:gd name="T19" fmla="*/ 31 h 32"/>
                  <a:gd name="T20" fmla="*/ 16 w 32"/>
                  <a:gd name="T21" fmla="*/ 32 h 32"/>
                  <a:gd name="T22" fmla="*/ 16 w 32"/>
                  <a:gd name="T23" fmla="*/ 32 h 32"/>
                  <a:gd name="T24" fmla="*/ 22 w 32"/>
                  <a:gd name="T25" fmla="*/ 31 h 32"/>
                  <a:gd name="T26" fmla="*/ 27 w 32"/>
                  <a:gd name="T27" fmla="*/ 28 h 32"/>
                  <a:gd name="T28" fmla="*/ 31 w 32"/>
                  <a:gd name="T29" fmla="*/ 23 h 32"/>
                  <a:gd name="T30" fmla="*/ 32 w 32"/>
                  <a:gd name="T31" fmla="*/ 16 h 32"/>
                  <a:gd name="T32" fmla="*/ 32 w 32"/>
                  <a:gd name="T33" fmla="*/ 16 h 32"/>
                  <a:gd name="T34" fmla="*/ 31 w 32"/>
                  <a:gd name="T35" fmla="*/ 11 h 32"/>
                  <a:gd name="T36" fmla="*/ 27 w 32"/>
                  <a:gd name="T37" fmla="*/ 5 h 32"/>
                  <a:gd name="T38" fmla="*/ 22 w 32"/>
                  <a:gd name="T39" fmla="*/ 1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9" y="1"/>
                    </a:lnTo>
                    <a:lnTo>
                      <a:pt x="4" y="5"/>
                    </a:lnTo>
                    <a:lnTo>
                      <a:pt x="1" y="11"/>
                    </a:lnTo>
                    <a:lnTo>
                      <a:pt x="0" y="16"/>
                    </a:lnTo>
                    <a:lnTo>
                      <a:pt x="0" y="16"/>
                    </a:lnTo>
                    <a:lnTo>
                      <a:pt x="1" y="23"/>
                    </a:lnTo>
                    <a:lnTo>
                      <a:pt x="4" y="28"/>
                    </a:lnTo>
                    <a:lnTo>
                      <a:pt x="9" y="31"/>
                    </a:lnTo>
                    <a:lnTo>
                      <a:pt x="16" y="32"/>
                    </a:lnTo>
                    <a:lnTo>
                      <a:pt x="16" y="32"/>
                    </a:lnTo>
                    <a:lnTo>
                      <a:pt x="22" y="31"/>
                    </a:lnTo>
                    <a:lnTo>
                      <a:pt x="27" y="28"/>
                    </a:lnTo>
                    <a:lnTo>
                      <a:pt x="31" y="23"/>
                    </a:lnTo>
                    <a:lnTo>
                      <a:pt x="32" y="16"/>
                    </a:lnTo>
                    <a:lnTo>
                      <a:pt x="32" y="16"/>
                    </a:lnTo>
                    <a:lnTo>
                      <a:pt x="31" y="11"/>
                    </a:lnTo>
                    <a:lnTo>
                      <a:pt x="27" y="5"/>
                    </a:lnTo>
                    <a:lnTo>
                      <a:pt x="22" y="1"/>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nvGrpSpPr>
            <p:cNvPr id="139" name="Group 138"/>
            <p:cNvGrpSpPr/>
            <p:nvPr/>
          </p:nvGrpSpPr>
          <p:grpSpPr>
            <a:xfrm>
              <a:off x="6960183" y="4404585"/>
              <a:ext cx="309689" cy="261046"/>
              <a:chOff x="3046413" y="4249738"/>
              <a:chExt cx="303213" cy="255587"/>
            </a:xfrm>
            <a:grpFill/>
          </p:grpSpPr>
          <p:sp>
            <p:nvSpPr>
              <p:cNvPr id="140" name="Freeform 160"/>
              <p:cNvSpPr>
                <a:spLocks noEditPoints="1"/>
              </p:cNvSpPr>
              <p:nvPr/>
            </p:nvSpPr>
            <p:spPr bwMode="auto">
              <a:xfrm>
                <a:off x="3046413" y="4298950"/>
                <a:ext cx="201613" cy="206375"/>
              </a:xfrm>
              <a:custGeom>
                <a:avLst/>
                <a:gdLst>
                  <a:gd name="T0" fmla="*/ 252 w 253"/>
                  <a:gd name="T1" fmla="*/ 103 h 262"/>
                  <a:gd name="T2" fmla="*/ 253 w 253"/>
                  <a:gd name="T3" fmla="*/ 97 h 262"/>
                  <a:gd name="T4" fmla="*/ 230 w 253"/>
                  <a:gd name="T5" fmla="*/ 51 h 262"/>
                  <a:gd name="T6" fmla="*/ 217 w 253"/>
                  <a:gd name="T7" fmla="*/ 38 h 262"/>
                  <a:gd name="T8" fmla="*/ 209 w 253"/>
                  <a:gd name="T9" fmla="*/ 38 h 262"/>
                  <a:gd name="T10" fmla="*/ 191 w 253"/>
                  <a:gd name="T11" fmla="*/ 40 h 262"/>
                  <a:gd name="T12" fmla="*/ 166 w 253"/>
                  <a:gd name="T13" fmla="*/ 18 h 262"/>
                  <a:gd name="T14" fmla="*/ 166 w 253"/>
                  <a:gd name="T15" fmla="*/ 11 h 262"/>
                  <a:gd name="T16" fmla="*/ 160 w 253"/>
                  <a:gd name="T17" fmla="*/ 4 h 262"/>
                  <a:gd name="T18" fmla="*/ 126 w 253"/>
                  <a:gd name="T19" fmla="*/ 0 h 262"/>
                  <a:gd name="T20" fmla="*/ 91 w 253"/>
                  <a:gd name="T21" fmla="*/ 5 h 262"/>
                  <a:gd name="T22" fmla="*/ 87 w 253"/>
                  <a:gd name="T23" fmla="*/ 14 h 262"/>
                  <a:gd name="T24" fmla="*/ 81 w 253"/>
                  <a:gd name="T25" fmla="*/ 30 h 262"/>
                  <a:gd name="T26" fmla="*/ 47 w 253"/>
                  <a:gd name="T27" fmla="*/ 40 h 262"/>
                  <a:gd name="T28" fmla="*/ 41 w 253"/>
                  <a:gd name="T29" fmla="*/ 36 h 262"/>
                  <a:gd name="T30" fmla="*/ 33 w 253"/>
                  <a:gd name="T31" fmla="*/ 39 h 262"/>
                  <a:gd name="T32" fmla="*/ 13 w 253"/>
                  <a:gd name="T33" fmla="*/ 66 h 262"/>
                  <a:gd name="T34" fmla="*/ 1 w 253"/>
                  <a:gd name="T35" fmla="*/ 97 h 262"/>
                  <a:gd name="T36" fmla="*/ 5 w 253"/>
                  <a:gd name="T37" fmla="*/ 107 h 262"/>
                  <a:gd name="T38" fmla="*/ 17 w 253"/>
                  <a:gd name="T39" fmla="*/ 109 h 262"/>
                  <a:gd name="T40" fmla="*/ 16 w 253"/>
                  <a:gd name="T41" fmla="*/ 142 h 262"/>
                  <a:gd name="T42" fmla="*/ 5 w 253"/>
                  <a:gd name="T43" fmla="*/ 155 h 262"/>
                  <a:gd name="T44" fmla="*/ 0 w 253"/>
                  <a:gd name="T45" fmla="*/ 163 h 262"/>
                  <a:gd name="T46" fmla="*/ 6 w 253"/>
                  <a:gd name="T47" fmla="*/ 181 h 262"/>
                  <a:gd name="T48" fmla="*/ 33 w 253"/>
                  <a:gd name="T49" fmla="*/ 223 h 262"/>
                  <a:gd name="T50" fmla="*/ 39 w 253"/>
                  <a:gd name="T51" fmla="*/ 225 h 262"/>
                  <a:gd name="T52" fmla="*/ 47 w 253"/>
                  <a:gd name="T53" fmla="*/ 221 h 262"/>
                  <a:gd name="T54" fmla="*/ 71 w 253"/>
                  <a:gd name="T55" fmla="*/ 227 h 262"/>
                  <a:gd name="T56" fmla="*/ 87 w 253"/>
                  <a:gd name="T57" fmla="*/ 245 h 262"/>
                  <a:gd name="T58" fmla="*/ 89 w 253"/>
                  <a:gd name="T59" fmla="*/ 254 h 262"/>
                  <a:gd name="T60" fmla="*/ 94 w 253"/>
                  <a:gd name="T61" fmla="*/ 258 h 262"/>
                  <a:gd name="T62" fmla="*/ 144 w 253"/>
                  <a:gd name="T63" fmla="*/ 260 h 262"/>
                  <a:gd name="T64" fmla="*/ 163 w 253"/>
                  <a:gd name="T65" fmla="*/ 256 h 262"/>
                  <a:gd name="T66" fmla="*/ 166 w 253"/>
                  <a:gd name="T67" fmla="*/ 248 h 262"/>
                  <a:gd name="T68" fmla="*/ 172 w 253"/>
                  <a:gd name="T69" fmla="*/ 232 h 262"/>
                  <a:gd name="T70" fmla="*/ 206 w 253"/>
                  <a:gd name="T71" fmla="*/ 221 h 262"/>
                  <a:gd name="T72" fmla="*/ 211 w 253"/>
                  <a:gd name="T73" fmla="*/ 225 h 262"/>
                  <a:gd name="T74" fmla="*/ 219 w 253"/>
                  <a:gd name="T75" fmla="*/ 223 h 262"/>
                  <a:gd name="T76" fmla="*/ 240 w 253"/>
                  <a:gd name="T77" fmla="*/ 197 h 262"/>
                  <a:gd name="T78" fmla="*/ 253 w 253"/>
                  <a:gd name="T79" fmla="*/ 166 h 262"/>
                  <a:gd name="T80" fmla="*/ 248 w 253"/>
                  <a:gd name="T81" fmla="*/ 155 h 262"/>
                  <a:gd name="T82" fmla="*/ 236 w 253"/>
                  <a:gd name="T83" fmla="*/ 152 h 262"/>
                  <a:gd name="T84" fmla="*/ 237 w 253"/>
                  <a:gd name="T85" fmla="*/ 120 h 262"/>
                  <a:gd name="T86" fmla="*/ 248 w 253"/>
                  <a:gd name="T87" fmla="*/ 107 h 262"/>
                  <a:gd name="T88" fmla="*/ 114 w 253"/>
                  <a:gd name="T89" fmla="*/ 191 h 262"/>
                  <a:gd name="T90" fmla="*/ 75 w 253"/>
                  <a:gd name="T91" fmla="*/ 166 h 262"/>
                  <a:gd name="T92" fmla="*/ 64 w 253"/>
                  <a:gd name="T93" fmla="*/ 131 h 262"/>
                  <a:gd name="T94" fmla="*/ 83 w 253"/>
                  <a:gd name="T95" fmla="*/ 88 h 262"/>
                  <a:gd name="T96" fmla="*/ 126 w 253"/>
                  <a:gd name="T97" fmla="*/ 70 h 262"/>
                  <a:gd name="T98" fmla="*/ 161 w 253"/>
                  <a:gd name="T99" fmla="*/ 80 h 262"/>
                  <a:gd name="T100" fmla="*/ 187 w 253"/>
                  <a:gd name="T101" fmla="*/ 119 h 262"/>
                  <a:gd name="T102" fmla="*/ 183 w 253"/>
                  <a:gd name="T103" fmla="*/ 155 h 262"/>
                  <a:gd name="T104" fmla="*/ 151 w 253"/>
                  <a:gd name="T105" fmla="*/ 1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62">
                    <a:moveTo>
                      <a:pt x="248" y="107"/>
                    </a:moveTo>
                    <a:lnTo>
                      <a:pt x="248" y="107"/>
                    </a:lnTo>
                    <a:lnTo>
                      <a:pt x="250" y="105"/>
                    </a:lnTo>
                    <a:lnTo>
                      <a:pt x="252" y="103"/>
                    </a:lnTo>
                    <a:lnTo>
                      <a:pt x="253" y="100"/>
                    </a:lnTo>
                    <a:lnTo>
                      <a:pt x="253" y="97"/>
                    </a:lnTo>
                    <a:lnTo>
                      <a:pt x="253" y="97"/>
                    </a:lnTo>
                    <a:lnTo>
                      <a:pt x="253" y="97"/>
                    </a:lnTo>
                    <a:lnTo>
                      <a:pt x="246" y="81"/>
                    </a:lnTo>
                    <a:lnTo>
                      <a:pt x="240" y="66"/>
                    </a:lnTo>
                    <a:lnTo>
                      <a:pt x="240" y="66"/>
                    </a:lnTo>
                    <a:lnTo>
                      <a:pt x="230" y="51"/>
                    </a:lnTo>
                    <a:lnTo>
                      <a:pt x="219" y="39"/>
                    </a:lnTo>
                    <a:lnTo>
                      <a:pt x="219" y="39"/>
                    </a:lnTo>
                    <a:lnTo>
                      <a:pt x="219" y="39"/>
                    </a:lnTo>
                    <a:lnTo>
                      <a:pt x="217" y="38"/>
                    </a:lnTo>
                    <a:lnTo>
                      <a:pt x="214" y="36"/>
                    </a:lnTo>
                    <a:lnTo>
                      <a:pt x="211" y="36"/>
                    </a:lnTo>
                    <a:lnTo>
                      <a:pt x="209" y="38"/>
                    </a:lnTo>
                    <a:lnTo>
                      <a:pt x="209" y="38"/>
                    </a:lnTo>
                    <a:lnTo>
                      <a:pt x="206" y="40"/>
                    </a:lnTo>
                    <a:lnTo>
                      <a:pt x="199" y="47"/>
                    </a:lnTo>
                    <a:lnTo>
                      <a:pt x="199" y="47"/>
                    </a:lnTo>
                    <a:lnTo>
                      <a:pt x="191" y="40"/>
                    </a:lnTo>
                    <a:lnTo>
                      <a:pt x="182" y="35"/>
                    </a:lnTo>
                    <a:lnTo>
                      <a:pt x="172" y="30"/>
                    </a:lnTo>
                    <a:lnTo>
                      <a:pt x="163" y="26"/>
                    </a:lnTo>
                    <a:lnTo>
                      <a:pt x="166" y="18"/>
                    </a:lnTo>
                    <a:lnTo>
                      <a:pt x="166" y="18"/>
                    </a:lnTo>
                    <a:lnTo>
                      <a:pt x="166" y="14"/>
                    </a:lnTo>
                    <a:lnTo>
                      <a:pt x="166" y="14"/>
                    </a:lnTo>
                    <a:lnTo>
                      <a:pt x="166" y="11"/>
                    </a:lnTo>
                    <a:lnTo>
                      <a:pt x="164" y="8"/>
                    </a:lnTo>
                    <a:lnTo>
                      <a:pt x="163" y="5"/>
                    </a:lnTo>
                    <a:lnTo>
                      <a:pt x="160" y="4"/>
                    </a:lnTo>
                    <a:lnTo>
                      <a:pt x="160" y="4"/>
                    </a:lnTo>
                    <a:lnTo>
                      <a:pt x="160" y="4"/>
                    </a:lnTo>
                    <a:lnTo>
                      <a:pt x="144" y="1"/>
                    </a:lnTo>
                    <a:lnTo>
                      <a:pt x="126" y="0"/>
                    </a:lnTo>
                    <a:lnTo>
                      <a:pt x="126" y="0"/>
                    </a:lnTo>
                    <a:lnTo>
                      <a:pt x="110" y="1"/>
                    </a:lnTo>
                    <a:lnTo>
                      <a:pt x="93" y="4"/>
                    </a:lnTo>
                    <a:lnTo>
                      <a:pt x="93" y="4"/>
                    </a:lnTo>
                    <a:lnTo>
                      <a:pt x="91" y="5"/>
                    </a:lnTo>
                    <a:lnTo>
                      <a:pt x="89" y="8"/>
                    </a:lnTo>
                    <a:lnTo>
                      <a:pt x="87" y="11"/>
                    </a:lnTo>
                    <a:lnTo>
                      <a:pt x="87" y="14"/>
                    </a:lnTo>
                    <a:lnTo>
                      <a:pt x="87" y="14"/>
                    </a:lnTo>
                    <a:lnTo>
                      <a:pt x="87" y="18"/>
                    </a:lnTo>
                    <a:lnTo>
                      <a:pt x="91" y="26"/>
                    </a:lnTo>
                    <a:lnTo>
                      <a:pt x="91" y="26"/>
                    </a:lnTo>
                    <a:lnTo>
                      <a:pt x="81" y="30"/>
                    </a:lnTo>
                    <a:lnTo>
                      <a:pt x="71" y="35"/>
                    </a:lnTo>
                    <a:lnTo>
                      <a:pt x="62" y="40"/>
                    </a:lnTo>
                    <a:lnTo>
                      <a:pt x="54" y="47"/>
                    </a:lnTo>
                    <a:lnTo>
                      <a:pt x="47" y="40"/>
                    </a:lnTo>
                    <a:lnTo>
                      <a:pt x="47" y="40"/>
                    </a:lnTo>
                    <a:lnTo>
                      <a:pt x="44" y="38"/>
                    </a:lnTo>
                    <a:lnTo>
                      <a:pt x="44" y="38"/>
                    </a:lnTo>
                    <a:lnTo>
                      <a:pt x="41" y="36"/>
                    </a:lnTo>
                    <a:lnTo>
                      <a:pt x="39" y="36"/>
                    </a:lnTo>
                    <a:lnTo>
                      <a:pt x="36" y="38"/>
                    </a:lnTo>
                    <a:lnTo>
                      <a:pt x="33" y="39"/>
                    </a:lnTo>
                    <a:lnTo>
                      <a:pt x="33" y="39"/>
                    </a:lnTo>
                    <a:lnTo>
                      <a:pt x="33" y="39"/>
                    </a:lnTo>
                    <a:lnTo>
                      <a:pt x="23" y="51"/>
                    </a:lnTo>
                    <a:lnTo>
                      <a:pt x="13" y="66"/>
                    </a:lnTo>
                    <a:lnTo>
                      <a:pt x="13" y="66"/>
                    </a:lnTo>
                    <a:lnTo>
                      <a:pt x="6" y="81"/>
                    </a:lnTo>
                    <a:lnTo>
                      <a:pt x="1" y="97"/>
                    </a:lnTo>
                    <a:lnTo>
                      <a:pt x="1" y="97"/>
                    </a:lnTo>
                    <a:lnTo>
                      <a:pt x="1" y="97"/>
                    </a:lnTo>
                    <a:lnTo>
                      <a:pt x="0" y="100"/>
                    </a:lnTo>
                    <a:lnTo>
                      <a:pt x="1" y="103"/>
                    </a:lnTo>
                    <a:lnTo>
                      <a:pt x="2" y="105"/>
                    </a:lnTo>
                    <a:lnTo>
                      <a:pt x="5" y="107"/>
                    </a:lnTo>
                    <a:lnTo>
                      <a:pt x="5" y="107"/>
                    </a:lnTo>
                    <a:lnTo>
                      <a:pt x="9" y="108"/>
                    </a:lnTo>
                    <a:lnTo>
                      <a:pt x="17" y="109"/>
                    </a:lnTo>
                    <a:lnTo>
                      <a:pt x="17" y="109"/>
                    </a:lnTo>
                    <a:lnTo>
                      <a:pt x="16" y="120"/>
                    </a:lnTo>
                    <a:lnTo>
                      <a:pt x="16" y="131"/>
                    </a:lnTo>
                    <a:lnTo>
                      <a:pt x="16" y="131"/>
                    </a:lnTo>
                    <a:lnTo>
                      <a:pt x="16" y="142"/>
                    </a:lnTo>
                    <a:lnTo>
                      <a:pt x="17" y="152"/>
                    </a:lnTo>
                    <a:lnTo>
                      <a:pt x="9" y="154"/>
                    </a:lnTo>
                    <a:lnTo>
                      <a:pt x="9" y="154"/>
                    </a:lnTo>
                    <a:lnTo>
                      <a:pt x="5" y="155"/>
                    </a:lnTo>
                    <a:lnTo>
                      <a:pt x="5" y="155"/>
                    </a:lnTo>
                    <a:lnTo>
                      <a:pt x="2" y="158"/>
                    </a:lnTo>
                    <a:lnTo>
                      <a:pt x="1" y="160"/>
                    </a:lnTo>
                    <a:lnTo>
                      <a:pt x="0" y="163"/>
                    </a:lnTo>
                    <a:lnTo>
                      <a:pt x="1" y="166"/>
                    </a:lnTo>
                    <a:lnTo>
                      <a:pt x="1" y="166"/>
                    </a:lnTo>
                    <a:lnTo>
                      <a:pt x="1" y="166"/>
                    </a:lnTo>
                    <a:lnTo>
                      <a:pt x="6" y="181"/>
                    </a:lnTo>
                    <a:lnTo>
                      <a:pt x="13" y="197"/>
                    </a:lnTo>
                    <a:lnTo>
                      <a:pt x="13" y="197"/>
                    </a:lnTo>
                    <a:lnTo>
                      <a:pt x="23" y="210"/>
                    </a:lnTo>
                    <a:lnTo>
                      <a:pt x="33" y="223"/>
                    </a:lnTo>
                    <a:lnTo>
                      <a:pt x="33" y="223"/>
                    </a:lnTo>
                    <a:lnTo>
                      <a:pt x="33" y="223"/>
                    </a:lnTo>
                    <a:lnTo>
                      <a:pt x="36" y="224"/>
                    </a:lnTo>
                    <a:lnTo>
                      <a:pt x="39" y="225"/>
                    </a:lnTo>
                    <a:lnTo>
                      <a:pt x="41" y="225"/>
                    </a:lnTo>
                    <a:lnTo>
                      <a:pt x="44" y="224"/>
                    </a:lnTo>
                    <a:lnTo>
                      <a:pt x="44" y="224"/>
                    </a:lnTo>
                    <a:lnTo>
                      <a:pt x="47" y="221"/>
                    </a:lnTo>
                    <a:lnTo>
                      <a:pt x="54" y="214"/>
                    </a:lnTo>
                    <a:lnTo>
                      <a:pt x="54" y="214"/>
                    </a:lnTo>
                    <a:lnTo>
                      <a:pt x="62" y="221"/>
                    </a:lnTo>
                    <a:lnTo>
                      <a:pt x="71" y="227"/>
                    </a:lnTo>
                    <a:lnTo>
                      <a:pt x="81" y="232"/>
                    </a:lnTo>
                    <a:lnTo>
                      <a:pt x="91" y="236"/>
                    </a:lnTo>
                    <a:lnTo>
                      <a:pt x="87" y="245"/>
                    </a:lnTo>
                    <a:lnTo>
                      <a:pt x="87" y="245"/>
                    </a:lnTo>
                    <a:lnTo>
                      <a:pt x="87" y="248"/>
                    </a:lnTo>
                    <a:lnTo>
                      <a:pt x="87" y="248"/>
                    </a:lnTo>
                    <a:lnTo>
                      <a:pt x="87" y="252"/>
                    </a:lnTo>
                    <a:lnTo>
                      <a:pt x="89" y="254"/>
                    </a:lnTo>
                    <a:lnTo>
                      <a:pt x="91" y="256"/>
                    </a:lnTo>
                    <a:lnTo>
                      <a:pt x="94" y="258"/>
                    </a:lnTo>
                    <a:lnTo>
                      <a:pt x="94" y="258"/>
                    </a:lnTo>
                    <a:lnTo>
                      <a:pt x="94" y="258"/>
                    </a:lnTo>
                    <a:lnTo>
                      <a:pt x="110" y="260"/>
                    </a:lnTo>
                    <a:lnTo>
                      <a:pt x="126" y="262"/>
                    </a:lnTo>
                    <a:lnTo>
                      <a:pt x="126" y="262"/>
                    </a:lnTo>
                    <a:lnTo>
                      <a:pt x="144" y="260"/>
                    </a:lnTo>
                    <a:lnTo>
                      <a:pt x="160" y="258"/>
                    </a:lnTo>
                    <a:lnTo>
                      <a:pt x="160" y="258"/>
                    </a:lnTo>
                    <a:lnTo>
                      <a:pt x="160" y="258"/>
                    </a:lnTo>
                    <a:lnTo>
                      <a:pt x="163" y="256"/>
                    </a:lnTo>
                    <a:lnTo>
                      <a:pt x="164" y="254"/>
                    </a:lnTo>
                    <a:lnTo>
                      <a:pt x="166" y="252"/>
                    </a:lnTo>
                    <a:lnTo>
                      <a:pt x="166" y="248"/>
                    </a:lnTo>
                    <a:lnTo>
                      <a:pt x="166" y="248"/>
                    </a:lnTo>
                    <a:lnTo>
                      <a:pt x="166" y="245"/>
                    </a:lnTo>
                    <a:lnTo>
                      <a:pt x="163" y="236"/>
                    </a:lnTo>
                    <a:lnTo>
                      <a:pt x="163" y="236"/>
                    </a:lnTo>
                    <a:lnTo>
                      <a:pt x="172" y="232"/>
                    </a:lnTo>
                    <a:lnTo>
                      <a:pt x="182" y="227"/>
                    </a:lnTo>
                    <a:lnTo>
                      <a:pt x="191" y="221"/>
                    </a:lnTo>
                    <a:lnTo>
                      <a:pt x="199" y="214"/>
                    </a:lnTo>
                    <a:lnTo>
                      <a:pt x="206" y="221"/>
                    </a:lnTo>
                    <a:lnTo>
                      <a:pt x="206" y="221"/>
                    </a:lnTo>
                    <a:lnTo>
                      <a:pt x="209" y="224"/>
                    </a:lnTo>
                    <a:lnTo>
                      <a:pt x="209" y="224"/>
                    </a:lnTo>
                    <a:lnTo>
                      <a:pt x="211" y="225"/>
                    </a:lnTo>
                    <a:lnTo>
                      <a:pt x="214" y="225"/>
                    </a:lnTo>
                    <a:lnTo>
                      <a:pt x="217" y="224"/>
                    </a:lnTo>
                    <a:lnTo>
                      <a:pt x="219" y="223"/>
                    </a:lnTo>
                    <a:lnTo>
                      <a:pt x="219" y="223"/>
                    </a:lnTo>
                    <a:lnTo>
                      <a:pt x="219" y="223"/>
                    </a:lnTo>
                    <a:lnTo>
                      <a:pt x="230" y="210"/>
                    </a:lnTo>
                    <a:lnTo>
                      <a:pt x="240" y="197"/>
                    </a:lnTo>
                    <a:lnTo>
                      <a:pt x="240" y="197"/>
                    </a:lnTo>
                    <a:lnTo>
                      <a:pt x="246" y="181"/>
                    </a:lnTo>
                    <a:lnTo>
                      <a:pt x="253" y="166"/>
                    </a:lnTo>
                    <a:lnTo>
                      <a:pt x="253" y="166"/>
                    </a:lnTo>
                    <a:lnTo>
                      <a:pt x="253" y="166"/>
                    </a:lnTo>
                    <a:lnTo>
                      <a:pt x="253" y="163"/>
                    </a:lnTo>
                    <a:lnTo>
                      <a:pt x="252" y="160"/>
                    </a:lnTo>
                    <a:lnTo>
                      <a:pt x="250" y="158"/>
                    </a:lnTo>
                    <a:lnTo>
                      <a:pt x="248" y="155"/>
                    </a:lnTo>
                    <a:lnTo>
                      <a:pt x="248" y="155"/>
                    </a:lnTo>
                    <a:lnTo>
                      <a:pt x="245" y="154"/>
                    </a:lnTo>
                    <a:lnTo>
                      <a:pt x="236" y="152"/>
                    </a:lnTo>
                    <a:lnTo>
                      <a:pt x="236" y="152"/>
                    </a:lnTo>
                    <a:lnTo>
                      <a:pt x="237" y="142"/>
                    </a:lnTo>
                    <a:lnTo>
                      <a:pt x="237" y="131"/>
                    </a:lnTo>
                    <a:lnTo>
                      <a:pt x="237" y="131"/>
                    </a:lnTo>
                    <a:lnTo>
                      <a:pt x="237" y="120"/>
                    </a:lnTo>
                    <a:lnTo>
                      <a:pt x="236" y="109"/>
                    </a:lnTo>
                    <a:lnTo>
                      <a:pt x="245" y="108"/>
                    </a:lnTo>
                    <a:lnTo>
                      <a:pt x="245" y="108"/>
                    </a:lnTo>
                    <a:lnTo>
                      <a:pt x="248" y="107"/>
                    </a:lnTo>
                    <a:lnTo>
                      <a:pt x="248" y="107"/>
                    </a:lnTo>
                    <a:close/>
                    <a:moveTo>
                      <a:pt x="126" y="193"/>
                    </a:moveTo>
                    <a:lnTo>
                      <a:pt x="126" y="193"/>
                    </a:lnTo>
                    <a:lnTo>
                      <a:pt x="114" y="191"/>
                    </a:lnTo>
                    <a:lnTo>
                      <a:pt x="102" y="187"/>
                    </a:lnTo>
                    <a:lnTo>
                      <a:pt x="93" y="182"/>
                    </a:lnTo>
                    <a:lnTo>
                      <a:pt x="83" y="174"/>
                    </a:lnTo>
                    <a:lnTo>
                      <a:pt x="75" y="166"/>
                    </a:lnTo>
                    <a:lnTo>
                      <a:pt x="70" y="155"/>
                    </a:lnTo>
                    <a:lnTo>
                      <a:pt x="66" y="143"/>
                    </a:lnTo>
                    <a:lnTo>
                      <a:pt x="64" y="131"/>
                    </a:lnTo>
                    <a:lnTo>
                      <a:pt x="64" y="131"/>
                    </a:lnTo>
                    <a:lnTo>
                      <a:pt x="66" y="119"/>
                    </a:lnTo>
                    <a:lnTo>
                      <a:pt x="70" y="107"/>
                    </a:lnTo>
                    <a:lnTo>
                      <a:pt x="75" y="97"/>
                    </a:lnTo>
                    <a:lnTo>
                      <a:pt x="83" y="88"/>
                    </a:lnTo>
                    <a:lnTo>
                      <a:pt x="93" y="80"/>
                    </a:lnTo>
                    <a:lnTo>
                      <a:pt x="102" y="74"/>
                    </a:lnTo>
                    <a:lnTo>
                      <a:pt x="114" y="70"/>
                    </a:lnTo>
                    <a:lnTo>
                      <a:pt x="126" y="70"/>
                    </a:lnTo>
                    <a:lnTo>
                      <a:pt x="126" y="70"/>
                    </a:lnTo>
                    <a:lnTo>
                      <a:pt x="139" y="70"/>
                    </a:lnTo>
                    <a:lnTo>
                      <a:pt x="151" y="74"/>
                    </a:lnTo>
                    <a:lnTo>
                      <a:pt x="161" y="80"/>
                    </a:lnTo>
                    <a:lnTo>
                      <a:pt x="170" y="88"/>
                    </a:lnTo>
                    <a:lnTo>
                      <a:pt x="178" y="97"/>
                    </a:lnTo>
                    <a:lnTo>
                      <a:pt x="183" y="107"/>
                    </a:lnTo>
                    <a:lnTo>
                      <a:pt x="187" y="119"/>
                    </a:lnTo>
                    <a:lnTo>
                      <a:pt x="188" y="131"/>
                    </a:lnTo>
                    <a:lnTo>
                      <a:pt x="188" y="131"/>
                    </a:lnTo>
                    <a:lnTo>
                      <a:pt x="187" y="143"/>
                    </a:lnTo>
                    <a:lnTo>
                      <a:pt x="183" y="155"/>
                    </a:lnTo>
                    <a:lnTo>
                      <a:pt x="178" y="166"/>
                    </a:lnTo>
                    <a:lnTo>
                      <a:pt x="170" y="174"/>
                    </a:lnTo>
                    <a:lnTo>
                      <a:pt x="161" y="182"/>
                    </a:lnTo>
                    <a:lnTo>
                      <a:pt x="151" y="187"/>
                    </a:lnTo>
                    <a:lnTo>
                      <a:pt x="139" y="191"/>
                    </a:lnTo>
                    <a:lnTo>
                      <a:pt x="126" y="193"/>
                    </a:lnTo>
                    <a:lnTo>
                      <a:pt x="12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1" name="Freeform 161"/>
              <p:cNvSpPr>
                <a:spLocks noEditPoints="1"/>
              </p:cNvSpPr>
              <p:nvPr/>
            </p:nvSpPr>
            <p:spPr bwMode="auto">
              <a:xfrm>
                <a:off x="3236913" y="4249738"/>
                <a:ext cx="112713" cy="115888"/>
              </a:xfrm>
              <a:custGeom>
                <a:avLst/>
                <a:gdLst>
                  <a:gd name="T0" fmla="*/ 129 w 141"/>
                  <a:gd name="T1" fmla="*/ 85 h 146"/>
                  <a:gd name="T2" fmla="*/ 129 w 141"/>
                  <a:gd name="T3" fmla="*/ 62 h 146"/>
                  <a:gd name="T4" fmla="*/ 139 w 141"/>
                  <a:gd name="T5" fmla="*/ 60 h 146"/>
                  <a:gd name="T6" fmla="*/ 141 w 141"/>
                  <a:gd name="T7" fmla="*/ 54 h 146"/>
                  <a:gd name="T8" fmla="*/ 139 w 141"/>
                  <a:gd name="T9" fmla="*/ 46 h 146"/>
                  <a:gd name="T10" fmla="*/ 129 w 141"/>
                  <a:gd name="T11" fmla="*/ 29 h 146"/>
                  <a:gd name="T12" fmla="*/ 122 w 141"/>
                  <a:gd name="T13" fmla="*/ 22 h 146"/>
                  <a:gd name="T14" fmla="*/ 117 w 141"/>
                  <a:gd name="T15" fmla="*/ 22 h 146"/>
                  <a:gd name="T16" fmla="*/ 110 w 141"/>
                  <a:gd name="T17" fmla="*/ 29 h 146"/>
                  <a:gd name="T18" fmla="*/ 93 w 141"/>
                  <a:gd name="T19" fmla="*/ 10 h 146"/>
                  <a:gd name="T20" fmla="*/ 93 w 141"/>
                  <a:gd name="T21" fmla="*/ 8 h 146"/>
                  <a:gd name="T22" fmla="*/ 89 w 141"/>
                  <a:gd name="T23" fmla="*/ 3 h 146"/>
                  <a:gd name="T24" fmla="*/ 71 w 141"/>
                  <a:gd name="T25" fmla="*/ 0 h 146"/>
                  <a:gd name="T26" fmla="*/ 52 w 141"/>
                  <a:gd name="T27" fmla="*/ 3 h 146"/>
                  <a:gd name="T28" fmla="*/ 50 w 141"/>
                  <a:gd name="T29" fmla="*/ 4 h 146"/>
                  <a:gd name="T30" fmla="*/ 50 w 141"/>
                  <a:gd name="T31" fmla="*/ 10 h 146"/>
                  <a:gd name="T32" fmla="*/ 41 w 141"/>
                  <a:gd name="T33" fmla="*/ 22 h 146"/>
                  <a:gd name="T34" fmla="*/ 27 w 141"/>
                  <a:gd name="T35" fmla="*/ 23 h 146"/>
                  <a:gd name="T36" fmla="*/ 21 w 141"/>
                  <a:gd name="T37" fmla="*/ 21 h 146"/>
                  <a:gd name="T38" fmla="*/ 19 w 141"/>
                  <a:gd name="T39" fmla="*/ 22 h 146"/>
                  <a:gd name="T40" fmla="*/ 8 w 141"/>
                  <a:gd name="T41" fmla="*/ 37 h 146"/>
                  <a:gd name="T42" fmla="*/ 0 w 141"/>
                  <a:gd name="T43" fmla="*/ 54 h 146"/>
                  <a:gd name="T44" fmla="*/ 2 w 141"/>
                  <a:gd name="T45" fmla="*/ 60 h 146"/>
                  <a:gd name="T46" fmla="*/ 13 w 141"/>
                  <a:gd name="T47" fmla="*/ 62 h 146"/>
                  <a:gd name="T48" fmla="*/ 12 w 141"/>
                  <a:gd name="T49" fmla="*/ 73 h 146"/>
                  <a:gd name="T50" fmla="*/ 5 w 141"/>
                  <a:gd name="T51" fmla="*/ 87 h 146"/>
                  <a:gd name="T52" fmla="*/ 1 w 141"/>
                  <a:gd name="T53" fmla="*/ 89 h 146"/>
                  <a:gd name="T54" fmla="*/ 0 w 141"/>
                  <a:gd name="T55" fmla="*/ 93 h 146"/>
                  <a:gd name="T56" fmla="*/ 8 w 141"/>
                  <a:gd name="T57" fmla="*/ 110 h 146"/>
                  <a:gd name="T58" fmla="*/ 19 w 141"/>
                  <a:gd name="T59" fmla="*/ 124 h 146"/>
                  <a:gd name="T60" fmla="*/ 25 w 141"/>
                  <a:gd name="T61" fmla="*/ 126 h 146"/>
                  <a:gd name="T62" fmla="*/ 32 w 141"/>
                  <a:gd name="T63" fmla="*/ 118 h 146"/>
                  <a:gd name="T64" fmla="*/ 52 w 141"/>
                  <a:gd name="T65" fmla="*/ 130 h 146"/>
                  <a:gd name="T66" fmla="*/ 48 w 141"/>
                  <a:gd name="T67" fmla="*/ 139 h 146"/>
                  <a:gd name="T68" fmla="*/ 52 w 141"/>
                  <a:gd name="T69" fmla="*/ 145 h 146"/>
                  <a:gd name="T70" fmla="*/ 62 w 141"/>
                  <a:gd name="T71" fmla="*/ 146 h 146"/>
                  <a:gd name="T72" fmla="*/ 81 w 141"/>
                  <a:gd name="T73" fmla="*/ 146 h 146"/>
                  <a:gd name="T74" fmla="*/ 89 w 141"/>
                  <a:gd name="T75" fmla="*/ 145 h 146"/>
                  <a:gd name="T76" fmla="*/ 93 w 141"/>
                  <a:gd name="T77" fmla="*/ 139 h 146"/>
                  <a:gd name="T78" fmla="*/ 90 w 141"/>
                  <a:gd name="T79" fmla="*/ 130 h 146"/>
                  <a:gd name="T80" fmla="*/ 116 w 141"/>
                  <a:gd name="T81" fmla="*/ 124 h 146"/>
                  <a:gd name="T82" fmla="*/ 117 w 141"/>
                  <a:gd name="T83" fmla="*/ 126 h 146"/>
                  <a:gd name="T84" fmla="*/ 122 w 141"/>
                  <a:gd name="T85" fmla="*/ 124 h 146"/>
                  <a:gd name="T86" fmla="*/ 135 w 141"/>
                  <a:gd name="T87" fmla="*/ 110 h 146"/>
                  <a:gd name="T88" fmla="*/ 141 w 141"/>
                  <a:gd name="T89" fmla="*/ 93 h 146"/>
                  <a:gd name="T90" fmla="*/ 141 w 141"/>
                  <a:gd name="T91" fmla="*/ 89 h 146"/>
                  <a:gd name="T92" fmla="*/ 137 w 141"/>
                  <a:gd name="T93" fmla="*/ 87 h 146"/>
                  <a:gd name="T94" fmla="*/ 71 w 141"/>
                  <a:gd name="T95" fmla="*/ 110 h 146"/>
                  <a:gd name="T96" fmla="*/ 51 w 141"/>
                  <a:gd name="T97" fmla="*/ 103 h 146"/>
                  <a:gd name="T98" fmla="*/ 37 w 141"/>
                  <a:gd name="T99" fmla="*/ 88 h 146"/>
                  <a:gd name="T100" fmla="*/ 35 w 141"/>
                  <a:gd name="T101" fmla="*/ 73 h 146"/>
                  <a:gd name="T102" fmla="*/ 41 w 141"/>
                  <a:gd name="T103" fmla="*/ 53 h 146"/>
                  <a:gd name="T104" fmla="*/ 56 w 141"/>
                  <a:gd name="T105" fmla="*/ 41 h 146"/>
                  <a:gd name="T106" fmla="*/ 71 w 141"/>
                  <a:gd name="T107" fmla="*/ 38 h 146"/>
                  <a:gd name="T108" fmla="*/ 91 w 141"/>
                  <a:gd name="T109" fmla="*/ 44 h 146"/>
                  <a:gd name="T110" fmla="*/ 104 w 141"/>
                  <a:gd name="T111" fmla="*/ 60 h 146"/>
                  <a:gd name="T112" fmla="*/ 106 w 141"/>
                  <a:gd name="T113" fmla="*/ 73 h 146"/>
                  <a:gd name="T114" fmla="*/ 101 w 141"/>
                  <a:gd name="T115" fmla="*/ 93 h 146"/>
                  <a:gd name="T116" fmla="*/ 85 w 141"/>
                  <a:gd name="T117" fmla="*/ 107 h 146"/>
                  <a:gd name="T118" fmla="*/ 71 w 141"/>
                  <a:gd name="T119" fmla="*/ 1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46">
                    <a:moveTo>
                      <a:pt x="137" y="87"/>
                    </a:moveTo>
                    <a:lnTo>
                      <a:pt x="129" y="85"/>
                    </a:lnTo>
                    <a:lnTo>
                      <a:pt x="129" y="85"/>
                    </a:lnTo>
                    <a:lnTo>
                      <a:pt x="130" y="73"/>
                    </a:lnTo>
                    <a:lnTo>
                      <a:pt x="130" y="73"/>
                    </a:lnTo>
                    <a:lnTo>
                      <a:pt x="129" y="62"/>
                    </a:lnTo>
                    <a:lnTo>
                      <a:pt x="137" y="61"/>
                    </a:lnTo>
                    <a:lnTo>
                      <a:pt x="137" y="61"/>
                    </a:lnTo>
                    <a:lnTo>
                      <a:pt x="139" y="60"/>
                    </a:lnTo>
                    <a:lnTo>
                      <a:pt x="139" y="60"/>
                    </a:lnTo>
                    <a:lnTo>
                      <a:pt x="141" y="57"/>
                    </a:lnTo>
                    <a:lnTo>
                      <a:pt x="141" y="54"/>
                    </a:lnTo>
                    <a:lnTo>
                      <a:pt x="141" y="54"/>
                    </a:lnTo>
                    <a:lnTo>
                      <a:pt x="141" y="54"/>
                    </a:lnTo>
                    <a:lnTo>
                      <a:pt x="139" y="46"/>
                    </a:lnTo>
                    <a:lnTo>
                      <a:pt x="135" y="37"/>
                    </a:lnTo>
                    <a:lnTo>
                      <a:pt x="135" y="37"/>
                    </a:lnTo>
                    <a:lnTo>
                      <a:pt x="129" y="29"/>
                    </a:lnTo>
                    <a:lnTo>
                      <a:pt x="122" y="22"/>
                    </a:lnTo>
                    <a:lnTo>
                      <a:pt x="122" y="22"/>
                    </a:lnTo>
                    <a:lnTo>
                      <a:pt x="122" y="22"/>
                    </a:lnTo>
                    <a:lnTo>
                      <a:pt x="120" y="21"/>
                    </a:lnTo>
                    <a:lnTo>
                      <a:pt x="117" y="22"/>
                    </a:lnTo>
                    <a:lnTo>
                      <a:pt x="117" y="22"/>
                    </a:lnTo>
                    <a:lnTo>
                      <a:pt x="116" y="23"/>
                    </a:lnTo>
                    <a:lnTo>
                      <a:pt x="110" y="29"/>
                    </a:lnTo>
                    <a:lnTo>
                      <a:pt x="110" y="29"/>
                    </a:lnTo>
                    <a:lnTo>
                      <a:pt x="101" y="22"/>
                    </a:lnTo>
                    <a:lnTo>
                      <a:pt x="90" y="18"/>
                    </a:lnTo>
                    <a:lnTo>
                      <a:pt x="93" y="10"/>
                    </a:lnTo>
                    <a:lnTo>
                      <a:pt x="93" y="10"/>
                    </a:lnTo>
                    <a:lnTo>
                      <a:pt x="93" y="8"/>
                    </a:lnTo>
                    <a:lnTo>
                      <a:pt x="93" y="8"/>
                    </a:lnTo>
                    <a:lnTo>
                      <a:pt x="91" y="4"/>
                    </a:lnTo>
                    <a:lnTo>
                      <a:pt x="89" y="3"/>
                    </a:lnTo>
                    <a:lnTo>
                      <a:pt x="89" y="3"/>
                    </a:lnTo>
                    <a:lnTo>
                      <a:pt x="89" y="3"/>
                    </a:lnTo>
                    <a:lnTo>
                      <a:pt x="81" y="2"/>
                    </a:lnTo>
                    <a:lnTo>
                      <a:pt x="71" y="0"/>
                    </a:lnTo>
                    <a:lnTo>
                      <a:pt x="71" y="0"/>
                    </a:lnTo>
                    <a:lnTo>
                      <a:pt x="62" y="2"/>
                    </a:lnTo>
                    <a:lnTo>
                      <a:pt x="52" y="3"/>
                    </a:lnTo>
                    <a:lnTo>
                      <a:pt x="52" y="3"/>
                    </a:lnTo>
                    <a:lnTo>
                      <a:pt x="52" y="3"/>
                    </a:lnTo>
                    <a:lnTo>
                      <a:pt x="50" y="4"/>
                    </a:lnTo>
                    <a:lnTo>
                      <a:pt x="48" y="8"/>
                    </a:lnTo>
                    <a:lnTo>
                      <a:pt x="48" y="8"/>
                    </a:lnTo>
                    <a:lnTo>
                      <a:pt x="50" y="10"/>
                    </a:lnTo>
                    <a:lnTo>
                      <a:pt x="52" y="18"/>
                    </a:lnTo>
                    <a:lnTo>
                      <a:pt x="52" y="18"/>
                    </a:lnTo>
                    <a:lnTo>
                      <a:pt x="41" y="22"/>
                    </a:lnTo>
                    <a:lnTo>
                      <a:pt x="32" y="29"/>
                    </a:lnTo>
                    <a:lnTo>
                      <a:pt x="27" y="23"/>
                    </a:lnTo>
                    <a:lnTo>
                      <a:pt x="27" y="23"/>
                    </a:lnTo>
                    <a:lnTo>
                      <a:pt x="25" y="22"/>
                    </a:lnTo>
                    <a:lnTo>
                      <a:pt x="25" y="22"/>
                    </a:lnTo>
                    <a:lnTo>
                      <a:pt x="21" y="21"/>
                    </a:lnTo>
                    <a:lnTo>
                      <a:pt x="19" y="22"/>
                    </a:lnTo>
                    <a:lnTo>
                      <a:pt x="19" y="22"/>
                    </a:lnTo>
                    <a:lnTo>
                      <a:pt x="19" y="22"/>
                    </a:lnTo>
                    <a:lnTo>
                      <a:pt x="13" y="29"/>
                    </a:lnTo>
                    <a:lnTo>
                      <a:pt x="8" y="37"/>
                    </a:lnTo>
                    <a:lnTo>
                      <a:pt x="8" y="37"/>
                    </a:lnTo>
                    <a:lnTo>
                      <a:pt x="4" y="46"/>
                    </a:lnTo>
                    <a:lnTo>
                      <a:pt x="0" y="54"/>
                    </a:lnTo>
                    <a:lnTo>
                      <a:pt x="0" y="54"/>
                    </a:lnTo>
                    <a:lnTo>
                      <a:pt x="0" y="54"/>
                    </a:lnTo>
                    <a:lnTo>
                      <a:pt x="1" y="57"/>
                    </a:lnTo>
                    <a:lnTo>
                      <a:pt x="2" y="60"/>
                    </a:lnTo>
                    <a:lnTo>
                      <a:pt x="2" y="60"/>
                    </a:lnTo>
                    <a:lnTo>
                      <a:pt x="5" y="61"/>
                    </a:lnTo>
                    <a:lnTo>
                      <a:pt x="13" y="62"/>
                    </a:lnTo>
                    <a:lnTo>
                      <a:pt x="13" y="62"/>
                    </a:lnTo>
                    <a:lnTo>
                      <a:pt x="12" y="73"/>
                    </a:lnTo>
                    <a:lnTo>
                      <a:pt x="12" y="73"/>
                    </a:lnTo>
                    <a:lnTo>
                      <a:pt x="13" y="85"/>
                    </a:lnTo>
                    <a:lnTo>
                      <a:pt x="5" y="87"/>
                    </a:lnTo>
                    <a:lnTo>
                      <a:pt x="5" y="87"/>
                    </a:lnTo>
                    <a:lnTo>
                      <a:pt x="2" y="87"/>
                    </a:lnTo>
                    <a:lnTo>
                      <a:pt x="2" y="87"/>
                    </a:lnTo>
                    <a:lnTo>
                      <a:pt x="1" y="89"/>
                    </a:lnTo>
                    <a:lnTo>
                      <a:pt x="0" y="93"/>
                    </a:lnTo>
                    <a:lnTo>
                      <a:pt x="0" y="93"/>
                    </a:lnTo>
                    <a:lnTo>
                      <a:pt x="0" y="93"/>
                    </a:lnTo>
                    <a:lnTo>
                      <a:pt x="4" y="101"/>
                    </a:lnTo>
                    <a:lnTo>
                      <a:pt x="8" y="110"/>
                    </a:lnTo>
                    <a:lnTo>
                      <a:pt x="8" y="110"/>
                    </a:lnTo>
                    <a:lnTo>
                      <a:pt x="13" y="118"/>
                    </a:lnTo>
                    <a:lnTo>
                      <a:pt x="19" y="124"/>
                    </a:lnTo>
                    <a:lnTo>
                      <a:pt x="19" y="124"/>
                    </a:lnTo>
                    <a:lnTo>
                      <a:pt x="19" y="124"/>
                    </a:lnTo>
                    <a:lnTo>
                      <a:pt x="21" y="126"/>
                    </a:lnTo>
                    <a:lnTo>
                      <a:pt x="25" y="126"/>
                    </a:lnTo>
                    <a:lnTo>
                      <a:pt x="25" y="126"/>
                    </a:lnTo>
                    <a:lnTo>
                      <a:pt x="27" y="124"/>
                    </a:lnTo>
                    <a:lnTo>
                      <a:pt x="32" y="118"/>
                    </a:lnTo>
                    <a:lnTo>
                      <a:pt x="32" y="118"/>
                    </a:lnTo>
                    <a:lnTo>
                      <a:pt x="41" y="124"/>
                    </a:lnTo>
                    <a:lnTo>
                      <a:pt x="52" y="130"/>
                    </a:lnTo>
                    <a:lnTo>
                      <a:pt x="50" y="138"/>
                    </a:lnTo>
                    <a:lnTo>
                      <a:pt x="50" y="138"/>
                    </a:lnTo>
                    <a:lnTo>
                      <a:pt x="48" y="139"/>
                    </a:lnTo>
                    <a:lnTo>
                      <a:pt x="48" y="139"/>
                    </a:lnTo>
                    <a:lnTo>
                      <a:pt x="50" y="142"/>
                    </a:lnTo>
                    <a:lnTo>
                      <a:pt x="52" y="145"/>
                    </a:lnTo>
                    <a:lnTo>
                      <a:pt x="52" y="145"/>
                    </a:lnTo>
                    <a:lnTo>
                      <a:pt x="52" y="145"/>
                    </a:lnTo>
                    <a:lnTo>
                      <a:pt x="62" y="146"/>
                    </a:lnTo>
                    <a:lnTo>
                      <a:pt x="71" y="146"/>
                    </a:lnTo>
                    <a:lnTo>
                      <a:pt x="71" y="146"/>
                    </a:lnTo>
                    <a:lnTo>
                      <a:pt x="81" y="146"/>
                    </a:lnTo>
                    <a:lnTo>
                      <a:pt x="89" y="145"/>
                    </a:lnTo>
                    <a:lnTo>
                      <a:pt x="89" y="145"/>
                    </a:lnTo>
                    <a:lnTo>
                      <a:pt x="89" y="145"/>
                    </a:lnTo>
                    <a:lnTo>
                      <a:pt x="91" y="142"/>
                    </a:lnTo>
                    <a:lnTo>
                      <a:pt x="93" y="139"/>
                    </a:lnTo>
                    <a:lnTo>
                      <a:pt x="93" y="139"/>
                    </a:lnTo>
                    <a:lnTo>
                      <a:pt x="93" y="138"/>
                    </a:lnTo>
                    <a:lnTo>
                      <a:pt x="90" y="130"/>
                    </a:lnTo>
                    <a:lnTo>
                      <a:pt x="90" y="130"/>
                    </a:lnTo>
                    <a:lnTo>
                      <a:pt x="101" y="124"/>
                    </a:lnTo>
                    <a:lnTo>
                      <a:pt x="110" y="118"/>
                    </a:lnTo>
                    <a:lnTo>
                      <a:pt x="116" y="124"/>
                    </a:lnTo>
                    <a:lnTo>
                      <a:pt x="116" y="124"/>
                    </a:lnTo>
                    <a:lnTo>
                      <a:pt x="117" y="126"/>
                    </a:lnTo>
                    <a:lnTo>
                      <a:pt x="117" y="126"/>
                    </a:lnTo>
                    <a:lnTo>
                      <a:pt x="120" y="126"/>
                    </a:lnTo>
                    <a:lnTo>
                      <a:pt x="122" y="124"/>
                    </a:lnTo>
                    <a:lnTo>
                      <a:pt x="122" y="124"/>
                    </a:lnTo>
                    <a:lnTo>
                      <a:pt x="122" y="124"/>
                    </a:lnTo>
                    <a:lnTo>
                      <a:pt x="129" y="118"/>
                    </a:lnTo>
                    <a:lnTo>
                      <a:pt x="135" y="110"/>
                    </a:lnTo>
                    <a:lnTo>
                      <a:pt x="135" y="110"/>
                    </a:lnTo>
                    <a:lnTo>
                      <a:pt x="139" y="101"/>
                    </a:lnTo>
                    <a:lnTo>
                      <a:pt x="141" y="93"/>
                    </a:lnTo>
                    <a:lnTo>
                      <a:pt x="141" y="93"/>
                    </a:lnTo>
                    <a:lnTo>
                      <a:pt x="141" y="93"/>
                    </a:lnTo>
                    <a:lnTo>
                      <a:pt x="141" y="89"/>
                    </a:lnTo>
                    <a:lnTo>
                      <a:pt x="139" y="87"/>
                    </a:lnTo>
                    <a:lnTo>
                      <a:pt x="139" y="87"/>
                    </a:lnTo>
                    <a:lnTo>
                      <a:pt x="137" y="87"/>
                    </a:lnTo>
                    <a:lnTo>
                      <a:pt x="137" y="87"/>
                    </a:lnTo>
                    <a:close/>
                    <a:moveTo>
                      <a:pt x="71" y="110"/>
                    </a:moveTo>
                    <a:lnTo>
                      <a:pt x="71" y="110"/>
                    </a:lnTo>
                    <a:lnTo>
                      <a:pt x="63" y="108"/>
                    </a:lnTo>
                    <a:lnTo>
                      <a:pt x="56" y="107"/>
                    </a:lnTo>
                    <a:lnTo>
                      <a:pt x="51" y="103"/>
                    </a:lnTo>
                    <a:lnTo>
                      <a:pt x="46" y="99"/>
                    </a:lnTo>
                    <a:lnTo>
                      <a:pt x="41" y="93"/>
                    </a:lnTo>
                    <a:lnTo>
                      <a:pt x="37" y="88"/>
                    </a:lnTo>
                    <a:lnTo>
                      <a:pt x="36" y="81"/>
                    </a:lnTo>
                    <a:lnTo>
                      <a:pt x="35" y="73"/>
                    </a:lnTo>
                    <a:lnTo>
                      <a:pt x="35" y="73"/>
                    </a:lnTo>
                    <a:lnTo>
                      <a:pt x="36" y="66"/>
                    </a:lnTo>
                    <a:lnTo>
                      <a:pt x="37" y="60"/>
                    </a:lnTo>
                    <a:lnTo>
                      <a:pt x="41" y="53"/>
                    </a:lnTo>
                    <a:lnTo>
                      <a:pt x="46" y="48"/>
                    </a:lnTo>
                    <a:lnTo>
                      <a:pt x="51" y="44"/>
                    </a:lnTo>
                    <a:lnTo>
                      <a:pt x="56" y="41"/>
                    </a:lnTo>
                    <a:lnTo>
                      <a:pt x="63" y="38"/>
                    </a:lnTo>
                    <a:lnTo>
                      <a:pt x="71" y="38"/>
                    </a:lnTo>
                    <a:lnTo>
                      <a:pt x="71" y="38"/>
                    </a:lnTo>
                    <a:lnTo>
                      <a:pt x="78" y="38"/>
                    </a:lnTo>
                    <a:lnTo>
                      <a:pt x="85" y="41"/>
                    </a:lnTo>
                    <a:lnTo>
                      <a:pt x="91" y="44"/>
                    </a:lnTo>
                    <a:lnTo>
                      <a:pt x="97" y="48"/>
                    </a:lnTo>
                    <a:lnTo>
                      <a:pt x="101" y="53"/>
                    </a:lnTo>
                    <a:lnTo>
                      <a:pt x="104" y="60"/>
                    </a:lnTo>
                    <a:lnTo>
                      <a:pt x="106" y="66"/>
                    </a:lnTo>
                    <a:lnTo>
                      <a:pt x="106" y="73"/>
                    </a:lnTo>
                    <a:lnTo>
                      <a:pt x="106" y="73"/>
                    </a:lnTo>
                    <a:lnTo>
                      <a:pt x="106" y="81"/>
                    </a:lnTo>
                    <a:lnTo>
                      <a:pt x="104" y="88"/>
                    </a:lnTo>
                    <a:lnTo>
                      <a:pt x="101" y="93"/>
                    </a:lnTo>
                    <a:lnTo>
                      <a:pt x="97" y="99"/>
                    </a:lnTo>
                    <a:lnTo>
                      <a:pt x="91" y="103"/>
                    </a:lnTo>
                    <a:lnTo>
                      <a:pt x="85" y="107"/>
                    </a:lnTo>
                    <a:lnTo>
                      <a:pt x="78" y="108"/>
                    </a:lnTo>
                    <a:lnTo>
                      <a:pt x="71" y="110"/>
                    </a:lnTo>
                    <a:lnTo>
                      <a:pt x="7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2" name="Freeform 162"/>
              <p:cNvSpPr>
                <a:spLocks/>
              </p:cNvSpPr>
              <p:nvPr/>
            </p:nvSpPr>
            <p:spPr bwMode="auto">
              <a:xfrm>
                <a:off x="3119438" y="4373563"/>
                <a:ext cx="55563" cy="55563"/>
              </a:xfrm>
              <a:custGeom>
                <a:avLst/>
                <a:gdLst>
                  <a:gd name="T0" fmla="*/ 35 w 70"/>
                  <a:gd name="T1" fmla="*/ 0 h 70"/>
                  <a:gd name="T2" fmla="*/ 35 w 70"/>
                  <a:gd name="T3" fmla="*/ 0 h 70"/>
                  <a:gd name="T4" fmla="*/ 29 w 70"/>
                  <a:gd name="T5" fmla="*/ 1 h 70"/>
                  <a:gd name="T6" fmla="*/ 22 w 70"/>
                  <a:gd name="T7" fmla="*/ 2 h 70"/>
                  <a:gd name="T8" fmla="*/ 17 w 70"/>
                  <a:gd name="T9" fmla="*/ 7 h 70"/>
                  <a:gd name="T10" fmla="*/ 11 w 70"/>
                  <a:gd name="T11" fmla="*/ 11 h 70"/>
                  <a:gd name="T12" fmla="*/ 7 w 70"/>
                  <a:gd name="T13" fmla="*/ 16 h 70"/>
                  <a:gd name="T14" fmla="*/ 3 w 70"/>
                  <a:gd name="T15" fmla="*/ 21 h 70"/>
                  <a:gd name="T16" fmla="*/ 2 w 70"/>
                  <a:gd name="T17" fmla="*/ 28 h 70"/>
                  <a:gd name="T18" fmla="*/ 0 w 70"/>
                  <a:gd name="T19" fmla="*/ 35 h 70"/>
                  <a:gd name="T20" fmla="*/ 0 w 70"/>
                  <a:gd name="T21" fmla="*/ 35 h 70"/>
                  <a:gd name="T22" fmla="*/ 2 w 70"/>
                  <a:gd name="T23" fmla="*/ 42 h 70"/>
                  <a:gd name="T24" fmla="*/ 3 w 70"/>
                  <a:gd name="T25" fmla="*/ 48 h 70"/>
                  <a:gd name="T26" fmla="*/ 7 w 70"/>
                  <a:gd name="T27" fmla="*/ 55 h 70"/>
                  <a:gd name="T28" fmla="*/ 11 w 70"/>
                  <a:gd name="T29" fmla="*/ 59 h 70"/>
                  <a:gd name="T30" fmla="*/ 17 w 70"/>
                  <a:gd name="T31" fmla="*/ 64 h 70"/>
                  <a:gd name="T32" fmla="*/ 22 w 70"/>
                  <a:gd name="T33" fmla="*/ 67 h 70"/>
                  <a:gd name="T34" fmla="*/ 29 w 70"/>
                  <a:gd name="T35" fmla="*/ 69 h 70"/>
                  <a:gd name="T36" fmla="*/ 35 w 70"/>
                  <a:gd name="T37" fmla="*/ 70 h 70"/>
                  <a:gd name="T38" fmla="*/ 35 w 70"/>
                  <a:gd name="T39" fmla="*/ 70 h 70"/>
                  <a:gd name="T40" fmla="*/ 42 w 70"/>
                  <a:gd name="T41" fmla="*/ 69 h 70"/>
                  <a:gd name="T42" fmla="*/ 49 w 70"/>
                  <a:gd name="T43" fmla="*/ 67 h 70"/>
                  <a:gd name="T44" fmla="*/ 54 w 70"/>
                  <a:gd name="T45" fmla="*/ 64 h 70"/>
                  <a:gd name="T46" fmla="*/ 60 w 70"/>
                  <a:gd name="T47" fmla="*/ 59 h 70"/>
                  <a:gd name="T48" fmla="*/ 64 w 70"/>
                  <a:gd name="T49" fmla="*/ 55 h 70"/>
                  <a:gd name="T50" fmla="*/ 68 w 70"/>
                  <a:gd name="T51" fmla="*/ 48 h 70"/>
                  <a:gd name="T52" fmla="*/ 69 w 70"/>
                  <a:gd name="T53" fmla="*/ 42 h 70"/>
                  <a:gd name="T54" fmla="*/ 70 w 70"/>
                  <a:gd name="T55" fmla="*/ 35 h 70"/>
                  <a:gd name="T56" fmla="*/ 70 w 70"/>
                  <a:gd name="T57" fmla="*/ 35 h 70"/>
                  <a:gd name="T58" fmla="*/ 69 w 70"/>
                  <a:gd name="T59" fmla="*/ 28 h 70"/>
                  <a:gd name="T60" fmla="*/ 68 w 70"/>
                  <a:gd name="T61" fmla="*/ 21 h 70"/>
                  <a:gd name="T62" fmla="*/ 64 w 70"/>
                  <a:gd name="T63" fmla="*/ 16 h 70"/>
                  <a:gd name="T64" fmla="*/ 60 w 70"/>
                  <a:gd name="T65" fmla="*/ 11 h 70"/>
                  <a:gd name="T66" fmla="*/ 54 w 70"/>
                  <a:gd name="T67" fmla="*/ 7 h 70"/>
                  <a:gd name="T68" fmla="*/ 49 w 70"/>
                  <a:gd name="T69" fmla="*/ 2 h 70"/>
                  <a:gd name="T70" fmla="*/ 42 w 70"/>
                  <a:gd name="T71" fmla="*/ 1 h 70"/>
                  <a:gd name="T72" fmla="*/ 35 w 70"/>
                  <a:gd name="T73" fmla="*/ 0 h 70"/>
                  <a:gd name="T74" fmla="*/ 35 w 70"/>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0">
                    <a:moveTo>
                      <a:pt x="35" y="0"/>
                    </a:moveTo>
                    <a:lnTo>
                      <a:pt x="35" y="0"/>
                    </a:lnTo>
                    <a:lnTo>
                      <a:pt x="29" y="1"/>
                    </a:lnTo>
                    <a:lnTo>
                      <a:pt x="22" y="2"/>
                    </a:lnTo>
                    <a:lnTo>
                      <a:pt x="17" y="7"/>
                    </a:lnTo>
                    <a:lnTo>
                      <a:pt x="11" y="11"/>
                    </a:lnTo>
                    <a:lnTo>
                      <a:pt x="7" y="16"/>
                    </a:lnTo>
                    <a:lnTo>
                      <a:pt x="3" y="21"/>
                    </a:lnTo>
                    <a:lnTo>
                      <a:pt x="2" y="28"/>
                    </a:lnTo>
                    <a:lnTo>
                      <a:pt x="0" y="35"/>
                    </a:lnTo>
                    <a:lnTo>
                      <a:pt x="0" y="35"/>
                    </a:lnTo>
                    <a:lnTo>
                      <a:pt x="2" y="42"/>
                    </a:lnTo>
                    <a:lnTo>
                      <a:pt x="3" y="48"/>
                    </a:lnTo>
                    <a:lnTo>
                      <a:pt x="7" y="55"/>
                    </a:lnTo>
                    <a:lnTo>
                      <a:pt x="11" y="59"/>
                    </a:lnTo>
                    <a:lnTo>
                      <a:pt x="17" y="64"/>
                    </a:lnTo>
                    <a:lnTo>
                      <a:pt x="22" y="67"/>
                    </a:lnTo>
                    <a:lnTo>
                      <a:pt x="29" y="69"/>
                    </a:lnTo>
                    <a:lnTo>
                      <a:pt x="35" y="70"/>
                    </a:lnTo>
                    <a:lnTo>
                      <a:pt x="35" y="70"/>
                    </a:lnTo>
                    <a:lnTo>
                      <a:pt x="42" y="69"/>
                    </a:lnTo>
                    <a:lnTo>
                      <a:pt x="49" y="67"/>
                    </a:lnTo>
                    <a:lnTo>
                      <a:pt x="54" y="64"/>
                    </a:lnTo>
                    <a:lnTo>
                      <a:pt x="60" y="59"/>
                    </a:lnTo>
                    <a:lnTo>
                      <a:pt x="64" y="55"/>
                    </a:lnTo>
                    <a:lnTo>
                      <a:pt x="68" y="48"/>
                    </a:lnTo>
                    <a:lnTo>
                      <a:pt x="69" y="42"/>
                    </a:lnTo>
                    <a:lnTo>
                      <a:pt x="70" y="35"/>
                    </a:lnTo>
                    <a:lnTo>
                      <a:pt x="70" y="35"/>
                    </a:lnTo>
                    <a:lnTo>
                      <a:pt x="69" y="28"/>
                    </a:lnTo>
                    <a:lnTo>
                      <a:pt x="68" y="21"/>
                    </a:lnTo>
                    <a:lnTo>
                      <a:pt x="64" y="16"/>
                    </a:lnTo>
                    <a:lnTo>
                      <a:pt x="60" y="11"/>
                    </a:lnTo>
                    <a:lnTo>
                      <a:pt x="54" y="7"/>
                    </a:lnTo>
                    <a:lnTo>
                      <a:pt x="49" y="2"/>
                    </a:lnTo>
                    <a:lnTo>
                      <a:pt x="42"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43" name="Freeform 163"/>
              <p:cNvSpPr>
                <a:spLocks/>
              </p:cNvSpPr>
              <p:nvPr/>
            </p:nvSpPr>
            <p:spPr bwMode="auto">
              <a:xfrm>
                <a:off x="3279775" y="4294188"/>
                <a:ext cx="26988" cy="26988"/>
              </a:xfrm>
              <a:custGeom>
                <a:avLst/>
                <a:gdLst>
                  <a:gd name="T0" fmla="*/ 16 w 32"/>
                  <a:gd name="T1" fmla="*/ 0 h 32"/>
                  <a:gd name="T2" fmla="*/ 16 w 32"/>
                  <a:gd name="T3" fmla="*/ 0 h 32"/>
                  <a:gd name="T4" fmla="*/ 9 w 32"/>
                  <a:gd name="T5" fmla="*/ 1 h 32"/>
                  <a:gd name="T6" fmla="*/ 4 w 32"/>
                  <a:gd name="T7" fmla="*/ 5 h 32"/>
                  <a:gd name="T8" fmla="*/ 1 w 32"/>
                  <a:gd name="T9" fmla="*/ 11 h 32"/>
                  <a:gd name="T10" fmla="*/ 0 w 32"/>
                  <a:gd name="T11" fmla="*/ 16 h 32"/>
                  <a:gd name="T12" fmla="*/ 0 w 32"/>
                  <a:gd name="T13" fmla="*/ 16 h 32"/>
                  <a:gd name="T14" fmla="*/ 1 w 32"/>
                  <a:gd name="T15" fmla="*/ 23 h 32"/>
                  <a:gd name="T16" fmla="*/ 4 w 32"/>
                  <a:gd name="T17" fmla="*/ 28 h 32"/>
                  <a:gd name="T18" fmla="*/ 9 w 32"/>
                  <a:gd name="T19" fmla="*/ 31 h 32"/>
                  <a:gd name="T20" fmla="*/ 16 w 32"/>
                  <a:gd name="T21" fmla="*/ 32 h 32"/>
                  <a:gd name="T22" fmla="*/ 16 w 32"/>
                  <a:gd name="T23" fmla="*/ 32 h 32"/>
                  <a:gd name="T24" fmla="*/ 22 w 32"/>
                  <a:gd name="T25" fmla="*/ 31 h 32"/>
                  <a:gd name="T26" fmla="*/ 27 w 32"/>
                  <a:gd name="T27" fmla="*/ 28 h 32"/>
                  <a:gd name="T28" fmla="*/ 31 w 32"/>
                  <a:gd name="T29" fmla="*/ 23 h 32"/>
                  <a:gd name="T30" fmla="*/ 32 w 32"/>
                  <a:gd name="T31" fmla="*/ 16 h 32"/>
                  <a:gd name="T32" fmla="*/ 32 w 32"/>
                  <a:gd name="T33" fmla="*/ 16 h 32"/>
                  <a:gd name="T34" fmla="*/ 31 w 32"/>
                  <a:gd name="T35" fmla="*/ 11 h 32"/>
                  <a:gd name="T36" fmla="*/ 27 w 32"/>
                  <a:gd name="T37" fmla="*/ 5 h 32"/>
                  <a:gd name="T38" fmla="*/ 22 w 32"/>
                  <a:gd name="T39" fmla="*/ 1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9" y="1"/>
                    </a:lnTo>
                    <a:lnTo>
                      <a:pt x="4" y="5"/>
                    </a:lnTo>
                    <a:lnTo>
                      <a:pt x="1" y="11"/>
                    </a:lnTo>
                    <a:lnTo>
                      <a:pt x="0" y="16"/>
                    </a:lnTo>
                    <a:lnTo>
                      <a:pt x="0" y="16"/>
                    </a:lnTo>
                    <a:lnTo>
                      <a:pt x="1" y="23"/>
                    </a:lnTo>
                    <a:lnTo>
                      <a:pt x="4" y="28"/>
                    </a:lnTo>
                    <a:lnTo>
                      <a:pt x="9" y="31"/>
                    </a:lnTo>
                    <a:lnTo>
                      <a:pt x="16" y="32"/>
                    </a:lnTo>
                    <a:lnTo>
                      <a:pt x="16" y="32"/>
                    </a:lnTo>
                    <a:lnTo>
                      <a:pt x="22" y="31"/>
                    </a:lnTo>
                    <a:lnTo>
                      <a:pt x="27" y="28"/>
                    </a:lnTo>
                    <a:lnTo>
                      <a:pt x="31" y="23"/>
                    </a:lnTo>
                    <a:lnTo>
                      <a:pt x="32" y="16"/>
                    </a:lnTo>
                    <a:lnTo>
                      <a:pt x="32" y="16"/>
                    </a:lnTo>
                    <a:lnTo>
                      <a:pt x="31" y="11"/>
                    </a:lnTo>
                    <a:lnTo>
                      <a:pt x="27" y="5"/>
                    </a:lnTo>
                    <a:lnTo>
                      <a:pt x="22" y="1"/>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sp>
        <p:nvSpPr>
          <p:cNvPr id="149" name="Rounded Rectangle 191"/>
          <p:cNvSpPr/>
          <p:nvPr/>
        </p:nvSpPr>
        <p:spPr>
          <a:xfrm>
            <a:off x="5693771" y="3840511"/>
            <a:ext cx="766703" cy="415497"/>
          </a:xfrm>
          <a:prstGeom prst="rect">
            <a:avLst/>
          </a:prstGeom>
          <a:noFill/>
        </p:spPr>
        <p:txBody>
          <a:bodyPr wrap="square" lIns="68583" tIns="34292" rIns="68583" bIns="34292" rtlCol="0" anchor="b">
            <a:spAutoFit/>
          </a:bodyPr>
          <a:lstStyle/>
          <a:p>
            <a:r>
              <a:rPr lang="en-US" sz="1100" dirty="0">
                <a:solidFill>
                  <a:srgbClr val="676767"/>
                </a:solidFill>
                <a:latin typeface="Arial"/>
              </a:rPr>
              <a:t>Roaming User</a:t>
            </a:r>
          </a:p>
        </p:txBody>
      </p:sp>
      <p:grpSp>
        <p:nvGrpSpPr>
          <p:cNvPr id="150" name="Group 149"/>
          <p:cNvGrpSpPr/>
          <p:nvPr/>
        </p:nvGrpSpPr>
        <p:grpSpPr>
          <a:xfrm>
            <a:off x="5383219" y="3723191"/>
            <a:ext cx="353118" cy="485009"/>
            <a:chOff x="2427200" y="7613831"/>
            <a:chExt cx="1051866" cy="1445113"/>
          </a:xfrm>
          <a:solidFill>
            <a:srgbClr val="676767"/>
          </a:solidFill>
        </p:grpSpPr>
        <p:grpSp>
          <p:nvGrpSpPr>
            <p:cNvPr id="151" name="Group 150"/>
            <p:cNvGrpSpPr/>
            <p:nvPr/>
          </p:nvGrpSpPr>
          <p:grpSpPr>
            <a:xfrm rot="19897570">
              <a:off x="3208484" y="7613831"/>
              <a:ext cx="270582" cy="541943"/>
              <a:chOff x="4630738" y="4803775"/>
              <a:chExt cx="2216150" cy="4438650"/>
            </a:xfrm>
            <a:grpFill/>
          </p:grpSpPr>
          <p:sp>
            <p:nvSpPr>
              <p:cNvPr id="153"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2968AF"/>
                  </a:solidFill>
                  <a:latin typeface="Arial"/>
                </a:endParaRPr>
              </a:p>
            </p:txBody>
          </p:sp>
          <p:sp>
            <p:nvSpPr>
              <p:cNvPr id="154"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2968AF"/>
                  </a:solidFill>
                  <a:latin typeface="Arial"/>
                </a:endParaRPr>
              </a:p>
            </p:txBody>
          </p:sp>
        </p:grpSp>
        <p:sp>
          <p:nvSpPr>
            <p:cNvPr id="152" name="Freeform 151"/>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a:solidFill>
                  <a:srgbClr val="2968AF"/>
                </a:solidFill>
                <a:latin typeface="Arial"/>
              </a:endParaRPr>
            </a:p>
          </p:txBody>
        </p:sp>
      </p:grpSp>
      <p:sp>
        <p:nvSpPr>
          <p:cNvPr id="155" name="Rounded Rectangle 191"/>
          <p:cNvSpPr/>
          <p:nvPr/>
        </p:nvSpPr>
        <p:spPr>
          <a:xfrm>
            <a:off x="3125853" y="3615846"/>
            <a:ext cx="1118640" cy="193132"/>
          </a:xfrm>
          <a:prstGeom prst="rect">
            <a:avLst/>
          </a:prstGeom>
          <a:noFill/>
          <a:ln w="25400" cap="flat" cmpd="sng" algn="ctr">
            <a:noFill/>
            <a:prstDash val="solid"/>
          </a:ln>
          <a:effectLst/>
        </p:spPr>
        <p:txBody>
          <a:bodyPr lIns="51445" tIns="25723" rIns="51445" bIns="25723" rtlCol="0" anchor="ctr"/>
          <a:lstStyle/>
          <a:p>
            <a:pPr>
              <a:defRPr/>
            </a:pPr>
            <a:r>
              <a:rPr lang="en-US" sz="1100" dirty="0">
                <a:solidFill>
                  <a:srgbClr val="2968AF"/>
                </a:solidFill>
                <a:latin typeface="Arial"/>
              </a:rPr>
              <a:t>Remote Sites</a:t>
            </a:r>
          </a:p>
        </p:txBody>
      </p:sp>
      <p:grpSp>
        <p:nvGrpSpPr>
          <p:cNvPr id="156" name="Group 155"/>
          <p:cNvGrpSpPr/>
          <p:nvPr/>
        </p:nvGrpSpPr>
        <p:grpSpPr>
          <a:xfrm>
            <a:off x="2689039" y="3289526"/>
            <a:ext cx="430792" cy="544601"/>
            <a:chOff x="4012294" y="3893616"/>
            <a:chExt cx="671101" cy="848615"/>
          </a:xfrm>
          <a:solidFill>
            <a:srgbClr val="2968AF"/>
          </a:solidFill>
        </p:grpSpPr>
        <p:grpSp>
          <p:nvGrpSpPr>
            <p:cNvPr id="157" name="Group 156"/>
            <p:cNvGrpSpPr/>
            <p:nvPr/>
          </p:nvGrpSpPr>
          <p:grpSpPr>
            <a:xfrm>
              <a:off x="4012294" y="3893616"/>
              <a:ext cx="340943" cy="848615"/>
              <a:chOff x="5816600" y="1936751"/>
              <a:chExt cx="217488" cy="541336"/>
            </a:xfrm>
            <a:grpFill/>
          </p:grpSpPr>
          <p:sp>
            <p:nvSpPr>
              <p:cNvPr id="159" name="Freeform 279"/>
              <p:cNvSpPr>
                <a:spLocks/>
              </p:cNvSpPr>
              <p:nvPr/>
            </p:nvSpPr>
            <p:spPr bwMode="auto">
              <a:xfrm>
                <a:off x="5878503" y="1936751"/>
                <a:ext cx="93663" cy="117476"/>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sp>
            <p:nvSpPr>
              <p:cNvPr id="160" name="Freeform 280"/>
              <p:cNvSpPr>
                <a:spLocks/>
              </p:cNvSpPr>
              <p:nvPr/>
            </p:nvSpPr>
            <p:spPr bwMode="auto">
              <a:xfrm>
                <a:off x="5816600" y="2049462"/>
                <a:ext cx="217488" cy="428625"/>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FFFFFF"/>
                  </a:solidFill>
                  <a:latin typeface="Arial"/>
                </a:endParaRPr>
              </a:p>
            </p:txBody>
          </p:sp>
        </p:grpSp>
        <p:sp>
          <p:nvSpPr>
            <p:cNvPr id="158" name="Freeform 179"/>
            <p:cNvSpPr>
              <a:spLocks noEditPoints="1"/>
            </p:cNvSpPr>
            <p:nvPr/>
          </p:nvSpPr>
          <p:spPr bwMode="auto">
            <a:xfrm>
              <a:off x="4293556" y="4340954"/>
              <a:ext cx="389839" cy="399707"/>
            </a:xfrm>
            <a:custGeom>
              <a:avLst/>
              <a:gdLst>
                <a:gd name="T0" fmla="*/ 597 w 631"/>
                <a:gd name="T1" fmla="*/ 601 h 647"/>
                <a:gd name="T2" fmla="*/ 597 w 631"/>
                <a:gd name="T3" fmla="*/ 206 h 647"/>
                <a:gd name="T4" fmla="*/ 527 w 631"/>
                <a:gd name="T5" fmla="*/ 170 h 647"/>
                <a:gd name="T6" fmla="*/ 527 w 631"/>
                <a:gd name="T7" fmla="*/ 105 h 647"/>
                <a:gd name="T8" fmla="*/ 328 w 631"/>
                <a:gd name="T9" fmla="*/ 0 h 647"/>
                <a:gd name="T10" fmla="*/ 115 w 631"/>
                <a:gd name="T11" fmla="*/ 105 h 647"/>
                <a:gd name="T12" fmla="*/ 115 w 631"/>
                <a:gd name="T13" fmla="*/ 166 h 647"/>
                <a:gd name="T14" fmla="*/ 35 w 631"/>
                <a:gd name="T15" fmla="*/ 205 h 647"/>
                <a:gd name="T16" fmla="*/ 35 w 631"/>
                <a:gd name="T17" fmla="*/ 562 h 647"/>
                <a:gd name="T18" fmla="*/ 57 w 631"/>
                <a:gd name="T19" fmla="*/ 562 h 647"/>
                <a:gd name="T20" fmla="*/ 57 w 631"/>
                <a:gd name="T21" fmla="*/ 222 h 647"/>
                <a:gd name="T22" fmla="*/ 113 w 631"/>
                <a:gd name="T23" fmla="*/ 197 h 647"/>
                <a:gd name="T24" fmla="*/ 113 w 631"/>
                <a:gd name="T25" fmla="*/ 601 h 647"/>
                <a:gd name="T26" fmla="*/ 0 w 631"/>
                <a:gd name="T27" fmla="*/ 601 h 647"/>
                <a:gd name="T28" fmla="*/ 0 w 631"/>
                <a:gd name="T29" fmla="*/ 647 h 647"/>
                <a:gd name="T30" fmla="*/ 631 w 631"/>
                <a:gd name="T31" fmla="*/ 647 h 647"/>
                <a:gd name="T32" fmla="*/ 631 w 631"/>
                <a:gd name="T33" fmla="*/ 601 h 647"/>
                <a:gd name="T34" fmla="*/ 597 w 631"/>
                <a:gd name="T35" fmla="*/ 601 h 647"/>
                <a:gd name="T36" fmla="*/ 206 w 631"/>
                <a:gd name="T37" fmla="*/ 601 h 647"/>
                <a:gd name="T38" fmla="*/ 136 w 631"/>
                <a:gd name="T39" fmla="*/ 601 h 647"/>
                <a:gd name="T40" fmla="*/ 136 w 631"/>
                <a:gd name="T41" fmla="*/ 186 h 647"/>
                <a:gd name="T42" fmla="*/ 206 w 631"/>
                <a:gd name="T43" fmla="*/ 154 h 647"/>
                <a:gd name="T44" fmla="*/ 206 w 631"/>
                <a:gd name="T45" fmla="*/ 601 h 647"/>
                <a:gd name="T46" fmla="*/ 330 w 631"/>
                <a:gd name="T47" fmla="*/ 601 h 647"/>
                <a:gd name="T48" fmla="*/ 228 w 631"/>
                <a:gd name="T49" fmla="*/ 601 h 647"/>
                <a:gd name="T50" fmla="*/ 228 w 631"/>
                <a:gd name="T51" fmla="*/ 144 h 647"/>
                <a:gd name="T52" fmla="*/ 330 w 631"/>
                <a:gd name="T53" fmla="*/ 96 h 647"/>
                <a:gd name="T54" fmla="*/ 330 w 631"/>
                <a:gd name="T55" fmla="*/ 601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1" h="647">
                  <a:moveTo>
                    <a:pt x="597" y="601"/>
                  </a:moveTo>
                  <a:lnTo>
                    <a:pt x="597" y="206"/>
                  </a:lnTo>
                  <a:lnTo>
                    <a:pt x="527" y="170"/>
                  </a:lnTo>
                  <a:lnTo>
                    <a:pt x="527" y="105"/>
                  </a:lnTo>
                  <a:lnTo>
                    <a:pt x="328" y="0"/>
                  </a:lnTo>
                  <a:lnTo>
                    <a:pt x="115" y="105"/>
                  </a:lnTo>
                  <a:lnTo>
                    <a:pt x="115" y="166"/>
                  </a:lnTo>
                  <a:lnTo>
                    <a:pt x="35" y="205"/>
                  </a:lnTo>
                  <a:lnTo>
                    <a:pt x="35" y="562"/>
                  </a:lnTo>
                  <a:lnTo>
                    <a:pt x="57" y="562"/>
                  </a:lnTo>
                  <a:lnTo>
                    <a:pt x="57" y="222"/>
                  </a:lnTo>
                  <a:lnTo>
                    <a:pt x="113" y="197"/>
                  </a:lnTo>
                  <a:lnTo>
                    <a:pt x="113" y="601"/>
                  </a:lnTo>
                  <a:lnTo>
                    <a:pt x="0" y="601"/>
                  </a:lnTo>
                  <a:lnTo>
                    <a:pt x="0" y="647"/>
                  </a:lnTo>
                  <a:lnTo>
                    <a:pt x="631" y="647"/>
                  </a:lnTo>
                  <a:lnTo>
                    <a:pt x="631" y="601"/>
                  </a:lnTo>
                  <a:lnTo>
                    <a:pt x="597" y="601"/>
                  </a:lnTo>
                  <a:close/>
                  <a:moveTo>
                    <a:pt x="206" y="601"/>
                  </a:moveTo>
                  <a:lnTo>
                    <a:pt x="136" y="601"/>
                  </a:lnTo>
                  <a:lnTo>
                    <a:pt x="136" y="186"/>
                  </a:lnTo>
                  <a:lnTo>
                    <a:pt x="206" y="154"/>
                  </a:lnTo>
                  <a:lnTo>
                    <a:pt x="206" y="601"/>
                  </a:lnTo>
                  <a:close/>
                  <a:moveTo>
                    <a:pt x="330" y="601"/>
                  </a:moveTo>
                  <a:lnTo>
                    <a:pt x="228" y="601"/>
                  </a:lnTo>
                  <a:lnTo>
                    <a:pt x="228" y="144"/>
                  </a:lnTo>
                  <a:lnTo>
                    <a:pt x="330" y="96"/>
                  </a:lnTo>
                  <a:lnTo>
                    <a:pt x="330" y="60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cxnSp>
        <p:nvCxnSpPr>
          <p:cNvPr id="177" name="Straight Arrow Connector 176"/>
          <p:cNvCxnSpPr/>
          <p:nvPr/>
        </p:nvCxnSpPr>
        <p:spPr>
          <a:xfrm flipV="1">
            <a:off x="5320022" y="2435954"/>
            <a:ext cx="0" cy="710981"/>
          </a:xfrm>
          <a:prstGeom prst="straightConnector1">
            <a:avLst/>
          </a:prstGeom>
          <a:ln w="38100">
            <a:solidFill>
              <a:srgbClr val="2968AF"/>
            </a:solidFill>
            <a:tailEnd type="triangle" w="lg" len="med"/>
          </a:ln>
        </p:spPr>
        <p:style>
          <a:lnRef idx="1">
            <a:schemeClr val="accent1"/>
          </a:lnRef>
          <a:fillRef idx="0">
            <a:schemeClr val="accent1"/>
          </a:fillRef>
          <a:effectRef idx="0">
            <a:schemeClr val="accent1"/>
          </a:effectRef>
          <a:fontRef idx="minor">
            <a:schemeClr val="tx1"/>
          </a:fontRef>
        </p:style>
      </p:cxnSp>
      <p:sp>
        <p:nvSpPr>
          <p:cNvPr id="178" name="TextBox 177"/>
          <p:cNvSpPr txBox="1"/>
          <p:nvPr/>
        </p:nvSpPr>
        <p:spPr>
          <a:xfrm>
            <a:off x="5553541" y="3162518"/>
            <a:ext cx="688235" cy="415494"/>
          </a:xfrm>
          <a:prstGeom prst="rect">
            <a:avLst/>
          </a:prstGeom>
          <a:noFill/>
        </p:spPr>
        <p:txBody>
          <a:bodyPr wrap="square" lIns="68583" tIns="34292" rIns="68583" bIns="34292" rtlCol="0">
            <a:spAutoFit/>
          </a:bodyPr>
          <a:lstStyle/>
          <a:p>
            <a:r>
              <a:rPr lang="en-US" sz="1100" dirty="0">
                <a:solidFill>
                  <a:srgbClr val="2968AF"/>
                </a:solidFill>
                <a:latin typeface="Arial"/>
              </a:rPr>
              <a:t>Use Case 1</a:t>
            </a:r>
          </a:p>
        </p:txBody>
      </p:sp>
      <p:grpSp>
        <p:nvGrpSpPr>
          <p:cNvPr id="179" name="Group 178"/>
          <p:cNvGrpSpPr/>
          <p:nvPr/>
        </p:nvGrpSpPr>
        <p:grpSpPr>
          <a:xfrm>
            <a:off x="5133893" y="3181185"/>
            <a:ext cx="419648" cy="355088"/>
            <a:chOff x="6838575" y="4242437"/>
            <a:chExt cx="559385" cy="473450"/>
          </a:xfrm>
          <a:solidFill>
            <a:srgbClr val="2968AF"/>
          </a:solidFill>
        </p:grpSpPr>
        <p:grpSp>
          <p:nvGrpSpPr>
            <p:cNvPr id="180" name="Group 179"/>
            <p:cNvGrpSpPr/>
            <p:nvPr/>
          </p:nvGrpSpPr>
          <p:grpSpPr>
            <a:xfrm>
              <a:off x="6838575" y="4242437"/>
              <a:ext cx="559385" cy="473450"/>
              <a:chOff x="2927350" y="4090988"/>
              <a:chExt cx="547688" cy="463550"/>
            </a:xfrm>
            <a:grpFill/>
          </p:grpSpPr>
          <p:sp>
            <p:nvSpPr>
              <p:cNvPr id="186" name="Freeform 159"/>
              <p:cNvSpPr>
                <a:spLocks noEditPoints="1"/>
              </p:cNvSpPr>
              <p:nvPr/>
            </p:nvSpPr>
            <p:spPr bwMode="auto">
              <a:xfrm>
                <a:off x="2927350" y="4090988"/>
                <a:ext cx="547688" cy="463550"/>
              </a:xfrm>
              <a:custGeom>
                <a:avLst/>
                <a:gdLst>
                  <a:gd name="T0" fmla="*/ 27 w 690"/>
                  <a:gd name="T1" fmla="*/ 0 h 582"/>
                  <a:gd name="T2" fmla="*/ 7 w 690"/>
                  <a:gd name="T3" fmla="*/ 15 h 582"/>
                  <a:gd name="T4" fmla="*/ 0 w 690"/>
                  <a:gd name="T5" fmla="*/ 550 h 582"/>
                  <a:gd name="T6" fmla="*/ 7 w 690"/>
                  <a:gd name="T7" fmla="*/ 567 h 582"/>
                  <a:gd name="T8" fmla="*/ 27 w 690"/>
                  <a:gd name="T9" fmla="*/ 582 h 582"/>
                  <a:gd name="T10" fmla="*/ 663 w 690"/>
                  <a:gd name="T11" fmla="*/ 582 h 582"/>
                  <a:gd name="T12" fmla="*/ 685 w 690"/>
                  <a:gd name="T13" fmla="*/ 567 h 582"/>
                  <a:gd name="T14" fmla="*/ 690 w 690"/>
                  <a:gd name="T15" fmla="*/ 32 h 582"/>
                  <a:gd name="T16" fmla="*/ 685 w 690"/>
                  <a:gd name="T17" fmla="*/ 15 h 582"/>
                  <a:gd name="T18" fmla="*/ 663 w 690"/>
                  <a:gd name="T19" fmla="*/ 0 h 582"/>
                  <a:gd name="T20" fmla="*/ 232 w 690"/>
                  <a:gd name="T21" fmla="*/ 40 h 582"/>
                  <a:gd name="T22" fmla="*/ 249 w 690"/>
                  <a:gd name="T23" fmla="*/ 48 h 582"/>
                  <a:gd name="T24" fmla="*/ 256 w 690"/>
                  <a:gd name="T25" fmla="*/ 66 h 582"/>
                  <a:gd name="T26" fmla="*/ 252 w 690"/>
                  <a:gd name="T27" fmla="*/ 79 h 582"/>
                  <a:gd name="T28" fmla="*/ 237 w 690"/>
                  <a:gd name="T29" fmla="*/ 89 h 582"/>
                  <a:gd name="T30" fmla="*/ 222 w 690"/>
                  <a:gd name="T31" fmla="*/ 87 h 582"/>
                  <a:gd name="T32" fmla="*/ 209 w 690"/>
                  <a:gd name="T33" fmla="*/ 75 h 582"/>
                  <a:gd name="T34" fmla="*/ 208 w 690"/>
                  <a:gd name="T35" fmla="*/ 60 h 582"/>
                  <a:gd name="T36" fmla="*/ 218 w 690"/>
                  <a:gd name="T37" fmla="*/ 46 h 582"/>
                  <a:gd name="T38" fmla="*/ 232 w 690"/>
                  <a:gd name="T39" fmla="*/ 40 h 582"/>
                  <a:gd name="T40" fmla="*/ 160 w 690"/>
                  <a:gd name="T41" fmla="*/ 43 h 582"/>
                  <a:gd name="T42" fmla="*/ 173 w 690"/>
                  <a:gd name="T43" fmla="*/ 55 h 582"/>
                  <a:gd name="T44" fmla="*/ 174 w 690"/>
                  <a:gd name="T45" fmla="*/ 70 h 582"/>
                  <a:gd name="T46" fmla="*/ 165 w 690"/>
                  <a:gd name="T47" fmla="*/ 86 h 582"/>
                  <a:gd name="T48" fmla="*/ 150 w 690"/>
                  <a:gd name="T49" fmla="*/ 90 h 582"/>
                  <a:gd name="T50" fmla="*/ 133 w 690"/>
                  <a:gd name="T51" fmla="*/ 82 h 582"/>
                  <a:gd name="T52" fmla="*/ 125 w 690"/>
                  <a:gd name="T53" fmla="*/ 66 h 582"/>
                  <a:gd name="T54" fmla="*/ 129 w 690"/>
                  <a:gd name="T55" fmla="*/ 51 h 582"/>
                  <a:gd name="T56" fmla="*/ 146 w 690"/>
                  <a:gd name="T57" fmla="*/ 42 h 582"/>
                  <a:gd name="T58" fmla="*/ 69 w 690"/>
                  <a:gd name="T59" fmla="*/ 40 h 582"/>
                  <a:gd name="T60" fmla="*/ 86 w 690"/>
                  <a:gd name="T61" fmla="*/ 48 h 582"/>
                  <a:gd name="T62" fmla="*/ 93 w 690"/>
                  <a:gd name="T63" fmla="*/ 66 h 582"/>
                  <a:gd name="T64" fmla="*/ 89 w 690"/>
                  <a:gd name="T65" fmla="*/ 79 h 582"/>
                  <a:gd name="T66" fmla="*/ 74 w 690"/>
                  <a:gd name="T67" fmla="*/ 89 h 582"/>
                  <a:gd name="T68" fmla="*/ 59 w 690"/>
                  <a:gd name="T69" fmla="*/ 87 h 582"/>
                  <a:gd name="T70" fmla="*/ 46 w 690"/>
                  <a:gd name="T71" fmla="*/ 75 h 582"/>
                  <a:gd name="T72" fmla="*/ 44 w 690"/>
                  <a:gd name="T73" fmla="*/ 60 h 582"/>
                  <a:gd name="T74" fmla="*/ 55 w 690"/>
                  <a:gd name="T75" fmla="*/ 46 h 582"/>
                  <a:gd name="T76" fmla="*/ 69 w 690"/>
                  <a:gd name="T77" fmla="*/ 40 h 582"/>
                  <a:gd name="T78" fmla="*/ 647 w 690"/>
                  <a:gd name="T79" fmla="*/ 518 h 582"/>
                  <a:gd name="T80" fmla="*/ 630 w 690"/>
                  <a:gd name="T81" fmla="*/ 535 h 582"/>
                  <a:gd name="T82" fmla="*/ 74 w 690"/>
                  <a:gd name="T83" fmla="*/ 538 h 582"/>
                  <a:gd name="T84" fmla="*/ 51 w 690"/>
                  <a:gd name="T85" fmla="*/ 528 h 582"/>
                  <a:gd name="T86" fmla="*/ 42 w 690"/>
                  <a:gd name="T87" fmla="*/ 505 h 582"/>
                  <a:gd name="T88" fmla="*/ 44 w 690"/>
                  <a:gd name="T89" fmla="*/ 172 h 582"/>
                  <a:gd name="T90" fmla="*/ 61 w 690"/>
                  <a:gd name="T91" fmla="*/ 155 h 582"/>
                  <a:gd name="T92" fmla="*/ 616 w 690"/>
                  <a:gd name="T93" fmla="*/ 152 h 582"/>
                  <a:gd name="T94" fmla="*/ 639 w 690"/>
                  <a:gd name="T95" fmla="*/ 162 h 582"/>
                  <a:gd name="T96" fmla="*/ 649 w 690"/>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0" h="582">
                    <a:moveTo>
                      <a:pt x="658" y="0"/>
                    </a:moveTo>
                    <a:lnTo>
                      <a:pt x="32" y="0"/>
                    </a:lnTo>
                    <a:lnTo>
                      <a:pt x="32" y="0"/>
                    </a:lnTo>
                    <a:lnTo>
                      <a:pt x="27" y="0"/>
                    </a:lnTo>
                    <a:lnTo>
                      <a:pt x="20" y="3"/>
                    </a:lnTo>
                    <a:lnTo>
                      <a:pt x="15" y="5"/>
                    </a:lnTo>
                    <a:lnTo>
                      <a:pt x="9" y="9"/>
                    </a:lnTo>
                    <a:lnTo>
                      <a:pt x="7" y="15"/>
                    </a:lnTo>
                    <a:lnTo>
                      <a:pt x="3" y="20"/>
                    </a:lnTo>
                    <a:lnTo>
                      <a:pt x="1" y="25"/>
                    </a:lnTo>
                    <a:lnTo>
                      <a:pt x="0" y="32"/>
                    </a:lnTo>
                    <a:lnTo>
                      <a:pt x="0" y="550"/>
                    </a:lnTo>
                    <a:lnTo>
                      <a:pt x="0" y="550"/>
                    </a:lnTo>
                    <a:lnTo>
                      <a:pt x="1" y="557"/>
                    </a:lnTo>
                    <a:lnTo>
                      <a:pt x="3" y="562"/>
                    </a:lnTo>
                    <a:lnTo>
                      <a:pt x="7" y="567"/>
                    </a:lnTo>
                    <a:lnTo>
                      <a:pt x="9" y="573"/>
                    </a:lnTo>
                    <a:lnTo>
                      <a:pt x="15" y="577"/>
                    </a:lnTo>
                    <a:lnTo>
                      <a:pt x="20" y="580"/>
                    </a:lnTo>
                    <a:lnTo>
                      <a:pt x="27" y="582"/>
                    </a:lnTo>
                    <a:lnTo>
                      <a:pt x="32" y="582"/>
                    </a:lnTo>
                    <a:lnTo>
                      <a:pt x="658" y="582"/>
                    </a:lnTo>
                    <a:lnTo>
                      <a:pt x="658" y="582"/>
                    </a:lnTo>
                    <a:lnTo>
                      <a:pt x="663" y="582"/>
                    </a:lnTo>
                    <a:lnTo>
                      <a:pt x="670" y="580"/>
                    </a:lnTo>
                    <a:lnTo>
                      <a:pt x="676" y="577"/>
                    </a:lnTo>
                    <a:lnTo>
                      <a:pt x="681" y="573"/>
                    </a:lnTo>
                    <a:lnTo>
                      <a:pt x="685" y="567"/>
                    </a:lnTo>
                    <a:lnTo>
                      <a:pt x="688" y="562"/>
                    </a:lnTo>
                    <a:lnTo>
                      <a:pt x="689" y="557"/>
                    </a:lnTo>
                    <a:lnTo>
                      <a:pt x="690" y="550"/>
                    </a:lnTo>
                    <a:lnTo>
                      <a:pt x="690" y="32"/>
                    </a:lnTo>
                    <a:lnTo>
                      <a:pt x="690" y="32"/>
                    </a:lnTo>
                    <a:lnTo>
                      <a:pt x="689" y="25"/>
                    </a:lnTo>
                    <a:lnTo>
                      <a:pt x="688" y="20"/>
                    </a:lnTo>
                    <a:lnTo>
                      <a:pt x="685" y="15"/>
                    </a:lnTo>
                    <a:lnTo>
                      <a:pt x="681" y="9"/>
                    </a:lnTo>
                    <a:lnTo>
                      <a:pt x="676" y="5"/>
                    </a:lnTo>
                    <a:lnTo>
                      <a:pt x="670" y="3"/>
                    </a:lnTo>
                    <a:lnTo>
                      <a:pt x="663" y="0"/>
                    </a:lnTo>
                    <a:lnTo>
                      <a:pt x="658" y="0"/>
                    </a:lnTo>
                    <a:lnTo>
                      <a:pt x="658" y="0"/>
                    </a:lnTo>
                    <a:close/>
                    <a:moveTo>
                      <a:pt x="232" y="40"/>
                    </a:moveTo>
                    <a:lnTo>
                      <a:pt x="232" y="40"/>
                    </a:lnTo>
                    <a:lnTo>
                      <a:pt x="237" y="42"/>
                    </a:lnTo>
                    <a:lnTo>
                      <a:pt x="241" y="43"/>
                    </a:lnTo>
                    <a:lnTo>
                      <a:pt x="245" y="46"/>
                    </a:lnTo>
                    <a:lnTo>
                      <a:pt x="249" y="48"/>
                    </a:lnTo>
                    <a:lnTo>
                      <a:pt x="252" y="51"/>
                    </a:lnTo>
                    <a:lnTo>
                      <a:pt x="255" y="55"/>
                    </a:lnTo>
                    <a:lnTo>
                      <a:pt x="256" y="60"/>
                    </a:lnTo>
                    <a:lnTo>
                      <a:pt x="256" y="66"/>
                    </a:lnTo>
                    <a:lnTo>
                      <a:pt x="256" y="66"/>
                    </a:lnTo>
                    <a:lnTo>
                      <a:pt x="256" y="70"/>
                    </a:lnTo>
                    <a:lnTo>
                      <a:pt x="255" y="75"/>
                    </a:lnTo>
                    <a:lnTo>
                      <a:pt x="252" y="79"/>
                    </a:lnTo>
                    <a:lnTo>
                      <a:pt x="249" y="82"/>
                    </a:lnTo>
                    <a:lnTo>
                      <a:pt x="245" y="86"/>
                    </a:lnTo>
                    <a:lnTo>
                      <a:pt x="241" y="87"/>
                    </a:lnTo>
                    <a:lnTo>
                      <a:pt x="237" y="89"/>
                    </a:lnTo>
                    <a:lnTo>
                      <a:pt x="232" y="90"/>
                    </a:lnTo>
                    <a:lnTo>
                      <a:pt x="232" y="90"/>
                    </a:lnTo>
                    <a:lnTo>
                      <a:pt x="227" y="89"/>
                    </a:lnTo>
                    <a:lnTo>
                      <a:pt x="222" y="87"/>
                    </a:lnTo>
                    <a:lnTo>
                      <a:pt x="218" y="86"/>
                    </a:lnTo>
                    <a:lnTo>
                      <a:pt x="214" y="82"/>
                    </a:lnTo>
                    <a:lnTo>
                      <a:pt x="212" y="79"/>
                    </a:lnTo>
                    <a:lnTo>
                      <a:pt x="209" y="75"/>
                    </a:lnTo>
                    <a:lnTo>
                      <a:pt x="208" y="70"/>
                    </a:lnTo>
                    <a:lnTo>
                      <a:pt x="208" y="66"/>
                    </a:lnTo>
                    <a:lnTo>
                      <a:pt x="208" y="66"/>
                    </a:lnTo>
                    <a:lnTo>
                      <a:pt x="208" y="60"/>
                    </a:lnTo>
                    <a:lnTo>
                      <a:pt x="209" y="55"/>
                    </a:lnTo>
                    <a:lnTo>
                      <a:pt x="212" y="51"/>
                    </a:lnTo>
                    <a:lnTo>
                      <a:pt x="214" y="48"/>
                    </a:lnTo>
                    <a:lnTo>
                      <a:pt x="218" y="46"/>
                    </a:lnTo>
                    <a:lnTo>
                      <a:pt x="222" y="43"/>
                    </a:lnTo>
                    <a:lnTo>
                      <a:pt x="227" y="42"/>
                    </a:lnTo>
                    <a:lnTo>
                      <a:pt x="232" y="40"/>
                    </a:lnTo>
                    <a:lnTo>
                      <a:pt x="232" y="40"/>
                    </a:lnTo>
                    <a:close/>
                    <a:moveTo>
                      <a:pt x="150" y="40"/>
                    </a:moveTo>
                    <a:lnTo>
                      <a:pt x="150" y="40"/>
                    </a:lnTo>
                    <a:lnTo>
                      <a:pt x="155" y="42"/>
                    </a:lnTo>
                    <a:lnTo>
                      <a:pt x="160" y="43"/>
                    </a:lnTo>
                    <a:lnTo>
                      <a:pt x="165" y="46"/>
                    </a:lnTo>
                    <a:lnTo>
                      <a:pt x="167" y="48"/>
                    </a:lnTo>
                    <a:lnTo>
                      <a:pt x="171" y="51"/>
                    </a:lnTo>
                    <a:lnTo>
                      <a:pt x="173" y="55"/>
                    </a:lnTo>
                    <a:lnTo>
                      <a:pt x="174" y="60"/>
                    </a:lnTo>
                    <a:lnTo>
                      <a:pt x="175" y="66"/>
                    </a:lnTo>
                    <a:lnTo>
                      <a:pt x="175" y="66"/>
                    </a:lnTo>
                    <a:lnTo>
                      <a:pt x="174" y="70"/>
                    </a:lnTo>
                    <a:lnTo>
                      <a:pt x="173" y="75"/>
                    </a:lnTo>
                    <a:lnTo>
                      <a:pt x="171" y="79"/>
                    </a:lnTo>
                    <a:lnTo>
                      <a:pt x="167" y="82"/>
                    </a:lnTo>
                    <a:lnTo>
                      <a:pt x="165" y="86"/>
                    </a:lnTo>
                    <a:lnTo>
                      <a:pt x="160" y="87"/>
                    </a:lnTo>
                    <a:lnTo>
                      <a:pt x="155" y="89"/>
                    </a:lnTo>
                    <a:lnTo>
                      <a:pt x="150" y="90"/>
                    </a:lnTo>
                    <a:lnTo>
                      <a:pt x="150" y="90"/>
                    </a:lnTo>
                    <a:lnTo>
                      <a:pt x="146" y="89"/>
                    </a:lnTo>
                    <a:lnTo>
                      <a:pt x="140" y="87"/>
                    </a:lnTo>
                    <a:lnTo>
                      <a:pt x="136" y="86"/>
                    </a:lnTo>
                    <a:lnTo>
                      <a:pt x="133" y="82"/>
                    </a:lnTo>
                    <a:lnTo>
                      <a:pt x="129" y="79"/>
                    </a:lnTo>
                    <a:lnTo>
                      <a:pt x="128" y="75"/>
                    </a:lnTo>
                    <a:lnTo>
                      <a:pt x="127" y="70"/>
                    </a:lnTo>
                    <a:lnTo>
                      <a:pt x="125" y="66"/>
                    </a:lnTo>
                    <a:lnTo>
                      <a:pt x="125" y="66"/>
                    </a:lnTo>
                    <a:lnTo>
                      <a:pt x="127" y="60"/>
                    </a:lnTo>
                    <a:lnTo>
                      <a:pt x="128" y="55"/>
                    </a:lnTo>
                    <a:lnTo>
                      <a:pt x="129" y="51"/>
                    </a:lnTo>
                    <a:lnTo>
                      <a:pt x="133" y="48"/>
                    </a:lnTo>
                    <a:lnTo>
                      <a:pt x="136" y="46"/>
                    </a:lnTo>
                    <a:lnTo>
                      <a:pt x="140" y="43"/>
                    </a:lnTo>
                    <a:lnTo>
                      <a:pt x="146" y="42"/>
                    </a:lnTo>
                    <a:lnTo>
                      <a:pt x="150" y="40"/>
                    </a:lnTo>
                    <a:lnTo>
                      <a:pt x="150" y="40"/>
                    </a:lnTo>
                    <a:close/>
                    <a:moveTo>
                      <a:pt x="69" y="40"/>
                    </a:moveTo>
                    <a:lnTo>
                      <a:pt x="69" y="40"/>
                    </a:lnTo>
                    <a:lnTo>
                      <a:pt x="74" y="42"/>
                    </a:lnTo>
                    <a:lnTo>
                      <a:pt x="78" y="43"/>
                    </a:lnTo>
                    <a:lnTo>
                      <a:pt x="82" y="46"/>
                    </a:lnTo>
                    <a:lnTo>
                      <a:pt x="86" y="48"/>
                    </a:lnTo>
                    <a:lnTo>
                      <a:pt x="89" y="51"/>
                    </a:lnTo>
                    <a:lnTo>
                      <a:pt x="92" y="55"/>
                    </a:lnTo>
                    <a:lnTo>
                      <a:pt x="93" y="60"/>
                    </a:lnTo>
                    <a:lnTo>
                      <a:pt x="93" y="66"/>
                    </a:lnTo>
                    <a:lnTo>
                      <a:pt x="93" y="66"/>
                    </a:lnTo>
                    <a:lnTo>
                      <a:pt x="93" y="70"/>
                    </a:lnTo>
                    <a:lnTo>
                      <a:pt x="92" y="75"/>
                    </a:lnTo>
                    <a:lnTo>
                      <a:pt x="89" y="79"/>
                    </a:lnTo>
                    <a:lnTo>
                      <a:pt x="86" y="82"/>
                    </a:lnTo>
                    <a:lnTo>
                      <a:pt x="82" y="86"/>
                    </a:lnTo>
                    <a:lnTo>
                      <a:pt x="78" y="87"/>
                    </a:lnTo>
                    <a:lnTo>
                      <a:pt x="74" y="89"/>
                    </a:lnTo>
                    <a:lnTo>
                      <a:pt x="69" y="90"/>
                    </a:lnTo>
                    <a:lnTo>
                      <a:pt x="69" y="90"/>
                    </a:lnTo>
                    <a:lnTo>
                      <a:pt x="63" y="89"/>
                    </a:lnTo>
                    <a:lnTo>
                      <a:pt x="59" y="87"/>
                    </a:lnTo>
                    <a:lnTo>
                      <a:pt x="55" y="86"/>
                    </a:lnTo>
                    <a:lnTo>
                      <a:pt x="51" y="82"/>
                    </a:lnTo>
                    <a:lnTo>
                      <a:pt x="49" y="79"/>
                    </a:lnTo>
                    <a:lnTo>
                      <a:pt x="46" y="75"/>
                    </a:lnTo>
                    <a:lnTo>
                      <a:pt x="44" y="70"/>
                    </a:lnTo>
                    <a:lnTo>
                      <a:pt x="44" y="66"/>
                    </a:lnTo>
                    <a:lnTo>
                      <a:pt x="44" y="66"/>
                    </a:lnTo>
                    <a:lnTo>
                      <a:pt x="44" y="60"/>
                    </a:lnTo>
                    <a:lnTo>
                      <a:pt x="46" y="55"/>
                    </a:lnTo>
                    <a:lnTo>
                      <a:pt x="49" y="51"/>
                    </a:lnTo>
                    <a:lnTo>
                      <a:pt x="51" y="48"/>
                    </a:lnTo>
                    <a:lnTo>
                      <a:pt x="55" y="46"/>
                    </a:lnTo>
                    <a:lnTo>
                      <a:pt x="59" y="43"/>
                    </a:lnTo>
                    <a:lnTo>
                      <a:pt x="63" y="42"/>
                    </a:lnTo>
                    <a:lnTo>
                      <a:pt x="69" y="40"/>
                    </a:lnTo>
                    <a:lnTo>
                      <a:pt x="69" y="40"/>
                    </a:lnTo>
                    <a:close/>
                    <a:moveTo>
                      <a:pt x="649" y="505"/>
                    </a:moveTo>
                    <a:lnTo>
                      <a:pt x="649" y="505"/>
                    </a:lnTo>
                    <a:lnTo>
                      <a:pt x="649" y="511"/>
                    </a:lnTo>
                    <a:lnTo>
                      <a:pt x="647" y="518"/>
                    </a:lnTo>
                    <a:lnTo>
                      <a:pt x="643" y="523"/>
                    </a:lnTo>
                    <a:lnTo>
                      <a:pt x="639" y="528"/>
                    </a:lnTo>
                    <a:lnTo>
                      <a:pt x="635" y="532"/>
                    </a:lnTo>
                    <a:lnTo>
                      <a:pt x="630" y="535"/>
                    </a:lnTo>
                    <a:lnTo>
                      <a:pt x="623" y="536"/>
                    </a:lnTo>
                    <a:lnTo>
                      <a:pt x="616" y="538"/>
                    </a:lnTo>
                    <a:lnTo>
                      <a:pt x="74" y="538"/>
                    </a:lnTo>
                    <a:lnTo>
                      <a:pt x="74" y="538"/>
                    </a:lnTo>
                    <a:lnTo>
                      <a:pt x="67" y="536"/>
                    </a:lnTo>
                    <a:lnTo>
                      <a:pt x="61" y="535"/>
                    </a:lnTo>
                    <a:lnTo>
                      <a:pt x="55" y="532"/>
                    </a:lnTo>
                    <a:lnTo>
                      <a:pt x="51" y="528"/>
                    </a:lnTo>
                    <a:lnTo>
                      <a:pt x="47" y="523"/>
                    </a:lnTo>
                    <a:lnTo>
                      <a:pt x="44" y="518"/>
                    </a:lnTo>
                    <a:lnTo>
                      <a:pt x="42" y="511"/>
                    </a:lnTo>
                    <a:lnTo>
                      <a:pt x="42" y="505"/>
                    </a:lnTo>
                    <a:lnTo>
                      <a:pt x="42" y="185"/>
                    </a:lnTo>
                    <a:lnTo>
                      <a:pt x="42" y="185"/>
                    </a:lnTo>
                    <a:lnTo>
                      <a:pt x="42" y="179"/>
                    </a:lnTo>
                    <a:lnTo>
                      <a:pt x="44" y="172"/>
                    </a:lnTo>
                    <a:lnTo>
                      <a:pt x="47" y="167"/>
                    </a:lnTo>
                    <a:lnTo>
                      <a:pt x="51" y="162"/>
                    </a:lnTo>
                    <a:lnTo>
                      <a:pt x="55" y="158"/>
                    </a:lnTo>
                    <a:lnTo>
                      <a:pt x="61" y="155"/>
                    </a:lnTo>
                    <a:lnTo>
                      <a:pt x="67" y="154"/>
                    </a:lnTo>
                    <a:lnTo>
                      <a:pt x="74" y="152"/>
                    </a:lnTo>
                    <a:lnTo>
                      <a:pt x="616" y="152"/>
                    </a:lnTo>
                    <a:lnTo>
                      <a:pt x="616" y="152"/>
                    </a:lnTo>
                    <a:lnTo>
                      <a:pt x="623" y="154"/>
                    </a:lnTo>
                    <a:lnTo>
                      <a:pt x="630" y="155"/>
                    </a:lnTo>
                    <a:lnTo>
                      <a:pt x="635" y="158"/>
                    </a:lnTo>
                    <a:lnTo>
                      <a:pt x="639" y="162"/>
                    </a:lnTo>
                    <a:lnTo>
                      <a:pt x="643" y="167"/>
                    </a:lnTo>
                    <a:lnTo>
                      <a:pt x="647" y="172"/>
                    </a:lnTo>
                    <a:lnTo>
                      <a:pt x="649" y="179"/>
                    </a:lnTo>
                    <a:lnTo>
                      <a:pt x="649" y="185"/>
                    </a:lnTo>
                    <a:lnTo>
                      <a:pt x="649" y="5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87" name="Freeform 160"/>
              <p:cNvSpPr>
                <a:spLocks noEditPoints="1"/>
              </p:cNvSpPr>
              <p:nvPr/>
            </p:nvSpPr>
            <p:spPr bwMode="auto">
              <a:xfrm>
                <a:off x="3046413" y="4298950"/>
                <a:ext cx="201613" cy="206375"/>
              </a:xfrm>
              <a:custGeom>
                <a:avLst/>
                <a:gdLst>
                  <a:gd name="T0" fmla="*/ 252 w 253"/>
                  <a:gd name="T1" fmla="*/ 103 h 262"/>
                  <a:gd name="T2" fmla="*/ 253 w 253"/>
                  <a:gd name="T3" fmla="*/ 97 h 262"/>
                  <a:gd name="T4" fmla="*/ 230 w 253"/>
                  <a:gd name="T5" fmla="*/ 51 h 262"/>
                  <a:gd name="T6" fmla="*/ 217 w 253"/>
                  <a:gd name="T7" fmla="*/ 38 h 262"/>
                  <a:gd name="T8" fmla="*/ 209 w 253"/>
                  <a:gd name="T9" fmla="*/ 38 h 262"/>
                  <a:gd name="T10" fmla="*/ 191 w 253"/>
                  <a:gd name="T11" fmla="*/ 40 h 262"/>
                  <a:gd name="T12" fmla="*/ 166 w 253"/>
                  <a:gd name="T13" fmla="*/ 18 h 262"/>
                  <a:gd name="T14" fmla="*/ 166 w 253"/>
                  <a:gd name="T15" fmla="*/ 11 h 262"/>
                  <a:gd name="T16" fmla="*/ 160 w 253"/>
                  <a:gd name="T17" fmla="*/ 4 h 262"/>
                  <a:gd name="T18" fmla="*/ 126 w 253"/>
                  <a:gd name="T19" fmla="*/ 0 h 262"/>
                  <a:gd name="T20" fmla="*/ 91 w 253"/>
                  <a:gd name="T21" fmla="*/ 5 h 262"/>
                  <a:gd name="T22" fmla="*/ 87 w 253"/>
                  <a:gd name="T23" fmla="*/ 14 h 262"/>
                  <a:gd name="T24" fmla="*/ 81 w 253"/>
                  <a:gd name="T25" fmla="*/ 30 h 262"/>
                  <a:gd name="T26" fmla="*/ 47 w 253"/>
                  <a:gd name="T27" fmla="*/ 40 h 262"/>
                  <a:gd name="T28" fmla="*/ 41 w 253"/>
                  <a:gd name="T29" fmla="*/ 36 h 262"/>
                  <a:gd name="T30" fmla="*/ 33 w 253"/>
                  <a:gd name="T31" fmla="*/ 39 h 262"/>
                  <a:gd name="T32" fmla="*/ 13 w 253"/>
                  <a:gd name="T33" fmla="*/ 66 h 262"/>
                  <a:gd name="T34" fmla="*/ 1 w 253"/>
                  <a:gd name="T35" fmla="*/ 97 h 262"/>
                  <a:gd name="T36" fmla="*/ 5 w 253"/>
                  <a:gd name="T37" fmla="*/ 107 h 262"/>
                  <a:gd name="T38" fmla="*/ 17 w 253"/>
                  <a:gd name="T39" fmla="*/ 109 h 262"/>
                  <a:gd name="T40" fmla="*/ 16 w 253"/>
                  <a:gd name="T41" fmla="*/ 142 h 262"/>
                  <a:gd name="T42" fmla="*/ 5 w 253"/>
                  <a:gd name="T43" fmla="*/ 155 h 262"/>
                  <a:gd name="T44" fmla="*/ 0 w 253"/>
                  <a:gd name="T45" fmla="*/ 163 h 262"/>
                  <a:gd name="T46" fmla="*/ 6 w 253"/>
                  <a:gd name="T47" fmla="*/ 181 h 262"/>
                  <a:gd name="T48" fmla="*/ 33 w 253"/>
                  <a:gd name="T49" fmla="*/ 223 h 262"/>
                  <a:gd name="T50" fmla="*/ 39 w 253"/>
                  <a:gd name="T51" fmla="*/ 225 h 262"/>
                  <a:gd name="T52" fmla="*/ 47 w 253"/>
                  <a:gd name="T53" fmla="*/ 221 h 262"/>
                  <a:gd name="T54" fmla="*/ 71 w 253"/>
                  <a:gd name="T55" fmla="*/ 227 h 262"/>
                  <a:gd name="T56" fmla="*/ 87 w 253"/>
                  <a:gd name="T57" fmla="*/ 245 h 262"/>
                  <a:gd name="T58" fmla="*/ 89 w 253"/>
                  <a:gd name="T59" fmla="*/ 254 h 262"/>
                  <a:gd name="T60" fmla="*/ 94 w 253"/>
                  <a:gd name="T61" fmla="*/ 258 h 262"/>
                  <a:gd name="T62" fmla="*/ 144 w 253"/>
                  <a:gd name="T63" fmla="*/ 260 h 262"/>
                  <a:gd name="T64" fmla="*/ 163 w 253"/>
                  <a:gd name="T65" fmla="*/ 256 h 262"/>
                  <a:gd name="T66" fmla="*/ 166 w 253"/>
                  <a:gd name="T67" fmla="*/ 248 h 262"/>
                  <a:gd name="T68" fmla="*/ 172 w 253"/>
                  <a:gd name="T69" fmla="*/ 232 h 262"/>
                  <a:gd name="T70" fmla="*/ 206 w 253"/>
                  <a:gd name="T71" fmla="*/ 221 h 262"/>
                  <a:gd name="T72" fmla="*/ 211 w 253"/>
                  <a:gd name="T73" fmla="*/ 225 h 262"/>
                  <a:gd name="T74" fmla="*/ 219 w 253"/>
                  <a:gd name="T75" fmla="*/ 223 h 262"/>
                  <a:gd name="T76" fmla="*/ 240 w 253"/>
                  <a:gd name="T77" fmla="*/ 197 h 262"/>
                  <a:gd name="T78" fmla="*/ 253 w 253"/>
                  <a:gd name="T79" fmla="*/ 166 h 262"/>
                  <a:gd name="T80" fmla="*/ 248 w 253"/>
                  <a:gd name="T81" fmla="*/ 155 h 262"/>
                  <a:gd name="T82" fmla="*/ 236 w 253"/>
                  <a:gd name="T83" fmla="*/ 152 h 262"/>
                  <a:gd name="T84" fmla="*/ 237 w 253"/>
                  <a:gd name="T85" fmla="*/ 120 h 262"/>
                  <a:gd name="T86" fmla="*/ 248 w 253"/>
                  <a:gd name="T87" fmla="*/ 107 h 262"/>
                  <a:gd name="T88" fmla="*/ 114 w 253"/>
                  <a:gd name="T89" fmla="*/ 191 h 262"/>
                  <a:gd name="T90" fmla="*/ 75 w 253"/>
                  <a:gd name="T91" fmla="*/ 166 h 262"/>
                  <a:gd name="T92" fmla="*/ 64 w 253"/>
                  <a:gd name="T93" fmla="*/ 131 h 262"/>
                  <a:gd name="T94" fmla="*/ 83 w 253"/>
                  <a:gd name="T95" fmla="*/ 88 h 262"/>
                  <a:gd name="T96" fmla="*/ 126 w 253"/>
                  <a:gd name="T97" fmla="*/ 70 h 262"/>
                  <a:gd name="T98" fmla="*/ 161 w 253"/>
                  <a:gd name="T99" fmla="*/ 80 h 262"/>
                  <a:gd name="T100" fmla="*/ 187 w 253"/>
                  <a:gd name="T101" fmla="*/ 119 h 262"/>
                  <a:gd name="T102" fmla="*/ 183 w 253"/>
                  <a:gd name="T103" fmla="*/ 155 h 262"/>
                  <a:gd name="T104" fmla="*/ 151 w 253"/>
                  <a:gd name="T105" fmla="*/ 1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62">
                    <a:moveTo>
                      <a:pt x="248" y="107"/>
                    </a:moveTo>
                    <a:lnTo>
                      <a:pt x="248" y="107"/>
                    </a:lnTo>
                    <a:lnTo>
                      <a:pt x="250" y="105"/>
                    </a:lnTo>
                    <a:lnTo>
                      <a:pt x="252" y="103"/>
                    </a:lnTo>
                    <a:lnTo>
                      <a:pt x="253" y="100"/>
                    </a:lnTo>
                    <a:lnTo>
                      <a:pt x="253" y="97"/>
                    </a:lnTo>
                    <a:lnTo>
                      <a:pt x="253" y="97"/>
                    </a:lnTo>
                    <a:lnTo>
                      <a:pt x="253" y="97"/>
                    </a:lnTo>
                    <a:lnTo>
                      <a:pt x="246" y="81"/>
                    </a:lnTo>
                    <a:lnTo>
                      <a:pt x="240" y="66"/>
                    </a:lnTo>
                    <a:lnTo>
                      <a:pt x="240" y="66"/>
                    </a:lnTo>
                    <a:lnTo>
                      <a:pt x="230" y="51"/>
                    </a:lnTo>
                    <a:lnTo>
                      <a:pt x="219" y="39"/>
                    </a:lnTo>
                    <a:lnTo>
                      <a:pt x="219" y="39"/>
                    </a:lnTo>
                    <a:lnTo>
                      <a:pt x="219" y="39"/>
                    </a:lnTo>
                    <a:lnTo>
                      <a:pt x="217" y="38"/>
                    </a:lnTo>
                    <a:lnTo>
                      <a:pt x="214" y="36"/>
                    </a:lnTo>
                    <a:lnTo>
                      <a:pt x="211" y="36"/>
                    </a:lnTo>
                    <a:lnTo>
                      <a:pt x="209" y="38"/>
                    </a:lnTo>
                    <a:lnTo>
                      <a:pt x="209" y="38"/>
                    </a:lnTo>
                    <a:lnTo>
                      <a:pt x="206" y="40"/>
                    </a:lnTo>
                    <a:lnTo>
                      <a:pt x="199" y="47"/>
                    </a:lnTo>
                    <a:lnTo>
                      <a:pt x="199" y="47"/>
                    </a:lnTo>
                    <a:lnTo>
                      <a:pt x="191" y="40"/>
                    </a:lnTo>
                    <a:lnTo>
                      <a:pt x="182" y="35"/>
                    </a:lnTo>
                    <a:lnTo>
                      <a:pt x="172" y="30"/>
                    </a:lnTo>
                    <a:lnTo>
                      <a:pt x="163" y="26"/>
                    </a:lnTo>
                    <a:lnTo>
                      <a:pt x="166" y="18"/>
                    </a:lnTo>
                    <a:lnTo>
                      <a:pt x="166" y="18"/>
                    </a:lnTo>
                    <a:lnTo>
                      <a:pt x="166" y="14"/>
                    </a:lnTo>
                    <a:lnTo>
                      <a:pt x="166" y="14"/>
                    </a:lnTo>
                    <a:lnTo>
                      <a:pt x="166" y="11"/>
                    </a:lnTo>
                    <a:lnTo>
                      <a:pt x="164" y="8"/>
                    </a:lnTo>
                    <a:lnTo>
                      <a:pt x="163" y="5"/>
                    </a:lnTo>
                    <a:lnTo>
                      <a:pt x="160" y="4"/>
                    </a:lnTo>
                    <a:lnTo>
                      <a:pt x="160" y="4"/>
                    </a:lnTo>
                    <a:lnTo>
                      <a:pt x="160" y="4"/>
                    </a:lnTo>
                    <a:lnTo>
                      <a:pt x="144" y="1"/>
                    </a:lnTo>
                    <a:lnTo>
                      <a:pt x="126" y="0"/>
                    </a:lnTo>
                    <a:lnTo>
                      <a:pt x="126" y="0"/>
                    </a:lnTo>
                    <a:lnTo>
                      <a:pt x="110" y="1"/>
                    </a:lnTo>
                    <a:lnTo>
                      <a:pt x="93" y="4"/>
                    </a:lnTo>
                    <a:lnTo>
                      <a:pt x="93" y="4"/>
                    </a:lnTo>
                    <a:lnTo>
                      <a:pt x="91" y="5"/>
                    </a:lnTo>
                    <a:lnTo>
                      <a:pt x="89" y="8"/>
                    </a:lnTo>
                    <a:lnTo>
                      <a:pt x="87" y="11"/>
                    </a:lnTo>
                    <a:lnTo>
                      <a:pt x="87" y="14"/>
                    </a:lnTo>
                    <a:lnTo>
                      <a:pt x="87" y="14"/>
                    </a:lnTo>
                    <a:lnTo>
                      <a:pt x="87" y="18"/>
                    </a:lnTo>
                    <a:lnTo>
                      <a:pt x="91" y="26"/>
                    </a:lnTo>
                    <a:lnTo>
                      <a:pt x="91" y="26"/>
                    </a:lnTo>
                    <a:lnTo>
                      <a:pt x="81" y="30"/>
                    </a:lnTo>
                    <a:lnTo>
                      <a:pt x="71" y="35"/>
                    </a:lnTo>
                    <a:lnTo>
                      <a:pt x="62" y="40"/>
                    </a:lnTo>
                    <a:lnTo>
                      <a:pt x="54" y="47"/>
                    </a:lnTo>
                    <a:lnTo>
                      <a:pt x="47" y="40"/>
                    </a:lnTo>
                    <a:lnTo>
                      <a:pt x="47" y="40"/>
                    </a:lnTo>
                    <a:lnTo>
                      <a:pt x="44" y="38"/>
                    </a:lnTo>
                    <a:lnTo>
                      <a:pt x="44" y="38"/>
                    </a:lnTo>
                    <a:lnTo>
                      <a:pt x="41" y="36"/>
                    </a:lnTo>
                    <a:lnTo>
                      <a:pt x="39" y="36"/>
                    </a:lnTo>
                    <a:lnTo>
                      <a:pt x="36" y="38"/>
                    </a:lnTo>
                    <a:lnTo>
                      <a:pt x="33" y="39"/>
                    </a:lnTo>
                    <a:lnTo>
                      <a:pt x="33" y="39"/>
                    </a:lnTo>
                    <a:lnTo>
                      <a:pt x="33" y="39"/>
                    </a:lnTo>
                    <a:lnTo>
                      <a:pt x="23" y="51"/>
                    </a:lnTo>
                    <a:lnTo>
                      <a:pt x="13" y="66"/>
                    </a:lnTo>
                    <a:lnTo>
                      <a:pt x="13" y="66"/>
                    </a:lnTo>
                    <a:lnTo>
                      <a:pt x="6" y="81"/>
                    </a:lnTo>
                    <a:lnTo>
                      <a:pt x="1" y="97"/>
                    </a:lnTo>
                    <a:lnTo>
                      <a:pt x="1" y="97"/>
                    </a:lnTo>
                    <a:lnTo>
                      <a:pt x="1" y="97"/>
                    </a:lnTo>
                    <a:lnTo>
                      <a:pt x="0" y="100"/>
                    </a:lnTo>
                    <a:lnTo>
                      <a:pt x="1" y="103"/>
                    </a:lnTo>
                    <a:lnTo>
                      <a:pt x="2" y="105"/>
                    </a:lnTo>
                    <a:lnTo>
                      <a:pt x="5" y="107"/>
                    </a:lnTo>
                    <a:lnTo>
                      <a:pt x="5" y="107"/>
                    </a:lnTo>
                    <a:lnTo>
                      <a:pt x="9" y="108"/>
                    </a:lnTo>
                    <a:lnTo>
                      <a:pt x="17" y="109"/>
                    </a:lnTo>
                    <a:lnTo>
                      <a:pt x="17" y="109"/>
                    </a:lnTo>
                    <a:lnTo>
                      <a:pt x="16" y="120"/>
                    </a:lnTo>
                    <a:lnTo>
                      <a:pt x="16" y="131"/>
                    </a:lnTo>
                    <a:lnTo>
                      <a:pt x="16" y="131"/>
                    </a:lnTo>
                    <a:lnTo>
                      <a:pt x="16" y="142"/>
                    </a:lnTo>
                    <a:lnTo>
                      <a:pt x="17" y="152"/>
                    </a:lnTo>
                    <a:lnTo>
                      <a:pt x="9" y="154"/>
                    </a:lnTo>
                    <a:lnTo>
                      <a:pt x="9" y="154"/>
                    </a:lnTo>
                    <a:lnTo>
                      <a:pt x="5" y="155"/>
                    </a:lnTo>
                    <a:lnTo>
                      <a:pt x="5" y="155"/>
                    </a:lnTo>
                    <a:lnTo>
                      <a:pt x="2" y="158"/>
                    </a:lnTo>
                    <a:lnTo>
                      <a:pt x="1" y="160"/>
                    </a:lnTo>
                    <a:lnTo>
                      <a:pt x="0" y="163"/>
                    </a:lnTo>
                    <a:lnTo>
                      <a:pt x="1" y="166"/>
                    </a:lnTo>
                    <a:lnTo>
                      <a:pt x="1" y="166"/>
                    </a:lnTo>
                    <a:lnTo>
                      <a:pt x="1" y="166"/>
                    </a:lnTo>
                    <a:lnTo>
                      <a:pt x="6" y="181"/>
                    </a:lnTo>
                    <a:lnTo>
                      <a:pt x="13" y="197"/>
                    </a:lnTo>
                    <a:lnTo>
                      <a:pt x="13" y="197"/>
                    </a:lnTo>
                    <a:lnTo>
                      <a:pt x="23" y="210"/>
                    </a:lnTo>
                    <a:lnTo>
                      <a:pt x="33" y="223"/>
                    </a:lnTo>
                    <a:lnTo>
                      <a:pt x="33" y="223"/>
                    </a:lnTo>
                    <a:lnTo>
                      <a:pt x="33" y="223"/>
                    </a:lnTo>
                    <a:lnTo>
                      <a:pt x="36" y="224"/>
                    </a:lnTo>
                    <a:lnTo>
                      <a:pt x="39" y="225"/>
                    </a:lnTo>
                    <a:lnTo>
                      <a:pt x="41" y="225"/>
                    </a:lnTo>
                    <a:lnTo>
                      <a:pt x="44" y="224"/>
                    </a:lnTo>
                    <a:lnTo>
                      <a:pt x="44" y="224"/>
                    </a:lnTo>
                    <a:lnTo>
                      <a:pt x="47" y="221"/>
                    </a:lnTo>
                    <a:lnTo>
                      <a:pt x="54" y="214"/>
                    </a:lnTo>
                    <a:lnTo>
                      <a:pt x="54" y="214"/>
                    </a:lnTo>
                    <a:lnTo>
                      <a:pt x="62" y="221"/>
                    </a:lnTo>
                    <a:lnTo>
                      <a:pt x="71" y="227"/>
                    </a:lnTo>
                    <a:lnTo>
                      <a:pt x="81" y="232"/>
                    </a:lnTo>
                    <a:lnTo>
                      <a:pt x="91" y="236"/>
                    </a:lnTo>
                    <a:lnTo>
                      <a:pt x="87" y="245"/>
                    </a:lnTo>
                    <a:lnTo>
                      <a:pt x="87" y="245"/>
                    </a:lnTo>
                    <a:lnTo>
                      <a:pt x="87" y="248"/>
                    </a:lnTo>
                    <a:lnTo>
                      <a:pt x="87" y="248"/>
                    </a:lnTo>
                    <a:lnTo>
                      <a:pt x="87" y="252"/>
                    </a:lnTo>
                    <a:lnTo>
                      <a:pt x="89" y="254"/>
                    </a:lnTo>
                    <a:lnTo>
                      <a:pt x="91" y="256"/>
                    </a:lnTo>
                    <a:lnTo>
                      <a:pt x="94" y="258"/>
                    </a:lnTo>
                    <a:lnTo>
                      <a:pt x="94" y="258"/>
                    </a:lnTo>
                    <a:lnTo>
                      <a:pt x="94" y="258"/>
                    </a:lnTo>
                    <a:lnTo>
                      <a:pt x="110" y="260"/>
                    </a:lnTo>
                    <a:lnTo>
                      <a:pt x="126" y="262"/>
                    </a:lnTo>
                    <a:lnTo>
                      <a:pt x="126" y="262"/>
                    </a:lnTo>
                    <a:lnTo>
                      <a:pt x="144" y="260"/>
                    </a:lnTo>
                    <a:lnTo>
                      <a:pt x="160" y="258"/>
                    </a:lnTo>
                    <a:lnTo>
                      <a:pt x="160" y="258"/>
                    </a:lnTo>
                    <a:lnTo>
                      <a:pt x="160" y="258"/>
                    </a:lnTo>
                    <a:lnTo>
                      <a:pt x="163" y="256"/>
                    </a:lnTo>
                    <a:lnTo>
                      <a:pt x="164" y="254"/>
                    </a:lnTo>
                    <a:lnTo>
                      <a:pt x="166" y="252"/>
                    </a:lnTo>
                    <a:lnTo>
                      <a:pt x="166" y="248"/>
                    </a:lnTo>
                    <a:lnTo>
                      <a:pt x="166" y="248"/>
                    </a:lnTo>
                    <a:lnTo>
                      <a:pt x="166" y="245"/>
                    </a:lnTo>
                    <a:lnTo>
                      <a:pt x="163" y="236"/>
                    </a:lnTo>
                    <a:lnTo>
                      <a:pt x="163" y="236"/>
                    </a:lnTo>
                    <a:lnTo>
                      <a:pt x="172" y="232"/>
                    </a:lnTo>
                    <a:lnTo>
                      <a:pt x="182" y="227"/>
                    </a:lnTo>
                    <a:lnTo>
                      <a:pt x="191" y="221"/>
                    </a:lnTo>
                    <a:lnTo>
                      <a:pt x="199" y="214"/>
                    </a:lnTo>
                    <a:lnTo>
                      <a:pt x="206" y="221"/>
                    </a:lnTo>
                    <a:lnTo>
                      <a:pt x="206" y="221"/>
                    </a:lnTo>
                    <a:lnTo>
                      <a:pt x="209" y="224"/>
                    </a:lnTo>
                    <a:lnTo>
                      <a:pt x="209" y="224"/>
                    </a:lnTo>
                    <a:lnTo>
                      <a:pt x="211" y="225"/>
                    </a:lnTo>
                    <a:lnTo>
                      <a:pt x="214" y="225"/>
                    </a:lnTo>
                    <a:lnTo>
                      <a:pt x="217" y="224"/>
                    </a:lnTo>
                    <a:lnTo>
                      <a:pt x="219" y="223"/>
                    </a:lnTo>
                    <a:lnTo>
                      <a:pt x="219" y="223"/>
                    </a:lnTo>
                    <a:lnTo>
                      <a:pt x="219" y="223"/>
                    </a:lnTo>
                    <a:lnTo>
                      <a:pt x="230" y="210"/>
                    </a:lnTo>
                    <a:lnTo>
                      <a:pt x="240" y="197"/>
                    </a:lnTo>
                    <a:lnTo>
                      <a:pt x="240" y="197"/>
                    </a:lnTo>
                    <a:lnTo>
                      <a:pt x="246" y="181"/>
                    </a:lnTo>
                    <a:lnTo>
                      <a:pt x="253" y="166"/>
                    </a:lnTo>
                    <a:lnTo>
                      <a:pt x="253" y="166"/>
                    </a:lnTo>
                    <a:lnTo>
                      <a:pt x="253" y="166"/>
                    </a:lnTo>
                    <a:lnTo>
                      <a:pt x="253" y="163"/>
                    </a:lnTo>
                    <a:lnTo>
                      <a:pt x="252" y="160"/>
                    </a:lnTo>
                    <a:lnTo>
                      <a:pt x="250" y="158"/>
                    </a:lnTo>
                    <a:lnTo>
                      <a:pt x="248" y="155"/>
                    </a:lnTo>
                    <a:lnTo>
                      <a:pt x="248" y="155"/>
                    </a:lnTo>
                    <a:lnTo>
                      <a:pt x="245" y="154"/>
                    </a:lnTo>
                    <a:lnTo>
                      <a:pt x="236" y="152"/>
                    </a:lnTo>
                    <a:lnTo>
                      <a:pt x="236" y="152"/>
                    </a:lnTo>
                    <a:lnTo>
                      <a:pt x="237" y="142"/>
                    </a:lnTo>
                    <a:lnTo>
                      <a:pt x="237" y="131"/>
                    </a:lnTo>
                    <a:lnTo>
                      <a:pt x="237" y="131"/>
                    </a:lnTo>
                    <a:lnTo>
                      <a:pt x="237" y="120"/>
                    </a:lnTo>
                    <a:lnTo>
                      <a:pt x="236" y="109"/>
                    </a:lnTo>
                    <a:lnTo>
                      <a:pt x="245" y="108"/>
                    </a:lnTo>
                    <a:lnTo>
                      <a:pt x="245" y="108"/>
                    </a:lnTo>
                    <a:lnTo>
                      <a:pt x="248" y="107"/>
                    </a:lnTo>
                    <a:lnTo>
                      <a:pt x="248" y="107"/>
                    </a:lnTo>
                    <a:close/>
                    <a:moveTo>
                      <a:pt x="126" y="193"/>
                    </a:moveTo>
                    <a:lnTo>
                      <a:pt x="126" y="193"/>
                    </a:lnTo>
                    <a:lnTo>
                      <a:pt x="114" y="191"/>
                    </a:lnTo>
                    <a:lnTo>
                      <a:pt x="102" y="187"/>
                    </a:lnTo>
                    <a:lnTo>
                      <a:pt x="93" y="182"/>
                    </a:lnTo>
                    <a:lnTo>
                      <a:pt x="83" y="174"/>
                    </a:lnTo>
                    <a:lnTo>
                      <a:pt x="75" y="166"/>
                    </a:lnTo>
                    <a:lnTo>
                      <a:pt x="70" y="155"/>
                    </a:lnTo>
                    <a:lnTo>
                      <a:pt x="66" y="143"/>
                    </a:lnTo>
                    <a:lnTo>
                      <a:pt x="64" y="131"/>
                    </a:lnTo>
                    <a:lnTo>
                      <a:pt x="64" y="131"/>
                    </a:lnTo>
                    <a:lnTo>
                      <a:pt x="66" y="119"/>
                    </a:lnTo>
                    <a:lnTo>
                      <a:pt x="70" y="107"/>
                    </a:lnTo>
                    <a:lnTo>
                      <a:pt x="75" y="97"/>
                    </a:lnTo>
                    <a:lnTo>
                      <a:pt x="83" y="88"/>
                    </a:lnTo>
                    <a:lnTo>
                      <a:pt x="93" y="80"/>
                    </a:lnTo>
                    <a:lnTo>
                      <a:pt x="102" y="74"/>
                    </a:lnTo>
                    <a:lnTo>
                      <a:pt x="114" y="70"/>
                    </a:lnTo>
                    <a:lnTo>
                      <a:pt x="126" y="70"/>
                    </a:lnTo>
                    <a:lnTo>
                      <a:pt x="126" y="70"/>
                    </a:lnTo>
                    <a:lnTo>
                      <a:pt x="139" y="70"/>
                    </a:lnTo>
                    <a:lnTo>
                      <a:pt x="151" y="74"/>
                    </a:lnTo>
                    <a:lnTo>
                      <a:pt x="161" y="80"/>
                    </a:lnTo>
                    <a:lnTo>
                      <a:pt x="170" y="88"/>
                    </a:lnTo>
                    <a:lnTo>
                      <a:pt x="178" y="97"/>
                    </a:lnTo>
                    <a:lnTo>
                      <a:pt x="183" y="107"/>
                    </a:lnTo>
                    <a:lnTo>
                      <a:pt x="187" y="119"/>
                    </a:lnTo>
                    <a:lnTo>
                      <a:pt x="188" y="131"/>
                    </a:lnTo>
                    <a:lnTo>
                      <a:pt x="188" y="131"/>
                    </a:lnTo>
                    <a:lnTo>
                      <a:pt x="187" y="143"/>
                    </a:lnTo>
                    <a:lnTo>
                      <a:pt x="183" y="155"/>
                    </a:lnTo>
                    <a:lnTo>
                      <a:pt x="178" y="166"/>
                    </a:lnTo>
                    <a:lnTo>
                      <a:pt x="170" y="174"/>
                    </a:lnTo>
                    <a:lnTo>
                      <a:pt x="161" y="182"/>
                    </a:lnTo>
                    <a:lnTo>
                      <a:pt x="151" y="187"/>
                    </a:lnTo>
                    <a:lnTo>
                      <a:pt x="139" y="191"/>
                    </a:lnTo>
                    <a:lnTo>
                      <a:pt x="126" y="193"/>
                    </a:lnTo>
                    <a:lnTo>
                      <a:pt x="12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88" name="Freeform 161"/>
              <p:cNvSpPr>
                <a:spLocks noEditPoints="1"/>
              </p:cNvSpPr>
              <p:nvPr/>
            </p:nvSpPr>
            <p:spPr bwMode="auto">
              <a:xfrm>
                <a:off x="3236913" y="4249738"/>
                <a:ext cx="112713" cy="115888"/>
              </a:xfrm>
              <a:custGeom>
                <a:avLst/>
                <a:gdLst>
                  <a:gd name="T0" fmla="*/ 129 w 141"/>
                  <a:gd name="T1" fmla="*/ 85 h 146"/>
                  <a:gd name="T2" fmla="*/ 129 w 141"/>
                  <a:gd name="T3" fmla="*/ 62 h 146"/>
                  <a:gd name="T4" fmla="*/ 139 w 141"/>
                  <a:gd name="T5" fmla="*/ 60 h 146"/>
                  <a:gd name="T6" fmla="*/ 141 w 141"/>
                  <a:gd name="T7" fmla="*/ 54 h 146"/>
                  <a:gd name="T8" fmla="*/ 139 w 141"/>
                  <a:gd name="T9" fmla="*/ 46 h 146"/>
                  <a:gd name="T10" fmla="*/ 129 w 141"/>
                  <a:gd name="T11" fmla="*/ 29 h 146"/>
                  <a:gd name="T12" fmla="*/ 122 w 141"/>
                  <a:gd name="T13" fmla="*/ 22 h 146"/>
                  <a:gd name="T14" fmla="*/ 117 w 141"/>
                  <a:gd name="T15" fmla="*/ 22 h 146"/>
                  <a:gd name="T16" fmla="*/ 110 w 141"/>
                  <a:gd name="T17" fmla="*/ 29 h 146"/>
                  <a:gd name="T18" fmla="*/ 93 w 141"/>
                  <a:gd name="T19" fmla="*/ 10 h 146"/>
                  <a:gd name="T20" fmla="*/ 93 w 141"/>
                  <a:gd name="T21" fmla="*/ 8 h 146"/>
                  <a:gd name="T22" fmla="*/ 89 w 141"/>
                  <a:gd name="T23" fmla="*/ 3 h 146"/>
                  <a:gd name="T24" fmla="*/ 71 w 141"/>
                  <a:gd name="T25" fmla="*/ 0 h 146"/>
                  <a:gd name="T26" fmla="*/ 52 w 141"/>
                  <a:gd name="T27" fmla="*/ 3 h 146"/>
                  <a:gd name="T28" fmla="*/ 50 w 141"/>
                  <a:gd name="T29" fmla="*/ 4 h 146"/>
                  <a:gd name="T30" fmla="*/ 50 w 141"/>
                  <a:gd name="T31" fmla="*/ 10 h 146"/>
                  <a:gd name="T32" fmla="*/ 41 w 141"/>
                  <a:gd name="T33" fmla="*/ 22 h 146"/>
                  <a:gd name="T34" fmla="*/ 27 w 141"/>
                  <a:gd name="T35" fmla="*/ 23 h 146"/>
                  <a:gd name="T36" fmla="*/ 21 w 141"/>
                  <a:gd name="T37" fmla="*/ 21 h 146"/>
                  <a:gd name="T38" fmla="*/ 19 w 141"/>
                  <a:gd name="T39" fmla="*/ 22 h 146"/>
                  <a:gd name="T40" fmla="*/ 8 w 141"/>
                  <a:gd name="T41" fmla="*/ 37 h 146"/>
                  <a:gd name="T42" fmla="*/ 0 w 141"/>
                  <a:gd name="T43" fmla="*/ 54 h 146"/>
                  <a:gd name="T44" fmla="*/ 2 w 141"/>
                  <a:gd name="T45" fmla="*/ 60 h 146"/>
                  <a:gd name="T46" fmla="*/ 13 w 141"/>
                  <a:gd name="T47" fmla="*/ 62 h 146"/>
                  <a:gd name="T48" fmla="*/ 12 w 141"/>
                  <a:gd name="T49" fmla="*/ 73 h 146"/>
                  <a:gd name="T50" fmla="*/ 5 w 141"/>
                  <a:gd name="T51" fmla="*/ 87 h 146"/>
                  <a:gd name="T52" fmla="*/ 1 w 141"/>
                  <a:gd name="T53" fmla="*/ 89 h 146"/>
                  <a:gd name="T54" fmla="*/ 0 w 141"/>
                  <a:gd name="T55" fmla="*/ 93 h 146"/>
                  <a:gd name="T56" fmla="*/ 8 w 141"/>
                  <a:gd name="T57" fmla="*/ 110 h 146"/>
                  <a:gd name="T58" fmla="*/ 19 w 141"/>
                  <a:gd name="T59" fmla="*/ 124 h 146"/>
                  <a:gd name="T60" fmla="*/ 25 w 141"/>
                  <a:gd name="T61" fmla="*/ 126 h 146"/>
                  <a:gd name="T62" fmla="*/ 32 w 141"/>
                  <a:gd name="T63" fmla="*/ 118 h 146"/>
                  <a:gd name="T64" fmla="*/ 52 w 141"/>
                  <a:gd name="T65" fmla="*/ 130 h 146"/>
                  <a:gd name="T66" fmla="*/ 48 w 141"/>
                  <a:gd name="T67" fmla="*/ 139 h 146"/>
                  <a:gd name="T68" fmla="*/ 52 w 141"/>
                  <a:gd name="T69" fmla="*/ 145 h 146"/>
                  <a:gd name="T70" fmla="*/ 62 w 141"/>
                  <a:gd name="T71" fmla="*/ 146 h 146"/>
                  <a:gd name="T72" fmla="*/ 81 w 141"/>
                  <a:gd name="T73" fmla="*/ 146 h 146"/>
                  <a:gd name="T74" fmla="*/ 89 w 141"/>
                  <a:gd name="T75" fmla="*/ 145 h 146"/>
                  <a:gd name="T76" fmla="*/ 93 w 141"/>
                  <a:gd name="T77" fmla="*/ 139 h 146"/>
                  <a:gd name="T78" fmla="*/ 90 w 141"/>
                  <a:gd name="T79" fmla="*/ 130 h 146"/>
                  <a:gd name="T80" fmla="*/ 116 w 141"/>
                  <a:gd name="T81" fmla="*/ 124 h 146"/>
                  <a:gd name="T82" fmla="*/ 117 w 141"/>
                  <a:gd name="T83" fmla="*/ 126 h 146"/>
                  <a:gd name="T84" fmla="*/ 122 w 141"/>
                  <a:gd name="T85" fmla="*/ 124 h 146"/>
                  <a:gd name="T86" fmla="*/ 135 w 141"/>
                  <a:gd name="T87" fmla="*/ 110 h 146"/>
                  <a:gd name="T88" fmla="*/ 141 w 141"/>
                  <a:gd name="T89" fmla="*/ 93 h 146"/>
                  <a:gd name="T90" fmla="*/ 141 w 141"/>
                  <a:gd name="T91" fmla="*/ 89 h 146"/>
                  <a:gd name="T92" fmla="*/ 137 w 141"/>
                  <a:gd name="T93" fmla="*/ 87 h 146"/>
                  <a:gd name="T94" fmla="*/ 71 w 141"/>
                  <a:gd name="T95" fmla="*/ 110 h 146"/>
                  <a:gd name="T96" fmla="*/ 51 w 141"/>
                  <a:gd name="T97" fmla="*/ 103 h 146"/>
                  <a:gd name="T98" fmla="*/ 37 w 141"/>
                  <a:gd name="T99" fmla="*/ 88 h 146"/>
                  <a:gd name="T100" fmla="*/ 35 w 141"/>
                  <a:gd name="T101" fmla="*/ 73 h 146"/>
                  <a:gd name="T102" fmla="*/ 41 w 141"/>
                  <a:gd name="T103" fmla="*/ 53 h 146"/>
                  <a:gd name="T104" fmla="*/ 56 w 141"/>
                  <a:gd name="T105" fmla="*/ 41 h 146"/>
                  <a:gd name="T106" fmla="*/ 71 w 141"/>
                  <a:gd name="T107" fmla="*/ 38 h 146"/>
                  <a:gd name="T108" fmla="*/ 91 w 141"/>
                  <a:gd name="T109" fmla="*/ 44 h 146"/>
                  <a:gd name="T110" fmla="*/ 104 w 141"/>
                  <a:gd name="T111" fmla="*/ 60 h 146"/>
                  <a:gd name="T112" fmla="*/ 106 w 141"/>
                  <a:gd name="T113" fmla="*/ 73 h 146"/>
                  <a:gd name="T114" fmla="*/ 101 w 141"/>
                  <a:gd name="T115" fmla="*/ 93 h 146"/>
                  <a:gd name="T116" fmla="*/ 85 w 141"/>
                  <a:gd name="T117" fmla="*/ 107 h 146"/>
                  <a:gd name="T118" fmla="*/ 71 w 141"/>
                  <a:gd name="T119" fmla="*/ 1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46">
                    <a:moveTo>
                      <a:pt x="137" y="87"/>
                    </a:moveTo>
                    <a:lnTo>
                      <a:pt x="129" y="85"/>
                    </a:lnTo>
                    <a:lnTo>
                      <a:pt x="129" y="85"/>
                    </a:lnTo>
                    <a:lnTo>
                      <a:pt x="130" y="73"/>
                    </a:lnTo>
                    <a:lnTo>
                      <a:pt x="130" y="73"/>
                    </a:lnTo>
                    <a:lnTo>
                      <a:pt x="129" y="62"/>
                    </a:lnTo>
                    <a:lnTo>
                      <a:pt x="137" y="61"/>
                    </a:lnTo>
                    <a:lnTo>
                      <a:pt x="137" y="61"/>
                    </a:lnTo>
                    <a:lnTo>
                      <a:pt x="139" y="60"/>
                    </a:lnTo>
                    <a:lnTo>
                      <a:pt x="139" y="60"/>
                    </a:lnTo>
                    <a:lnTo>
                      <a:pt x="141" y="57"/>
                    </a:lnTo>
                    <a:lnTo>
                      <a:pt x="141" y="54"/>
                    </a:lnTo>
                    <a:lnTo>
                      <a:pt x="141" y="54"/>
                    </a:lnTo>
                    <a:lnTo>
                      <a:pt x="141" y="54"/>
                    </a:lnTo>
                    <a:lnTo>
                      <a:pt x="139" y="46"/>
                    </a:lnTo>
                    <a:lnTo>
                      <a:pt x="135" y="37"/>
                    </a:lnTo>
                    <a:lnTo>
                      <a:pt x="135" y="37"/>
                    </a:lnTo>
                    <a:lnTo>
                      <a:pt x="129" y="29"/>
                    </a:lnTo>
                    <a:lnTo>
                      <a:pt x="122" y="22"/>
                    </a:lnTo>
                    <a:lnTo>
                      <a:pt x="122" y="22"/>
                    </a:lnTo>
                    <a:lnTo>
                      <a:pt x="122" y="22"/>
                    </a:lnTo>
                    <a:lnTo>
                      <a:pt x="120" y="21"/>
                    </a:lnTo>
                    <a:lnTo>
                      <a:pt x="117" y="22"/>
                    </a:lnTo>
                    <a:lnTo>
                      <a:pt x="117" y="22"/>
                    </a:lnTo>
                    <a:lnTo>
                      <a:pt x="116" y="23"/>
                    </a:lnTo>
                    <a:lnTo>
                      <a:pt x="110" y="29"/>
                    </a:lnTo>
                    <a:lnTo>
                      <a:pt x="110" y="29"/>
                    </a:lnTo>
                    <a:lnTo>
                      <a:pt x="101" y="22"/>
                    </a:lnTo>
                    <a:lnTo>
                      <a:pt x="90" y="18"/>
                    </a:lnTo>
                    <a:lnTo>
                      <a:pt x="93" y="10"/>
                    </a:lnTo>
                    <a:lnTo>
                      <a:pt x="93" y="10"/>
                    </a:lnTo>
                    <a:lnTo>
                      <a:pt x="93" y="8"/>
                    </a:lnTo>
                    <a:lnTo>
                      <a:pt x="93" y="8"/>
                    </a:lnTo>
                    <a:lnTo>
                      <a:pt x="91" y="4"/>
                    </a:lnTo>
                    <a:lnTo>
                      <a:pt x="89" y="3"/>
                    </a:lnTo>
                    <a:lnTo>
                      <a:pt x="89" y="3"/>
                    </a:lnTo>
                    <a:lnTo>
                      <a:pt x="89" y="3"/>
                    </a:lnTo>
                    <a:lnTo>
                      <a:pt x="81" y="2"/>
                    </a:lnTo>
                    <a:lnTo>
                      <a:pt x="71" y="0"/>
                    </a:lnTo>
                    <a:lnTo>
                      <a:pt x="71" y="0"/>
                    </a:lnTo>
                    <a:lnTo>
                      <a:pt x="62" y="2"/>
                    </a:lnTo>
                    <a:lnTo>
                      <a:pt x="52" y="3"/>
                    </a:lnTo>
                    <a:lnTo>
                      <a:pt x="52" y="3"/>
                    </a:lnTo>
                    <a:lnTo>
                      <a:pt x="52" y="3"/>
                    </a:lnTo>
                    <a:lnTo>
                      <a:pt x="50" y="4"/>
                    </a:lnTo>
                    <a:lnTo>
                      <a:pt x="48" y="8"/>
                    </a:lnTo>
                    <a:lnTo>
                      <a:pt x="48" y="8"/>
                    </a:lnTo>
                    <a:lnTo>
                      <a:pt x="50" y="10"/>
                    </a:lnTo>
                    <a:lnTo>
                      <a:pt x="52" y="18"/>
                    </a:lnTo>
                    <a:lnTo>
                      <a:pt x="52" y="18"/>
                    </a:lnTo>
                    <a:lnTo>
                      <a:pt x="41" y="22"/>
                    </a:lnTo>
                    <a:lnTo>
                      <a:pt x="32" y="29"/>
                    </a:lnTo>
                    <a:lnTo>
                      <a:pt x="27" y="23"/>
                    </a:lnTo>
                    <a:lnTo>
                      <a:pt x="27" y="23"/>
                    </a:lnTo>
                    <a:lnTo>
                      <a:pt x="25" y="22"/>
                    </a:lnTo>
                    <a:lnTo>
                      <a:pt x="25" y="22"/>
                    </a:lnTo>
                    <a:lnTo>
                      <a:pt x="21" y="21"/>
                    </a:lnTo>
                    <a:lnTo>
                      <a:pt x="19" y="22"/>
                    </a:lnTo>
                    <a:lnTo>
                      <a:pt x="19" y="22"/>
                    </a:lnTo>
                    <a:lnTo>
                      <a:pt x="19" y="22"/>
                    </a:lnTo>
                    <a:lnTo>
                      <a:pt x="13" y="29"/>
                    </a:lnTo>
                    <a:lnTo>
                      <a:pt x="8" y="37"/>
                    </a:lnTo>
                    <a:lnTo>
                      <a:pt x="8" y="37"/>
                    </a:lnTo>
                    <a:lnTo>
                      <a:pt x="4" y="46"/>
                    </a:lnTo>
                    <a:lnTo>
                      <a:pt x="0" y="54"/>
                    </a:lnTo>
                    <a:lnTo>
                      <a:pt x="0" y="54"/>
                    </a:lnTo>
                    <a:lnTo>
                      <a:pt x="0" y="54"/>
                    </a:lnTo>
                    <a:lnTo>
                      <a:pt x="1" y="57"/>
                    </a:lnTo>
                    <a:lnTo>
                      <a:pt x="2" y="60"/>
                    </a:lnTo>
                    <a:lnTo>
                      <a:pt x="2" y="60"/>
                    </a:lnTo>
                    <a:lnTo>
                      <a:pt x="5" y="61"/>
                    </a:lnTo>
                    <a:lnTo>
                      <a:pt x="13" y="62"/>
                    </a:lnTo>
                    <a:lnTo>
                      <a:pt x="13" y="62"/>
                    </a:lnTo>
                    <a:lnTo>
                      <a:pt x="12" y="73"/>
                    </a:lnTo>
                    <a:lnTo>
                      <a:pt x="12" y="73"/>
                    </a:lnTo>
                    <a:lnTo>
                      <a:pt x="13" y="85"/>
                    </a:lnTo>
                    <a:lnTo>
                      <a:pt x="5" y="87"/>
                    </a:lnTo>
                    <a:lnTo>
                      <a:pt x="5" y="87"/>
                    </a:lnTo>
                    <a:lnTo>
                      <a:pt x="2" y="87"/>
                    </a:lnTo>
                    <a:lnTo>
                      <a:pt x="2" y="87"/>
                    </a:lnTo>
                    <a:lnTo>
                      <a:pt x="1" y="89"/>
                    </a:lnTo>
                    <a:lnTo>
                      <a:pt x="0" y="93"/>
                    </a:lnTo>
                    <a:lnTo>
                      <a:pt x="0" y="93"/>
                    </a:lnTo>
                    <a:lnTo>
                      <a:pt x="0" y="93"/>
                    </a:lnTo>
                    <a:lnTo>
                      <a:pt x="4" y="101"/>
                    </a:lnTo>
                    <a:lnTo>
                      <a:pt x="8" y="110"/>
                    </a:lnTo>
                    <a:lnTo>
                      <a:pt x="8" y="110"/>
                    </a:lnTo>
                    <a:lnTo>
                      <a:pt x="13" y="118"/>
                    </a:lnTo>
                    <a:lnTo>
                      <a:pt x="19" y="124"/>
                    </a:lnTo>
                    <a:lnTo>
                      <a:pt x="19" y="124"/>
                    </a:lnTo>
                    <a:lnTo>
                      <a:pt x="19" y="124"/>
                    </a:lnTo>
                    <a:lnTo>
                      <a:pt x="21" y="126"/>
                    </a:lnTo>
                    <a:lnTo>
                      <a:pt x="25" y="126"/>
                    </a:lnTo>
                    <a:lnTo>
                      <a:pt x="25" y="126"/>
                    </a:lnTo>
                    <a:lnTo>
                      <a:pt x="27" y="124"/>
                    </a:lnTo>
                    <a:lnTo>
                      <a:pt x="32" y="118"/>
                    </a:lnTo>
                    <a:lnTo>
                      <a:pt x="32" y="118"/>
                    </a:lnTo>
                    <a:lnTo>
                      <a:pt x="41" y="124"/>
                    </a:lnTo>
                    <a:lnTo>
                      <a:pt x="52" y="130"/>
                    </a:lnTo>
                    <a:lnTo>
                      <a:pt x="50" y="138"/>
                    </a:lnTo>
                    <a:lnTo>
                      <a:pt x="50" y="138"/>
                    </a:lnTo>
                    <a:lnTo>
                      <a:pt x="48" y="139"/>
                    </a:lnTo>
                    <a:lnTo>
                      <a:pt x="48" y="139"/>
                    </a:lnTo>
                    <a:lnTo>
                      <a:pt x="50" y="142"/>
                    </a:lnTo>
                    <a:lnTo>
                      <a:pt x="52" y="145"/>
                    </a:lnTo>
                    <a:lnTo>
                      <a:pt x="52" y="145"/>
                    </a:lnTo>
                    <a:lnTo>
                      <a:pt x="52" y="145"/>
                    </a:lnTo>
                    <a:lnTo>
                      <a:pt x="62" y="146"/>
                    </a:lnTo>
                    <a:lnTo>
                      <a:pt x="71" y="146"/>
                    </a:lnTo>
                    <a:lnTo>
                      <a:pt x="71" y="146"/>
                    </a:lnTo>
                    <a:lnTo>
                      <a:pt x="81" y="146"/>
                    </a:lnTo>
                    <a:lnTo>
                      <a:pt x="89" y="145"/>
                    </a:lnTo>
                    <a:lnTo>
                      <a:pt x="89" y="145"/>
                    </a:lnTo>
                    <a:lnTo>
                      <a:pt x="89" y="145"/>
                    </a:lnTo>
                    <a:lnTo>
                      <a:pt x="91" y="142"/>
                    </a:lnTo>
                    <a:lnTo>
                      <a:pt x="93" y="139"/>
                    </a:lnTo>
                    <a:lnTo>
                      <a:pt x="93" y="139"/>
                    </a:lnTo>
                    <a:lnTo>
                      <a:pt x="93" y="138"/>
                    </a:lnTo>
                    <a:lnTo>
                      <a:pt x="90" y="130"/>
                    </a:lnTo>
                    <a:lnTo>
                      <a:pt x="90" y="130"/>
                    </a:lnTo>
                    <a:lnTo>
                      <a:pt x="101" y="124"/>
                    </a:lnTo>
                    <a:lnTo>
                      <a:pt x="110" y="118"/>
                    </a:lnTo>
                    <a:lnTo>
                      <a:pt x="116" y="124"/>
                    </a:lnTo>
                    <a:lnTo>
                      <a:pt x="116" y="124"/>
                    </a:lnTo>
                    <a:lnTo>
                      <a:pt x="117" y="126"/>
                    </a:lnTo>
                    <a:lnTo>
                      <a:pt x="117" y="126"/>
                    </a:lnTo>
                    <a:lnTo>
                      <a:pt x="120" y="126"/>
                    </a:lnTo>
                    <a:lnTo>
                      <a:pt x="122" y="124"/>
                    </a:lnTo>
                    <a:lnTo>
                      <a:pt x="122" y="124"/>
                    </a:lnTo>
                    <a:lnTo>
                      <a:pt x="122" y="124"/>
                    </a:lnTo>
                    <a:lnTo>
                      <a:pt x="129" y="118"/>
                    </a:lnTo>
                    <a:lnTo>
                      <a:pt x="135" y="110"/>
                    </a:lnTo>
                    <a:lnTo>
                      <a:pt x="135" y="110"/>
                    </a:lnTo>
                    <a:lnTo>
                      <a:pt x="139" y="101"/>
                    </a:lnTo>
                    <a:lnTo>
                      <a:pt x="141" y="93"/>
                    </a:lnTo>
                    <a:lnTo>
                      <a:pt x="141" y="93"/>
                    </a:lnTo>
                    <a:lnTo>
                      <a:pt x="141" y="93"/>
                    </a:lnTo>
                    <a:lnTo>
                      <a:pt x="141" y="89"/>
                    </a:lnTo>
                    <a:lnTo>
                      <a:pt x="139" y="87"/>
                    </a:lnTo>
                    <a:lnTo>
                      <a:pt x="139" y="87"/>
                    </a:lnTo>
                    <a:lnTo>
                      <a:pt x="137" y="87"/>
                    </a:lnTo>
                    <a:lnTo>
                      <a:pt x="137" y="87"/>
                    </a:lnTo>
                    <a:close/>
                    <a:moveTo>
                      <a:pt x="71" y="110"/>
                    </a:moveTo>
                    <a:lnTo>
                      <a:pt x="71" y="110"/>
                    </a:lnTo>
                    <a:lnTo>
                      <a:pt x="63" y="108"/>
                    </a:lnTo>
                    <a:lnTo>
                      <a:pt x="56" y="107"/>
                    </a:lnTo>
                    <a:lnTo>
                      <a:pt x="51" y="103"/>
                    </a:lnTo>
                    <a:lnTo>
                      <a:pt x="46" y="99"/>
                    </a:lnTo>
                    <a:lnTo>
                      <a:pt x="41" y="93"/>
                    </a:lnTo>
                    <a:lnTo>
                      <a:pt x="37" y="88"/>
                    </a:lnTo>
                    <a:lnTo>
                      <a:pt x="36" y="81"/>
                    </a:lnTo>
                    <a:lnTo>
                      <a:pt x="35" y="73"/>
                    </a:lnTo>
                    <a:lnTo>
                      <a:pt x="35" y="73"/>
                    </a:lnTo>
                    <a:lnTo>
                      <a:pt x="36" y="66"/>
                    </a:lnTo>
                    <a:lnTo>
                      <a:pt x="37" y="60"/>
                    </a:lnTo>
                    <a:lnTo>
                      <a:pt x="41" y="53"/>
                    </a:lnTo>
                    <a:lnTo>
                      <a:pt x="46" y="48"/>
                    </a:lnTo>
                    <a:lnTo>
                      <a:pt x="51" y="44"/>
                    </a:lnTo>
                    <a:lnTo>
                      <a:pt x="56" y="41"/>
                    </a:lnTo>
                    <a:lnTo>
                      <a:pt x="63" y="38"/>
                    </a:lnTo>
                    <a:lnTo>
                      <a:pt x="71" y="38"/>
                    </a:lnTo>
                    <a:lnTo>
                      <a:pt x="71" y="38"/>
                    </a:lnTo>
                    <a:lnTo>
                      <a:pt x="78" y="38"/>
                    </a:lnTo>
                    <a:lnTo>
                      <a:pt x="85" y="41"/>
                    </a:lnTo>
                    <a:lnTo>
                      <a:pt x="91" y="44"/>
                    </a:lnTo>
                    <a:lnTo>
                      <a:pt x="97" y="48"/>
                    </a:lnTo>
                    <a:lnTo>
                      <a:pt x="101" y="53"/>
                    </a:lnTo>
                    <a:lnTo>
                      <a:pt x="104" y="60"/>
                    </a:lnTo>
                    <a:lnTo>
                      <a:pt x="106" y="66"/>
                    </a:lnTo>
                    <a:lnTo>
                      <a:pt x="106" y="73"/>
                    </a:lnTo>
                    <a:lnTo>
                      <a:pt x="106" y="73"/>
                    </a:lnTo>
                    <a:lnTo>
                      <a:pt x="106" y="81"/>
                    </a:lnTo>
                    <a:lnTo>
                      <a:pt x="104" y="88"/>
                    </a:lnTo>
                    <a:lnTo>
                      <a:pt x="101" y="93"/>
                    </a:lnTo>
                    <a:lnTo>
                      <a:pt x="97" y="99"/>
                    </a:lnTo>
                    <a:lnTo>
                      <a:pt x="91" y="103"/>
                    </a:lnTo>
                    <a:lnTo>
                      <a:pt x="85" y="107"/>
                    </a:lnTo>
                    <a:lnTo>
                      <a:pt x="78" y="108"/>
                    </a:lnTo>
                    <a:lnTo>
                      <a:pt x="71" y="110"/>
                    </a:lnTo>
                    <a:lnTo>
                      <a:pt x="7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89" name="Freeform 162"/>
              <p:cNvSpPr>
                <a:spLocks/>
              </p:cNvSpPr>
              <p:nvPr/>
            </p:nvSpPr>
            <p:spPr bwMode="auto">
              <a:xfrm>
                <a:off x="3119438" y="4373563"/>
                <a:ext cx="55563" cy="55563"/>
              </a:xfrm>
              <a:custGeom>
                <a:avLst/>
                <a:gdLst>
                  <a:gd name="T0" fmla="*/ 35 w 70"/>
                  <a:gd name="T1" fmla="*/ 0 h 70"/>
                  <a:gd name="T2" fmla="*/ 35 w 70"/>
                  <a:gd name="T3" fmla="*/ 0 h 70"/>
                  <a:gd name="T4" fmla="*/ 29 w 70"/>
                  <a:gd name="T5" fmla="*/ 1 h 70"/>
                  <a:gd name="T6" fmla="*/ 22 w 70"/>
                  <a:gd name="T7" fmla="*/ 2 h 70"/>
                  <a:gd name="T8" fmla="*/ 17 w 70"/>
                  <a:gd name="T9" fmla="*/ 7 h 70"/>
                  <a:gd name="T10" fmla="*/ 11 w 70"/>
                  <a:gd name="T11" fmla="*/ 11 h 70"/>
                  <a:gd name="T12" fmla="*/ 7 w 70"/>
                  <a:gd name="T13" fmla="*/ 16 h 70"/>
                  <a:gd name="T14" fmla="*/ 3 w 70"/>
                  <a:gd name="T15" fmla="*/ 21 h 70"/>
                  <a:gd name="T16" fmla="*/ 2 w 70"/>
                  <a:gd name="T17" fmla="*/ 28 h 70"/>
                  <a:gd name="T18" fmla="*/ 0 w 70"/>
                  <a:gd name="T19" fmla="*/ 35 h 70"/>
                  <a:gd name="T20" fmla="*/ 0 w 70"/>
                  <a:gd name="T21" fmla="*/ 35 h 70"/>
                  <a:gd name="T22" fmla="*/ 2 w 70"/>
                  <a:gd name="T23" fmla="*/ 42 h 70"/>
                  <a:gd name="T24" fmla="*/ 3 w 70"/>
                  <a:gd name="T25" fmla="*/ 48 h 70"/>
                  <a:gd name="T26" fmla="*/ 7 w 70"/>
                  <a:gd name="T27" fmla="*/ 55 h 70"/>
                  <a:gd name="T28" fmla="*/ 11 w 70"/>
                  <a:gd name="T29" fmla="*/ 59 h 70"/>
                  <a:gd name="T30" fmla="*/ 17 w 70"/>
                  <a:gd name="T31" fmla="*/ 64 h 70"/>
                  <a:gd name="T32" fmla="*/ 22 w 70"/>
                  <a:gd name="T33" fmla="*/ 67 h 70"/>
                  <a:gd name="T34" fmla="*/ 29 w 70"/>
                  <a:gd name="T35" fmla="*/ 69 h 70"/>
                  <a:gd name="T36" fmla="*/ 35 w 70"/>
                  <a:gd name="T37" fmla="*/ 70 h 70"/>
                  <a:gd name="T38" fmla="*/ 35 w 70"/>
                  <a:gd name="T39" fmla="*/ 70 h 70"/>
                  <a:gd name="T40" fmla="*/ 42 w 70"/>
                  <a:gd name="T41" fmla="*/ 69 h 70"/>
                  <a:gd name="T42" fmla="*/ 49 w 70"/>
                  <a:gd name="T43" fmla="*/ 67 h 70"/>
                  <a:gd name="T44" fmla="*/ 54 w 70"/>
                  <a:gd name="T45" fmla="*/ 64 h 70"/>
                  <a:gd name="T46" fmla="*/ 60 w 70"/>
                  <a:gd name="T47" fmla="*/ 59 h 70"/>
                  <a:gd name="T48" fmla="*/ 64 w 70"/>
                  <a:gd name="T49" fmla="*/ 55 h 70"/>
                  <a:gd name="T50" fmla="*/ 68 w 70"/>
                  <a:gd name="T51" fmla="*/ 48 h 70"/>
                  <a:gd name="T52" fmla="*/ 69 w 70"/>
                  <a:gd name="T53" fmla="*/ 42 h 70"/>
                  <a:gd name="T54" fmla="*/ 70 w 70"/>
                  <a:gd name="T55" fmla="*/ 35 h 70"/>
                  <a:gd name="T56" fmla="*/ 70 w 70"/>
                  <a:gd name="T57" fmla="*/ 35 h 70"/>
                  <a:gd name="T58" fmla="*/ 69 w 70"/>
                  <a:gd name="T59" fmla="*/ 28 h 70"/>
                  <a:gd name="T60" fmla="*/ 68 w 70"/>
                  <a:gd name="T61" fmla="*/ 21 h 70"/>
                  <a:gd name="T62" fmla="*/ 64 w 70"/>
                  <a:gd name="T63" fmla="*/ 16 h 70"/>
                  <a:gd name="T64" fmla="*/ 60 w 70"/>
                  <a:gd name="T65" fmla="*/ 11 h 70"/>
                  <a:gd name="T66" fmla="*/ 54 w 70"/>
                  <a:gd name="T67" fmla="*/ 7 h 70"/>
                  <a:gd name="T68" fmla="*/ 49 w 70"/>
                  <a:gd name="T69" fmla="*/ 2 h 70"/>
                  <a:gd name="T70" fmla="*/ 42 w 70"/>
                  <a:gd name="T71" fmla="*/ 1 h 70"/>
                  <a:gd name="T72" fmla="*/ 35 w 70"/>
                  <a:gd name="T73" fmla="*/ 0 h 70"/>
                  <a:gd name="T74" fmla="*/ 35 w 70"/>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0">
                    <a:moveTo>
                      <a:pt x="35" y="0"/>
                    </a:moveTo>
                    <a:lnTo>
                      <a:pt x="35" y="0"/>
                    </a:lnTo>
                    <a:lnTo>
                      <a:pt x="29" y="1"/>
                    </a:lnTo>
                    <a:lnTo>
                      <a:pt x="22" y="2"/>
                    </a:lnTo>
                    <a:lnTo>
                      <a:pt x="17" y="7"/>
                    </a:lnTo>
                    <a:lnTo>
                      <a:pt x="11" y="11"/>
                    </a:lnTo>
                    <a:lnTo>
                      <a:pt x="7" y="16"/>
                    </a:lnTo>
                    <a:lnTo>
                      <a:pt x="3" y="21"/>
                    </a:lnTo>
                    <a:lnTo>
                      <a:pt x="2" y="28"/>
                    </a:lnTo>
                    <a:lnTo>
                      <a:pt x="0" y="35"/>
                    </a:lnTo>
                    <a:lnTo>
                      <a:pt x="0" y="35"/>
                    </a:lnTo>
                    <a:lnTo>
                      <a:pt x="2" y="42"/>
                    </a:lnTo>
                    <a:lnTo>
                      <a:pt x="3" y="48"/>
                    </a:lnTo>
                    <a:lnTo>
                      <a:pt x="7" y="55"/>
                    </a:lnTo>
                    <a:lnTo>
                      <a:pt x="11" y="59"/>
                    </a:lnTo>
                    <a:lnTo>
                      <a:pt x="17" y="64"/>
                    </a:lnTo>
                    <a:lnTo>
                      <a:pt x="22" y="67"/>
                    </a:lnTo>
                    <a:lnTo>
                      <a:pt x="29" y="69"/>
                    </a:lnTo>
                    <a:lnTo>
                      <a:pt x="35" y="70"/>
                    </a:lnTo>
                    <a:lnTo>
                      <a:pt x="35" y="70"/>
                    </a:lnTo>
                    <a:lnTo>
                      <a:pt x="42" y="69"/>
                    </a:lnTo>
                    <a:lnTo>
                      <a:pt x="49" y="67"/>
                    </a:lnTo>
                    <a:lnTo>
                      <a:pt x="54" y="64"/>
                    </a:lnTo>
                    <a:lnTo>
                      <a:pt x="60" y="59"/>
                    </a:lnTo>
                    <a:lnTo>
                      <a:pt x="64" y="55"/>
                    </a:lnTo>
                    <a:lnTo>
                      <a:pt x="68" y="48"/>
                    </a:lnTo>
                    <a:lnTo>
                      <a:pt x="69" y="42"/>
                    </a:lnTo>
                    <a:lnTo>
                      <a:pt x="70" y="35"/>
                    </a:lnTo>
                    <a:lnTo>
                      <a:pt x="70" y="35"/>
                    </a:lnTo>
                    <a:lnTo>
                      <a:pt x="69" y="28"/>
                    </a:lnTo>
                    <a:lnTo>
                      <a:pt x="68" y="21"/>
                    </a:lnTo>
                    <a:lnTo>
                      <a:pt x="64" y="16"/>
                    </a:lnTo>
                    <a:lnTo>
                      <a:pt x="60" y="11"/>
                    </a:lnTo>
                    <a:lnTo>
                      <a:pt x="54" y="7"/>
                    </a:lnTo>
                    <a:lnTo>
                      <a:pt x="49" y="2"/>
                    </a:lnTo>
                    <a:lnTo>
                      <a:pt x="42"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90" name="Freeform 163"/>
              <p:cNvSpPr>
                <a:spLocks/>
              </p:cNvSpPr>
              <p:nvPr/>
            </p:nvSpPr>
            <p:spPr bwMode="auto">
              <a:xfrm>
                <a:off x="3279775" y="4294188"/>
                <a:ext cx="26988" cy="26988"/>
              </a:xfrm>
              <a:custGeom>
                <a:avLst/>
                <a:gdLst>
                  <a:gd name="T0" fmla="*/ 16 w 32"/>
                  <a:gd name="T1" fmla="*/ 0 h 32"/>
                  <a:gd name="T2" fmla="*/ 16 w 32"/>
                  <a:gd name="T3" fmla="*/ 0 h 32"/>
                  <a:gd name="T4" fmla="*/ 9 w 32"/>
                  <a:gd name="T5" fmla="*/ 1 h 32"/>
                  <a:gd name="T6" fmla="*/ 4 w 32"/>
                  <a:gd name="T7" fmla="*/ 5 h 32"/>
                  <a:gd name="T8" fmla="*/ 1 w 32"/>
                  <a:gd name="T9" fmla="*/ 11 h 32"/>
                  <a:gd name="T10" fmla="*/ 0 w 32"/>
                  <a:gd name="T11" fmla="*/ 16 h 32"/>
                  <a:gd name="T12" fmla="*/ 0 w 32"/>
                  <a:gd name="T13" fmla="*/ 16 h 32"/>
                  <a:gd name="T14" fmla="*/ 1 w 32"/>
                  <a:gd name="T15" fmla="*/ 23 h 32"/>
                  <a:gd name="T16" fmla="*/ 4 w 32"/>
                  <a:gd name="T17" fmla="*/ 28 h 32"/>
                  <a:gd name="T18" fmla="*/ 9 w 32"/>
                  <a:gd name="T19" fmla="*/ 31 h 32"/>
                  <a:gd name="T20" fmla="*/ 16 w 32"/>
                  <a:gd name="T21" fmla="*/ 32 h 32"/>
                  <a:gd name="T22" fmla="*/ 16 w 32"/>
                  <a:gd name="T23" fmla="*/ 32 h 32"/>
                  <a:gd name="T24" fmla="*/ 22 w 32"/>
                  <a:gd name="T25" fmla="*/ 31 h 32"/>
                  <a:gd name="T26" fmla="*/ 27 w 32"/>
                  <a:gd name="T27" fmla="*/ 28 h 32"/>
                  <a:gd name="T28" fmla="*/ 31 w 32"/>
                  <a:gd name="T29" fmla="*/ 23 h 32"/>
                  <a:gd name="T30" fmla="*/ 32 w 32"/>
                  <a:gd name="T31" fmla="*/ 16 h 32"/>
                  <a:gd name="T32" fmla="*/ 32 w 32"/>
                  <a:gd name="T33" fmla="*/ 16 h 32"/>
                  <a:gd name="T34" fmla="*/ 31 w 32"/>
                  <a:gd name="T35" fmla="*/ 11 h 32"/>
                  <a:gd name="T36" fmla="*/ 27 w 32"/>
                  <a:gd name="T37" fmla="*/ 5 h 32"/>
                  <a:gd name="T38" fmla="*/ 22 w 32"/>
                  <a:gd name="T39" fmla="*/ 1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9" y="1"/>
                    </a:lnTo>
                    <a:lnTo>
                      <a:pt x="4" y="5"/>
                    </a:lnTo>
                    <a:lnTo>
                      <a:pt x="1" y="11"/>
                    </a:lnTo>
                    <a:lnTo>
                      <a:pt x="0" y="16"/>
                    </a:lnTo>
                    <a:lnTo>
                      <a:pt x="0" y="16"/>
                    </a:lnTo>
                    <a:lnTo>
                      <a:pt x="1" y="23"/>
                    </a:lnTo>
                    <a:lnTo>
                      <a:pt x="4" y="28"/>
                    </a:lnTo>
                    <a:lnTo>
                      <a:pt x="9" y="31"/>
                    </a:lnTo>
                    <a:lnTo>
                      <a:pt x="16" y="32"/>
                    </a:lnTo>
                    <a:lnTo>
                      <a:pt x="16" y="32"/>
                    </a:lnTo>
                    <a:lnTo>
                      <a:pt x="22" y="31"/>
                    </a:lnTo>
                    <a:lnTo>
                      <a:pt x="27" y="28"/>
                    </a:lnTo>
                    <a:lnTo>
                      <a:pt x="31" y="23"/>
                    </a:lnTo>
                    <a:lnTo>
                      <a:pt x="32" y="16"/>
                    </a:lnTo>
                    <a:lnTo>
                      <a:pt x="32" y="16"/>
                    </a:lnTo>
                    <a:lnTo>
                      <a:pt x="31" y="11"/>
                    </a:lnTo>
                    <a:lnTo>
                      <a:pt x="27" y="5"/>
                    </a:lnTo>
                    <a:lnTo>
                      <a:pt x="22" y="1"/>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nvGrpSpPr>
            <p:cNvPr id="181" name="Group 180"/>
            <p:cNvGrpSpPr/>
            <p:nvPr/>
          </p:nvGrpSpPr>
          <p:grpSpPr>
            <a:xfrm>
              <a:off x="6960183" y="4404585"/>
              <a:ext cx="309689" cy="261046"/>
              <a:chOff x="3046413" y="4249738"/>
              <a:chExt cx="303213" cy="255587"/>
            </a:xfrm>
            <a:grpFill/>
          </p:grpSpPr>
          <p:sp>
            <p:nvSpPr>
              <p:cNvPr id="182" name="Freeform 160"/>
              <p:cNvSpPr>
                <a:spLocks noEditPoints="1"/>
              </p:cNvSpPr>
              <p:nvPr/>
            </p:nvSpPr>
            <p:spPr bwMode="auto">
              <a:xfrm>
                <a:off x="3046413" y="4298950"/>
                <a:ext cx="201613" cy="206375"/>
              </a:xfrm>
              <a:custGeom>
                <a:avLst/>
                <a:gdLst>
                  <a:gd name="T0" fmla="*/ 252 w 253"/>
                  <a:gd name="T1" fmla="*/ 103 h 262"/>
                  <a:gd name="T2" fmla="*/ 253 w 253"/>
                  <a:gd name="T3" fmla="*/ 97 h 262"/>
                  <a:gd name="T4" fmla="*/ 230 w 253"/>
                  <a:gd name="T5" fmla="*/ 51 h 262"/>
                  <a:gd name="T6" fmla="*/ 217 w 253"/>
                  <a:gd name="T7" fmla="*/ 38 h 262"/>
                  <a:gd name="T8" fmla="*/ 209 w 253"/>
                  <a:gd name="T9" fmla="*/ 38 h 262"/>
                  <a:gd name="T10" fmla="*/ 191 w 253"/>
                  <a:gd name="T11" fmla="*/ 40 h 262"/>
                  <a:gd name="T12" fmla="*/ 166 w 253"/>
                  <a:gd name="T13" fmla="*/ 18 h 262"/>
                  <a:gd name="T14" fmla="*/ 166 w 253"/>
                  <a:gd name="T15" fmla="*/ 11 h 262"/>
                  <a:gd name="T16" fmla="*/ 160 w 253"/>
                  <a:gd name="T17" fmla="*/ 4 h 262"/>
                  <a:gd name="T18" fmla="*/ 126 w 253"/>
                  <a:gd name="T19" fmla="*/ 0 h 262"/>
                  <a:gd name="T20" fmla="*/ 91 w 253"/>
                  <a:gd name="T21" fmla="*/ 5 h 262"/>
                  <a:gd name="T22" fmla="*/ 87 w 253"/>
                  <a:gd name="T23" fmla="*/ 14 h 262"/>
                  <a:gd name="T24" fmla="*/ 81 w 253"/>
                  <a:gd name="T25" fmla="*/ 30 h 262"/>
                  <a:gd name="T26" fmla="*/ 47 w 253"/>
                  <a:gd name="T27" fmla="*/ 40 h 262"/>
                  <a:gd name="T28" fmla="*/ 41 w 253"/>
                  <a:gd name="T29" fmla="*/ 36 h 262"/>
                  <a:gd name="T30" fmla="*/ 33 w 253"/>
                  <a:gd name="T31" fmla="*/ 39 h 262"/>
                  <a:gd name="T32" fmla="*/ 13 w 253"/>
                  <a:gd name="T33" fmla="*/ 66 h 262"/>
                  <a:gd name="T34" fmla="*/ 1 w 253"/>
                  <a:gd name="T35" fmla="*/ 97 h 262"/>
                  <a:gd name="T36" fmla="*/ 5 w 253"/>
                  <a:gd name="T37" fmla="*/ 107 h 262"/>
                  <a:gd name="T38" fmla="*/ 17 w 253"/>
                  <a:gd name="T39" fmla="*/ 109 h 262"/>
                  <a:gd name="T40" fmla="*/ 16 w 253"/>
                  <a:gd name="T41" fmla="*/ 142 h 262"/>
                  <a:gd name="T42" fmla="*/ 5 w 253"/>
                  <a:gd name="T43" fmla="*/ 155 h 262"/>
                  <a:gd name="T44" fmla="*/ 0 w 253"/>
                  <a:gd name="T45" fmla="*/ 163 h 262"/>
                  <a:gd name="T46" fmla="*/ 6 w 253"/>
                  <a:gd name="T47" fmla="*/ 181 h 262"/>
                  <a:gd name="T48" fmla="*/ 33 w 253"/>
                  <a:gd name="T49" fmla="*/ 223 h 262"/>
                  <a:gd name="T50" fmla="*/ 39 w 253"/>
                  <a:gd name="T51" fmla="*/ 225 h 262"/>
                  <a:gd name="T52" fmla="*/ 47 w 253"/>
                  <a:gd name="T53" fmla="*/ 221 h 262"/>
                  <a:gd name="T54" fmla="*/ 71 w 253"/>
                  <a:gd name="T55" fmla="*/ 227 h 262"/>
                  <a:gd name="T56" fmla="*/ 87 w 253"/>
                  <a:gd name="T57" fmla="*/ 245 h 262"/>
                  <a:gd name="T58" fmla="*/ 89 w 253"/>
                  <a:gd name="T59" fmla="*/ 254 h 262"/>
                  <a:gd name="T60" fmla="*/ 94 w 253"/>
                  <a:gd name="T61" fmla="*/ 258 h 262"/>
                  <a:gd name="T62" fmla="*/ 144 w 253"/>
                  <a:gd name="T63" fmla="*/ 260 h 262"/>
                  <a:gd name="T64" fmla="*/ 163 w 253"/>
                  <a:gd name="T65" fmla="*/ 256 h 262"/>
                  <a:gd name="T66" fmla="*/ 166 w 253"/>
                  <a:gd name="T67" fmla="*/ 248 h 262"/>
                  <a:gd name="T68" fmla="*/ 172 w 253"/>
                  <a:gd name="T69" fmla="*/ 232 h 262"/>
                  <a:gd name="T70" fmla="*/ 206 w 253"/>
                  <a:gd name="T71" fmla="*/ 221 h 262"/>
                  <a:gd name="T72" fmla="*/ 211 w 253"/>
                  <a:gd name="T73" fmla="*/ 225 h 262"/>
                  <a:gd name="T74" fmla="*/ 219 w 253"/>
                  <a:gd name="T75" fmla="*/ 223 h 262"/>
                  <a:gd name="T76" fmla="*/ 240 w 253"/>
                  <a:gd name="T77" fmla="*/ 197 h 262"/>
                  <a:gd name="T78" fmla="*/ 253 w 253"/>
                  <a:gd name="T79" fmla="*/ 166 h 262"/>
                  <a:gd name="T80" fmla="*/ 248 w 253"/>
                  <a:gd name="T81" fmla="*/ 155 h 262"/>
                  <a:gd name="T82" fmla="*/ 236 w 253"/>
                  <a:gd name="T83" fmla="*/ 152 h 262"/>
                  <a:gd name="T84" fmla="*/ 237 w 253"/>
                  <a:gd name="T85" fmla="*/ 120 h 262"/>
                  <a:gd name="T86" fmla="*/ 248 w 253"/>
                  <a:gd name="T87" fmla="*/ 107 h 262"/>
                  <a:gd name="T88" fmla="*/ 114 w 253"/>
                  <a:gd name="T89" fmla="*/ 191 h 262"/>
                  <a:gd name="T90" fmla="*/ 75 w 253"/>
                  <a:gd name="T91" fmla="*/ 166 h 262"/>
                  <a:gd name="T92" fmla="*/ 64 w 253"/>
                  <a:gd name="T93" fmla="*/ 131 h 262"/>
                  <a:gd name="T94" fmla="*/ 83 w 253"/>
                  <a:gd name="T95" fmla="*/ 88 h 262"/>
                  <a:gd name="T96" fmla="*/ 126 w 253"/>
                  <a:gd name="T97" fmla="*/ 70 h 262"/>
                  <a:gd name="T98" fmla="*/ 161 w 253"/>
                  <a:gd name="T99" fmla="*/ 80 h 262"/>
                  <a:gd name="T100" fmla="*/ 187 w 253"/>
                  <a:gd name="T101" fmla="*/ 119 h 262"/>
                  <a:gd name="T102" fmla="*/ 183 w 253"/>
                  <a:gd name="T103" fmla="*/ 155 h 262"/>
                  <a:gd name="T104" fmla="*/ 151 w 253"/>
                  <a:gd name="T105" fmla="*/ 18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262">
                    <a:moveTo>
                      <a:pt x="248" y="107"/>
                    </a:moveTo>
                    <a:lnTo>
                      <a:pt x="248" y="107"/>
                    </a:lnTo>
                    <a:lnTo>
                      <a:pt x="250" y="105"/>
                    </a:lnTo>
                    <a:lnTo>
                      <a:pt x="252" y="103"/>
                    </a:lnTo>
                    <a:lnTo>
                      <a:pt x="253" y="100"/>
                    </a:lnTo>
                    <a:lnTo>
                      <a:pt x="253" y="97"/>
                    </a:lnTo>
                    <a:lnTo>
                      <a:pt x="253" y="97"/>
                    </a:lnTo>
                    <a:lnTo>
                      <a:pt x="253" y="97"/>
                    </a:lnTo>
                    <a:lnTo>
                      <a:pt x="246" y="81"/>
                    </a:lnTo>
                    <a:lnTo>
                      <a:pt x="240" y="66"/>
                    </a:lnTo>
                    <a:lnTo>
                      <a:pt x="240" y="66"/>
                    </a:lnTo>
                    <a:lnTo>
                      <a:pt x="230" y="51"/>
                    </a:lnTo>
                    <a:lnTo>
                      <a:pt x="219" y="39"/>
                    </a:lnTo>
                    <a:lnTo>
                      <a:pt x="219" y="39"/>
                    </a:lnTo>
                    <a:lnTo>
                      <a:pt x="219" y="39"/>
                    </a:lnTo>
                    <a:lnTo>
                      <a:pt x="217" y="38"/>
                    </a:lnTo>
                    <a:lnTo>
                      <a:pt x="214" y="36"/>
                    </a:lnTo>
                    <a:lnTo>
                      <a:pt x="211" y="36"/>
                    </a:lnTo>
                    <a:lnTo>
                      <a:pt x="209" y="38"/>
                    </a:lnTo>
                    <a:lnTo>
                      <a:pt x="209" y="38"/>
                    </a:lnTo>
                    <a:lnTo>
                      <a:pt x="206" y="40"/>
                    </a:lnTo>
                    <a:lnTo>
                      <a:pt x="199" y="47"/>
                    </a:lnTo>
                    <a:lnTo>
                      <a:pt x="199" y="47"/>
                    </a:lnTo>
                    <a:lnTo>
                      <a:pt x="191" y="40"/>
                    </a:lnTo>
                    <a:lnTo>
                      <a:pt x="182" y="35"/>
                    </a:lnTo>
                    <a:lnTo>
                      <a:pt x="172" y="30"/>
                    </a:lnTo>
                    <a:lnTo>
                      <a:pt x="163" y="26"/>
                    </a:lnTo>
                    <a:lnTo>
                      <a:pt x="166" y="18"/>
                    </a:lnTo>
                    <a:lnTo>
                      <a:pt x="166" y="18"/>
                    </a:lnTo>
                    <a:lnTo>
                      <a:pt x="166" y="14"/>
                    </a:lnTo>
                    <a:lnTo>
                      <a:pt x="166" y="14"/>
                    </a:lnTo>
                    <a:lnTo>
                      <a:pt x="166" y="11"/>
                    </a:lnTo>
                    <a:lnTo>
                      <a:pt x="164" y="8"/>
                    </a:lnTo>
                    <a:lnTo>
                      <a:pt x="163" y="5"/>
                    </a:lnTo>
                    <a:lnTo>
                      <a:pt x="160" y="4"/>
                    </a:lnTo>
                    <a:lnTo>
                      <a:pt x="160" y="4"/>
                    </a:lnTo>
                    <a:lnTo>
                      <a:pt x="160" y="4"/>
                    </a:lnTo>
                    <a:lnTo>
                      <a:pt x="144" y="1"/>
                    </a:lnTo>
                    <a:lnTo>
                      <a:pt x="126" y="0"/>
                    </a:lnTo>
                    <a:lnTo>
                      <a:pt x="126" y="0"/>
                    </a:lnTo>
                    <a:lnTo>
                      <a:pt x="110" y="1"/>
                    </a:lnTo>
                    <a:lnTo>
                      <a:pt x="93" y="4"/>
                    </a:lnTo>
                    <a:lnTo>
                      <a:pt x="93" y="4"/>
                    </a:lnTo>
                    <a:lnTo>
                      <a:pt x="91" y="5"/>
                    </a:lnTo>
                    <a:lnTo>
                      <a:pt x="89" y="8"/>
                    </a:lnTo>
                    <a:lnTo>
                      <a:pt x="87" y="11"/>
                    </a:lnTo>
                    <a:lnTo>
                      <a:pt x="87" y="14"/>
                    </a:lnTo>
                    <a:lnTo>
                      <a:pt x="87" y="14"/>
                    </a:lnTo>
                    <a:lnTo>
                      <a:pt x="87" y="18"/>
                    </a:lnTo>
                    <a:lnTo>
                      <a:pt x="91" y="26"/>
                    </a:lnTo>
                    <a:lnTo>
                      <a:pt x="91" y="26"/>
                    </a:lnTo>
                    <a:lnTo>
                      <a:pt x="81" y="30"/>
                    </a:lnTo>
                    <a:lnTo>
                      <a:pt x="71" y="35"/>
                    </a:lnTo>
                    <a:lnTo>
                      <a:pt x="62" y="40"/>
                    </a:lnTo>
                    <a:lnTo>
                      <a:pt x="54" y="47"/>
                    </a:lnTo>
                    <a:lnTo>
                      <a:pt x="47" y="40"/>
                    </a:lnTo>
                    <a:lnTo>
                      <a:pt x="47" y="40"/>
                    </a:lnTo>
                    <a:lnTo>
                      <a:pt x="44" y="38"/>
                    </a:lnTo>
                    <a:lnTo>
                      <a:pt x="44" y="38"/>
                    </a:lnTo>
                    <a:lnTo>
                      <a:pt x="41" y="36"/>
                    </a:lnTo>
                    <a:lnTo>
                      <a:pt x="39" y="36"/>
                    </a:lnTo>
                    <a:lnTo>
                      <a:pt x="36" y="38"/>
                    </a:lnTo>
                    <a:lnTo>
                      <a:pt x="33" y="39"/>
                    </a:lnTo>
                    <a:lnTo>
                      <a:pt x="33" y="39"/>
                    </a:lnTo>
                    <a:lnTo>
                      <a:pt x="33" y="39"/>
                    </a:lnTo>
                    <a:lnTo>
                      <a:pt x="23" y="51"/>
                    </a:lnTo>
                    <a:lnTo>
                      <a:pt x="13" y="66"/>
                    </a:lnTo>
                    <a:lnTo>
                      <a:pt x="13" y="66"/>
                    </a:lnTo>
                    <a:lnTo>
                      <a:pt x="6" y="81"/>
                    </a:lnTo>
                    <a:lnTo>
                      <a:pt x="1" y="97"/>
                    </a:lnTo>
                    <a:lnTo>
                      <a:pt x="1" y="97"/>
                    </a:lnTo>
                    <a:lnTo>
                      <a:pt x="1" y="97"/>
                    </a:lnTo>
                    <a:lnTo>
                      <a:pt x="0" y="100"/>
                    </a:lnTo>
                    <a:lnTo>
                      <a:pt x="1" y="103"/>
                    </a:lnTo>
                    <a:lnTo>
                      <a:pt x="2" y="105"/>
                    </a:lnTo>
                    <a:lnTo>
                      <a:pt x="5" y="107"/>
                    </a:lnTo>
                    <a:lnTo>
                      <a:pt x="5" y="107"/>
                    </a:lnTo>
                    <a:lnTo>
                      <a:pt x="9" y="108"/>
                    </a:lnTo>
                    <a:lnTo>
                      <a:pt x="17" y="109"/>
                    </a:lnTo>
                    <a:lnTo>
                      <a:pt x="17" y="109"/>
                    </a:lnTo>
                    <a:lnTo>
                      <a:pt x="16" y="120"/>
                    </a:lnTo>
                    <a:lnTo>
                      <a:pt x="16" y="131"/>
                    </a:lnTo>
                    <a:lnTo>
                      <a:pt x="16" y="131"/>
                    </a:lnTo>
                    <a:lnTo>
                      <a:pt x="16" y="142"/>
                    </a:lnTo>
                    <a:lnTo>
                      <a:pt x="17" y="152"/>
                    </a:lnTo>
                    <a:lnTo>
                      <a:pt x="9" y="154"/>
                    </a:lnTo>
                    <a:lnTo>
                      <a:pt x="9" y="154"/>
                    </a:lnTo>
                    <a:lnTo>
                      <a:pt x="5" y="155"/>
                    </a:lnTo>
                    <a:lnTo>
                      <a:pt x="5" y="155"/>
                    </a:lnTo>
                    <a:lnTo>
                      <a:pt x="2" y="158"/>
                    </a:lnTo>
                    <a:lnTo>
                      <a:pt x="1" y="160"/>
                    </a:lnTo>
                    <a:lnTo>
                      <a:pt x="0" y="163"/>
                    </a:lnTo>
                    <a:lnTo>
                      <a:pt x="1" y="166"/>
                    </a:lnTo>
                    <a:lnTo>
                      <a:pt x="1" y="166"/>
                    </a:lnTo>
                    <a:lnTo>
                      <a:pt x="1" y="166"/>
                    </a:lnTo>
                    <a:lnTo>
                      <a:pt x="6" y="181"/>
                    </a:lnTo>
                    <a:lnTo>
                      <a:pt x="13" y="197"/>
                    </a:lnTo>
                    <a:lnTo>
                      <a:pt x="13" y="197"/>
                    </a:lnTo>
                    <a:lnTo>
                      <a:pt x="23" y="210"/>
                    </a:lnTo>
                    <a:lnTo>
                      <a:pt x="33" y="223"/>
                    </a:lnTo>
                    <a:lnTo>
                      <a:pt x="33" y="223"/>
                    </a:lnTo>
                    <a:lnTo>
                      <a:pt x="33" y="223"/>
                    </a:lnTo>
                    <a:lnTo>
                      <a:pt x="36" y="224"/>
                    </a:lnTo>
                    <a:lnTo>
                      <a:pt x="39" y="225"/>
                    </a:lnTo>
                    <a:lnTo>
                      <a:pt x="41" y="225"/>
                    </a:lnTo>
                    <a:lnTo>
                      <a:pt x="44" y="224"/>
                    </a:lnTo>
                    <a:lnTo>
                      <a:pt x="44" y="224"/>
                    </a:lnTo>
                    <a:lnTo>
                      <a:pt x="47" y="221"/>
                    </a:lnTo>
                    <a:lnTo>
                      <a:pt x="54" y="214"/>
                    </a:lnTo>
                    <a:lnTo>
                      <a:pt x="54" y="214"/>
                    </a:lnTo>
                    <a:lnTo>
                      <a:pt x="62" y="221"/>
                    </a:lnTo>
                    <a:lnTo>
                      <a:pt x="71" y="227"/>
                    </a:lnTo>
                    <a:lnTo>
                      <a:pt x="81" y="232"/>
                    </a:lnTo>
                    <a:lnTo>
                      <a:pt x="91" y="236"/>
                    </a:lnTo>
                    <a:lnTo>
                      <a:pt x="87" y="245"/>
                    </a:lnTo>
                    <a:lnTo>
                      <a:pt x="87" y="245"/>
                    </a:lnTo>
                    <a:lnTo>
                      <a:pt x="87" y="248"/>
                    </a:lnTo>
                    <a:lnTo>
                      <a:pt x="87" y="248"/>
                    </a:lnTo>
                    <a:lnTo>
                      <a:pt x="87" y="252"/>
                    </a:lnTo>
                    <a:lnTo>
                      <a:pt x="89" y="254"/>
                    </a:lnTo>
                    <a:lnTo>
                      <a:pt x="91" y="256"/>
                    </a:lnTo>
                    <a:lnTo>
                      <a:pt x="94" y="258"/>
                    </a:lnTo>
                    <a:lnTo>
                      <a:pt x="94" y="258"/>
                    </a:lnTo>
                    <a:lnTo>
                      <a:pt x="94" y="258"/>
                    </a:lnTo>
                    <a:lnTo>
                      <a:pt x="110" y="260"/>
                    </a:lnTo>
                    <a:lnTo>
                      <a:pt x="126" y="262"/>
                    </a:lnTo>
                    <a:lnTo>
                      <a:pt x="126" y="262"/>
                    </a:lnTo>
                    <a:lnTo>
                      <a:pt x="144" y="260"/>
                    </a:lnTo>
                    <a:lnTo>
                      <a:pt x="160" y="258"/>
                    </a:lnTo>
                    <a:lnTo>
                      <a:pt x="160" y="258"/>
                    </a:lnTo>
                    <a:lnTo>
                      <a:pt x="160" y="258"/>
                    </a:lnTo>
                    <a:lnTo>
                      <a:pt x="163" y="256"/>
                    </a:lnTo>
                    <a:lnTo>
                      <a:pt x="164" y="254"/>
                    </a:lnTo>
                    <a:lnTo>
                      <a:pt x="166" y="252"/>
                    </a:lnTo>
                    <a:lnTo>
                      <a:pt x="166" y="248"/>
                    </a:lnTo>
                    <a:lnTo>
                      <a:pt x="166" y="248"/>
                    </a:lnTo>
                    <a:lnTo>
                      <a:pt x="166" y="245"/>
                    </a:lnTo>
                    <a:lnTo>
                      <a:pt x="163" y="236"/>
                    </a:lnTo>
                    <a:lnTo>
                      <a:pt x="163" y="236"/>
                    </a:lnTo>
                    <a:lnTo>
                      <a:pt x="172" y="232"/>
                    </a:lnTo>
                    <a:lnTo>
                      <a:pt x="182" y="227"/>
                    </a:lnTo>
                    <a:lnTo>
                      <a:pt x="191" y="221"/>
                    </a:lnTo>
                    <a:lnTo>
                      <a:pt x="199" y="214"/>
                    </a:lnTo>
                    <a:lnTo>
                      <a:pt x="206" y="221"/>
                    </a:lnTo>
                    <a:lnTo>
                      <a:pt x="206" y="221"/>
                    </a:lnTo>
                    <a:lnTo>
                      <a:pt x="209" y="224"/>
                    </a:lnTo>
                    <a:lnTo>
                      <a:pt x="209" y="224"/>
                    </a:lnTo>
                    <a:lnTo>
                      <a:pt x="211" y="225"/>
                    </a:lnTo>
                    <a:lnTo>
                      <a:pt x="214" y="225"/>
                    </a:lnTo>
                    <a:lnTo>
                      <a:pt x="217" y="224"/>
                    </a:lnTo>
                    <a:lnTo>
                      <a:pt x="219" y="223"/>
                    </a:lnTo>
                    <a:lnTo>
                      <a:pt x="219" y="223"/>
                    </a:lnTo>
                    <a:lnTo>
                      <a:pt x="219" y="223"/>
                    </a:lnTo>
                    <a:lnTo>
                      <a:pt x="230" y="210"/>
                    </a:lnTo>
                    <a:lnTo>
                      <a:pt x="240" y="197"/>
                    </a:lnTo>
                    <a:lnTo>
                      <a:pt x="240" y="197"/>
                    </a:lnTo>
                    <a:lnTo>
                      <a:pt x="246" y="181"/>
                    </a:lnTo>
                    <a:lnTo>
                      <a:pt x="253" y="166"/>
                    </a:lnTo>
                    <a:lnTo>
                      <a:pt x="253" y="166"/>
                    </a:lnTo>
                    <a:lnTo>
                      <a:pt x="253" y="166"/>
                    </a:lnTo>
                    <a:lnTo>
                      <a:pt x="253" y="163"/>
                    </a:lnTo>
                    <a:lnTo>
                      <a:pt x="252" y="160"/>
                    </a:lnTo>
                    <a:lnTo>
                      <a:pt x="250" y="158"/>
                    </a:lnTo>
                    <a:lnTo>
                      <a:pt x="248" y="155"/>
                    </a:lnTo>
                    <a:lnTo>
                      <a:pt x="248" y="155"/>
                    </a:lnTo>
                    <a:lnTo>
                      <a:pt x="245" y="154"/>
                    </a:lnTo>
                    <a:lnTo>
                      <a:pt x="236" y="152"/>
                    </a:lnTo>
                    <a:lnTo>
                      <a:pt x="236" y="152"/>
                    </a:lnTo>
                    <a:lnTo>
                      <a:pt x="237" y="142"/>
                    </a:lnTo>
                    <a:lnTo>
                      <a:pt x="237" y="131"/>
                    </a:lnTo>
                    <a:lnTo>
                      <a:pt x="237" y="131"/>
                    </a:lnTo>
                    <a:lnTo>
                      <a:pt x="237" y="120"/>
                    </a:lnTo>
                    <a:lnTo>
                      <a:pt x="236" y="109"/>
                    </a:lnTo>
                    <a:lnTo>
                      <a:pt x="245" y="108"/>
                    </a:lnTo>
                    <a:lnTo>
                      <a:pt x="245" y="108"/>
                    </a:lnTo>
                    <a:lnTo>
                      <a:pt x="248" y="107"/>
                    </a:lnTo>
                    <a:lnTo>
                      <a:pt x="248" y="107"/>
                    </a:lnTo>
                    <a:close/>
                    <a:moveTo>
                      <a:pt x="126" y="193"/>
                    </a:moveTo>
                    <a:lnTo>
                      <a:pt x="126" y="193"/>
                    </a:lnTo>
                    <a:lnTo>
                      <a:pt x="114" y="191"/>
                    </a:lnTo>
                    <a:lnTo>
                      <a:pt x="102" y="187"/>
                    </a:lnTo>
                    <a:lnTo>
                      <a:pt x="93" y="182"/>
                    </a:lnTo>
                    <a:lnTo>
                      <a:pt x="83" y="174"/>
                    </a:lnTo>
                    <a:lnTo>
                      <a:pt x="75" y="166"/>
                    </a:lnTo>
                    <a:lnTo>
                      <a:pt x="70" y="155"/>
                    </a:lnTo>
                    <a:lnTo>
                      <a:pt x="66" y="143"/>
                    </a:lnTo>
                    <a:lnTo>
                      <a:pt x="64" y="131"/>
                    </a:lnTo>
                    <a:lnTo>
                      <a:pt x="64" y="131"/>
                    </a:lnTo>
                    <a:lnTo>
                      <a:pt x="66" y="119"/>
                    </a:lnTo>
                    <a:lnTo>
                      <a:pt x="70" y="107"/>
                    </a:lnTo>
                    <a:lnTo>
                      <a:pt x="75" y="97"/>
                    </a:lnTo>
                    <a:lnTo>
                      <a:pt x="83" y="88"/>
                    </a:lnTo>
                    <a:lnTo>
                      <a:pt x="93" y="80"/>
                    </a:lnTo>
                    <a:lnTo>
                      <a:pt x="102" y="74"/>
                    </a:lnTo>
                    <a:lnTo>
                      <a:pt x="114" y="70"/>
                    </a:lnTo>
                    <a:lnTo>
                      <a:pt x="126" y="70"/>
                    </a:lnTo>
                    <a:lnTo>
                      <a:pt x="126" y="70"/>
                    </a:lnTo>
                    <a:lnTo>
                      <a:pt x="139" y="70"/>
                    </a:lnTo>
                    <a:lnTo>
                      <a:pt x="151" y="74"/>
                    </a:lnTo>
                    <a:lnTo>
                      <a:pt x="161" y="80"/>
                    </a:lnTo>
                    <a:lnTo>
                      <a:pt x="170" y="88"/>
                    </a:lnTo>
                    <a:lnTo>
                      <a:pt x="178" y="97"/>
                    </a:lnTo>
                    <a:lnTo>
                      <a:pt x="183" y="107"/>
                    </a:lnTo>
                    <a:lnTo>
                      <a:pt x="187" y="119"/>
                    </a:lnTo>
                    <a:lnTo>
                      <a:pt x="188" y="131"/>
                    </a:lnTo>
                    <a:lnTo>
                      <a:pt x="188" y="131"/>
                    </a:lnTo>
                    <a:lnTo>
                      <a:pt x="187" y="143"/>
                    </a:lnTo>
                    <a:lnTo>
                      <a:pt x="183" y="155"/>
                    </a:lnTo>
                    <a:lnTo>
                      <a:pt x="178" y="166"/>
                    </a:lnTo>
                    <a:lnTo>
                      <a:pt x="170" y="174"/>
                    </a:lnTo>
                    <a:lnTo>
                      <a:pt x="161" y="182"/>
                    </a:lnTo>
                    <a:lnTo>
                      <a:pt x="151" y="187"/>
                    </a:lnTo>
                    <a:lnTo>
                      <a:pt x="139" y="191"/>
                    </a:lnTo>
                    <a:lnTo>
                      <a:pt x="126" y="193"/>
                    </a:lnTo>
                    <a:lnTo>
                      <a:pt x="126"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83" name="Freeform 161"/>
              <p:cNvSpPr>
                <a:spLocks noEditPoints="1"/>
              </p:cNvSpPr>
              <p:nvPr/>
            </p:nvSpPr>
            <p:spPr bwMode="auto">
              <a:xfrm>
                <a:off x="3236913" y="4249738"/>
                <a:ext cx="112713" cy="115888"/>
              </a:xfrm>
              <a:custGeom>
                <a:avLst/>
                <a:gdLst>
                  <a:gd name="T0" fmla="*/ 129 w 141"/>
                  <a:gd name="T1" fmla="*/ 85 h 146"/>
                  <a:gd name="T2" fmla="*/ 129 w 141"/>
                  <a:gd name="T3" fmla="*/ 62 h 146"/>
                  <a:gd name="T4" fmla="*/ 139 w 141"/>
                  <a:gd name="T5" fmla="*/ 60 h 146"/>
                  <a:gd name="T6" fmla="*/ 141 w 141"/>
                  <a:gd name="T7" fmla="*/ 54 h 146"/>
                  <a:gd name="T8" fmla="*/ 139 w 141"/>
                  <a:gd name="T9" fmla="*/ 46 h 146"/>
                  <a:gd name="T10" fmla="*/ 129 w 141"/>
                  <a:gd name="T11" fmla="*/ 29 h 146"/>
                  <a:gd name="T12" fmla="*/ 122 w 141"/>
                  <a:gd name="T13" fmla="*/ 22 h 146"/>
                  <a:gd name="T14" fmla="*/ 117 w 141"/>
                  <a:gd name="T15" fmla="*/ 22 h 146"/>
                  <a:gd name="T16" fmla="*/ 110 w 141"/>
                  <a:gd name="T17" fmla="*/ 29 h 146"/>
                  <a:gd name="T18" fmla="*/ 93 w 141"/>
                  <a:gd name="T19" fmla="*/ 10 h 146"/>
                  <a:gd name="T20" fmla="*/ 93 w 141"/>
                  <a:gd name="T21" fmla="*/ 8 h 146"/>
                  <a:gd name="T22" fmla="*/ 89 w 141"/>
                  <a:gd name="T23" fmla="*/ 3 h 146"/>
                  <a:gd name="T24" fmla="*/ 71 w 141"/>
                  <a:gd name="T25" fmla="*/ 0 h 146"/>
                  <a:gd name="T26" fmla="*/ 52 w 141"/>
                  <a:gd name="T27" fmla="*/ 3 h 146"/>
                  <a:gd name="T28" fmla="*/ 50 w 141"/>
                  <a:gd name="T29" fmla="*/ 4 h 146"/>
                  <a:gd name="T30" fmla="*/ 50 w 141"/>
                  <a:gd name="T31" fmla="*/ 10 h 146"/>
                  <a:gd name="T32" fmla="*/ 41 w 141"/>
                  <a:gd name="T33" fmla="*/ 22 h 146"/>
                  <a:gd name="T34" fmla="*/ 27 w 141"/>
                  <a:gd name="T35" fmla="*/ 23 h 146"/>
                  <a:gd name="T36" fmla="*/ 21 w 141"/>
                  <a:gd name="T37" fmla="*/ 21 h 146"/>
                  <a:gd name="T38" fmla="*/ 19 w 141"/>
                  <a:gd name="T39" fmla="*/ 22 h 146"/>
                  <a:gd name="T40" fmla="*/ 8 w 141"/>
                  <a:gd name="T41" fmla="*/ 37 h 146"/>
                  <a:gd name="T42" fmla="*/ 0 w 141"/>
                  <a:gd name="T43" fmla="*/ 54 h 146"/>
                  <a:gd name="T44" fmla="*/ 2 w 141"/>
                  <a:gd name="T45" fmla="*/ 60 h 146"/>
                  <a:gd name="T46" fmla="*/ 13 w 141"/>
                  <a:gd name="T47" fmla="*/ 62 h 146"/>
                  <a:gd name="T48" fmla="*/ 12 w 141"/>
                  <a:gd name="T49" fmla="*/ 73 h 146"/>
                  <a:gd name="T50" fmla="*/ 5 w 141"/>
                  <a:gd name="T51" fmla="*/ 87 h 146"/>
                  <a:gd name="T52" fmla="*/ 1 w 141"/>
                  <a:gd name="T53" fmla="*/ 89 h 146"/>
                  <a:gd name="T54" fmla="*/ 0 w 141"/>
                  <a:gd name="T55" fmla="*/ 93 h 146"/>
                  <a:gd name="T56" fmla="*/ 8 w 141"/>
                  <a:gd name="T57" fmla="*/ 110 h 146"/>
                  <a:gd name="T58" fmla="*/ 19 w 141"/>
                  <a:gd name="T59" fmla="*/ 124 h 146"/>
                  <a:gd name="T60" fmla="*/ 25 w 141"/>
                  <a:gd name="T61" fmla="*/ 126 h 146"/>
                  <a:gd name="T62" fmla="*/ 32 w 141"/>
                  <a:gd name="T63" fmla="*/ 118 h 146"/>
                  <a:gd name="T64" fmla="*/ 52 w 141"/>
                  <a:gd name="T65" fmla="*/ 130 h 146"/>
                  <a:gd name="T66" fmla="*/ 48 w 141"/>
                  <a:gd name="T67" fmla="*/ 139 h 146"/>
                  <a:gd name="T68" fmla="*/ 52 w 141"/>
                  <a:gd name="T69" fmla="*/ 145 h 146"/>
                  <a:gd name="T70" fmla="*/ 62 w 141"/>
                  <a:gd name="T71" fmla="*/ 146 h 146"/>
                  <a:gd name="T72" fmla="*/ 81 w 141"/>
                  <a:gd name="T73" fmla="*/ 146 h 146"/>
                  <a:gd name="T74" fmla="*/ 89 w 141"/>
                  <a:gd name="T75" fmla="*/ 145 h 146"/>
                  <a:gd name="T76" fmla="*/ 93 w 141"/>
                  <a:gd name="T77" fmla="*/ 139 h 146"/>
                  <a:gd name="T78" fmla="*/ 90 w 141"/>
                  <a:gd name="T79" fmla="*/ 130 h 146"/>
                  <a:gd name="T80" fmla="*/ 116 w 141"/>
                  <a:gd name="T81" fmla="*/ 124 h 146"/>
                  <a:gd name="T82" fmla="*/ 117 w 141"/>
                  <a:gd name="T83" fmla="*/ 126 h 146"/>
                  <a:gd name="T84" fmla="*/ 122 w 141"/>
                  <a:gd name="T85" fmla="*/ 124 h 146"/>
                  <a:gd name="T86" fmla="*/ 135 w 141"/>
                  <a:gd name="T87" fmla="*/ 110 h 146"/>
                  <a:gd name="T88" fmla="*/ 141 w 141"/>
                  <a:gd name="T89" fmla="*/ 93 h 146"/>
                  <a:gd name="T90" fmla="*/ 141 w 141"/>
                  <a:gd name="T91" fmla="*/ 89 h 146"/>
                  <a:gd name="T92" fmla="*/ 137 w 141"/>
                  <a:gd name="T93" fmla="*/ 87 h 146"/>
                  <a:gd name="T94" fmla="*/ 71 w 141"/>
                  <a:gd name="T95" fmla="*/ 110 h 146"/>
                  <a:gd name="T96" fmla="*/ 51 w 141"/>
                  <a:gd name="T97" fmla="*/ 103 h 146"/>
                  <a:gd name="T98" fmla="*/ 37 w 141"/>
                  <a:gd name="T99" fmla="*/ 88 h 146"/>
                  <a:gd name="T100" fmla="*/ 35 w 141"/>
                  <a:gd name="T101" fmla="*/ 73 h 146"/>
                  <a:gd name="T102" fmla="*/ 41 w 141"/>
                  <a:gd name="T103" fmla="*/ 53 h 146"/>
                  <a:gd name="T104" fmla="*/ 56 w 141"/>
                  <a:gd name="T105" fmla="*/ 41 h 146"/>
                  <a:gd name="T106" fmla="*/ 71 w 141"/>
                  <a:gd name="T107" fmla="*/ 38 h 146"/>
                  <a:gd name="T108" fmla="*/ 91 w 141"/>
                  <a:gd name="T109" fmla="*/ 44 h 146"/>
                  <a:gd name="T110" fmla="*/ 104 w 141"/>
                  <a:gd name="T111" fmla="*/ 60 h 146"/>
                  <a:gd name="T112" fmla="*/ 106 w 141"/>
                  <a:gd name="T113" fmla="*/ 73 h 146"/>
                  <a:gd name="T114" fmla="*/ 101 w 141"/>
                  <a:gd name="T115" fmla="*/ 93 h 146"/>
                  <a:gd name="T116" fmla="*/ 85 w 141"/>
                  <a:gd name="T117" fmla="*/ 107 h 146"/>
                  <a:gd name="T118" fmla="*/ 71 w 141"/>
                  <a:gd name="T119" fmla="*/ 11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1" h="146">
                    <a:moveTo>
                      <a:pt x="137" y="87"/>
                    </a:moveTo>
                    <a:lnTo>
                      <a:pt x="129" y="85"/>
                    </a:lnTo>
                    <a:lnTo>
                      <a:pt x="129" y="85"/>
                    </a:lnTo>
                    <a:lnTo>
                      <a:pt x="130" y="73"/>
                    </a:lnTo>
                    <a:lnTo>
                      <a:pt x="130" y="73"/>
                    </a:lnTo>
                    <a:lnTo>
                      <a:pt x="129" y="62"/>
                    </a:lnTo>
                    <a:lnTo>
                      <a:pt x="137" y="61"/>
                    </a:lnTo>
                    <a:lnTo>
                      <a:pt x="137" y="61"/>
                    </a:lnTo>
                    <a:lnTo>
                      <a:pt x="139" y="60"/>
                    </a:lnTo>
                    <a:lnTo>
                      <a:pt x="139" y="60"/>
                    </a:lnTo>
                    <a:lnTo>
                      <a:pt x="141" y="57"/>
                    </a:lnTo>
                    <a:lnTo>
                      <a:pt x="141" y="54"/>
                    </a:lnTo>
                    <a:lnTo>
                      <a:pt x="141" y="54"/>
                    </a:lnTo>
                    <a:lnTo>
                      <a:pt x="141" y="54"/>
                    </a:lnTo>
                    <a:lnTo>
                      <a:pt x="139" y="46"/>
                    </a:lnTo>
                    <a:lnTo>
                      <a:pt x="135" y="37"/>
                    </a:lnTo>
                    <a:lnTo>
                      <a:pt x="135" y="37"/>
                    </a:lnTo>
                    <a:lnTo>
                      <a:pt x="129" y="29"/>
                    </a:lnTo>
                    <a:lnTo>
                      <a:pt x="122" y="22"/>
                    </a:lnTo>
                    <a:lnTo>
                      <a:pt x="122" y="22"/>
                    </a:lnTo>
                    <a:lnTo>
                      <a:pt x="122" y="22"/>
                    </a:lnTo>
                    <a:lnTo>
                      <a:pt x="120" y="21"/>
                    </a:lnTo>
                    <a:lnTo>
                      <a:pt x="117" y="22"/>
                    </a:lnTo>
                    <a:lnTo>
                      <a:pt x="117" y="22"/>
                    </a:lnTo>
                    <a:lnTo>
                      <a:pt x="116" y="23"/>
                    </a:lnTo>
                    <a:lnTo>
                      <a:pt x="110" y="29"/>
                    </a:lnTo>
                    <a:lnTo>
                      <a:pt x="110" y="29"/>
                    </a:lnTo>
                    <a:lnTo>
                      <a:pt x="101" y="22"/>
                    </a:lnTo>
                    <a:lnTo>
                      <a:pt x="90" y="18"/>
                    </a:lnTo>
                    <a:lnTo>
                      <a:pt x="93" y="10"/>
                    </a:lnTo>
                    <a:lnTo>
                      <a:pt x="93" y="10"/>
                    </a:lnTo>
                    <a:lnTo>
                      <a:pt x="93" y="8"/>
                    </a:lnTo>
                    <a:lnTo>
                      <a:pt x="93" y="8"/>
                    </a:lnTo>
                    <a:lnTo>
                      <a:pt x="91" y="4"/>
                    </a:lnTo>
                    <a:lnTo>
                      <a:pt x="89" y="3"/>
                    </a:lnTo>
                    <a:lnTo>
                      <a:pt x="89" y="3"/>
                    </a:lnTo>
                    <a:lnTo>
                      <a:pt x="89" y="3"/>
                    </a:lnTo>
                    <a:lnTo>
                      <a:pt x="81" y="2"/>
                    </a:lnTo>
                    <a:lnTo>
                      <a:pt x="71" y="0"/>
                    </a:lnTo>
                    <a:lnTo>
                      <a:pt x="71" y="0"/>
                    </a:lnTo>
                    <a:lnTo>
                      <a:pt x="62" y="2"/>
                    </a:lnTo>
                    <a:lnTo>
                      <a:pt x="52" y="3"/>
                    </a:lnTo>
                    <a:lnTo>
                      <a:pt x="52" y="3"/>
                    </a:lnTo>
                    <a:lnTo>
                      <a:pt x="52" y="3"/>
                    </a:lnTo>
                    <a:lnTo>
                      <a:pt x="50" y="4"/>
                    </a:lnTo>
                    <a:lnTo>
                      <a:pt x="48" y="8"/>
                    </a:lnTo>
                    <a:lnTo>
                      <a:pt x="48" y="8"/>
                    </a:lnTo>
                    <a:lnTo>
                      <a:pt x="50" y="10"/>
                    </a:lnTo>
                    <a:lnTo>
                      <a:pt x="52" y="18"/>
                    </a:lnTo>
                    <a:lnTo>
                      <a:pt x="52" y="18"/>
                    </a:lnTo>
                    <a:lnTo>
                      <a:pt x="41" y="22"/>
                    </a:lnTo>
                    <a:lnTo>
                      <a:pt x="32" y="29"/>
                    </a:lnTo>
                    <a:lnTo>
                      <a:pt x="27" y="23"/>
                    </a:lnTo>
                    <a:lnTo>
                      <a:pt x="27" y="23"/>
                    </a:lnTo>
                    <a:lnTo>
                      <a:pt x="25" y="22"/>
                    </a:lnTo>
                    <a:lnTo>
                      <a:pt x="25" y="22"/>
                    </a:lnTo>
                    <a:lnTo>
                      <a:pt x="21" y="21"/>
                    </a:lnTo>
                    <a:lnTo>
                      <a:pt x="19" y="22"/>
                    </a:lnTo>
                    <a:lnTo>
                      <a:pt x="19" y="22"/>
                    </a:lnTo>
                    <a:lnTo>
                      <a:pt x="19" y="22"/>
                    </a:lnTo>
                    <a:lnTo>
                      <a:pt x="13" y="29"/>
                    </a:lnTo>
                    <a:lnTo>
                      <a:pt x="8" y="37"/>
                    </a:lnTo>
                    <a:lnTo>
                      <a:pt x="8" y="37"/>
                    </a:lnTo>
                    <a:lnTo>
                      <a:pt x="4" y="46"/>
                    </a:lnTo>
                    <a:lnTo>
                      <a:pt x="0" y="54"/>
                    </a:lnTo>
                    <a:lnTo>
                      <a:pt x="0" y="54"/>
                    </a:lnTo>
                    <a:lnTo>
                      <a:pt x="0" y="54"/>
                    </a:lnTo>
                    <a:lnTo>
                      <a:pt x="1" y="57"/>
                    </a:lnTo>
                    <a:lnTo>
                      <a:pt x="2" y="60"/>
                    </a:lnTo>
                    <a:lnTo>
                      <a:pt x="2" y="60"/>
                    </a:lnTo>
                    <a:lnTo>
                      <a:pt x="5" y="61"/>
                    </a:lnTo>
                    <a:lnTo>
                      <a:pt x="13" y="62"/>
                    </a:lnTo>
                    <a:lnTo>
                      <a:pt x="13" y="62"/>
                    </a:lnTo>
                    <a:lnTo>
                      <a:pt x="12" y="73"/>
                    </a:lnTo>
                    <a:lnTo>
                      <a:pt x="12" y="73"/>
                    </a:lnTo>
                    <a:lnTo>
                      <a:pt x="13" y="85"/>
                    </a:lnTo>
                    <a:lnTo>
                      <a:pt x="5" y="87"/>
                    </a:lnTo>
                    <a:lnTo>
                      <a:pt x="5" y="87"/>
                    </a:lnTo>
                    <a:lnTo>
                      <a:pt x="2" y="87"/>
                    </a:lnTo>
                    <a:lnTo>
                      <a:pt x="2" y="87"/>
                    </a:lnTo>
                    <a:lnTo>
                      <a:pt x="1" y="89"/>
                    </a:lnTo>
                    <a:lnTo>
                      <a:pt x="0" y="93"/>
                    </a:lnTo>
                    <a:lnTo>
                      <a:pt x="0" y="93"/>
                    </a:lnTo>
                    <a:lnTo>
                      <a:pt x="0" y="93"/>
                    </a:lnTo>
                    <a:lnTo>
                      <a:pt x="4" y="101"/>
                    </a:lnTo>
                    <a:lnTo>
                      <a:pt x="8" y="110"/>
                    </a:lnTo>
                    <a:lnTo>
                      <a:pt x="8" y="110"/>
                    </a:lnTo>
                    <a:lnTo>
                      <a:pt x="13" y="118"/>
                    </a:lnTo>
                    <a:lnTo>
                      <a:pt x="19" y="124"/>
                    </a:lnTo>
                    <a:lnTo>
                      <a:pt x="19" y="124"/>
                    </a:lnTo>
                    <a:lnTo>
                      <a:pt x="19" y="124"/>
                    </a:lnTo>
                    <a:lnTo>
                      <a:pt x="21" y="126"/>
                    </a:lnTo>
                    <a:lnTo>
                      <a:pt x="25" y="126"/>
                    </a:lnTo>
                    <a:lnTo>
                      <a:pt x="25" y="126"/>
                    </a:lnTo>
                    <a:lnTo>
                      <a:pt x="27" y="124"/>
                    </a:lnTo>
                    <a:lnTo>
                      <a:pt x="32" y="118"/>
                    </a:lnTo>
                    <a:lnTo>
                      <a:pt x="32" y="118"/>
                    </a:lnTo>
                    <a:lnTo>
                      <a:pt x="41" y="124"/>
                    </a:lnTo>
                    <a:lnTo>
                      <a:pt x="52" y="130"/>
                    </a:lnTo>
                    <a:lnTo>
                      <a:pt x="50" y="138"/>
                    </a:lnTo>
                    <a:lnTo>
                      <a:pt x="50" y="138"/>
                    </a:lnTo>
                    <a:lnTo>
                      <a:pt x="48" y="139"/>
                    </a:lnTo>
                    <a:lnTo>
                      <a:pt x="48" y="139"/>
                    </a:lnTo>
                    <a:lnTo>
                      <a:pt x="50" y="142"/>
                    </a:lnTo>
                    <a:lnTo>
                      <a:pt x="52" y="145"/>
                    </a:lnTo>
                    <a:lnTo>
                      <a:pt x="52" y="145"/>
                    </a:lnTo>
                    <a:lnTo>
                      <a:pt x="52" y="145"/>
                    </a:lnTo>
                    <a:lnTo>
                      <a:pt x="62" y="146"/>
                    </a:lnTo>
                    <a:lnTo>
                      <a:pt x="71" y="146"/>
                    </a:lnTo>
                    <a:lnTo>
                      <a:pt x="71" y="146"/>
                    </a:lnTo>
                    <a:lnTo>
                      <a:pt x="81" y="146"/>
                    </a:lnTo>
                    <a:lnTo>
                      <a:pt x="89" y="145"/>
                    </a:lnTo>
                    <a:lnTo>
                      <a:pt x="89" y="145"/>
                    </a:lnTo>
                    <a:lnTo>
                      <a:pt x="89" y="145"/>
                    </a:lnTo>
                    <a:lnTo>
                      <a:pt x="91" y="142"/>
                    </a:lnTo>
                    <a:lnTo>
                      <a:pt x="93" y="139"/>
                    </a:lnTo>
                    <a:lnTo>
                      <a:pt x="93" y="139"/>
                    </a:lnTo>
                    <a:lnTo>
                      <a:pt x="93" y="138"/>
                    </a:lnTo>
                    <a:lnTo>
                      <a:pt x="90" y="130"/>
                    </a:lnTo>
                    <a:lnTo>
                      <a:pt x="90" y="130"/>
                    </a:lnTo>
                    <a:lnTo>
                      <a:pt x="101" y="124"/>
                    </a:lnTo>
                    <a:lnTo>
                      <a:pt x="110" y="118"/>
                    </a:lnTo>
                    <a:lnTo>
                      <a:pt x="116" y="124"/>
                    </a:lnTo>
                    <a:lnTo>
                      <a:pt x="116" y="124"/>
                    </a:lnTo>
                    <a:lnTo>
                      <a:pt x="117" y="126"/>
                    </a:lnTo>
                    <a:lnTo>
                      <a:pt x="117" y="126"/>
                    </a:lnTo>
                    <a:lnTo>
                      <a:pt x="120" y="126"/>
                    </a:lnTo>
                    <a:lnTo>
                      <a:pt x="122" y="124"/>
                    </a:lnTo>
                    <a:lnTo>
                      <a:pt x="122" y="124"/>
                    </a:lnTo>
                    <a:lnTo>
                      <a:pt x="122" y="124"/>
                    </a:lnTo>
                    <a:lnTo>
                      <a:pt x="129" y="118"/>
                    </a:lnTo>
                    <a:lnTo>
                      <a:pt x="135" y="110"/>
                    </a:lnTo>
                    <a:lnTo>
                      <a:pt x="135" y="110"/>
                    </a:lnTo>
                    <a:lnTo>
                      <a:pt x="139" y="101"/>
                    </a:lnTo>
                    <a:lnTo>
                      <a:pt x="141" y="93"/>
                    </a:lnTo>
                    <a:lnTo>
                      <a:pt x="141" y="93"/>
                    </a:lnTo>
                    <a:lnTo>
                      <a:pt x="141" y="93"/>
                    </a:lnTo>
                    <a:lnTo>
                      <a:pt x="141" y="89"/>
                    </a:lnTo>
                    <a:lnTo>
                      <a:pt x="139" y="87"/>
                    </a:lnTo>
                    <a:lnTo>
                      <a:pt x="139" y="87"/>
                    </a:lnTo>
                    <a:lnTo>
                      <a:pt x="137" y="87"/>
                    </a:lnTo>
                    <a:lnTo>
                      <a:pt x="137" y="87"/>
                    </a:lnTo>
                    <a:close/>
                    <a:moveTo>
                      <a:pt x="71" y="110"/>
                    </a:moveTo>
                    <a:lnTo>
                      <a:pt x="71" y="110"/>
                    </a:lnTo>
                    <a:lnTo>
                      <a:pt x="63" y="108"/>
                    </a:lnTo>
                    <a:lnTo>
                      <a:pt x="56" y="107"/>
                    </a:lnTo>
                    <a:lnTo>
                      <a:pt x="51" y="103"/>
                    </a:lnTo>
                    <a:lnTo>
                      <a:pt x="46" y="99"/>
                    </a:lnTo>
                    <a:lnTo>
                      <a:pt x="41" y="93"/>
                    </a:lnTo>
                    <a:lnTo>
                      <a:pt x="37" y="88"/>
                    </a:lnTo>
                    <a:lnTo>
                      <a:pt x="36" y="81"/>
                    </a:lnTo>
                    <a:lnTo>
                      <a:pt x="35" y="73"/>
                    </a:lnTo>
                    <a:lnTo>
                      <a:pt x="35" y="73"/>
                    </a:lnTo>
                    <a:lnTo>
                      <a:pt x="36" y="66"/>
                    </a:lnTo>
                    <a:lnTo>
                      <a:pt x="37" y="60"/>
                    </a:lnTo>
                    <a:lnTo>
                      <a:pt x="41" y="53"/>
                    </a:lnTo>
                    <a:lnTo>
                      <a:pt x="46" y="48"/>
                    </a:lnTo>
                    <a:lnTo>
                      <a:pt x="51" y="44"/>
                    </a:lnTo>
                    <a:lnTo>
                      <a:pt x="56" y="41"/>
                    </a:lnTo>
                    <a:lnTo>
                      <a:pt x="63" y="38"/>
                    </a:lnTo>
                    <a:lnTo>
                      <a:pt x="71" y="38"/>
                    </a:lnTo>
                    <a:lnTo>
                      <a:pt x="71" y="38"/>
                    </a:lnTo>
                    <a:lnTo>
                      <a:pt x="78" y="38"/>
                    </a:lnTo>
                    <a:lnTo>
                      <a:pt x="85" y="41"/>
                    </a:lnTo>
                    <a:lnTo>
                      <a:pt x="91" y="44"/>
                    </a:lnTo>
                    <a:lnTo>
                      <a:pt x="97" y="48"/>
                    </a:lnTo>
                    <a:lnTo>
                      <a:pt x="101" y="53"/>
                    </a:lnTo>
                    <a:lnTo>
                      <a:pt x="104" y="60"/>
                    </a:lnTo>
                    <a:lnTo>
                      <a:pt x="106" y="66"/>
                    </a:lnTo>
                    <a:lnTo>
                      <a:pt x="106" y="73"/>
                    </a:lnTo>
                    <a:lnTo>
                      <a:pt x="106" y="73"/>
                    </a:lnTo>
                    <a:lnTo>
                      <a:pt x="106" y="81"/>
                    </a:lnTo>
                    <a:lnTo>
                      <a:pt x="104" y="88"/>
                    </a:lnTo>
                    <a:lnTo>
                      <a:pt x="101" y="93"/>
                    </a:lnTo>
                    <a:lnTo>
                      <a:pt x="97" y="99"/>
                    </a:lnTo>
                    <a:lnTo>
                      <a:pt x="91" y="103"/>
                    </a:lnTo>
                    <a:lnTo>
                      <a:pt x="85" y="107"/>
                    </a:lnTo>
                    <a:lnTo>
                      <a:pt x="78" y="108"/>
                    </a:lnTo>
                    <a:lnTo>
                      <a:pt x="71" y="110"/>
                    </a:lnTo>
                    <a:lnTo>
                      <a:pt x="71"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84" name="Freeform 162"/>
              <p:cNvSpPr>
                <a:spLocks/>
              </p:cNvSpPr>
              <p:nvPr/>
            </p:nvSpPr>
            <p:spPr bwMode="auto">
              <a:xfrm>
                <a:off x="3119438" y="4373563"/>
                <a:ext cx="55563" cy="55563"/>
              </a:xfrm>
              <a:custGeom>
                <a:avLst/>
                <a:gdLst>
                  <a:gd name="T0" fmla="*/ 35 w 70"/>
                  <a:gd name="T1" fmla="*/ 0 h 70"/>
                  <a:gd name="T2" fmla="*/ 35 w 70"/>
                  <a:gd name="T3" fmla="*/ 0 h 70"/>
                  <a:gd name="T4" fmla="*/ 29 w 70"/>
                  <a:gd name="T5" fmla="*/ 1 h 70"/>
                  <a:gd name="T6" fmla="*/ 22 w 70"/>
                  <a:gd name="T7" fmla="*/ 2 h 70"/>
                  <a:gd name="T8" fmla="*/ 17 w 70"/>
                  <a:gd name="T9" fmla="*/ 7 h 70"/>
                  <a:gd name="T10" fmla="*/ 11 w 70"/>
                  <a:gd name="T11" fmla="*/ 11 h 70"/>
                  <a:gd name="T12" fmla="*/ 7 w 70"/>
                  <a:gd name="T13" fmla="*/ 16 h 70"/>
                  <a:gd name="T14" fmla="*/ 3 w 70"/>
                  <a:gd name="T15" fmla="*/ 21 h 70"/>
                  <a:gd name="T16" fmla="*/ 2 w 70"/>
                  <a:gd name="T17" fmla="*/ 28 h 70"/>
                  <a:gd name="T18" fmla="*/ 0 w 70"/>
                  <a:gd name="T19" fmla="*/ 35 h 70"/>
                  <a:gd name="T20" fmla="*/ 0 w 70"/>
                  <a:gd name="T21" fmla="*/ 35 h 70"/>
                  <a:gd name="T22" fmla="*/ 2 w 70"/>
                  <a:gd name="T23" fmla="*/ 42 h 70"/>
                  <a:gd name="T24" fmla="*/ 3 w 70"/>
                  <a:gd name="T25" fmla="*/ 48 h 70"/>
                  <a:gd name="T26" fmla="*/ 7 w 70"/>
                  <a:gd name="T27" fmla="*/ 55 h 70"/>
                  <a:gd name="T28" fmla="*/ 11 w 70"/>
                  <a:gd name="T29" fmla="*/ 59 h 70"/>
                  <a:gd name="T30" fmla="*/ 17 w 70"/>
                  <a:gd name="T31" fmla="*/ 64 h 70"/>
                  <a:gd name="T32" fmla="*/ 22 w 70"/>
                  <a:gd name="T33" fmla="*/ 67 h 70"/>
                  <a:gd name="T34" fmla="*/ 29 w 70"/>
                  <a:gd name="T35" fmla="*/ 69 h 70"/>
                  <a:gd name="T36" fmla="*/ 35 w 70"/>
                  <a:gd name="T37" fmla="*/ 70 h 70"/>
                  <a:gd name="T38" fmla="*/ 35 w 70"/>
                  <a:gd name="T39" fmla="*/ 70 h 70"/>
                  <a:gd name="T40" fmla="*/ 42 w 70"/>
                  <a:gd name="T41" fmla="*/ 69 h 70"/>
                  <a:gd name="T42" fmla="*/ 49 w 70"/>
                  <a:gd name="T43" fmla="*/ 67 h 70"/>
                  <a:gd name="T44" fmla="*/ 54 w 70"/>
                  <a:gd name="T45" fmla="*/ 64 h 70"/>
                  <a:gd name="T46" fmla="*/ 60 w 70"/>
                  <a:gd name="T47" fmla="*/ 59 h 70"/>
                  <a:gd name="T48" fmla="*/ 64 w 70"/>
                  <a:gd name="T49" fmla="*/ 55 h 70"/>
                  <a:gd name="T50" fmla="*/ 68 w 70"/>
                  <a:gd name="T51" fmla="*/ 48 h 70"/>
                  <a:gd name="T52" fmla="*/ 69 w 70"/>
                  <a:gd name="T53" fmla="*/ 42 h 70"/>
                  <a:gd name="T54" fmla="*/ 70 w 70"/>
                  <a:gd name="T55" fmla="*/ 35 h 70"/>
                  <a:gd name="T56" fmla="*/ 70 w 70"/>
                  <a:gd name="T57" fmla="*/ 35 h 70"/>
                  <a:gd name="T58" fmla="*/ 69 w 70"/>
                  <a:gd name="T59" fmla="*/ 28 h 70"/>
                  <a:gd name="T60" fmla="*/ 68 w 70"/>
                  <a:gd name="T61" fmla="*/ 21 h 70"/>
                  <a:gd name="T62" fmla="*/ 64 w 70"/>
                  <a:gd name="T63" fmla="*/ 16 h 70"/>
                  <a:gd name="T64" fmla="*/ 60 w 70"/>
                  <a:gd name="T65" fmla="*/ 11 h 70"/>
                  <a:gd name="T66" fmla="*/ 54 w 70"/>
                  <a:gd name="T67" fmla="*/ 7 h 70"/>
                  <a:gd name="T68" fmla="*/ 49 w 70"/>
                  <a:gd name="T69" fmla="*/ 2 h 70"/>
                  <a:gd name="T70" fmla="*/ 42 w 70"/>
                  <a:gd name="T71" fmla="*/ 1 h 70"/>
                  <a:gd name="T72" fmla="*/ 35 w 70"/>
                  <a:gd name="T73" fmla="*/ 0 h 70"/>
                  <a:gd name="T74" fmla="*/ 35 w 70"/>
                  <a:gd name="T7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70">
                    <a:moveTo>
                      <a:pt x="35" y="0"/>
                    </a:moveTo>
                    <a:lnTo>
                      <a:pt x="35" y="0"/>
                    </a:lnTo>
                    <a:lnTo>
                      <a:pt x="29" y="1"/>
                    </a:lnTo>
                    <a:lnTo>
                      <a:pt x="22" y="2"/>
                    </a:lnTo>
                    <a:lnTo>
                      <a:pt x="17" y="7"/>
                    </a:lnTo>
                    <a:lnTo>
                      <a:pt x="11" y="11"/>
                    </a:lnTo>
                    <a:lnTo>
                      <a:pt x="7" y="16"/>
                    </a:lnTo>
                    <a:lnTo>
                      <a:pt x="3" y="21"/>
                    </a:lnTo>
                    <a:lnTo>
                      <a:pt x="2" y="28"/>
                    </a:lnTo>
                    <a:lnTo>
                      <a:pt x="0" y="35"/>
                    </a:lnTo>
                    <a:lnTo>
                      <a:pt x="0" y="35"/>
                    </a:lnTo>
                    <a:lnTo>
                      <a:pt x="2" y="42"/>
                    </a:lnTo>
                    <a:lnTo>
                      <a:pt x="3" y="48"/>
                    </a:lnTo>
                    <a:lnTo>
                      <a:pt x="7" y="55"/>
                    </a:lnTo>
                    <a:lnTo>
                      <a:pt x="11" y="59"/>
                    </a:lnTo>
                    <a:lnTo>
                      <a:pt x="17" y="64"/>
                    </a:lnTo>
                    <a:lnTo>
                      <a:pt x="22" y="67"/>
                    </a:lnTo>
                    <a:lnTo>
                      <a:pt x="29" y="69"/>
                    </a:lnTo>
                    <a:lnTo>
                      <a:pt x="35" y="70"/>
                    </a:lnTo>
                    <a:lnTo>
                      <a:pt x="35" y="70"/>
                    </a:lnTo>
                    <a:lnTo>
                      <a:pt x="42" y="69"/>
                    </a:lnTo>
                    <a:lnTo>
                      <a:pt x="49" y="67"/>
                    </a:lnTo>
                    <a:lnTo>
                      <a:pt x="54" y="64"/>
                    </a:lnTo>
                    <a:lnTo>
                      <a:pt x="60" y="59"/>
                    </a:lnTo>
                    <a:lnTo>
                      <a:pt x="64" y="55"/>
                    </a:lnTo>
                    <a:lnTo>
                      <a:pt x="68" y="48"/>
                    </a:lnTo>
                    <a:lnTo>
                      <a:pt x="69" y="42"/>
                    </a:lnTo>
                    <a:lnTo>
                      <a:pt x="70" y="35"/>
                    </a:lnTo>
                    <a:lnTo>
                      <a:pt x="70" y="35"/>
                    </a:lnTo>
                    <a:lnTo>
                      <a:pt x="69" y="28"/>
                    </a:lnTo>
                    <a:lnTo>
                      <a:pt x="68" y="21"/>
                    </a:lnTo>
                    <a:lnTo>
                      <a:pt x="64" y="16"/>
                    </a:lnTo>
                    <a:lnTo>
                      <a:pt x="60" y="11"/>
                    </a:lnTo>
                    <a:lnTo>
                      <a:pt x="54" y="7"/>
                    </a:lnTo>
                    <a:lnTo>
                      <a:pt x="49" y="2"/>
                    </a:lnTo>
                    <a:lnTo>
                      <a:pt x="42" y="1"/>
                    </a:lnTo>
                    <a:lnTo>
                      <a:pt x="35" y="0"/>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sp>
            <p:nvSpPr>
              <p:cNvPr id="185" name="Freeform 163"/>
              <p:cNvSpPr>
                <a:spLocks/>
              </p:cNvSpPr>
              <p:nvPr/>
            </p:nvSpPr>
            <p:spPr bwMode="auto">
              <a:xfrm>
                <a:off x="3279775" y="4294188"/>
                <a:ext cx="26988" cy="26988"/>
              </a:xfrm>
              <a:custGeom>
                <a:avLst/>
                <a:gdLst>
                  <a:gd name="T0" fmla="*/ 16 w 32"/>
                  <a:gd name="T1" fmla="*/ 0 h 32"/>
                  <a:gd name="T2" fmla="*/ 16 w 32"/>
                  <a:gd name="T3" fmla="*/ 0 h 32"/>
                  <a:gd name="T4" fmla="*/ 9 w 32"/>
                  <a:gd name="T5" fmla="*/ 1 h 32"/>
                  <a:gd name="T6" fmla="*/ 4 w 32"/>
                  <a:gd name="T7" fmla="*/ 5 h 32"/>
                  <a:gd name="T8" fmla="*/ 1 w 32"/>
                  <a:gd name="T9" fmla="*/ 11 h 32"/>
                  <a:gd name="T10" fmla="*/ 0 w 32"/>
                  <a:gd name="T11" fmla="*/ 16 h 32"/>
                  <a:gd name="T12" fmla="*/ 0 w 32"/>
                  <a:gd name="T13" fmla="*/ 16 h 32"/>
                  <a:gd name="T14" fmla="*/ 1 w 32"/>
                  <a:gd name="T15" fmla="*/ 23 h 32"/>
                  <a:gd name="T16" fmla="*/ 4 w 32"/>
                  <a:gd name="T17" fmla="*/ 28 h 32"/>
                  <a:gd name="T18" fmla="*/ 9 w 32"/>
                  <a:gd name="T19" fmla="*/ 31 h 32"/>
                  <a:gd name="T20" fmla="*/ 16 w 32"/>
                  <a:gd name="T21" fmla="*/ 32 h 32"/>
                  <a:gd name="T22" fmla="*/ 16 w 32"/>
                  <a:gd name="T23" fmla="*/ 32 h 32"/>
                  <a:gd name="T24" fmla="*/ 22 w 32"/>
                  <a:gd name="T25" fmla="*/ 31 h 32"/>
                  <a:gd name="T26" fmla="*/ 27 w 32"/>
                  <a:gd name="T27" fmla="*/ 28 h 32"/>
                  <a:gd name="T28" fmla="*/ 31 w 32"/>
                  <a:gd name="T29" fmla="*/ 23 h 32"/>
                  <a:gd name="T30" fmla="*/ 32 w 32"/>
                  <a:gd name="T31" fmla="*/ 16 h 32"/>
                  <a:gd name="T32" fmla="*/ 32 w 32"/>
                  <a:gd name="T33" fmla="*/ 16 h 32"/>
                  <a:gd name="T34" fmla="*/ 31 w 32"/>
                  <a:gd name="T35" fmla="*/ 11 h 32"/>
                  <a:gd name="T36" fmla="*/ 27 w 32"/>
                  <a:gd name="T37" fmla="*/ 5 h 32"/>
                  <a:gd name="T38" fmla="*/ 22 w 32"/>
                  <a:gd name="T39" fmla="*/ 1 h 32"/>
                  <a:gd name="T40" fmla="*/ 16 w 32"/>
                  <a:gd name="T41" fmla="*/ 0 h 32"/>
                  <a:gd name="T42" fmla="*/ 16 w 32"/>
                  <a:gd name="T4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32">
                    <a:moveTo>
                      <a:pt x="16" y="0"/>
                    </a:moveTo>
                    <a:lnTo>
                      <a:pt x="16" y="0"/>
                    </a:lnTo>
                    <a:lnTo>
                      <a:pt x="9" y="1"/>
                    </a:lnTo>
                    <a:lnTo>
                      <a:pt x="4" y="5"/>
                    </a:lnTo>
                    <a:lnTo>
                      <a:pt x="1" y="11"/>
                    </a:lnTo>
                    <a:lnTo>
                      <a:pt x="0" y="16"/>
                    </a:lnTo>
                    <a:lnTo>
                      <a:pt x="0" y="16"/>
                    </a:lnTo>
                    <a:lnTo>
                      <a:pt x="1" y="23"/>
                    </a:lnTo>
                    <a:lnTo>
                      <a:pt x="4" y="28"/>
                    </a:lnTo>
                    <a:lnTo>
                      <a:pt x="9" y="31"/>
                    </a:lnTo>
                    <a:lnTo>
                      <a:pt x="16" y="32"/>
                    </a:lnTo>
                    <a:lnTo>
                      <a:pt x="16" y="32"/>
                    </a:lnTo>
                    <a:lnTo>
                      <a:pt x="22" y="31"/>
                    </a:lnTo>
                    <a:lnTo>
                      <a:pt x="27" y="28"/>
                    </a:lnTo>
                    <a:lnTo>
                      <a:pt x="31" y="23"/>
                    </a:lnTo>
                    <a:lnTo>
                      <a:pt x="32" y="16"/>
                    </a:lnTo>
                    <a:lnTo>
                      <a:pt x="32" y="16"/>
                    </a:lnTo>
                    <a:lnTo>
                      <a:pt x="31" y="11"/>
                    </a:lnTo>
                    <a:lnTo>
                      <a:pt x="27" y="5"/>
                    </a:lnTo>
                    <a:lnTo>
                      <a:pt x="22" y="1"/>
                    </a:lnTo>
                    <a:lnTo>
                      <a:pt x="16"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676767"/>
                  </a:solidFill>
                  <a:latin typeface="Arial"/>
                </a:endParaRPr>
              </a:p>
            </p:txBody>
          </p:sp>
        </p:grpSp>
      </p:grpSp>
      <p:sp>
        <p:nvSpPr>
          <p:cNvPr id="191" name="Rounded Rectangle 191"/>
          <p:cNvSpPr/>
          <p:nvPr/>
        </p:nvSpPr>
        <p:spPr>
          <a:xfrm>
            <a:off x="5697392" y="3840511"/>
            <a:ext cx="766703" cy="415497"/>
          </a:xfrm>
          <a:prstGeom prst="rect">
            <a:avLst/>
          </a:prstGeom>
          <a:noFill/>
        </p:spPr>
        <p:txBody>
          <a:bodyPr wrap="square" lIns="68583" tIns="34292" rIns="68583" bIns="34292" rtlCol="0" anchor="b">
            <a:spAutoFit/>
          </a:bodyPr>
          <a:lstStyle/>
          <a:p>
            <a:r>
              <a:rPr lang="en-US" sz="1100" dirty="0">
                <a:solidFill>
                  <a:srgbClr val="2968AF"/>
                </a:solidFill>
                <a:latin typeface="Arial"/>
              </a:rPr>
              <a:t>Roaming User</a:t>
            </a:r>
          </a:p>
        </p:txBody>
      </p:sp>
      <p:grpSp>
        <p:nvGrpSpPr>
          <p:cNvPr id="192" name="Group 191"/>
          <p:cNvGrpSpPr/>
          <p:nvPr/>
        </p:nvGrpSpPr>
        <p:grpSpPr>
          <a:xfrm>
            <a:off x="5386843" y="3723191"/>
            <a:ext cx="353118" cy="485009"/>
            <a:chOff x="2427200" y="7613831"/>
            <a:chExt cx="1051866" cy="1445113"/>
          </a:xfrm>
          <a:solidFill>
            <a:srgbClr val="2968AF"/>
          </a:solidFill>
        </p:grpSpPr>
        <p:grpSp>
          <p:nvGrpSpPr>
            <p:cNvPr id="193" name="Group 192"/>
            <p:cNvGrpSpPr/>
            <p:nvPr/>
          </p:nvGrpSpPr>
          <p:grpSpPr>
            <a:xfrm rot="19897570">
              <a:off x="3208484" y="7613831"/>
              <a:ext cx="270582" cy="541943"/>
              <a:chOff x="4630738" y="4803775"/>
              <a:chExt cx="2216150" cy="4438650"/>
            </a:xfrm>
            <a:grpFill/>
          </p:grpSpPr>
          <p:sp>
            <p:nvSpPr>
              <p:cNvPr id="195"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2968AF"/>
                  </a:solidFill>
                  <a:latin typeface="Arial"/>
                </a:endParaRPr>
              </a:p>
            </p:txBody>
          </p:sp>
          <p:sp>
            <p:nvSpPr>
              <p:cNvPr id="196"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a:solidFill>
                    <a:srgbClr val="2968AF"/>
                  </a:solidFill>
                  <a:latin typeface="Arial"/>
                </a:endParaRPr>
              </a:p>
            </p:txBody>
          </p:sp>
        </p:grpSp>
        <p:sp>
          <p:nvSpPr>
            <p:cNvPr id="194" name="Freeform 193"/>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sz="1200">
                <a:solidFill>
                  <a:srgbClr val="2968AF"/>
                </a:solidFill>
                <a:latin typeface="Arial"/>
              </a:endParaRPr>
            </a:p>
          </p:txBody>
        </p:sp>
      </p:grpSp>
      <p:sp>
        <p:nvSpPr>
          <p:cNvPr id="225" name="Freeform 6"/>
          <p:cNvSpPr>
            <a:spLocks noEditPoints="1"/>
          </p:cNvSpPr>
          <p:nvPr/>
        </p:nvSpPr>
        <p:spPr bwMode="auto">
          <a:xfrm>
            <a:off x="3050438" y="1826756"/>
            <a:ext cx="216525" cy="448275"/>
          </a:xfrm>
          <a:custGeom>
            <a:avLst/>
            <a:gdLst>
              <a:gd name="T0" fmla="*/ 87 w 103"/>
              <a:gd name="T1" fmla="*/ 0 h 184"/>
              <a:gd name="T2" fmla="*/ 16 w 103"/>
              <a:gd name="T3" fmla="*/ 0 h 184"/>
              <a:gd name="T4" fmla="*/ 0 w 103"/>
              <a:gd name="T5" fmla="*/ 17 h 184"/>
              <a:gd name="T6" fmla="*/ 0 w 103"/>
              <a:gd name="T7" fmla="*/ 168 h 184"/>
              <a:gd name="T8" fmla="*/ 16 w 103"/>
              <a:gd name="T9" fmla="*/ 184 h 184"/>
              <a:gd name="T10" fmla="*/ 87 w 103"/>
              <a:gd name="T11" fmla="*/ 184 h 184"/>
              <a:gd name="T12" fmla="*/ 103 w 103"/>
              <a:gd name="T13" fmla="*/ 168 h 184"/>
              <a:gd name="T14" fmla="*/ 103 w 103"/>
              <a:gd name="T15" fmla="*/ 17 h 184"/>
              <a:gd name="T16" fmla="*/ 87 w 103"/>
              <a:gd name="T17" fmla="*/ 0 h 184"/>
              <a:gd name="T18" fmla="*/ 51 w 103"/>
              <a:gd name="T19" fmla="*/ 175 h 184"/>
              <a:gd name="T20" fmla="*/ 42 w 103"/>
              <a:gd name="T21" fmla="*/ 165 h 184"/>
              <a:gd name="T22" fmla="*/ 51 w 103"/>
              <a:gd name="T23" fmla="*/ 155 h 184"/>
              <a:gd name="T24" fmla="*/ 61 w 103"/>
              <a:gd name="T25" fmla="*/ 165 h 184"/>
              <a:gd name="T26" fmla="*/ 51 w 103"/>
              <a:gd name="T27" fmla="*/ 175 h 184"/>
              <a:gd name="T28" fmla="*/ 92 w 103"/>
              <a:gd name="T29" fmla="*/ 147 h 184"/>
              <a:gd name="T30" fmla="*/ 11 w 103"/>
              <a:gd name="T31" fmla="*/ 147 h 184"/>
              <a:gd name="T32" fmla="*/ 11 w 103"/>
              <a:gd name="T33" fmla="*/ 27 h 184"/>
              <a:gd name="T34" fmla="*/ 92 w 103"/>
              <a:gd name="T35" fmla="*/ 27 h 184"/>
              <a:gd name="T36" fmla="*/ 92 w 103"/>
              <a:gd name="T3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84">
                <a:moveTo>
                  <a:pt x="87" y="0"/>
                </a:moveTo>
                <a:cubicBezTo>
                  <a:pt x="16" y="0"/>
                  <a:pt x="16" y="0"/>
                  <a:pt x="16" y="0"/>
                </a:cubicBezTo>
                <a:cubicBezTo>
                  <a:pt x="7" y="0"/>
                  <a:pt x="0" y="8"/>
                  <a:pt x="0" y="17"/>
                </a:cubicBezTo>
                <a:cubicBezTo>
                  <a:pt x="0" y="168"/>
                  <a:pt x="0" y="168"/>
                  <a:pt x="0" y="168"/>
                </a:cubicBezTo>
                <a:cubicBezTo>
                  <a:pt x="0" y="177"/>
                  <a:pt x="7" y="184"/>
                  <a:pt x="16" y="184"/>
                </a:cubicBezTo>
                <a:cubicBezTo>
                  <a:pt x="87" y="184"/>
                  <a:pt x="87" y="184"/>
                  <a:pt x="87" y="184"/>
                </a:cubicBezTo>
                <a:cubicBezTo>
                  <a:pt x="96" y="184"/>
                  <a:pt x="103" y="177"/>
                  <a:pt x="103" y="168"/>
                </a:cubicBezTo>
                <a:cubicBezTo>
                  <a:pt x="103" y="17"/>
                  <a:pt x="103" y="17"/>
                  <a:pt x="103" y="17"/>
                </a:cubicBezTo>
                <a:cubicBezTo>
                  <a:pt x="103" y="8"/>
                  <a:pt x="96" y="0"/>
                  <a:pt x="87" y="0"/>
                </a:cubicBezTo>
                <a:moveTo>
                  <a:pt x="51" y="175"/>
                </a:moveTo>
                <a:cubicBezTo>
                  <a:pt x="46" y="175"/>
                  <a:pt x="42" y="171"/>
                  <a:pt x="42" y="165"/>
                </a:cubicBezTo>
                <a:cubicBezTo>
                  <a:pt x="42" y="160"/>
                  <a:pt x="46" y="155"/>
                  <a:pt x="51" y="155"/>
                </a:cubicBezTo>
                <a:cubicBezTo>
                  <a:pt x="57" y="155"/>
                  <a:pt x="61" y="160"/>
                  <a:pt x="61" y="165"/>
                </a:cubicBezTo>
                <a:cubicBezTo>
                  <a:pt x="61" y="171"/>
                  <a:pt x="57" y="175"/>
                  <a:pt x="51" y="175"/>
                </a:cubicBezTo>
                <a:moveTo>
                  <a:pt x="92" y="147"/>
                </a:moveTo>
                <a:cubicBezTo>
                  <a:pt x="11" y="147"/>
                  <a:pt x="11" y="147"/>
                  <a:pt x="11" y="147"/>
                </a:cubicBezTo>
                <a:cubicBezTo>
                  <a:pt x="11" y="27"/>
                  <a:pt x="11" y="27"/>
                  <a:pt x="11" y="27"/>
                </a:cubicBezTo>
                <a:cubicBezTo>
                  <a:pt x="92" y="27"/>
                  <a:pt x="92" y="27"/>
                  <a:pt x="92" y="27"/>
                </a:cubicBezTo>
                <a:lnTo>
                  <a:pt x="92" y="147"/>
                </a:lnTo>
                <a:close/>
              </a:path>
            </a:pathLst>
          </a:custGeom>
          <a:solidFill>
            <a:schemeClr val="accent6"/>
          </a:solidFill>
          <a:ln>
            <a:solidFill>
              <a:schemeClr val="accent6"/>
            </a:solidFill>
          </a:ln>
        </p:spPr>
        <p:txBody>
          <a:bodyPr vert="horz" wrap="square" lIns="91436" tIns="45718" rIns="91436" bIns="45718" numCol="1" anchor="t" anchorCtr="0" compatLnSpc="1">
            <a:prstTxWarp prst="textNoShape">
              <a:avLst/>
            </a:prstTxWarp>
          </a:bodyPr>
          <a:lstStyle/>
          <a:p>
            <a:endParaRPr lang="en-US" sz="1100">
              <a:solidFill>
                <a:srgbClr val="000000"/>
              </a:solidFill>
              <a:cs typeface="新細明體"/>
            </a:endParaRPr>
          </a:p>
        </p:txBody>
      </p:sp>
      <p:pic>
        <p:nvPicPr>
          <p:cNvPr id="226" name="Picture 225" descr="iTunesArtwork@2x.png"/>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386564" y="1786129"/>
            <a:ext cx="604950" cy="604950"/>
          </a:xfrm>
          <a:prstGeom prst="rect">
            <a:avLst/>
          </a:prstGeom>
          <a:effectLst/>
        </p:spPr>
      </p:pic>
      <p:cxnSp>
        <p:nvCxnSpPr>
          <p:cNvPr id="227" name="Straight Arrow Connector 226"/>
          <p:cNvCxnSpPr/>
          <p:nvPr/>
        </p:nvCxnSpPr>
        <p:spPr>
          <a:xfrm>
            <a:off x="3366989" y="2007245"/>
            <a:ext cx="1155103" cy="4385"/>
          </a:xfrm>
          <a:prstGeom prst="straightConnector1">
            <a:avLst/>
          </a:prstGeom>
          <a:ln w="38100">
            <a:solidFill>
              <a:schemeClr val="accent6"/>
            </a:solidFill>
            <a:tailEnd type="triangle" w="lg" len="med"/>
          </a:ln>
        </p:spPr>
        <p:style>
          <a:lnRef idx="1">
            <a:schemeClr val="accent1"/>
          </a:lnRef>
          <a:fillRef idx="0">
            <a:schemeClr val="accent1"/>
          </a:fillRef>
          <a:effectRef idx="0">
            <a:schemeClr val="accent1"/>
          </a:effectRef>
          <a:fontRef idx="minor">
            <a:schemeClr val="tx1"/>
          </a:fontRef>
        </p:style>
      </p:cxnSp>
      <p:sp>
        <p:nvSpPr>
          <p:cNvPr id="228" name="TextBox 227"/>
          <p:cNvSpPr txBox="1"/>
          <p:nvPr/>
        </p:nvSpPr>
        <p:spPr>
          <a:xfrm>
            <a:off x="3343600" y="2028390"/>
            <a:ext cx="571118" cy="415494"/>
          </a:xfrm>
          <a:prstGeom prst="rect">
            <a:avLst/>
          </a:prstGeom>
          <a:noFill/>
        </p:spPr>
        <p:txBody>
          <a:bodyPr wrap="square" lIns="68583" tIns="34292" rIns="68583" bIns="34292" rtlCol="0">
            <a:spAutoFit/>
          </a:bodyPr>
          <a:lstStyle/>
          <a:p>
            <a:r>
              <a:rPr lang="en-US" sz="1100" dirty="0">
                <a:solidFill>
                  <a:schemeClr val="accent6">
                    <a:lumMod val="75000"/>
                  </a:schemeClr>
                </a:solidFill>
                <a:latin typeface="Arial"/>
              </a:rPr>
              <a:t>Mobile </a:t>
            </a:r>
          </a:p>
          <a:p>
            <a:r>
              <a:rPr lang="en-US" sz="1100" dirty="0">
                <a:solidFill>
                  <a:schemeClr val="accent6">
                    <a:lumMod val="75000"/>
                  </a:schemeClr>
                </a:solidFill>
                <a:latin typeface="Arial"/>
              </a:rPr>
              <a:t>User</a:t>
            </a:r>
          </a:p>
        </p:txBody>
      </p:sp>
      <p:sp>
        <p:nvSpPr>
          <p:cNvPr id="229" name="TextBox 228"/>
          <p:cNvSpPr txBox="1"/>
          <p:nvPr/>
        </p:nvSpPr>
        <p:spPr>
          <a:xfrm>
            <a:off x="2317474" y="2384468"/>
            <a:ext cx="713981" cy="588618"/>
          </a:xfrm>
          <a:prstGeom prst="rect">
            <a:avLst/>
          </a:prstGeom>
          <a:noFill/>
        </p:spPr>
        <p:txBody>
          <a:bodyPr wrap="square" lIns="68583" tIns="34292" rIns="68583" bIns="34292" rtlCol="0">
            <a:spAutoFit/>
          </a:bodyPr>
          <a:lstStyle/>
          <a:p>
            <a:pPr algn="ctr"/>
            <a:r>
              <a:rPr lang="en-US" sz="1100" dirty="0">
                <a:solidFill>
                  <a:schemeClr val="accent6">
                    <a:lumMod val="75000"/>
                  </a:schemeClr>
                </a:solidFill>
                <a:latin typeface="Arial"/>
              </a:rPr>
              <a:t>CWS </a:t>
            </a:r>
          </a:p>
          <a:p>
            <a:pPr algn="ctr"/>
            <a:r>
              <a:rPr lang="en-US" sz="1100" dirty="0">
                <a:solidFill>
                  <a:schemeClr val="accent6">
                    <a:lumMod val="75000"/>
                  </a:schemeClr>
                </a:solidFill>
                <a:latin typeface="Arial"/>
              </a:rPr>
              <a:t>Browser</a:t>
            </a:r>
          </a:p>
          <a:p>
            <a:endParaRPr lang="en-US" sz="1100" dirty="0">
              <a:solidFill>
                <a:schemeClr val="accent6">
                  <a:lumMod val="75000"/>
                </a:schemeClr>
              </a:solidFill>
              <a:latin typeface="Arial"/>
            </a:endParaRPr>
          </a:p>
        </p:txBody>
      </p:sp>
      <p:sp>
        <p:nvSpPr>
          <p:cNvPr id="10" name="TextBox 9"/>
          <p:cNvSpPr txBox="1"/>
          <p:nvPr/>
        </p:nvSpPr>
        <p:spPr>
          <a:xfrm>
            <a:off x="591181" y="4282414"/>
            <a:ext cx="2160155" cy="261610"/>
          </a:xfrm>
          <a:prstGeom prst="rect">
            <a:avLst/>
          </a:prstGeom>
          <a:noFill/>
        </p:spPr>
        <p:txBody>
          <a:bodyPr wrap="square" rtlCol="0">
            <a:spAutoFit/>
          </a:bodyPr>
          <a:lstStyle/>
          <a:p>
            <a:r>
              <a:rPr lang="en-US" altLang="ja-JP" sz="1100" dirty="0" smtClean="0"/>
              <a:t>WSA 9.2〜</a:t>
            </a:r>
            <a:endParaRPr lang="en-US" sz="1100" dirty="0"/>
          </a:p>
        </p:txBody>
      </p:sp>
    </p:spTree>
    <p:extLst>
      <p:ext uri="{BB962C8B-B14F-4D97-AF65-F5344CB8AC3E}">
        <p14:creationId xmlns:p14="http://schemas.microsoft.com/office/powerpoint/2010/main" val="1810764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1"/>
                                        </p:tgtEl>
                                        <p:attrNameLst>
                                          <p:attrName>style.visibility</p:attrName>
                                        </p:attrNameLst>
                                      </p:cBhvr>
                                      <p:to>
                                        <p:strVal val="visible"/>
                                      </p:to>
                                    </p:set>
                                    <p:animEffect transition="in" filter="fade">
                                      <p:cBhvr>
                                        <p:cTn id="11" dur="500"/>
                                        <p:tgtEl>
                                          <p:spTgt spid="111"/>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500"/>
                                        <p:tgtEl>
                                          <p:spTgt spid="58"/>
                                        </p:tgtEl>
                                      </p:cBhvr>
                                    </p:animEffect>
                                  </p:childTnLst>
                                </p:cTn>
                              </p:par>
                              <p:par>
                                <p:cTn id="18" presetID="10" presetClass="entr" presetSubtype="0" fill="hold" nodeType="withEffect">
                                  <p:stCondLst>
                                    <p:cond delay="0"/>
                                  </p:stCondLst>
                                  <p:childTnLst>
                                    <p:set>
                                      <p:cBhvr>
                                        <p:cTn id="19" dur="1" fill="hold">
                                          <p:stCondLst>
                                            <p:cond delay="0"/>
                                          </p:stCondLst>
                                        </p:cTn>
                                        <p:tgtEl>
                                          <p:spTgt spid="59"/>
                                        </p:tgtEl>
                                        <p:attrNameLst>
                                          <p:attrName>style.visibility</p:attrName>
                                        </p:attrNameLst>
                                      </p:cBhvr>
                                      <p:to>
                                        <p:strVal val="visible"/>
                                      </p:to>
                                    </p:set>
                                    <p:animEffect transition="in" filter="fade">
                                      <p:cBhvr>
                                        <p:cTn id="20" dur="500"/>
                                        <p:tgtEl>
                                          <p:spTgt spid="59"/>
                                        </p:tgtEl>
                                      </p:cBhvr>
                                    </p:animEffect>
                                  </p:childTnLst>
                                </p:cTn>
                              </p:par>
                              <p:par>
                                <p:cTn id="21" presetID="10"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childTnLst>
                          </p:cTn>
                        </p:par>
                        <p:par>
                          <p:cTn id="24" fill="hold">
                            <p:stCondLst>
                              <p:cond delay="1000"/>
                            </p:stCondLst>
                            <p:childTnLst>
                              <p:par>
                                <p:cTn id="25" presetID="22" presetClass="entr" presetSubtype="2"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wipe(right)">
                                      <p:cBhvr>
                                        <p:cTn id="27" dur="500"/>
                                        <p:tgtEl>
                                          <p:spTgt spid="31"/>
                                        </p:tgtEl>
                                      </p:cBhvr>
                                    </p:animEffect>
                                  </p:childTnLst>
                                </p:cTn>
                              </p:par>
                              <p:par>
                                <p:cTn id="28" presetID="22" presetClass="entr" presetSubtype="2" fill="hold" nodeType="withEffect">
                                  <p:stCondLst>
                                    <p:cond delay="0"/>
                                  </p:stCondLst>
                                  <p:childTnLst>
                                    <p:set>
                                      <p:cBhvr>
                                        <p:cTn id="29" dur="1" fill="hold">
                                          <p:stCondLst>
                                            <p:cond delay="0"/>
                                          </p:stCondLst>
                                        </p:cTn>
                                        <p:tgtEl>
                                          <p:spTgt spid="80"/>
                                        </p:tgtEl>
                                        <p:attrNameLst>
                                          <p:attrName>style.visibility</p:attrName>
                                        </p:attrNameLst>
                                      </p:cBhvr>
                                      <p:to>
                                        <p:strVal val="visible"/>
                                      </p:to>
                                    </p:set>
                                    <p:animEffect transition="in" filter="wipe(right)">
                                      <p:cBhvr>
                                        <p:cTn id="30" dur="500"/>
                                        <p:tgtEl>
                                          <p:spTgt spid="80"/>
                                        </p:tgtEl>
                                      </p:cBhvr>
                                    </p:animEffect>
                                  </p:childTnLst>
                                </p:cTn>
                              </p:par>
                              <p:par>
                                <p:cTn id="31" presetID="10" presetClass="entr" presetSubtype="0" fill="hold" nodeType="withEffect">
                                  <p:stCondLst>
                                    <p:cond delay="4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nodeType="withEffect">
                                  <p:stCondLst>
                                    <p:cond delay="40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childTnLst>
                          </p:cTn>
                        </p:par>
                        <p:par>
                          <p:cTn id="37" fill="hold">
                            <p:stCondLst>
                              <p:cond delay="1900"/>
                            </p:stCondLst>
                            <p:childTnLst>
                              <p:par>
                                <p:cTn id="38" presetID="22" presetClass="entr" presetSubtype="8" fill="hold" nodeType="after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wipe(left)">
                                      <p:cBhvr>
                                        <p:cTn id="40" dur="500"/>
                                        <p:tgtEl>
                                          <p:spTgt spid="29"/>
                                        </p:tgtEl>
                                      </p:cBhvr>
                                    </p:animEffect>
                                  </p:childTnLst>
                                </p:cTn>
                              </p:par>
                            </p:childTnLst>
                          </p:cTn>
                        </p:par>
                        <p:par>
                          <p:cTn id="41" fill="hold">
                            <p:stCondLst>
                              <p:cond delay="2400"/>
                            </p:stCondLst>
                            <p:childTnLst>
                              <p:par>
                                <p:cTn id="42" presetID="10" presetClass="entr" presetSubtype="0" fill="hold" nodeType="afterEffect">
                                  <p:stCondLst>
                                    <p:cond delay="0"/>
                                  </p:stCondLst>
                                  <p:childTnLst>
                                    <p:set>
                                      <p:cBhvr>
                                        <p:cTn id="43" dur="1" fill="hold">
                                          <p:stCondLst>
                                            <p:cond delay="0"/>
                                          </p:stCondLst>
                                        </p:cTn>
                                        <p:tgtEl>
                                          <p:spTgt spid="14"/>
                                        </p:tgtEl>
                                        <p:attrNameLst>
                                          <p:attrName>style.visibility</p:attrName>
                                        </p:attrNameLst>
                                      </p:cBhvr>
                                      <p:to>
                                        <p:strVal val="visible"/>
                                      </p:to>
                                    </p:set>
                                    <p:animEffect transition="in" filter="fade">
                                      <p:cBhvr>
                                        <p:cTn id="44" dur="500"/>
                                        <p:tgtEl>
                                          <p:spTgt spid="14"/>
                                        </p:tgtEl>
                                      </p:cBhvr>
                                    </p:animEffect>
                                  </p:childTnLst>
                                </p:cTn>
                              </p:par>
                              <p:par>
                                <p:cTn id="45" presetID="10" presetClass="entr" presetSubtype="0" fill="hold" nodeType="with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fade">
                                      <p:cBhvr>
                                        <p:cTn id="47" dur="500"/>
                                        <p:tgtEl>
                                          <p:spTgt spid="2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16"/>
                                        </p:tgtEl>
                                        <p:attrNameLst>
                                          <p:attrName>style.visibility</p:attrName>
                                        </p:attrNameLst>
                                      </p:cBhvr>
                                      <p:to>
                                        <p:strVal val="visible"/>
                                      </p:to>
                                    </p:set>
                                    <p:animEffect transition="in" filter="fade">
                                      <p:cBhvr>
                                        <p:cTn id="52" dur="500"/>
                                        <p:tgtEl>
                                          <p:spTgt spid="116"/>
                                        </p:tgtEl>
                                      </p:cBhvr>
                                    </p:animEffect>
                                  </p:childTnLst>
                                </p:cTn>
                              </p:par>
                              <p:par>
                                <p:cTn id="53" presetID="10" presetClass="entr" presetSubtype="0" fill="hold" grpId="1" nodeType="withEffect">
                                  <p:stCondLst>
                                    <p:cond delay="0"/>
                                  </p:stCondLst>
                                  <p:childTnLst>
                                    <p:set>
                                      <p:cBhvr>
                                        <p:cTn id="54" dur="1" fill="hold">
                                          <p:stCondLst>
                                            <p:cond delay="0"/>
                                          </p:stCondLst>
                                        </p:cTn>
                                        <p:tgtEl>
                                          <p:spTgt spid="104"/>
                                        </p:tgtEl>
                                        <p:attrNameLst>
                                          <p:attrName>style.visibility</p:attrName>
                                        </p:attrNameLst>
                                      </p:cBhvr>
                                      <p:to>
                                        <p:strVal val="visible"/>
                                      </p:to>
                                    </p:set>
                                    <p:animEffect transition="in" filter="fade">
                                      <p:cBhvr>
                                        <p:cTn id="55" dur="500"/>
                                        <p:tgtEl>
                                          <p:spTgt spid="104"/>
                                        </p:tgtEl>
                                      </p:cBhvr>
                                    </p:animEffect>
                                  </p:childTnLst>
                                </p:cTn>
                              </p:par>
                              <p:par>
                                <p:cTn id="56" presetID="10" presetClass="entr" presetSubtype="0" fill="hold" nodeType="withEffect">
                                  <p:stCondLst>
                                    <p:cond delay="0"/>
                                  </p:stCondLst>
                                  <p:childTnLst>
                                    <p:set>
                                      <p:cBhvr>
                                        <p:cTn id="57" dur="1" fill="hold">
                                          <p:stCondLst>
                                            <p:cond delay="0"/>
                                          </p:stCondLst>
                                        </p:cTn>
                                        <p:tgtEl>
                                          <p:spTgt spid="116"/>
                                        </p:tgtEl>
                                        <p:attrNameLst>
                                          <p:attrName>style.visibility</p:attrName>
                                        </p:attrNameLst>
                                      </p:cBhvr>
                                      <p:to>
                                        <p:strVal val="visible"/>
                                      </p:to>
                                    </p:set>
                                    <p:animEffect transition="in" filter="fade">
                                      <p:cBhvr>
                                        <p:cTn id="58" dur="500"/>
                                        <p:tgtEl>
                                          <p:spTgt spid="116"/>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par>
                                <p:cTn id="63" presetID="10" presetClass="entr" presetSubtype="0" fill="hold" nodeType="withEffect">
                                  <p:stCondLst>
                                    <p:cond delay="0"/>
                                  </p:stCondLst>
                                  <p:childTnLst>
                                    <p:set>
                                      <p:cBhvr>
                                        <p:cTn id="64" dur="1" fill="hold">
                                          <p:stCondLst>
                                            <p:cond delay="0"/>
                                          </p:stCondLst>
                                        </p:cTn>
                                        <p:tgtEl>
                                          <p:spTgt spid="19"/>
                                        </p:tgtEl>
                                        <p:attrNameLst>
                                          <p:attrName>style.visibility</p:attrName>
                                        </p:attrNameLst>
                                      </p:cBhvr>
                                      <p:to>
                                        <p:strVal val="visible"/>
                                      </p:to>
                                    </p:set>
                                    <p:animEffect transition="in" filter="fade">
                                      <p:cBhvr>
                                        <p:cTn id="65" dur="500"/>
                                        <p:tgtEl>
                                          <p:spTgt spid="19"/>
                                        </p:tgtEl>
                                      </p:cBhvr>
                                    </p:animEffect>
                                  </p:childTnLst>
                                </p:cTn>
                              </p:par>
                            </p:childTnLst>
                          </p:cTn>
                        </p:par>
                        <p:par>
                          <p:cTn id="66" fill="hold">
                            <p:stCondLst>
                              <p:cond delay="1000"/>
                            </p:stCondLst>
                            <p:childTnLst>
                              <p:par>
                                <p:cTn id="67" presetID="22" presetClass="entr" presetSubtype="4" fill="hold" nodeType="after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wipe(down)">
                                      <p:cBhvr>
                                        <p:cTn id="69" dur="500"/>
                                        <p:tgtEl>
                                          <p:spTgt spid="11"/>
                                        </p:tgtEl>
                                      </p:cBhvr>
                                    </p:animEffect>
                                  </p:childTnLst>
                                </p:cTn>
                              </p:par>
                            </p:childTnLst>
                          </p:cTn>
                        </p:par>
                        <p:par>
                          <p:cTn id="70" fill="hold">
                            <p:stCondLst>
                              <p:cond delay="1500"/>
                            </p:stCondLst>
                            <p:childTnLst>
                              <p:par>
                                <p:cTn id="71" presetID="10" presetClass="entr" presetSubtype="0" fill="hold" nodeType="afterEffect">
                                  <p:stCondLst>
                                    <p:cond delay="0"/>
                                  </p:stCondLst>
                                  <p:childTnLst>
                                    <p:set>
                                      <p:cBhvr>
                                        <p:cTn id="72" dur="1" fill="hold">
                                          <p:stCondLst>
                                            <p:cond delay="0"/>
                                          </p:stCondLst>
                                        </p:cTn>
                                        <p:tgtEl>
                                          <p:spTgt spid="7"/>
                                        </p:tgtEl>
                                        <p:attrNameLst>
                                          <p:attrName>style.visibility</p:attrName>
                                        </p:attrNameLst>
                                      </p:cBhvr>
                                      <p:to>
                                        <p:strVal val="visible"/>
                                      </p:to>
                                    </p:set>
                                    <p:animEffect transition="in" filter="fade">
                                      <p:cBhvr>
                                        <p:cTn id="73" dur="500"/>
                                        <p:tgtEl>
                                          <p:spTgt spid="7"/>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nodeType="clickEffect">
                                  <p:stCondLst>
                                    <p:cond delay="0"/>
                                  </p:stCondLst>
                                  <p:childTnLst>
                                    <p:set>
                                      <p:cBhvr>
                                        <p:cTn id="77" dur="1" fill="hold">
                                          <p:stCondLst>
                                            <p:cond delay="0"/>
                                          </p:stCondLst>
                                        </p:cTn>
                                        <p:tgtEl>
                                          <p:spTgt spid="156"/>
                                        </p:tgtEl>
                                        <p:attrNameLst>
                                          <p:attrName>style.visibility</p:attrName>
                                        </p:attrNameLst>
                                      </p:cBhvr>
                                      <p:to>
                                        <p:strVal val="visible"/>
                                      </p:to>
                                    </p:set>
                                    <p:animEffect transition="in" filter="fade">
                                      <p:cBhvr>
                                        <p:cTn id="78" dur="500"/>
                                        <p:tgtEl>
                                          <p:spTgt spid="156"/>
                                        </p:tgtEl>
                                      </p:cBhvr>
                                    </p:animEffect>
                                  </p:childTnLst>
                                </p:cTn>
                              </p:par>
                            </p:childTnLst>
                          </p:cTn>
                        </p:par>
                        <p:par>
                          <p:cTn id="79" fill="hold">
                            <p:stCondLst>
                              <p:cond delay="500"/>
                            </p:stCondLst>
                            <p:childTnLst>
                              <p:par>
                                <p:cTn id="80" presetID="22" presetClass="entr" presetSubtype="4" fill="hold" nodeType="afterEffect">
                                  <p:stCondLst>
                                    <p:cond delay="0"/>
                                  </p:stCondLst>
                                  <p:childTnLst>
                                    <p:set>
                                      <p:cBhvr>
                                        <p:cTn id="81" dur="1" fill="hold">
                                          <p:stCondLst>
                                            <p:cond delay="0"/>
                                          </p:stCondLst>
                                        </p:cTn>
                                        <p:tgtEl>
                                          <p:spTgt spid="21"/>
                                        </p:tgtEl>
                                        <p:attrNameLst>
                                          <p:attrName>style.visibility</p:attrName>
                                        </p:attrNameLst>
                                      </p:cBhvr>
                                      <p:to>
                                        <p:strVal val="visible"/>
                                      </p:to>
                                    </p:set>
                                    <p:animEffect transition="in" filter="wipe(down)">
                                      <p:cBhvr>
                                        <p:cTn id="82" dur="500"/>
                                        <p:tgtEl>
                                          <p:spTgt spid="21"/>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104"/>
                                        </p:tgtEl>
                                        <p:attrNameLst>
                                          <p:attrName>style.visibility</p:attrName>
                                        </p:attrNameLst>
                                      </p:cBhvr>
                                      <p:to>
                                        <p:strVal val="visible"/>
                                      </p:to>
                                    </p:set>
                                    <p:animEffect transition="in" filter="fade">
                                      <p:cBhvr>
                                        <p:cTn id="85" dur="500"/>
                                        <p:tgtEl>
                                          <p:spTgt spid="10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36"/>
                                        </p:tgtEl>
                                        <p:attrNameLst>
                                          <p:attrName>style.visibility</p:attrName>
                                        </p:attrNameLst>
                                      </p:cBhvr>
                                      <p:to>
                                        <p:strVal val="visible"/>
                                      </p:to>
                                    </p:set>
                                    <p:animEffect transition="in" filter="fade">
                                      <p:cBhvr>
                                        <p:cTn id="88" dur="500"/>
                                        <p:tgtEl>
                                          <p:spTgt spid="136"/>
                                        </p:tgtEl>
                                      </p:cBhvr>
                                    </p:animEffect>
                                  </p:childTnLst>
                                </p:cTn>
                              </p:par>
                              <p:par>
                                <p:cTn id="89" presetID="10" presetClass="entr" presetSubtype="0" fill="hold" nodeType="withEffect">
                                  <p:stCondLst>
                                    <p:cond delay="0"/>
                                  </p:stCondLst>
                                  <p:childTnLst>
                                    <p:set>
                                      <p:cBhvr>
                                        <p:cTn id="90" dur="1" fill="hold">
                                          <p:stCondLst>
                                            <p:cond delay="0"/>
                                          </p:stCondLst>
                                        </p:cTn>
                                        <p:tgtEl>
                                          <p:spTgt spid="137"/>
                                        </p:tgtEl>
                                        <p:attrNameLst>
                                          <p:attrName>style.visibility</p:attrName>
                                        </p:attrNameLst>
                                      </p:cBhvr>
                                      <p:to>
                                        <p:strVal val="visible"/>
                                      </p:to>
                                    </p:set>
                                    <p:animEffect transition="in" filter="fade">
                                      <p:cBhvr>
                                        <p:cTn id="91" dur="500"/>
                                        <p:tgtEl>
                                          <p:spTgt spid="137"/>
                                        </p:tgtEl>
                                      </p:cBhvr>
                                    </p:animEffect>
                                  </p:childTnLst>
                                </p:cTn>
                              </p:par>
                              <p:par>
                                <p:cTn id="92" presetID="22" presetClass="entr" presetSubtype="4" fill="hold" nodeType="withEffect">
                                  <p:stCondLst>
                                    <p:cond delay="0"/>
                                  </p:stCondLst>
                                  <p:childTnLst>
                                    <p:set>
                                      <p:cBhvr>
                                        <p:cTn id="93" dur="1" fill="hold">
                                          <p:stCondLst>
                                            <p:cond delay="0"/>
                                          </p:stCondLst>
                                        </p:cTn>
                                        <p:tgtEl>
                                          <p:spTgt spid="131"/>
                                        </p:tgtEl>
                                        <p:attrNameLst>
                                          <p:attrName>style.visibility</p:attrName>
                                        </p:attrNameLst>
                                      </p:cBhvr>
                                      <p:to>
                                        <p:strVal val="visible"/>
                                      </p:to>
                                    </p:set>
                                    <p:animEffect transition="in" filter="wipe(down)">
                                      <p:cBhvr>
                                        <p:cTn id="94" dur="500"/>
                                        <p:tgtEl>
                                          <p:spTgt spid="131"/>
                                        </p:tgtEl>
                                      </p:cBhvr>
                                    </p:animEffect>
                                  </p:childTnLst>
                                </p:cTn>
                              </p:par>
                              <p:par>
                                <p:cTn id="95" presetID="10" presetClass="entr" presetSubtype="0" fill="hold" nodeType="withEffect">
                                  <p:stCondLst>
                                    <p:cond delay="0"/>
                                  </p:stCondLst>
                                  <p:childTnLst>
                                    <p:set>
                                      <p:cBhvr>
                                        <p:cTn id="96" dur="1" fill="hold">
                                          <p:stCondLst>
                                            <p:cond delay="0"/>
                                          </p:stCondLst>
                                        </p:cTn>
                                        <p:tgtEl>
                                          <p:spTgt spid="150"/>
                                        </p:tgtEl>
                                        <p:attrNameLst>
                                          <p:attrName>style.visibility</p:attrName>
                                        </p:attrNameLst>
                                      </p:cBhvr>
                                      <p:to>
                                        <p:strVal val="visible"/>
                                      </p:to>
                                    </p:set>
                                    <p:animEffect transition="in" filter="fade">
                                      <p:cBhvr>
                                        <p:cTn id="97" dur="500"/>
                                        <p:tgtEl>
                                          <p:spTgt spid="150"/>
                                        </p:tgtEl>
                                      </p:cBhvr>
                                    </p:animEffect>
                                  </p:childTnLst>
                                </p:cTn>
                              </p:par>
                              <p:par>
                                <p:cTn id="98" presetID="10" presetClass="entr" presetSubtype="0" fill="hold" grpId="1" nodeType="withEffect">
                                  <p:stCondLst>
                                    <p:cond delay="0"/>
                                  </p:stCondLst>
                                  <p:childTnLst>
                                    <p:set>
                                      <p:cBhvr>
                                        <p:cTn id="99" dur="1" fill="hold">
                                          <p:stCondLst>
                                            <p:cond delay="0"/>
                                          </p:stCondLst>
                                        </p:cTn>
                                        <p:tgtEl>
                                          <p:spTgt spid="149"/>
                                        </p:tgtEl>
                                        <p:attrNameLst>
                                          <p:attrName>style.visibility</p:attrName>
                                        </p:attrNameLst>
                                      </p:cBhvr>
                                      <p:to>
                                        <p:strVal val="visible"/>
                                      </p:to>
                                    </p:set>
                                    <p:animEffect transition="in" filter="fade">
                                      <p:cBhvr>
                                        <p:cTn id="100" dur="500"/>
                                        <p:tgtEl>
                                          <p:spTgt spid="149"/>
                                        </p:tgtEl>
                                      </p:cBhvr>
                                    </p:animEffect>
                                  </p:childTnLst>
                                </p:cTn>
                              </p:par>
                              <p:par>
                                <p:cTn id="101" presetID="10" presetClass="entr" presetSubtype="0" fill="hold" nodeType="withEffect">
                                  <p:stCondLst>
                                    <p:cond delay="0"/>
                                  </p:stCondLst>
                                  <p:childTnLst>
                                    <p:set>
                                      <p:cBhvr>
                                        <p:cTn id="102" dur="1" fill="hold">
                                          <p:stCondLst>
                                            <p:cond delay="0"/>
                                          </p:stCondLst>
                                        </p:cTn>
                                        <p:tgtEl>
                                          <p:spTgt spid="150"/>
                                        </p:tgtEl>
                                        <p:attrNameLst>
                                          <p:attrName>style.visibility</p:attrName>
                                        </p:attrNameLst>
                                      </p:cBhvr>
                                      <p:to>
                                        <p:strVal val="visible"/>
                                      </p:to>
                                    </p:set>
                                    <p:animEffect transition="in" filter="fade">
                                      <p:cBhvr>
                                        <p:cTn id="103" dur="500"/>
                                        <p:tgtEl>
                                          <p:spTgt spid="15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149"/>
                                        </p:tgtEl>
                                        <p:attrNameLst>
                                          <p:attrName>style.visibility</p:attrName>
                                        </p:attrNameLst>
                                      </p:cBhvr>
                                      <p:to>
                                        <p:strVal val="visible"/>
                                      </p:to>
                                    </p:set>
                                    <p:animEffect transition="in" filter="fade">
                                      <p:cBhvr>
                                        <p:cTn id="106" dur="500"/>
                                        <p:tgtEl>
                                          <p:spTgt spid="149"/>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55"/>
                                        </p:tgtEl>
                                        <p:attrNameLst>
                                          <p:attrName>style.visibility</p:attrName>
                                        </p:attrNameLst>
                                      </p:cBhvr>
                                      <p:to>
                                        <p:strVal val="visible"/>
                                      </p:to>
                                    </p:set>
                                    <p:animEffect transition="in" filter="fade">
                                      <p:cBhvr>
                                        <p:cTn id="109" dur="500"/>
                                        <p:tgtEl>
                                          <p:spTgt spid="155"/>
                                        </p:tgtEl>
                                      </p:cBhvr>
                                    </p:animEffect>
                                  </p:childTnLst>
                                </p:cTn>
                              </p:par>
                              <p:par>
                                <p:cTn id="110" presetID="10" presetClass="entr" presetSubtype="0" fill="hold" nodeType="withEffect">
                                  <p:stCondLst>
                                    <p:cond delay="0"/>
                                  </p:stCondLst>
                                  <p:childTnLst>
                                    <p:set>
                                      <p:cBhvr>
                                        <p:cTn id="111" dur="1" fill="hold">
                                          <p:stCondLst>
                                            <p:cond delay="0"/>
                                          </p:stCondLst>
                                        </p:cTn>
                                        <p:tgtEl>
                                          <p:spTgt spid="20"/>
                                        </p:tgtEl>
                                        <p:attrNameLst>
                                          <p:attrName>style.visibility</p:attrName>
                                        </p:attrNameLst>
                                      </p:cBhvr>
                                      <p:to>
                                        <p:strVal val="visible"/>
                                      </p:to>
                                    </p:set>
                                    <p:animEffect transition="in" filter="fade">
                                      <p:cBhvr>
                                        <p:cTn id="112" dur="500"/>
                                        <p:tgtEl>
                                          <p:spTgt spid="20"/>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21"/>
                                        </p:tgtEl>
                                        <p:attrNameLst>
                                          <p:attrName>style.visibility</p:attrName>
                                        </p:attrNameLst>
                                      </p:cBhvr>
                                      <p:to>
                                        <p:strVal val="visible"/>
                                      </p:to>
                                    </p:set>
                                    <p:animEffect transition="in" filter="fade">
                                      <p:cBhvr>
                                        <p:cTn id="115" dur="500"/>
                                        <p:tgtEl>
                                          <p:spTgt spid="121"/>
                                        </p:tgtEl>
                                      </p:cBhvr>
                                    </p:animEffect>
                                  </p:childTnLst>
                                </p:cTn>
                              </p:par>
                            </p:childTnLst>
                          </p:cTn>
                        </p:par>
                      </p:childTnLst>
                    </p:cTn>
                  </p:par>
                  <p:par>
                    <p:cTn id="116" fill="hold">
                      <p:stCondLst>
                        <p:cond delay="indefinite"/>
                      </p:stCondLst>
                      <p:childTnLst>
                        <p:par>
                          <p:cTn id="117" fill="hold">
                            <p:stCondLst>
                              <p:cond delay="0"/>
                            </p:stCondLst>
                            <p:childTnLst>
                              <p:par>
                                <p:cTn id="118" presetID="10" presetClass="entr" presetSubtype="0" fill="hold" grpId="0" nodeType="clickEffect">
                                  <p:stCondLst>
                                    <p:cond delay="0"/>
                                  </p:stCondLst>
                                  <p:childTnLst>
                                    <p:set>
                                      <p:cBhvr>
                                        <p:cTn id="119" dur="1" fill="hold">
                                          <p:stCondLst>
                                            <p:cond delay="0"/>
                                          </p:stCondLst>
                                        </p:cTn>
                                        <p:tgtEl>
                                          <p:spTgt spid="178"/>
                                        </p:tgtEl>
                                        <p:attrNameLst>
                                          <p:attrName>style.visibility</p:attrName>
                                        </p:attrNameLst>
                                      </p:cBhvr>
                                      <p:to>
                                        <p:strVal val="visible"/>
                                      </p:to>
                                    </p:set>
                                    <p:animEffect transition="in" filter="fade">
                                      <p:cBhvr>
                                        <p:cTn id="120" dur="500"/>
                                        <p:tgtEl>
                                          <p:spTgt spid="178"/>
                                        </p:tgtEl>
                                      </p:cBhvr>
                                    </p:animEffect>
                                  </p:childTnLst>
                                </p:cTn>
                              </p:par>
                              <p:par>
                                <p:cTn id="121" presetID="10" presetClass="entr" presetSubtype="0" fill="hold" nodeType="withEffect">
                                  <p:stCondLst>
                                    <p:cond delay="0"/>
                                  </p:stCondLst>
                                  <p:childTnLst>
                                    <p:set>
                                      <p:cBhvr>
                                        <p:cTn id="122" dur="1" fill="hold">
                                          <p:stCondLst>
                                            <p:cond delay="0"/>
                                          </p:stCondLst>
                                        </p:cTn>
                                        <p:tgtEl>
                                          <p:spTgt spid="179"/>
                                        </p:tgtEl>
                                        <p:attrNameLst>
                                          <p:attrName>style.visibility</p:attrName>
                                        </p:attrNameLst>
                                      </p:cBhvr>
                                      <p:to>
                                        <p:strVal val="visible"/>
                                      </p:to>
                                    </p:set>
                                    <p:animEffect transition="in" filter="fade">
                                      <p:cBhvr>
                                        <p:cTn id="123" dur="500"/>
                                        <p:tgtEl>
                                          <p:spTgt spid="179"/>
                                        </p:tgtEl>
                                      </p:cBhvr>
                                    </p:animEffect>
                                  </p:childTnLst>
                                </p:cTn>
                              </p:par>
                              <p:par>
                                <p:cTn id="124" presetID="22" presetClass="entr" presetSubtype="4" fill="hold" nodeType="withEffect">
                                  <p:stCondLst>
                                    <p:cond delay="0"/>
                                  </p:stCondLst>
                                  <p:childTnLst>
                                    <p:set>
                                      <p:cBhvr>
                                        <p:cTn id="125" dur="1" fill="hold">
                                          <p:stCondLst>
                                            <p:cond delay="0"/>
                                          </p:stCondLst>
                                        </p:cTn>
                                        <p:tgtEl>
                                          <p:spTgt spid="177"/>
                                        </p:tgtEl>
                                        <p:attrNameLst>
                                          <p:attrName>style.visibility</p:attrName>
                                        </p:attrNameLst>
                                      </p:cBhvr>
                                      <p:to>
                                        <p:strVal val="visible"/>
                                      </p:to>
                                    </p:set>
                                    <p:animEffect transition="in" filter="wipe(down)">
                                      <p:cBhvr>
                                        <p:cTn id="126" dur="500"/>
                                        <p:tgtEl>
                                          <p:spTgt spid="177"/>
                                        </p:tgtEl>
                                      </p:cBhvr>
                                    </p:animEffect>
                                  </p:childTnLst>
                                </p:cTn>
                              </p:par>
                              <p:par>
                                <p:cTn id="127" presetID="10" presetClass="entr" presetSubtype="0" fill="hold" nodeType="withEffect">
                                  <p:stCondLst>
                                    <p:cond delay="0"/>
                                  </p:stCondLst>
                                  <p:childTnLst>
                                    <p:set>
                                      <p:cBhvr>
                                        <p:cTn id="128" dur="1" fill="hold">
                                          <p:stCondLst>
                                            <p:cond delay="0"/>
                                          </p:stCondLst>
                                        </p:cTn>
                                        <p:tgtEl>
                                          <p:spTgt spid="192"/>
                                        </p:tgtEl>
                                        <p:attrNameLst>
                                          <p:attrName>style.visibility</p:attrName>
                                        </p:attrNameLst>
                                      </p:cBhvr>
                                      <p:to>
                                        <p:strVal val="visible"/>
                                      </p:to>
                                    </p:set>
                                    <p:animEffect transition="in" filter="fade">
                                      <p:cBhvr>
                                        <p:cTn id="129" dur="500"/>
                                        <p:tgtEl>
                                          <p:spTgt spid="192"/>
                                        </p:tgtEl>
                                      </p:cBhvr>
                                    </p:animEffect>
                                  </p:childTnLst>
                                </p:cTn>
                              </p:par>
                              <p:par>
                                <p:cTn id="130" presetID="10" presetClass="entr" presetSubtype="0" fill="hold" grpId="1" nodeType="withEffect">
                                  <p:stCondLst>
                                    <p:cond delay="0"/>
                                  </p:stCondLst>
                                  <p:childTnLst>
                                    <p:set>
                                      <p:cBhvr>
                                        <p:cTn id="131" dur="1" fill="hold">
                                          <p:stCondLst>
                                            <p:cond delay="0"/>
                                          </p:stCondLst>
                                        </p:cTn>
                                        <p:tgtEl>
                                          <p:spTgt spid="191"/>
                                        </p:tgtEl>
                                        <p:attrNameLst>
                                          <p:attrName>style.visibility</p:attrName>
                                        </p:attrNameLst>
                                      </p:cBhvr>
                                      <p:to>
                                        <p:strVal val="visible"/>
                                      </p:to>
                                    </p:set>
                                    <p:animEffect transition="in" filter="fade">
                                      <p:cBhvr>
                                        <p:cTn id="132" dur="500"/>
                                        <p:tgtEl>
                                          <p:spTgt spid="191"/>
                                        </p:tgtEl>
                                      </p:cBhvr>
                                    </p:animEffect>
                                  </p:childTnLst>
                                </p:cTn>
                              </p:par>
                              <p:par>
                                <p:cTn id="133" presetID="10" presetClass="entr" presetSubtype="0" fill="hold" nodeType="withEffect">
                                  <p:stCondLst>
                                    <p:cond delay="0"/>
                                  </p:stCondLst>
                                  <p:childTnLst>
                                    <p:set>
                                      <p:cBhvr>
                                        <p:cTn id="134" dur="1" fill="hold">
                                          <p:stCondLst>
                                            <p:cond delay="0"/>
                                          </p:stCondLst>
                                        </p:cTn>
                                        <p:tgtEl>
                                          <p:spTgt spid="192"/>
                                        </p:tgtEl>
                                        <p:attrNameLst>
                                          <p:attrName>style.visibility</p:attrName>
                                        </p:attrNameLst>
                                      </p:cBhvr>
                                      <p:to>
                                        <p:strVal val="visible"/>
                                      </p:to>
                                    </p:set>
                                    <p:animEffect transition="in" filter="fade">
                                      <p:cBhvr>
                                        <p:cTn id="135" dur="500"/>
                                        <p:tgtEl>
                                          <p:spTgt spid="192"/>
                                        </p:tgtEl>
                                      </p:cBhvr>
                                    </p:animEffect>
                                  </p:childTnLst>
                                </p:cTn>
                              </p:par>
                              <p:par>
                                <p:cTn id="136" presetID="10" presetClass="entr" presetSubtype="0" fill="hold" grpId="0" nodeType="withEffect">
                                  <p:stCondLst>
                                    <p:cond delay="0"/>
                                  </p:stCondLst>
                                  <p:childTnLst>
                                    <p:set>
                                      <p:cBhvr>
                                        <p:cTn id="137" dur="1" fill="hold">
                                          <p:stCondLst>
                                            <p:cond delay="0"/>
                                          </p:stCondLst>
                                        </p:cTn>
                                        <p:tgtEl>
                                          <p:spTgt spid="191"/>
                                        </p:tgtEl>
                                        <p:attrNameLst>
                                          <p:attrName>style.visibility</p:attrName>
                                        </p:attrNameLst>
                                      </p:cBhvr>
                                      <p:to>
                                        <p:strVal val="visible"/>
                                      </p:to>
                                    </p:set>
                                    <p:animEffect transition="in" filter="fade">
                                      <p:cBhvr>
                                        <p:cTn id="138" dur="500"/>
                                        <p:tgtEl>
                                          <p:spTgt spid="191"/>
                                        </p:tgtEl>
                                      </p:cBhvr>
                                    </p:animEffect>
                                  </p:childTnLst>
                                </p:cTn>
                              </p:par>
                              <p:par>
                                <p:cTn id="139" presetID="1" presetClass="entr" presetSubtype="0" fill="hold" grpId="0" nodeType="withEffect">
                                  <p:stCondLst>
                                    <p:cond delay="0"/>
                                  </p:stCondLst>
                                  <p:childTnLst>
                                    <p:set>
                                      <p:cBhvr>
                                        <p:cTn id="140" dur="1" fill="hold">
                                          <p:stCondLst>
                                            <p:cond delay="0"/>
                                          </p:stCondLst>
                                        </p:cTn>
                                        <p:tgtEl>
                                          <p:spTgt spid="225"/>
                                        </p:tgtEl>
                                        <p:attrNameLst>
                                          <p:attrName>style.visibility</p:attrName>
                                        </p:attrNameLst>
                                      </p:cBhvr>
                                      <p:to>
                                        <p:strVal val="visible"/>
                                      </p:to>
                                    </p:set>
                                  </p:childTnLst>
                                </p:cTn>
                              </p:par>
                            </p:childTnLst>
                          </p:cTn>
                        </p:par>
                      </p:childTnLst>
                    </p:cTn>
                  </p:par>
                  <p:par>
                    <p:cTn id="141" fill="hold">
                      <p:stCondLst>
                        <p:cond delay="indefinite"/>
                      </p:stCondLst>
                      <p:childTnLst>
                        <p:par>
                          <p:cTn id="142" fill="hold">
                            <p:stCondLst>
                              <p:cond delay="0"/>
                            </p:stCondLst>
                            <p:childTnLst>
                              <p:par>
                                <p:cTn id="143" presetID="53" presetClass="entr" presetSubtype="16" fill="hold" nodeType="clickEffect">
                                  <p:stCondLst>
                                    <p:cond delay="0"/>
                                  </p:stCondLst>
                                  <p:childTnLst>
                                    <p:set>
                                      <p:cBhvr>
                                        <p:cTn id="144" dur="1" fill="hold">
                                          <p:stCondLst>
                                            <p:cond delay="0"/>
                                          </p:stCondLst>
                                        </p:cTn>
                                        <p:tgtEl>
                                          <p:spTgt spid="226"/>
                                        </p:tgtEl>
                                        <p:attrNameLst>
                                          <p:attrName>style.visibility</p:attrName>
                                        </p:attrNameLst>
                                      </p:cBhvr>
                                      <p:to>
                                        <p:strVal val="visible"/>
                                      </p:to>
                                    </p:set>
                                    <p:anim calcmode="lin" valueType="num">
                                      <p:cBhvr>
                                        <p:cTn id="145" dur="500" fill="hold"/>
                                        <p:tgtEl>
                                          <p:spTgt spid="226"/>
                                        </p:tgtEl>
                                        <p:attrNameLst>
                                          <p:attrName>ppt_w</p:attrName>
                                        </p:attrNameLst>
                                      </p:cBhvr>
                                      <p:tavLst>
                                        <p:tav tm="0">
                                          <p:val>
                                            <p:fltVal val="0"/>
                                          </p:val>
                                        </p:tav>
                                        <p:tav tm="100000">
                                          <p:val>
                                            <p:strVal val="#ppt_w"/>
                                          </p:val>
                                        </p:tav>
                                      </p:tavLst>
                                    </p:anim>
                                    <p:anim calcmode="lin" valueType="num">
                                      <p:cBhvr>
                                        <p:cTn id="146" dur="500" fill="hold"/>
                                        <p:tgtEl>
                                          <p:spTgt spid="226"/>
                                        </p:tgtEl>
                                        <p:attrNameLst>
                                          <p:attrName>ppt_h</p:attrName>
                                        </p:attrNameLst>
                                      </p:cBhvr>
                                      <p:tavLst>
                                        <p:tav tm="0">
                                          <p:val>
                                            <p:fltVal val="0"/>
                                          </p:val>
                                        </p:tav>
                                        <p:tav tm="100000">
                                          <p:val>
                                            <p:strVal val="#ppt_h"/>
                                          </p:val>
                                        </p:tav>
                                      </p:tavLst>
                                    </p:anim>
                                    <p:animEffect transition="in" filter="fade">
                                      <p:cBhvr>
                                        <p:cTn id="147" dur="500"/>
                                        <p:tgtEl>
                                          <p:spTgt spid="226"/>
                                        </p:tgtEl>
                                      </p:cBhvr>
                                    </p:animEffect>
                                  </p:childTnLst>
                                </p:cTn>
                              </p:par>
                              <p:par>
                                <p:cTn id="148" presetID="22" presetClass="entr" presetSubtype="4" fill="hold" nodeType="withEffect">
                                  <p:stCondLst>
                                    <p:cond delay="0"/>
                                  </p:stCondLst>
                                  <p:childTnLst>
                                    <p:set>
                                      <p:cBhvr>
                                        <p:cTn id="149" dur="1" fill="hold">
                                          <p:stCondLst>
                                            <p:cond delay="0"/>
                                          </p:stCondLst>
                                        </p:cTn>
                                        <p:tgtEl>
                                          <p:spTgt spid="227"/>
                                        </p:tgtEl>
                                        <p:attrNameLst>
                                          <p:attrName>style.visibility</p:attrName>
                                        </p:attrNameLst>
                                      </p:cBhvr>
                                      <p:to>
                                        <p:strVal val="visible"/>
                                      </p:to>
                                    </p:set>
                                    <p:animEffect transition="in" filter="wipe(down)">
                                      <p:cBhvr>
                                        <p:cTn id="150" dur="500"/>
                                        <p:tgtEl>
                                          <p:spTgt spid="227"/>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228"/>
                                        </p:tgtEl>
                                        <p:attrNameLst>
                                          <p:attrName>style.visibility</p:attrName>
                                        </p:attrNameLst>
                                      </p:cBhvr>
                                      <p:to>
                                        <p:strVal val="visible"/>
                                      </p:to>
                                    </p:set>
                                    <p:animEffect transition="in" filter="fade">
                                      <p:cBhvr>
                                        <p:cTn id="153" dur="500"/>
                                        <p:tgtEl>
                                          <p:spTgt spid="228"/>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229"/>
                                        </p:tgtEl>
                                        <p:attrNameLst>
                                          <p:attrName>style.visibility</p:attrName>
                                        </p:attrNameLst>
                                      </p:cBhvr>
                                      <p:to>
                                        <p:strVal val="visible"/>
                                      </p:to>
                                    </p:set>
                                    <p:animEffect transition="in" filter="fade">
                                      <p:cBhvr>
                                        <p:cTn id="156" dur="500"/>
                                        <p:tgtEl>
                                          <p:spTgt spid="2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 grpId="0"/>
      <p:bldP spid="58" grpId="0"/>
      <p:bldP spid="4" grpId="0"/>
      <p:bldP spid="121" grpId="0"/>
      <p:bldP spid="104" grpId="0"/>
      <p:bldP spid="104" grpId="1"/>
      <p:bldP spid="136" grpId="0"/>
      <p:bldP spid="149" grpId="0"/>
      <p:bldP spid="149" grpId="1"/>
      <p:bldP spid="155" grpId="0"/>
      <p:bldP spid="178" grpId="0"/>
      <p:bldP spid="191" grpId="0"/>
      <p:bldP spid="191" grpId="1"/>
      <p:bldP spid="225" grpId="0" animBg="1"/>
      <p:bldP spid="228" grpId="0"/>
      <p:bldP spid="229"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 name="Rectangle 292"/>
          <p:cNvSpPr/>
          <p:nvPr/>
        </p:nvSpPr>
        <p:spPr>
          <a:xfrm>
            <a:off x="4705433" y="1112075"/>
            <a:ext cx="4022312" cy="3429000"/>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5" rIns="68562" bIns="34285" rtlCol="0" anchor="t"/>
          <a:lstStyle/>
          <a:p>
            <a:pPr algn="ctr" defTabSz="342804"/>
            <a:r>
              <a:rPr lang="en-US" sz="1350" b="1" dirty="0">
                <a:solidFill>
                  <a:schemeClr val="tx2"/>
                </a:solidFill>
                <a:cs typeface="Arial" panose="020B0604020202020204" pitchFamily="34" charset="0"/>
              </a:rPr>
              <a:t>Unified Reporting</a:t>
            </a:r>
          </a:p>
        </p:txBody>
      </p:sp>
      <p:sp>
        <p:nvSpPr>
          <p:cNvPr id="129" name="Freeform 114"/>
          <p:cNvSpPr>
            <a:spLocks noEditPoints="1"/>
          </p:cNvSpPr>
          <p:nvPr/>
        </p:nvSpPr>
        <p:spPr bwMode="auto">
          <a:xfrm>
            <a:off x="6661824" y="3363481"/>
            <a:ext cx="1388901" cy="1105619"/>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bg1">
              <a:lumMod val="65000"/>
            </a:schemeClr>
          </a:solid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sp>
        <p:nvSpPr>
          <p:cNvPr id="2" name="Title 1"/>
          <p:cNvSpPr>
            <a:spLocks noGrp="1"/>
          </p:cNvSpPr>
          <p:nvPr>
            <p:ph type="title"/>
          </p:nvPr>
        </p:nvSpPr>
        <p:spPr>
          <a:xfrm>
            <a:off x="118128" y="341315"/>
            <a:ext cx="8783254" cy="731837"/>
          </a:xfrm>
        </p:spPr>
        <p:txBody>
          <a:bodyPr/>
          <a:lstStyle/>
          <a:p>
            <a:r>
              <a:rPr lang="ja-JP" altLang="en-US" dirty="0" smtClean="0"/>
              <a:t>ハイブリッドウェブセキュリティ</a:t>
            </a:r>
            <a:endParaRPr lang="en-US" dirty="0"/>
          </a:p>
        </p:txBody>
      </p:sp>
      <p:sp>
        <p:nvSpPr>
          <p:cNvPr id="317" name="Rectangle 316"/>
          <p:cNvSpPr/>
          <p:nvPr/>
        </p:nvSpPr>
        <p:spPr>
          <a:xfrm>
            <a:off x="3653488" y="1421487"/>
            <a:ext cx="2465107" cy="4828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0" tIns="45710" rIns="91420" bIns="45710" rtlCol="0" anchor="ctr">
            <a:noAutofit/>
          </a:bodyPr>
          <a:lstStyle/>
          <a:p>
            <a:endParaRPr lang="en-US" sz="1350" dirty="0">
              <a:solidFill>
                <a:schemeClr val="bg1"/>
              </a:solidFill>
            </a:endParaRPr>
          </a:p>
        </p:txBody>
      </p:sp>
      <p:sp>
        <p:nvSpPr>
          <p:cNvPr id="318" name="Freeform 21"/>
          <p:cNvSpPr>
            <a:spLocks noEditPoints="1"/>
          </p:cNvSpPr>
          <p:nvPr/>
        </p:nvSpPr>
        <p:spPr bwMode="auto">
          <a:xfrm>
            <a:off x="5933889" y="3179191"/>
            <a:ext cx="1138181" cy="859100"/>
          </a:xfrm>
          <a:custGeom>
            <a:avLst/>
            <a:gdLst>
              <a:gd name="T0" fmla="*/ 130 w 138"/>
              <a:gd name="T1" fmla="*/ 0 h 104"/>
              <a:gd name="T2" fmla="*/ 8 w 138"/>
              <a:gd name="T3" fmla="*/ 0 h 104"/>
              <a:gd name="T4" fmla="*/ 0 w 138"/>
              <a:gd name="T5" fmla="*/ 9 h 104"/>
              <a:gd name="T6" fmla="*/ 0 w 138"/>
              <a:gd name="T7" fmla="*/ 84 h 104"/>
              <a:gd name="T8" fmla="*/ 8 w 138"/>
              <a:gd name="T9" fmla="*/ 92 h 104"/>
              <a:gd name="T10" fmla="*/ 57 w 138"/>
              <a:gd name="T11" fmla="*/ 92 h 104"/>
              <a:gd name="T12" fmla="*/ 57 w 138"/>
              <a:gd name="T13" fmla="*/ 94 h 104"/>
              <a:gd name="T14" fmla="*/ 57 w 138"/>
              <a:gd name="T15" fmla="*/ 98 h 104"/>
              <a:gd name="T16" fmla="*/ 36 w 138"/>
              <a:gd name="T17" fmla="*/ 98 h 104"/>
              <a:gd name="T18" fmla="*/ 33 w 138"/>
              <a:gd name="T19" fmla="*/ 101 h 104"/>
              <a:gd name="T20" fmla="*/ 36 w 138"/>
              <a:gd name="T21" fmla="*/ 104 h 104"/>
              <a:gd name="T22" fmla="*/ 102 w 138"/>
              <a:gd name="T23" fmla="*/ 104 h 104"/>
              <a:gd name="T24" fmla="*/ 105 w 138"/>
              <a:gd name="T25" fmla="*/ 101 h 104"/>
              <a:gd name="T26" fmla="*/ 102 w 138"/>
              <a:gd name="T27" fmla="*/ 98 h 104"/>
              <a:gd name="T28" fmla="*/ 81 w 138"/>
              <a:gd name="T29" fmla="*/ 98 h 104"/>
              <a:gd name="T30" fmla="*/ 81 w 138"/>
              <a:gd name="T31" fmla="*/ 94 h 104"/>
              <a:gd name="T32" fmla="*/ 81 w 138"/>
              <a:gd name="T33" fmla="*/ 92 h 104"/>
              <a:gd name="T34" fmla="*/ 130 w 138"/>
              <a:gd name="T35" fmla="*/ 92 h 104"/>
              <a:gd name="T36" fmla="*/ 138 w 138"/>
              <a:gd name="T37" fmla="*/ 84 h 104"/>
              <a:gd name="T38" fmla="*/ 138 w 138"/>
              <a:gd name="T39" fmla="*/ 9 h 104"/>
              <a:gd name="T40" fmla="*/ 130 w 138"/>
              <a:gd name="T41" fmla="*/ 0 h 104"/>
              <a:gd name="T42" fmla="*/ 131 w 138"/>
              <a:gd name="T43" fmla="*/ 74 h 104"/>
              <a:gd name="T44" fmla="*/ 124 w 138"/>
              <a:gd name="T45" fmla="*/ 80 h 104"/>
              <a:gd name="T46" fmla="*/ 14 w 138"/>
              <a:gd name="T47" fmla="*/ 80 h 104"/>
              <a:gd name="T48" fmla="*/ 7 w 138"/>
              <a:gd name="T49" fmla="*/ 74 h 104"/>
              <a:gd name="T50" fmla="*/ 7 w 138"/>
              <a:gd name="T51" fmla="*/ 15 h 104"/>
              <a:gd name="T52" fmla="*/ 14 w 138"/>
              <a:gd name="T53" fmla="*/ 8 h 104"/>
              <a:gd name="T54" fmla="*/ 124 w 138"/>
              <a:gd name="T55" fmla="*/ 8 h 104"/>
              <a:gd name="T56" fmla="*/ 131 w 138"/>
              <a:gd name="T57" fmla="*/ 15 h 104"/>
              <a:gd name="T58" fmla="*/ 131 w 138"/>
              <a:gd name="T5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04">
                <a:moveTo>
                  <a:pt x="130" y="0"/>
                </a:moveTo>
                <a:cubicBezTo>
                  <a:pt x="8" y="0"/>
                  <a:pt x="8" y="0"/>
                  <a:pt x="8" y="0"/>
                </a:cubicBezTo>
                <a:cubicBezTo>
                  <a:pt x="4" y="0"/>
                  <a:pt x="0" y="4"/>
                  <a:pt x="0" y="9"/>
                </a:cubicBezTo>
                <a:cubicBezTo>
                  <a:pt x="0" y="84"/>
                  <a:pt x="0" y="84"/>
                  <a:pt x="0" y="84"/>
                </a:cubicBezTo>
                <a:cubicBezTo>
                  <a:pt x="0" y="88"/>
                  <a:pt x="4" y="92"/>
                  <a:pt x="8" y="92"/>
                </a:cubicBezTo>
                <a:cubicBezTo>
                  <a:pt x="57" y="92"/>
                  <a:pt x="57" y="92"/>
                  <a:pt x="57" y="92"/>
                </a:cubicBezTo>
                <a:cubicBezTo>
                  <a:pt x="57" y="93"/>
                  <a:pt x="57" y="94"/>
                  <a:pt x="57" y="94"/>
                </a:cubicBezTo>
                <a:cubicBezTo>
                  <a:pt x="57" y="96"/>
                  <a:pt x="57" y="97"/>
                  <a:pt x="57" y="98"/>
                </a:cubicBezTo>
                <a:cubicBezTo>
                  <a:pt x="36" y="98"/>
                  <a:pt x="36" y="98"/>
                  <a:pt x="36" y="98"/>
                </a:cubicBezTo>
                <a:cubicBezTo>
                  <a:pt x="35" y="98"/>
                  <a:pt x="33" y="99"/>
                  <a:pt x="33" y="101"/>
                </a:cubicBezTo>
                <a:cubicBezTo>
                  <a:pt x="33" y="103"/>
                  <a:pt x="35" y="104"/>
                  <a:pt x="36" y="104"/>
                </a:cubicBezTo>
                <a:cubicBezTo>
                  <a:pt x="102" y="104"/>
                  <a:pt x="102" y="104"/>
                  <a:pt x="102" y="104"/>
                </a:cubicBezTo>
                <a:cubicBezTo>
                  <a:pt x="103" y="104"/>
                  <a:pt x="105" y="103"/>
                  <a:pt x="105" y="101"/>
                </a:cubicBezTo>
                <a:cubicBezTo>
                  <a:pt x="105" y="99"/>
                  <a:pt x="103" y="98"/>
                  <a:pt x="102" y="98"/>
                </a:cubicBezTo>
                <a:cubicBezTo>
                  <a:pt x="81" y="98"/>
                  <a:pt x="81" y="98"/>
                  <a:pt x="81" y="98"/>
                </a:cubicBezTo>
                <a:cubicBezTo>
                  <a:pt x="81" y="97"/>
                  <a:pt x="81" y="96"/>
                  <a:pt x="81" y="94"/>
                </a:cubicBezTo>
                <a:cubicBezTo>
                  <a:pt x="81" y="94"/>
                  <a:pt x="81" y="93"/>
                  <a:pt x="81" y="92"/>
                </a:cubicBezTo>
                <a:cubicBezTo>
                  <a:pt x="130" y="92"/>
                  <a:pt x="130" y="92"/>
                  <a:pt x="130" y="92"/>
                </a:cubicBezTo>
                <a:cubicBezTo>
                  <a:pt x="134" y="92"/>
                  <a:pt x="138" y="88"/>
                  <a:pt x="138" y="84"/>
                </a:cubicBezTo>
                <a:cubicBezTo>
                  <a:pt x="138" y="39"/>
                  <a:pt x="138" y="18"/>
                  <a:pt x="138" y="9"/>
                </a:cubicBezTo>
                <a:cubicBezTo>
                  <a:pt x="138" y="4"/>
                  <a:pt x="134" y="0"/>
                  <a:pt x="130" y="0"/>
                </a:cubicBezTo>
                <a:close/>
                <a:moveTo>
                  <a:pt x="131" y="74"/>
                </a:moveTo>
                <a:cubicBezTo>
                  <a:pt x="131" y="77"/>
                  <a:pt x="128" y="80"/>
                  <a:pt x="124" y="80"/>
                </a:cubicBezTo>
                <a:cubicBezTo>
                  <a:pt x="14" y="80"/>
                  <a:pt x="14" y="80"/>
                  <a:pt x="14" y="80"/>
                </a:cubicBezTo>
                <a:cubicBezTo>
                  <a:pt x="10" y="80"/>
                  <a:pt x="7" y="77"/>
                  <a:pt x="7" y="74"/>
                </a:cubicBezTo>
                <a:cubicBezTo>
                  <a:pt x="7" y="15"/>
                  <a:pt x="7" y="15"/>
                  <a:pt x="7" y="15"/>
                </a:cubicBezTo>
                <a:cubicBezTo>
                  <a:pt x="7" y="11"/>
                  <a:pt x="10" y="8"/>
                  <a:pt x="14" y="8"/>
                </a:cubicBezTo>
                <a:cubicBezTo>
                  <a:pt x="124" y="8"/>
                  <a:pt x="124" y="8"/>
                  <a:pt x="124" y="8"/>
                </a:cubicBezTo>
                <a:cubicBezTo>
                  <a:pt x="128" y="8"/>
                  <a:pt x="131" y="11"/>
                  <a:pt x="131" y="15"/>
                </a:cubicBezTo>
                <a:lnTo>
                  <a:pt x="131" y="74"/>
                </a:lnTo>
                <a:close/>
              </a:path>
            </a:pathLst>
          </a:custGeom>
          <a:solidFill>
            <a:schemeClr val="accent2"/>
          </a:solidFill>
          <a:ln>
            <a:noFill/>
          </a:ln>
          <a:extLst/>
        </p:spPr>
        <p:txBody>
          <a:bodyPr vert="horz" wrap="square" lIns="91416" tIns="45708" rIns="91416" bIns="45708" numCol="1" anchor="t" anchorCtr="0" compatLnSpc="1">
            <a:prstTxWarp prst="textNoShape">
              <a:avLst/>
            </a:prstTxWarp>
          </a:bodyPr>
          <a:lstStyle/>
          <a:p>
            <a:pPr defTabSz="685742">
              <a:defRPr/>
            </a:pPr>
            <a:endParaRPr lang="en-US" sz="1425" kern="0" dirty="0">
              <a:solidFill>
                <a:srgbClr val="FFFFFF"/>
              </a:solidFill>
              <a:latin typeface="Arial"/>
            </a:endParaRPr>
          </a:p>
        </p:txBody>
      </p:sp>
      <p:grpSp>
        <p:nvGrpSpPr>
          <p:cNvPr id="319" name="Group 318"/>
          <p:cNvGrpSpPr/>
          <p:nvPr/>
        </p:nvGrpSpPr>
        <p:grpSpPr>
          <a:xfrm>
            <a:off x="6060587" y="3347819"/>
            <a:ext cx="550691" cy="413125"/>
            <a:chOff x="4367138" y="-1752601"/>
            <a:chExt cx="1447296" cy="1085472"/>
          </a:xfrm>
          <a:solidFill>
            <a:schemeClr val="accent2"/>
          </a:solidFill>
        </p:grpSpPr>
        <p:sp>
          <p:nvSpPr>
            <p:cNvPr id="320" name="Rounded Rectangle 2"/>
            <p:cNvSpPr/>
            <p:nvPr/>
          </p:nvSpPr>
          <p:spPr>
            <a:xfrm>
              <a:off x="4367138" y="-1752601"/>
              <a:ext cx="1447296" cy="1085472"/>
            </a:xfrm>
            <a:custGeom>
              <a:avLst/>
              <a:gdLst/>
              <a:ahLst/>
              <a:cxnLst/>
              <a:rect l="l" t="t" r="r" b="b"/>
              <a:pathLst>
                <a:path w="1447296" h="1085472">
                  <a:moveTo>
                    <a:pt x="122169" y="69546"/>
                  </a:moveTo>
                  <a:cubicBezTo>
                    <a:pt x="91561" y="69546"/>
                    <a:pt x="66749" y="94358"/>
                    <a:pt x="66749" y="124966"/>
                  </a:cubicBezTo>
                  <a:lnTo>
                    <a:pt x="66749" y="960506"/>
                  </a:lnTo>
                  <a:cubicBezTo>
                    <a:pt x="66749" y="991114"/>
                    <a:pt x="91561" y="1015926"/>
                    <a:pt x="122169" y="1015926"/>
                  </a:cubicBezTo>
                  <a:lnTo>
                    <a:pt x="1325127" y="1015926"/>
                  </a:lnTo>
                  <a:cubicBezTo>
                    <a:pt x="1355735" y="1015926"/>
                    <a:pt x="1380547" y="991114"/>
                    <a:pt x="1380547" y="960506"/>
                  </a:cubicBezTo>
                  <a:lnTo>
                    <a:pt x="1380547" y="124966"/>
                  </a:lnTo>
                  <a:cubicBezTo>
                    <a:pt x="1380547" y="94358"/>
                    <a:pt x="1355735" y="69546"/>
                    <a:pt x="1325127" y="69546"/>
                  </a:cubicBezTo>
                  <a:close/>
                  <a:moveTo>
                    <a:pt x="109307" y="0"/>
                  </a:moveTo>
                  <a:lnTo>
                    <a:pt x="1337989" y="0"/>
                  </a:lnTo>
                  <a:cubicBezTo>
                    <a:pt x="1398358" y="0"/>
                    <a:pt x="1447296" y="48938"/>
                    <a:pt x="1447296" y="109307"/>
                  </a:cubicBezTo>
                  <a:lnTo>
                    <a:pt x="1447296" y="976165"/>
                  </a:lnTo>
                  <a:cubicBezTo>
                    <a:pt x="1447296" y="1036534"/>
                    <a:pt x="1398358" y="1085472"/>
                    <a:pt x="1337989" y="1085472"/>
                  </a:cubicBezTo>
                  <a:lnTo>
                    <a:pt x="109307" y="1085472"/>
                  </a:lnTo>
                  <a:cubicBezTo>
                    <a:pt x="48938" y="1085472"/>
                    <a:pt x="0" y="1036534"/>
                    <a:pt x="0" y="976165"/>
                  </a:cubicBezTo>
                  <a:lnTo>
                    <a:pt x="0" y="109307"/>
                  </a:lnTo>
                  <a:cubicBezTo>
                    <a:pt x="0" y="48938"/>
                    <a:pt x="48938" y="0"/>
                    <a:pt x="10930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nvGrpSpPr>
            <p:cNvPr id="321" name="Group 320"/>
            <p:cNvGrpSpPr/>
            <p:nvPr/>
          </p:nvGrpSpPr>
          <p:grpSpPr>
            <a:xfrm>
              <a:off x="4551518" y="-1419606"/>
              <a:ext cx="416876" cy="419482"/>
              <a:chOff x="1039038" y="-1476527"/>
              <a:chExt cx="254000" cy="255587"/>
            </a:xfrm>
            <a:grpFill/>
          </p:grpSpPr>
          <p:sp>
            <p:nvSpPr>
              <p:cNvPr id="329" name="Freeform 367"/>
              <p:cNvSpPr>
                <a:spLocks/>
              </p:cNvSpPr>
              <p:nvPr/>
            </p:nvSpPr>
            <p:spPr bwMode="auto">
              <a:xfrm>
                <a:off x="1039038" y="-1430490"/>
                <a:ext cx="47625" cy="65088"/>
              </a:xfrm>
              <a:custGeom>
                <a:avLst/>
                <a:gdLst>
                  <a:gd name="T0" fmla="*/ 128 w 207"/>
                  <a:gd name="T1" fmla="*/ 0 h 288"/>
                  <a:gd name="T2" fmla="*/ 128 w 207"/>
                  <a:gd name="T3" fmla="*/ 0 h 288"/>
                  <a:gd name="T4" fmla="*/ 114 w 207"/>
                  <a:gd name="T5" fmla="*/ 17 h 288"/>
                  <a:gd name="T6" fmla="*/ 102 w 207"/>
                  <a:gd name="T7" fmla="*/ 33 h 288"/>
                  <a:gd name="T8" fmla="*/ 90 w 207"/>
                  <a:gd name="T9" fmla="*/ 49 h 288"/>
                  <a:gd name="T10" fmla="*/ 80 w 207"/>
                  <a:gd name="T11" fmla="*/ 67 h 288"/>
                  <a:gd name="T12" fmla="*/ 69 w 207"/>
                  <a:gd name="T13" fmla="*/ 84 h 288"/>
                  <a:gd name="T14" fmla="*/ 59 w 207"/>
                  <a:gd name="T15" fmla="*/ 102 h 288"/>
                  <a:gd name="T16" fmla="*/ 51 w 207"/>
                  <a:gd name="T17" fmla="*/ 119 h 288"/>
                  <a:gd name="T18" fmla="*/ 42 w 207"/>
                  <a:gd name="T19" fmla="*/ 137 h 288"/>
                  <a:gd name="T20" fmla="*/ 35 w 207"/>
                  <a:gd name="T21" fmla="*/ 156 h 288"/>
                  <a:gd name="T22" fmla="*/ 27 w 207"/>
                  <a:gd name="T23" fmla="*/ 174 h 288"/>
                  <a:gd name="T24" fmla="*/ 21 w 207"/>
                  <a:gd name="T25" fmla="*/ 193 h 288"/>
                  <a:gd name="T26" fmla="*/ 16 w 207"/>
                  <a:gd name="T27" fmla="*/ 212 h 288"/>
                  <a:gd name="T28" fmla="*/ 11 w 207"/>
                  <a:gd name="T29" fmla="*/ 230 h 288"/>
                  <a:gd name="T30" fmla="*/ 7 w 207"/>
                  <a:gd name="T31" fmla="*/ 250 h 288"/>
                  <a:gd name="T32" fmla="*/ 3 w 207"/>
                  <a:gd name="T33" fmla="*/ 269 h 288"/>
                  <a:gd name="T34" fmla="*/ 0 w 207"/>
                  <a:gd name="T35" fmla="*/ 288 h 288"/>
                  <a:gd name="T36" fmla="*/ 207 w 207"/>
                  <a:gd name="T37" fmla="*/ 81 h 288"/>
                  <a:gd name="T38" fmla="*/ 128 w 207"/>
                  <a:gd name="T3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288">
                    <a:moveTo>
                      <a:pt x="128" y="0"/>
                    </a:moveTo>
                    <a:lnTo>
                      <a:pt x="128" y="0"/>
                    </a:lnTo>
                    <a:lnTo>
                      <a:pt x="114" y="17"/>
                    </a:lnTo>
                    <a:lnTo>
                      <a:pt x="102" y="33"/>
                    </a:lnTo>
                    <a:lnTo>
                      <a:pt x="90" y="49"/>
                    </a:lnTo>
                    <a:lnTo>
                      <a:pt x="80" y="67"/>
                    </a:lnTo>
                    <a:lnTo>
                      <a:pt x="69" y="84"/>
                    </a:lnTo>
                    <a:lnTo>
                      <a:pt x="59" y="102"/>
                    </a:lnTo>
                    <a:lnTo>
                      <a:pt x="51" y="119"/>
                    </a:lnTo>
                    <a:lnTo>
                      <a:pt x="42" y="137"/>
                    </a:lnTo>
                    <a:lnTo>
                      <a:pt x="35" y="156"/>
                    </a:lnTo>
                    <a:lnTo>
                      <a:pt x="27" y="174"/>
                    </a:lnTo>
                    <a:lnTo>
                      <a:pt x="21" y="193"/>
                    </a:lnTo>
                    <a:lnTo>
                      <a:pt x="16" y="212"/>
                    </a:lnTo>
                    <a:lnTo>
                      <a:pt x="11" y="230"/>
                    </a:lnTo>
                    <a:lnTo>
                      <a:pt x="7" y="250"/>
                    </a:lnTo>
                    <a:lnTo>
                      <a:pt x="3" y="269"/>
                    </a:lnTo>
                    <a:lnTo>
                      <a:pt x="0" y="288"/>
                    </a:lnTo>
                    <a:lnTo>
                      <a:pt x="207" y="81"/>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0" name="Freeform 368"/>
              <p:cNvSpPr>
                <a:spLocks/>
              </p:cNvSpPr>
              <p:nvPr/>
            </p:nvSpPr>
            <p:spPr bwMode="auto">
              <a:xfrm>
                <a:off x="1053325" y="-1365402"/>
                <a:ext cx="96837" cy="98425"/>
              </a:xfrm>
              <a:custGeom>
                <a:avLst/>
                <a:gdLst>
                  <a:gd name="T0" fmla="*/ 350 w 428"/>
                  <a:gd name="T1" fmla="*/ 0 h 438"/>
                  <a:gd name="T2" fmla="*/ 3 w 428"/>
                  <a:gd name="T3" fmla="*/ 346 h 438"/>
                  <a:gd name="T4" fmla="*/ 0 w 428"/>
                  <a:gd name="T5" fmla="*/ 342 h 438"/>
                  <a:gd name="T6" fmla="*/ 0 w 428"/>
                  <a:gd name="T7" fmla="*/ 342 h 438"/>
                  <a:gd name="T8" fmla="*/ 15 w 428"/>
                  <a:gd name="T9" fmla="*/ 368 h 438"/>
                  <a:gd name="T10" fmla="*/ 30 w 428"/>
                  <a:gd name="T11" fmla="*/ 392 h 438"/>
                  <a:gd name="T12" fmla="*/ 47 w 428"/>
                  <a:gd name="T13" fmla="*/ 416 h 438"/>
                  <a:gd name="T14" fmla="*/ 66 w 428"/>
                  <a:gd name="T15" fmla="*/ 438 h 438"/>
                  <a:gd name="T16" fmla="*/ 428 w 428"/>
                  <a:gd name="T17" fmla="*/ 76 h 438"/>
                  <a:gd name="T18" fmla="*/ 350 w 428"/>
                  <a:gd name="T19" fmla="*/ 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8" h="438">
                    <a:moveTo>
                      <a:pt x="350" y="0"/>
                    </a:moveTo>
                    <a:lnTo>
                      <a:pt x="3" y="346"/>
                    </a:lnTo>
                    <a:lnTo>
                      <a:pt x="0" y="342"/>
                    </a:lnTo>
                    <a:lnTo>
                      <a:pt x="0" y="342"/>
                    </a:lnTo>
                    <a:lnTo>
                      <a:pt x="15" y="368"/>
                    </a:lnTo>
                    <a:lnTo>
                      <a:pt x="30" y="392"/>
                    </a:lnTo>
                    <a:lnTo>
                      <a:pt x="47" y="416"/>
                    </a:lnTo>
                    <a:lnTo>
                      <a:pt x="66" y="438"/>
                    </a:lnTo>
                    <a:lnTo>
                      <a:pt x="428" y="76"/>
                    </a:lnTo>
                    <a:lnTo>
                      <a:pt x="3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1" name="Freeform 369"/>
              <p:cNvSpPr>
                <a:spLocks/>
              </p:cNvSpPr>
              <p:nvPr/>
            </p:nvSpPr>
            <p:spPr bwMode="auto">
              <a:xfrm>
                <a:off x="1083488" y="-1430490"/>
                <a:ext cx="209550" cy="209550"/>
              </a:xfrm>
              <a:custGeom>
                <a:avLst/>
                <a:gdLst>
                  <a:gd name="T0" fmla="*/ 0 w 925"/>
                  <a:gd name="T1" fmla="*/ 793 h 925"/>
                  <a:gd name="T2" fmla="*/ 21 w 925"/>
                  <a:gd name="T3" fmla="*/ 810 h 925"/>
                  <a:gd name="T4" fmla="*/ 65 w 925"/>
                  <a:gd name="T5" fmla="*/ 840 h 925"/>
                  <a:gd name="T6" fmla="*/ 111 w 925"/>
                  <a:gd name="T7" fmla="*/ 866 h 925"/>
                  <a:gd name="T8" fmla="*/ 158 w 925"/>
                  <a:gd name="T9" fmla="*/ 887 h 925"/>
                  <a:gd name="T10" fmla="*/ 207 w 925"/>
                  <a:gd name="T11" fmla="*/ 903 h 925"/>
                  <a:gd name="T12" fmla="*/ 257 w 925"/>
                  <a:gd name="T13" fmla="*/ 916 h 925"/>
                  <a:gd name="T14" fmla="*/ 308 w 925"/>
                  <a:gd name="T15" fmla="*/ 923 h 925"/>
                  <a:gd name="T16" fmla="*/ 359 w 925"/>
                  <a:gd name="T17" fmla="*/ 925 h 925"/>
                  <a:gd name="T18" fmla="*/ 410 w 925"/>
                  <a:gd name="T19" fmla="*/ 923 h 925"/>
                  <a:gd name="T20" fmla="*/ 461 w 925"/>
                  <a:gd name="T21" fmla="*/ 917 h 925"/>
                  <a:gd name="T22" fmla="*/ 512 w 925"/>
                  <a:gd name="T23" fmla="*/ 905 h 925"/>
                  <a:gd name="T24" fmla="*/ 561 w 925"/>
                  <a:gd name="T25" fmla="*/ 889 h 925"/>
                  <a:gd name="T26" fmla="*/ 608 w 925"/>
                  <a:gd name="T27" fmla="*/ 869 h 925"/>
                  <a:gd name="T28" fmla="*/ 654 w 925"/>
                  <a:gd name="T29" fmla="*/ 844 h 925"/>
                  <a:gd name="T30" fmla="*/ 699 w 925"/>
                  <a:gd name="T31" fmla="*/ 814 h 925"/>
                  <a:gd name="T32" fmla="*/ 740 w 925"/>
                  <a:gd name="T33" fmla="*/ 780 h 925"/>
                  <a:gd name="T34" fmla="*/ 760 w 925"/>
                  <a:gd name="T35" fmla="*/ 760 h 925"/>
                  <a:gd name="T36" fmla="*/ 797 w 925"/>
                  <a:gd name="T37" fmla="*/ 720 h 925"/>
                  <a:gd name="T38" fmla="*/ 829 w 925"/>
                  <a:gd name="T39" fmla="*/ 677 h 925"/>
                  <a:gd name="T40" fmla="*/ 856 w 925"/>
                  <a:gd name="T41" fmla="*/ 632 h 925"/>
                  <a:gd name="T42" fmla="*/ 879 w 925"/>
                  <a:gd name="T43" fmla="*/ 585 h 925"/>
                  <a:gd name="T44" fmla="*/ 897 w 925"/>
                  <a:gd name="T45" fmla="*/ 536 h 925"/>
                  <a:gd name="T46" fmla="*/ 911 w 925"/>
                  <a:gd name="T47" fmla="*/ 487 h 925"/>
                  <a:gd name="T48" fmla="*/ 920 w 925"/>
                  <a:gd name="T49" fmla="*/ 436 h 925"/>
                  <a:gd name="T50" fmla="*/ 924 w 925"/>
                  <a:gd name="T51" fmla="*/ 385 h 925"/>
                  <a:gd name="T52" fmla="*/ 924 w 925"/>
                  <a:gd name="T53" fmla="*/ 334 h 925"/>
                  <a:gd name="T54" fmla="*/ 919 w 925"/>
                  <a:gd name="T55" fmla="*/ 283 h 925"/>
                  <a:gd name="T56" fmla="*/ 910 w 925"/>
                  <a:gd name="T57" fmla="*/ 233 h 925"/>
                  <a:gd name="T58" fmla="*/ 895 w 925"/>
                  <a:gd name="T59" fmla="*/ 183 h 925"/>
                  <a:gd name="T60" fmla="*/ 877 w 925"/>
                  <a:gd name="T61" fmla="*/ 134 h 925"/>
                  <a:gd name="T62" fmla="*/ 853 w 925"/>
                  <a:gd name="T63" fmla="*/ 88 h 925"/>
                  <a:gd name="T64" fmla="*/ 825 w 925"/>
                  <a:gd name="T65" fmla="*/ 43 h 925"/>
                  <a:gd name="T66" fmla="*/ 793 w 925"/>
                  <a:gd name="T67" fmla="*/ 0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5" h="925">
                    <a:moveTo>
                      <a:pt x="793" y="0"/>
                    </a:moveTo>
                    <a:lnTo>
                      <a:pt x="0" y="793"/>
                    </a:lnTo>
                    <a:lnTo>
                      <a:pt x="0" y="793"/>
                    </a:lnTo>
                    <a:lnTo>
                      <a:pt x="21" y="810"/>
                    </a:lnTo>
                    <a:lnTo>
                      <a:pt x="42" y="826"/>
                    </a:lnTo>
                    <a:lnTo>
                      <a:pt x="65" y="840"/>
                    </a:lnTo>
                    <a:lnTo>
                      <a:pt x="87" y="853"/>
                    </a:lnTo>
                    <a:lnTo>
                      <a:pt x="111" y="866"/>
                    </a:lnTo>
                    <a:lnTo>
                      <a:pt x="134" y="877"/>
                    </a:lnTo>
                    <a:lnTo>
                      <a:pt x="158" y="887"/>
                    </a:lnTo>
                    <a:lnTo>
                      <a:pt x="182" y="896"/>
                    </a:lnTo>
                    <a:lnTo>
                      <a:pt x="207" y="903"/>
                    </a:lnTo>
                    <a:lnTo>
                      <a:pt x="232" y="911"/>
                    </a:lnTo>
                    <a:lnTo>
                      <a:pt x="257" y="916"/>
                    </a:lnTo>
                    <a:lnTo>
                      <a:pt x="283" y="920"/>
                    </a:lnTo>
                    <a:lnTo>
                      <a:pt x="308" y="923"/>
                    </a:lnTo>
                    <a:lnTo>
                      <a:pt x="334" y="925"/>
                    </a:lnTo>
                    <a:lnTo>
                      <a:pt x="359" y="925"/>
                    </a:lnTo>
                    <a:lnTo>
                      <a:pt x="385" y="925"/>
                    </a:lnTo>
                    <a:lnTo>
                      <a:pt x="410" y="923"/>
                    </a:lnTo>
                    <a:lnTo>
                      <a:pt x="436" y="921"/>
                    </a:lnTo>
                    <a:lnTo>
                      <a:pt x="461" y="917"/>
                    </a:lnTo>
                    <a:lnTo>
                      <a:pt x="486" y="912"/>
                    </a:lnTo>
                    <a:lnTo>
                      <a:pt x="512" y="905"/>
                    </a:lnTo>
                    <a:lnTo>
                      <a:pt x="536" y="898"/>
                    </a:lnTo>
                    <a:lnTo>
                      <a:pt x="561" y="889"/>
                    </a:lnTo>
                    <a:lnTo>
                      <a:pt x="584" y="880"/>
                    </a:lnTo>
                    <a:lnTo>
                      <a:pt x="608" y="869"/>
                    </a:lnTo>
                    <a:lnTo>
                      <a:pt x="631" y="857"/>
                    </a:lnTo>
                    <a:lnTo>
                      <a:pt x="654" y="844"/>
                    </a:lnTo>
                    <a:lnTo>
                      <a:pt x="676" y="830"/>
                    </a:lnTo>
                    <a:lnTo>
                      <a:pt x="699" y="814"/>
                    </a:lnTo>
                    <a:lnTo>
                      <a:pt x="719" y="797"/>
                    </a:lnTo>
                    <a:lnTo>
                      <a:pt x="740" y="780"/>
                    </a:lnTo>
                    <a:lnTo>
                      <a:pt x="760" y="760"/>
                    </a:lnTo>
                    <a:lnTo>
                      <a:pt x="760" y="760"/>
                    </a:lnTo>
                    <a:lnTo>
                      <a:pt x="779" y="741"/>
                    </a:lnTo>
                    <a:lnTo>
                      <a:pt x="797" y="720"/>
                    </a:lnTo>
                    <a:lnTo>
                      <a:pt x="813" y="699"/>
                    </a:lnTo>
                    <a:lnTo>
                      <a:pt x="829" y="677"/>
                    </a:lnTo>
                    <a:lnTo>
                      <a:pt x="843" y="655"/>
                    </a:lnTo>
                    <a:lnTo>
                      <a:pt x="856" y="632"/>
                    </a:lnTo>
                    <a:lnTo>
                      <a:pt x="869" y="609"/>
                    </a:lnTo>
                    <a:lnTo>
                      <a:pt x="879" y="585"/>
                    </a:lnTo>
                    <a:lnTo>
                      <a:pt x="889" y="561"/>
                    </a:lnTo>
                    <a:lnTo>
                      <a:pt x="897" y="536"/>
                    </a:lnTo>
                    <a:lnTo>
                      <a:pt x="905" y="512"/>
                    </a:lnTo>
                    <a:lnTo>
                      <a:pt x="911" y="487"/>
                    </a:lnTo>
                    <a:lnTo>
                      <a:pt x="916" y="462"/>
                    </a:lnTo>
                    <a:lnTo>
                      <a:pt x="920" y="436"/>
                    </a:lnTo>
                    <a:lnTo>
                      <a:pt x="923" y="410"/>
                    </a:lnTo>
                    <a:lnTo>
                      <a:pt x="924" y="385"/>
                    </a:lnTo>
                    <a:lnTo>
                      <a:pt x="925" y="359"/>
                    </a:lnTo>
                    <a:lnTo>
                      <a:pt x="924" y="334"/>
                    </a:lnTo>
                    <a:lnTo>
                      <a:pt x="922" y="308"/>
                    </a:lnTo>
                    <a:lnTo>
                      <a:pt x="919" y="283"/>
                    </a:lnTo>
                    <a:lnTo>
                      <a:pt x="915" y="258"/>
                    </a:lnTo>
                    <a:lnTo>
                      <a:pt x="910" y="233"/>
                    </a:lnTo>
                    <a:lnTo>
                      <a:pt x="904" y="208"/>
                    </a:lnTo>
                    <a:lnTo>
                      <a:pt x="895" y="183"/>
                    </a:lnTo>
                    <a:lnTo>
                      <a:pt x="886" y="159"/>
                    </a:lnTo>
                    <a:lnTo>
                      <a:pt x="877" y="134"/>
                    </a:lnTo>
                    <a:lnTo>
                      <a:pt x="866" y="111"/>
                    </a:lnTo>
                    <a:lnTo>
                      <a:pt x="853" y="88"/>
                    </a:lnTo>
                    <a:lnTo>
                      <a:pt x="840" y="65"/>
                    </a:lnTo>
                    <a:lnTo>
                      <a:pt x="825" y="43"/>
                    </a:lnTo>
                    <a:lnTo>
                      <a:pt x="809" y="22"/>
                    </a:lnTo>
                    <a:lnTo>
                      <a:pt x="793" y="0"/>
                    </a:lnTo>
                    <a:lnTo>
                      <a:pt x="7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2" name="Freeform 370"/>
              <p:cNvSpPr>
                <a:spLocks/>
              </p:cNvSpPr>
              <p:nvPr/>
            </p:nvSpPr>
            <p:spPr bwMode="auto">
              <a:xfrm>
                <a:off x="1083488" y="-1476527"/>
                <a:ext cx="163512" cy="112713"/>
              </a:xfrm>
              <a:custGeom>
                <a:avLst/>
                <a:gdLst>
                  <a:gd name="T0" fmla="*/ 725 w 725"/>
                  <a:gd name="T1" fmla="*/ 132 h 494"/>
                  <a:gd name="T2" fmla="*/ 725 w 725"/>
                  <a:gd name="T3" fmla="*/ 132 h 494"/>
                  <a:gd name="T4" fmla="*/ 705 w 725"/>
                  <a:gd name="T5" fmla="*/ 116 h 494"/>
                  <a:gd name="T6" fmla="*/ 685 w 725"/>
                  <a:gd name="T7" fmla="*/ 101 h 494"/>
                  <a:gd name="T8" fmla="*/ 664 w 725"/>
                  <a:gd name="T9" fmla="*/ 87 h 494"/>
                  <a:gd name="T10" fmla="*/ 643 w 725"/>
                  <a:gd name="T11" fmla="*/ 75 h 494"/>
                  <a:gd name="T12" fmla="*/ 621 w 725"/>
                  <a:gd name="T13" fmla="*/ 62 h 494"/>
                  <a:gd name="T14" fmla="*/ 599 w 725"/>
                  <a:gd name="T15" fmla="*/ 51 h 494"/>
                  <a:gd name="T16" fmla="*/ 576 w 725"/>
                  <a:gd name="T17" fmla="*/ 42 h 494"/>
                  <a:gd name="T18" fmla="*/ 553 w 725"/>
                  <a:gd name="T19" fmla="*/ 33 h 494"/>
                  <a:gd name="T20" fmla="*/ 530 w 725"/>
                  <a:gd name="T21" fmla="*/ 25 h 494"/>
                  <a:gd name="T22" fmla="*/ 507 w 725"/>
                  <a:gd name="T23" fmla="*/ 18 h 494"/>
                  <a:gd name="T24" fmla="*/ 483 w 725"/>
                  <a:gd name="T25" fmla="*/ 13 h 494"/>
                  <a:gd name="T26" fmla="*/ 460 w 725"/>
                  <a:gd name="T27" fmla="*/ 8 h 494"/>
                  <a:gd name="T28" fmla="*/ 435 w 725"/>
                  <a:gd name="T29" fmla="*/ 5 h 494"/>
                  <a:gd name="T30" fmla="*/ 411 w 725"/>
                  <a:gd name="T31" fmla="*/ 2 h 494"/>
                  <a:gd name="T32" fmla="*/ 387 w 725"/>
                  <a:gd name="T33" fmla="*/ 1 h 494"/>
                  <a:gd name="T34" fmla="*/ 362 w 725"/>
                  <a:gd name="T35" fmla="*/ 0 h 494"/>
                  <a:gd name="T36" fmla="*/ 339 w 725"/>
                  <a:gd name="T37" fmla="*/ 1 h 494"/>
                  <a:gd name="T38" fmla="*/ 314 w 725"/>
                  <a:gd name="T39" fmla="*/ 2 h 494"/>
                  <a:gd name="T40" fmla="*/ 291 w 725"/>
                  <a:gd name="T41" fmla="*/ 5 h 494"/>
                  <a:gd name="T42" fmla="*/ 266 w 725"/>
                  <a:gd name="T43" fmla="*/ 8 h 494"/>
                  <a:gd name="T44" fmla="*/ 243 w 725"/>
                  <a:gd name="T45" fmla="*/ 13 h 494"/>
                  <a:gd name="T46" fmla="*/ 219 w 725"/>
                  <a:gd name="T47" fmla="*/ 18 h 494"/>
                  <a:gd name="T48" fmla="*/ 196 w 725"/>
                  <a:gd name="T49" fmla="*/ 25 h 494"/>
                  <a:gd name="T50" fmla="*/ 173 w 725"/>
                  <a:gd name="T51" fmla="*/ 33 h 494"/>
                  <a:gd name="T52" fmla="*/ 150 w 725"/>
                  <a:gd name="T53" fmla="*/ 42 h 494"/>
                  <a:gd name="T54" fmla="*/ 127 w 725"/>
                  <a:gd name="T55" fmla="*/ 52 h 494"/>
                  <a:gd name="T56" fmla="*/ 105 w 725"/>
                  <a:gd name="T57" fmla="*/ 62 h 494"/>
                  <a:gd name="T58" fmla="*/ 83 w 725"/>
                  <a:gd name="T59" fmla="*/ 75 h 494"/>
                  <a:gd name="T60" fmla="*/ 62 w 725"/>
                  <a:gd name="T61" fmla="*/ 87 h 494"/>
                  <a:gd name="T62" fmla="*/ 41 w 725"/>
                  <a:gd name="T63" fmla="*/ 101 h 494"/>
                  <a:gd name="T64" fmla="*/ 21 w 725"/>
                  <a:gd name="T65" fmla="*/ 116 h 494"/>
                  <a:gd name="T66" fmla="*/ 0 w 725"/>
                  <a:gd name="T67" fmla="*/ 132 h 494"/>
                  <a:gd name="T68" fmla="*/ 362 w 725"/>
                  <a:gd name="T69" fmla="*/ 494 h 494"/>
                  <a:gd name="T70" fmla="*/ 725 w 725"/>
                  <a:gd name="T71" fmla="*/ 1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25" h="494">
                    <a:moveTo>
                      <a:pt x="725" y="132"/>
                    </a:moveTo>
                    <a:lnTo>
                      <a:pt x="725" y="132"/>
                    </a:lnTo>
                    <a:lnTo>
                      <a:pt x="705" y="116"/>
                    </a:lnTo>
                    <a:lnTo>
                      <a:pt x="685" y="101"/>
                    </a:lnTo>
                    <a:lnTo>
                      <a:pt x="664" y="87"/>
                    </a:lnTo>
                    <a:lnTo>
                      <a:pt x="643" y="75"/>
                    </a:lnTo>
                    <a:lnTo>
                      <a:pt x="621" y="62"/>
                    </a:lnTo>
                    <a:lnTo>
                      <a:pt x="599" y="51"/>
                    </a:lnTo>
                    <a:lnTo>
                      <a:pt x="576" y="42"/>
                    </a:lnTo>
                    <a:lnTo>
                      <a:pt x="553" y="33"/>
                    </a:lnTo>
                    <a:lnTo>
                      <a:pt x="530" y="25"/>
                    </a:lnTo>
                    <a:lnTo>
                      <a:pt x="507" y="18"/>
                    </a:lnTo>
                    <a:lnTo>
                      <a:pt x="483" y="13"/>
                    </a:lnTo>
                    <a:lnTo>
                      <a:pt x="460" y="8"/>
                    </a:lnTo>
                    <a:lnTo>
                      <a:pt x="435" y="5"/>
                    </a:lnTo>
                    <a:lnTo>
                      <a:pt x="411" y="2"/>
                    </a:lnTo>
                    <a:lnTo>
                      <a:pt x="387" y="1"/>
                    </a:lnTo>
                    <a:lnTo>
                      <a:pt x="362" y="0"/>
                    </a:lnTo>
                    <a:lnTo>
                      <a:pt x="339" y="1"/>
                    </a:lnTo>
                    <a:lnTo>
                      <a:pt x="314" y="2"/>
                    </a:lnTo>
                    <a:lnTo>
                      <a:pt x="291" y="5"/>
                    </a:lnTo>
                    <a:lnTo>
                      <a:pt x="266" y="8"/>
                    </a:lnTo>
                    <a:lnTo>
                      <a:pt x="243" y="13"/>
                    </a:lnTo>
                    <a:lnTo>
                      <a:pt x="219" y="18"/>
                    </a:lnTo>
                    <a:lnTo>
                      <a:pt x="196" y="25"/>
                    </a:lnTo>
                    <a:lnTo>
                      <a:pt x="173" y="33"/>
                    </a:lnTo>
                    <a:lnTo>
                      <a:pt x="150" y="42"/>
                    </a:lnTo>
                    <a:lnTo>
                      <a:pt x="127" y="52"/>
                    </a:lnTo>
                    <a:lnTo>
                      <a:pt x="105" y="62"/>
                    </a:lnTo>
                    <a:lnTo>
                      <a:pt x="83" y="75"/>
                    </a:lnTo>
                    <a:lnTo>
                      <a:pt x="62" y="87"/>
                    </a:lnTo>
                    <a:lnTo>
                      <a:pt x="41" y="101"/>
                    </a:lnTo>
                    <a:lnTo>
                      <a:pt x="21" y="116"/>
                    </a:lnTo>
                    <a:lnTo>
                      <a:pt x="0" y="132"/>
                    </a:lnTo>
                    <a:lnTo>
                      <a:pt x="362" y="494"/>
                    </a:lnTo>
                    <a:lnTo>
                      <a:pt x="725"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33" name="Freeform 371"/>
              <p:cNvSpPr>
                <a:spLocks/>
              </p:cNvSpPr>
              <p:nvPr/>
            </p:nvSpPr>
            <p:spPr bwMode="auto">
              <a:xfrm>
                <a:off x="1039038" y="-1398740"/>
                <a:ext cx="79375" cy="92075"/>
              </a:xfrm>
              <a:custGeom>
                <a:avLst/>
                <a:gdLst>
                  <a:gd name="T0" fmla="*/ 272 w 352"/>
                  <a:gd name="T1" fmla="*/ 0 h 402"/>
                  <a:gd name="T2" fmla="*/ 0 w 352"/>
                  <a:gd name="T3" fmla="*/ 273 h 402"/>
                  <a:gd name="T4" fmla="*/ 0 w 352"/>
                  <a:gd name="T5" fmla="*/ 273 h 402"/>
                  <a:gd name="T6" fmla="*/ 4 w 352"/>
                  <a:gd name="T7" fmla="*/ 305 h 402"/>
                  <a:gd name="T8" fmla="*/ 10 w 352"/>
                  <a:gd name="T9" fmla="*/ 338 h 402"/>
                  <a:gd name="T10" fmla="*/ 18 w 352"/>
                  <a:gd name="T11" fmla="*/ 371 h 402"/>
                  <a:gd name="T12" fmla="*/ 28 w 352"/>
                  <a:gd name="T13" fmla="*/ 402 h 402"/>
                  <a:gd name="T14" fmla="*/ 352 w 352"/>
                  <a:gd name="T15" fmla="*/ 79 h 402"/>
                  <a:gd name="T16" fmla="*/ 272 w 352"/>
                  <a:gd name="T1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402">
                    <a:moveTo>
                      <a:pt x="272" y="0"/>
                    </a:moveTo>
                    <a:lnTo>
                      <a:pt x="0" y="273"/>
                    </a:lnTo>
                    <a:lnTo>
                      <a:pt x="0" y="273"/>
                    </a:lnTo>
                    <a:lnTo>
                      <a:pt x="4" y="305"/>
                    </a:lnTo>
                    <a:lnTo>
                      <a:pt x="10" y="338"/>
                    </a:lnTo>
                    <a:lnTo>
                      <a:pt x="18" y="371"/>
                    </a:lnTo>
                    <a:lnTo>
                      <a:pt x="28" y="402"/>
                    </a:lnTo>
                    <a:lnTo>
                      <a:pt x="352" y="79"/>
                    </a:lnTo>
                    <a:lnTo>
                      <a:pt x="2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grpSp>
          <p:nvGrpSpPr>
            <p:cNvPr id="322" name="Group 321"/>
            <p:cNvGrpSpPr/>
            <p:nvPr/>
          </p:nvGrpSpPr>
          <p:grpSpPr>
            <a:xfrm>
              <a:off x="5208518" y="-1395792"/>
              <a:ext cx="426200" cy="371854"/>
              <a:chOff x="1620064" y="-757313"/>
              <a:chExt cx="236538" cy="206376"/>
            </a:xfrm>
            <a:grpFill/>
          </p:grpSpPr>
          <p:sp>
            <p:nvSpPr>
              <p:cNvPr id="324" name="Freeform 186"/>
              <p:cNvSpPr>
                <a:spLocks/>
              </p:cNvSpPr>
              <p:nvPr/>
            </p:nvSpPr>
            <p:spPr bwMode="auto">
              <a:xfrm>
                <a:off x="1745476" y="-757313"/>
                <a:ext cx="44450" cy="174625"/>
              </a:xfrm>
              <a:custGeom>
                <a:avLst/>
                <a:gdLst>
                  <a:gd name="T0" fmla="*/ 196 w 196"/>
                  <a:gd name="T1" fmla="*/ 26 h 767"/>
                  <a:gd name="T2" fmla="*/ 196 w 196"/>
                  <a:gd name="T3" fmla="*/ 26 h 767"/>
                  <a:gd name="T4" fmla="*/ 196 w 196"/>
                  <a:gd name="T5" fmla="*/ 21 h 767"/>
                  <a:gd name="T6" fmla="*/ 194 w 196"/>
                  <a:gd name="T7" fmla="*/ 17 h 767"/>
                  <a:gd name="T8" fmla="*/ 192 w 196"/>
                  <a:gd name="T9" fmla="*/ 11 h 767"/>
                  <a:gd name="T10" fmla="*/ 189 w 196"/>
                  <a:gd name="T11" fmla="*/ 8 h 767"/>
                  <a:gd name="T12" fmla="*/ 185 w 196"/>
                  <a:gd name="T13" fmla="*/ 5 h 767"/>
                  <a:gd name="T14" fmla="*/ 181 w 196"/>
                  <a:gd name="T15" fmla="*/ 2 h 767"/>
                  <a:gd name="T16" fmla="*/ 177 w 196"/>
                  <a:gd name="T17" fmla="*/ 1 h 767"/>
                  <a:gd name="T18" fmla="*/ 172 w 196"/>
                  <a:gd name="T19" fmla="*/ 0 h 767"/>
                  <a:gd name="T20" fmla="*/ 24 w 196"/>
                  <a:gd name="T21" fmla="*/ 0 h 767"/>
                  <a:gd name="T22" fmla="*/ 24 w 196"/>
                  <a:gd name="T23" fmla="*/ 0 h 767"/>
                  <a:gd name="T24" fmla="*/ 19 w 196"/>
                  <a:gd name="T25" fmla="*/ 1 h 767"/>
                  <a:gd name="T26" fmla="*/ 15 w 196"/>
                  <a:gd name="T27" fmla="*/ 2 h 767"/>
                  <a:gd name="T28" fmla="*/ 11 w 196"/>
                  <a:gd name="T29" fmla="*/ 5 h 767"/>
                  <a:gd name="T30" fmla="*/ 7 w 196"/>
                  <a:gd name="T31" fmla="*/ 8 h 767"/>
                  <a:gd name="T32" fmla="*/ 4 w 196"/>
                  <a:gd name="T33" fmla="*/ 11 h 767"/>
                  <a:gd name="T34" fmla="*/ 2 w 196"/>
                  <a:gd name="T35" fmla="*/ 17 h 767"/>
                  <a:gd name="T36" fmla="*/ 1 w 196"/>
                  <a:gd name="T37" fmla="*/ 21 h 767"/>
                  <a:gd name="T38" fmla="*/ 0 w 196"/>
                  <a:gd name="T39" fmla="*/ 26 h 767"/>
                  <a:gd name="T40" fmla="*/ 0 w 196"/>
                  <a:gd name="T41" fmla="*/ 767 h 767"/>
                  <a:gd name="T42" fmla="*/ 196 w 196"/>
                  <a:gd name="T43" fmla="*/ 767 h 767"/>
                  <a:gd name="T44" fmla="*/ 196 w 196"/>
                  <a:gd name="T45" fmla="*/ 26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767">
                    <a:moveTo>
                      <a:pt x="196" y="26"/>
                    </a:moveTo>
                    <a:lnTo>
                      <a:pt x="196" y="26"/>
                    </a:lnTo>
                    <a:lnTo>
                      <a:pt x="196" y="21"/>
                    </a:lnTo>
                    <a:lnTo>
                      <a:pt x="194" y="17"/>
                    </a:lnTo>
                    <a:lnTo>
                      <a:pt x="192" y="11"/>
                    </a:lnTo>
                    <a:lnTo>
                      <a:pt x="189" y="8"/>
                    </a:lnTo>
                    <a:lnTo>
                      <a:pt x="185" y="5"/>
                    </a:lnTo>
                    <a:lnTo>
                      <a:pt x="181" y="2"/>
                    </a:lnTo>
                    <a:lnTo>
                      <a:pt x="177" y="1"/>
                    </a:lnTo>
                    <a:lnTo>
                      <a:pt x="172" y="0"/>
                    </a:lnTo>
                    <a:lnTo>
                      <a:pt x="24" y="0"/>
                    </a:lnTo>
                    <a:lnTo>
                      <a:pt x="24" y="0"/>
                    </a:lnTo>
                    <a:lnTo>
                      <a:pt x="19" y="1"/>
                    </a:lnTo>
                    <a:lnTo>
                      <a:pt x="15" y="2"/>
                    </a:lnTo>
                    <a:lnTo>
                      <a:pt x="11" y="5"/>
                    </a:lnTo>
                    <a:lnTo>
                      <a:pt x="7" y="8"/>
                    </a:lnTo>
                    <a:lnTo>
                      <a:pt x="4" y="11"/>
                    </a:lnTo>
                    <a:lnTo>
                      <a:pt x="2" y="17"/>
                    </a:lnTo>
                    <a:lnTo>
                      <a:pt x="1" y="21"/>
                    </a:lnTo>
                    <a:lnTo>
                      <a:pt x="0" y="26"/>
                    </a:lnTo>
                    <a:lnTo>
                      <a:pt x="0" y="767"/>
                    </a:lnTo>
                    <a:lnTo>
                      <a:pt x="196" y="767"/>
                    </a:lnTo>
                    <a:lnTo>
                      <a:pt x="196"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5" name="Freeform 187"/>
              <p:cNvSpPr>
                <a:spLocks/>
              </p:cNvSpPr>
              <p:nvPr/>
            </p:nvSpPr>
            <p:spPr bwMode="auto">
              <a:xfrm>
                <a:off x="1685151" y="-666825"/>
                <a:ext cx="44450" cy="84138"/>
              </a:xfrm>
              <a:custGeom>
                <a:avLst/>
                <a:gdLst>
                  <a:gd name="T0" fmla="*/ 196 w 196"/>
                  <a:gd name="T1" fmla="*/ 25 h 369"/>
                  <a:gd name="T2" fmla="*/ 196 w 196"/>
                  <a:gd name="T3" fmla="*/ 25 h 369"/>
                  <a:gd name="T4" fmla="*/ 196 w 196"/>
                  <a:gd name="T5" fmla="*/ 20 h 369"/>
                  <a:gd name="T6" fmla="*/ 194 w 196"/>
                  <a:gd name="T7" fmla="*/ 15 h 369"/>
                  <a:gd name="T8" fmla="*/ 192 w 196"/>
                  <a:gd name="T9" fmla="*/ 11 h 369"/>
                  <a:gd name="T10" fmla="*/ 189 w 196"/>
                  <a:gd name="T11" fmla="*/ 7 h 369"/>
                  <a:gd name="T12" fmla="*/ 185 w 196"/>
                  <a:gd name="T13" fmla="*/ 4 h 369"/>
                  <a:gd name="T14" fmla="*/ 181 w 196"/>
                  <a:gd name="T15" fmla="*/ 2 h 369"/>
                  <a:gd name="T16" fmla="*/ 177 w 196"/>
                  <a:gd name="T17" fmla="*/ 0 h 369"/>
                  <a:gd name="T18" fmla="*/ 172 w 196"/>
                  <a:gd name="T19" fmla="*/ 0 h 369"/>
                  <a:gd name="T20" fmla="*/ 25 w 196"/>
                  <a:gd name="T21" fmla="*/ 0 h 369"/>
                  <a:gd name="T22" fmla="*/ 25 w 196"/>
                  <a:gd name="T23" fmla="*/ 0 h 369"/>
                  <a:gd name="T24" fmla="*/ 19 w 196"/>
                  <a:gd name="T25" fmla="*/ 0 h 369"/>
                  <a:gd name="T26" fmla="*/ 15 w 196"/>
                  <a:gd name="T27" fmla="*/ 2 h 369"/>
                  <a:gd name="T28" fmla="*/ 11 w 196"/>
                  <a:gd name="T29" fmla="*/ 4 h 369"/>
                  <a:gd name="T30" fmla="*/ 7 w 196"/>
                  <a:gd name="T31" fmla="*/ 7 h 369"/>
                  <a:gd name="T32" fmla="*/ 4 w 196"/>
                  <a:gd name="T33" fmla="*/ 11 h 369"/>
                  <a:gd name="T34" fmla="*/ 2 w 196"/>
                  <a:gd name="T35" fmla="*/ 15 h 369"/>
                  <a:gd name="T36" fmla="*/ 1 w 196"/>
                  <a:gd name="T37" fmla="*/ 20 h 369"/>
                  <a:gd name="T38" fmla="*/ 0 w 196"/>
                  <a:gd name="T39" fmla="*/ 25 h 369"/>
                  <a:gd name="T40" fmla="*/ 0 w 196"/>
                  <a:gd name="T41" fmla="*/ 369 h 369"/>
                  <a:gd name="T42" fmla="*/ 196 w 196"/>
                  <a:gd name="T43" fmla="*/ 369 h 369"/>
                  <a:gd name="T44" fmla="*/ 196 w 196"/>
                  <a:gd name="T45" fmla="*/ 25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369">
                    <a:moveTo>
                      <a:pt x="196" y="25"/>
                    </a:moveTo>
                    <a:lnTo>
                      <a:pt x="196" y="25"/>
                    </a:lnTo>
                    <a:lnTo>
                      <a:pt x="196" y="20"/>
                    </a:lnTo>
                    <a:lnTo>
                      <a:pt x="194" y="15"/>
                    </a:lnTo>
                    <a:lnTo>
                      <a:pt x="192" y="11"/>
                    </a:lnTo>
                    <a:lnTo>
                      <a:pt x="189" y="7"/>
                    </a:lnTo>
                    <a:lnTo>
                      <a:pt x="185" y="4"/>
                    </a:lnTo>
                    <a:lnTo>
                      <a:pt x="181" y="2"/>
                    </a:lnTo>
                    <a:lnTo>
                      <a:pt x="177" y="0"/>
                    </a:lnTo>
                    <a:lnTo>
                      <a:pt x="172" y="0"/>
                    </a:lnTo>
                    <a:lnTo>
                      <a:pt x="25" y="0"/>
                    </a:lnTo>
                    <a:lnTo>
                      <a:pt x="25" y="0"/>
                    </a:lnTo>
                    <a:lnTo>
                      <a:pt x="19" y="0"/>
                    </a:lnTo>
                    <a:lnTo>
                      <a:pt x="15" y="2"/>
                    </a:lnTo>
                    <a:lnTo>
                      <a:pt x="11" y="4"/>
                    </a:lnTo>
                    <a:lnTo>
                      <a:pt x="7" y="7"/>
                    </a:lnTo>
                    <a:lnTo>
                      <a:pt x="4" y="11"/>
                    </a:lnTo>
                    <a:lnTo>
                      <a:pt x="2" y="15"/>
                    </a:lnTo>
                    <a:lnTo>
                      <a:pt x="1" y="20"/>
                    </a:lnTo>
                    <a:lnTo>
                      <a:pt x="0" y="25"/>
                    </a:lnTo>
                    <a:lnTo>
                      <a:pt x="0" y="369"/>
                    </a:lnTo>
                    <a:lnTo>
                      <a:pt x="196" y="369"/>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6" name="Freeform 188"/>
              <p:cNvSpPr>
                <a:spLocks/>
              </p:cNvSpPr>
              <p:nvPr/>
            </p:nvSpPr>
            <p:spPr bwMode="auto">
              <a:xfrm>
                <a:off x="1805801" y="-709688"/>
                <a:ext cx="44450" cy="127000"/>
              </a:xfrm>
              <a:custGeom>
                <a:avLst/>
                <a:gdLst>
                  <a:gd name="T0" fmla="*/ 196 w 196"/>
                  <a:gd name="T1" fmla="*/ 24 h 558"/>
                  <a:gd name="T2" fmla="*/ 196 w 196"/>
                  <a:gd name="T3" fmla="*/ 24 h 558"/>
                  <a:gd name="T4" fmla="*/ 196 w 196"/>
                  <a:gd name="T5" fmla="*/ 19 h 558"/>
                  <a:gd name="T6" fmla="*/ 194 w 196"/>
                  <a:gd name="T7" fmla="*/ 15 h 558"/>
                  <a:gd name="T8" fmla="*/ 192 w 196"/>
                  <a:gd name="T9" fmla="*/ 11 h 558"/>
                  <a:gd name="T10" fmla="*/ 189 w 196"/>
                  <a:gd name="T11" fmla="*/ 7 h 558"/>
                  <a:gd name="T12" fmla="*/ 186 w 196"/>
                  <a:gd name="T13" fmla="*/ 4 h 558"/>
                  <a:gd name="T14" fmla="*/ 181 w 196"/>
                  <a:gd name="T15" fmla="*/ 2 h 558"/>
                  <a:gd name="T16" fmla="*/ 177 w 196"/>
                  <a:gd name="T17" fmla="*/ 1 h 558"/>
                  <a:gd name="T18" fmla="*/ 172 w 196"/>
                  <a:gd name="T19" fmla="*/ 0 h 558"/>
                  <a:gd name="T20" fmla="*/ 24 w 196"/>
                  <a:gd name="T21" fmla="*/ 0 h 558"/>
                  <a:gd name="T22" fmla="*/ 24 w 196"/>
                  <a:gd name="T23" fmla="*/ 0 h 558"/>
                  <a:gd name="T24" fmla="*/ 20 w 196"/>
                  <a:gd name="T25" fmla="*/ 1 h 558"/>
                  <a:gd name="T26" fmla="*/ 15 w 196"/>
                  <a:gd name="T27" fmla="*/ 2 h 558"/>
                  <a:gd name="T28" fmla="*/ 11 w 196"/>
                  <a:gd name="T29" fmla="*/ 4 h 558"/>
                  <a:gd name="T30" fmla="*/ 7 w 196"/>
                  <a:gd name="T31" fmla="*/ 7 h 558"/>
                  <a:gd name="T32" fmla="*/ 4 w 196"/>
                  <a:gd name="T33" fmla="*/ 11 h 558"/>
                  <a:gd name="T34" fmla="*/ 2 w 196"/>
                  <a:gd name="T35" fmla="*/ 15 h 558"/>
                  <a:gd name="T36" fmla="*/ 1 w 196"/>
                  <a:gd name="T37" fmla="*/ 19 h 558"/>
                  <a:gd name="T38" fmla="*/ 0 w 196"/>
                  <a:gd name="T39" fmla="*/ 24 h 558"/>
                  <a:gd name="T40" fmla="*/ 0 w 196"/>
                  <a:gd name="T41" fmla="*/ 558 h 558"/>
                  <a:gd name="T42" fmla="*/ 196 w 196"/>
                  <a:gd name="T43" fmla="*/ 558 h 558"/>
                  <a:gd name="T44" fmla="*/ 196 w 196"/>
                  <a:gd name="T45" fmla="*/ 2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558">
                    <a:moveTo>
                      <a:pt x="196" y="24"/>
                    </a:moveTo>
                    <a:lnTo>
                      <a:pt x="196" y="24"/>
                    </a:lnTo>
                    <a:lnTo>
                      <a:pt x="196" y="19"/>
                    </a:lnTo>
                    <a:lnTo>
                      <a:pt x="194" y="15"/>
                    </a:lnTo>
                    <a:lnTo>
                      <a:pt x="192" y="11"/>
                    </a:lnTo>
                    <a:lnTo>
                      <a:pt x="189" y="7"/>
                    </a:lnTo>
                    <a:lnTo>
                      <a:pt x="186" y="4"/>
                    </a:lnTo>
                    <a:lnTo>
                      <a:pt x="181" y="2"/>
                    </a:lnTo>
                    <a:lnTo>
                      <a:pt x="177" y="1"/>
                    </a:lnTo>
                    <a:lnTo>
                      <a:pt x="172" y="0"/>
                    </a:lnTo>
                    <a:lnTo>
                      <a:pt x="24" y="0"/>
                    </a:lnTo>
                    <a:lnTo>
                      <a:pt x="24" y="0"/>
                    </a:lnTo>
                    <a:lnTo>
                      <a:pt x="20" y="1"/>
                    </a:lnTo>
                    <a:lnTo>
                      <a:pt x="15" y="2"/>
                    </a:lnTo>
                    <a:lnTo>
                      <a:pt x="11" y="4"/>
                    </a:lnTo>
                    <a:lnTo>
                      <a:pt x="7" y="7"/>
                    </a:lnTo>
                    <a:lnTo>
                      <a:pt x="4" y="11"/>
                    </a:lnTo>
                    <a:lnTo>
                      <a:pt x="2" y="15"/>
                    </a:lnTo>
                    <a:lnTo>
                      <a:pt x="1" y="19"/>
                    </a:lnTo>
                    <a:lnTo>
                      <a:pt x="0" y="24"/>
                    </a:lnTo>
                    <a:lnTo>
                      <a:pt x="0" y="558"/>
                    </a:lnTo>
                    <a:lnTo>
                      <a:pt x="196" y="558"/>
                    </a:lnTo>
                    <a:lnTo>
                      <a:pt x="196"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7" name="Freeform 189"/>
              <p:cNvSpPr>
                <a:spLocks/>
              </p:cNvSpPr>
              <p:nvPr/>
            </p:nvSpPr>
            <p:spPr bwMode="auto">
              <a:xfrm>
                <a:off x="1624826" y="-622375"/>
                <a:ext cx="44450" cy="39688"/>
              </a:xfrm>
              <a:custGeom>
                <a:avLst/>
                <a:gdLst>
                  <a:gd name="T0" fmla="*/ 196 w 196"/>
                  <a:gd name="T1" fmla="*/ 25 h 175"/>
                  <a:gd name="T2" fmla="*/ 196 w 196"/>
                  <a:gd name="T3" fmla="*/ 25 h 175"/>
                  <a:gd name="T4" fmla="*/ 195 w 196"/>
                  <a:gd name="T5" fmla="*/ 20 h 175"/>
                  <a:gd name="T6" fmla="*/ 194 w 196"/>
                  <a:gd name="T7" fmla="*/ 16 h 175"/>
                  <a:gd name="T8" fmla="*/ 192 w 196"/>
                  <a:gd name="T9" fmla="*/ 12 h 175"/>
                  <a:gd name="T10" fmla="*/ 189 w 196"/>
                  <a:gd name="T11" fmla="*/ 8 h 175"/>
                  <a:gd name="T12" fmla="*/ 185 w 196"/>
                  <a:gd name="T13" fmla="*/ 5 h 175"/>
                  <a:gd name="T14" fmla="*/ 181 w 196"/>
                  <a:gd name="T15" fmla="*/ 2 h 175"/>
                  <a:gd name="T16" fmla="*/ 177 w 196"/>
                  <a:gd name="T17" fmla="*/ 0 h 175"/>
                  <a:gd name="T18" fmla="*/ 172 w 196"/>
                  <a:gd name="T19" fmla="*/ 0 h 175"/>
                  <a:gd name="T20" fmla="*/ 25 w 196"/>
                  <a:gd name="T21" fmla="*/ 0 h 175"/>
                  <a:gd name="T22" fmla="*/ 25 w 196"/>
                  <a:gd name="T23" fmla="*/ 0 h 175"/>
                  <a:gd name="T24" fmla="*/ 19 w 196"/>
                  <a:gd name="T25" fmla="*/ 0 h 175"/>
                  <a:gd name="T26" fmla="*/ 15 w 196"/>
                  <a:gd name="T27" fmla="*/ 2 h 175"/>
                  <a:gd name="T28" fmla="*/ 10 w 196"/>
                  <a:gd name="T29" fmla="*/ 5 h 175"/>
                  <a:gd name="T30" fmla="*/ 7 w 196"/>
                  <a:gd name="T31" fmla="*/ 8 h 175"/>
                  <a:gd name="T32" fmla="*/ 4 w 196"/>
                  <a:gd name="T33" fmla="*/ 12 h 175"/>
                  <a:gd name="T34" fmla="*/ 2 w 196"/>
                  <a:gd name="T35" fmla="*/ 16 h 175"/>
                  <a:gd name="T36" fmla="*/ 0 w 196"/>
                  <a:gd name="T37" fmla="*/ 20 h 175"/>
                  <a:gd name="T38" fmla="*/ 0 w 196"/>
                  <a:gd name="T39" fmla="*/ 25 h 175"/>
                  <a:gd name="T40" fmla="*/ 0 w 196"/>
                  <a:gd name="T41" fmla="*/ 175 h 175"/>
                  <a:gd name="T42" fmla="*/ 196 w 196"/>
                  <a:gd name="T43" fmla="*/ 175 h 175"/>
                  <a:gd name="T44" fmla="*/ 196 w 196"/>
                  <a:gd name="T45" fmla="*/ 2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6" h="175">
                    <a:moveTo>
                      <a:pt x="196" y="25"/>
                    </a:moveTo>
                    <a:lnTo>
                      <a:pt x="196" y="25"/>
                    </a:lnTo>
                    <a:lnTo>
                      <a:pt x="195" y="20"/>
                    </a:lnTo>
                    <a:lnTo>
                      <a:pt x="194" y="16"/>
                    </a:lnTo>
                    <a:lnTo>
                      <a:pt x="192" y="12"/>
                    </a:lnTo>
                    <a:lnTo>
                      <a:pt x="189" y="8"/>
                    </a:lnTo>
                    <a:lnTo>
                      <a:pt x="185" y="5"/>
                    </a:lnTo>
                    <a:lnTo>
                      <a:pt x="181" y="2"/>
                    </a:lnTo>
                    <a:lnTo>
                      <a:pt x="177" y="0"/>
                    </a:lnTo>
                    <a:lnTo>
                      <a:pt x="172" y="0"/>
                    </a:lnTo>
                    <a:lnTo>
                      <a:pt x="25" y="0"/>
                    </a:lnTo>
                    <a:lnTo>
                      <a:pt x="25" y="0"/>
                    </a:lnTo>
                    <a:lnTo>
                      <a:pt x="19" y="0"/>
                    </a:lnTo>
                    <a:lnTo>
                      <a:pt x="15" y="2"/>
                    </a:lnTo>
                    <a:lnTo>
                      <a:pt x="10" y="5"/>
                    </a:lnTo>
                    <a:lnTo>
                      <a:pt x="7" y="8"/>
                    </a:lnTo>
                    <a:lnTo>
                      <a:pt x="4" y="12"/>
                    </a:lnTo>
                    <a:lnTo>
                      <a:pt x="2" y="16"/>
                    </a:lnTo>
                    <a:lnTo>
                      <a:pt x="0" y="20"/>
                    </a:lnTo>
                    <a:lnTo>
                      <a:pt x="0" y="25"/>
                    </a:lnTo>
                    <a:lnTo>
                      <a:pt x="0" y="175"/>
                    </a:lnTo>
                    <a:lnTo>
                      <a:pt x="196" y="175"/>
                    </a:lnTo>
                    <a:lnTo>
                      <a:pt x="196"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sp>
            <p:nvSpPr>
              <p:cNvPr id="328" name="Freeform 190"/>
              <p:cNvSpPr>
                <a:spLocks/>
              </p:cNvSpPr>
              <p:nvPr/>
            </p:nvSpPr>
            <p:spPr bwMode="auto">
              <a:xfrm>
                <a:off x="1620064" y="-568400"/>
                <a:ext cx="236538" cy="17463"/>
              </a:xfrm>
              <a:custGeom>
                <a:avLst/>
                <a:gdLst>
                  <a:gd name="T0" fmla="*/ 1031 w 1044"/>
                  <a:gd name="T1" fmla="*/ 0 h 79"/>
                  <a:gd name="T2" fmla="*/ 13 w 1044"/>
                  <a:gd name="T3" fmla="*/ 0 h 79"/>
                  <a:gd name="T4" fmla="*/ 13 w 1044"/>
                  <a:gd name="T5" fmla="*/ 0 h 79"/>
                  <a:gd name="T6" fmla="*/ 8 w 1044"/>
                  <a:gd name="T7" fmla="*/ 1 h 79"/>
                  <a:gd name="T8" fmla="*/ 4 w 1044"/>
                  <a:gd name="T9" fmla="*/ 3 h 79"/>
                  <a:gd name="T10" fmla="*/ 1 w 1044"/>
                  <a:gd name="T11" fmla="*/ 7 h 79"/>
                  <a:gd name="T12" fmla="*/ 0 w 1044"/>
                  <a:gd name="T13" fmla="*/ 12 h 79"/>
                  <a:gd name="T14" fmla="*/ 0 w 1044"/>
                  <a:gd name="T15" fmla="*/ 66 h 79"/>
                  <a:gd name="T16" fmla="*/ 0 w 1044"/>
                  <a:gd name="T17" fmla="*/ 66 h 79"/>
                  <a:gd name="T18" fmla="*/ 1 w 1044"/>
                  <a:gd name="T19" fmla="*/ 71 h 79"/>
                  <a:gd name="T20" fmla="*/ 4 w 1044"/>
                  <a:gd name="T21" fmla="*/ 75 h 79"/>
                  <a:gd name="T22" fmla="*/ 8 w 1044"/>
                  <a:gd name="T23" fmla="*/ 78 h 79"/>
                  <a:gd name="T24" fmla="*/ 13 w 1044"/>
                  <a:gd name="T25" fmla="*/ 79 h 79"/>
                  <a:gd name="T26" fmla="*/ 1031 w 1044"/>
                  <a:gd name="T27" fmla="*/ 79 h 79"/>
                  <a:gd name="T28" fmla="*/ 1031 w 1044"/>
                  <a:gd name="T29" fmla="*/ 79 h 79"/>
                  <a:gd name="T30" fmla="*/ 1036 w 1044"/>
                  <a:gd name="T31" fmla="*/ 78 h 79"/>
                  <a:gd name="T32" fmla="*/ 1040 w 1044"/>
                  <a:gd name="T33" fmla="*/ 75 h 79"/>
                  <a:gd name="T34" fmla="*/ 1043 w 1044"/>
                  <a:gd name="T35" fmla="*/ 71 h 79"/>
                  <a:gd name="T36" fmla="*/ 1044 w 1044"/>
                  <a:gd name="T37" fmla="*/ 66 h 79"/>
                  <a:gd name="T38" fmla="*/ 1044 w 1044"/>
                  <a:gd name="T39" fmla="*/ 12 h 79"/>
                  <a:gd name="T40" fmla="*/ 1044 w 1044"/>
                  <a:gd name="T41" fmla="*/ 12 h 79"/>
                  <a:gd name="T42" fmla="*/ 1043 w 1044"/>
                  <a:gd name="T43" fmla="*/ 7 h 79"/>
                  <a:gd name="T44" fmla="*/ 1040 w 1044"/>
                  <a:gd name="T45" fmla="*/ 3 h 79"/>
                  <a:gd name="T46" fmla="*/ 1036 w 1044"/>
                  <a:gd name="T47" fmla="*/ 1 h 79"/>
                  <a:gd name="T48" fmla="*/ 1031 w 1044"/>
                  <a:gd name="T49" fmla="*/ 0 h 79"/>
                  <a:gd name="T50" fmla="*/ 1031 w 1044"/>
                  <a:gd name="T5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44" h="79">
                    <a:moveTo>
                      <a:pt x="1031" y="0"/>
                    </a:moveTo>
                    <a:lnTo>
                      <a:pt x="13" y="0"/>
                    </a:lnTo>
                    <a:lnTo>
                      <a:pt x="13" y="0"/>
                    </a:lnTo>
                    <a:lnTo>
                      <a:pt x="8" y="1"/>
                    </a:lnTo>
                    <a:lnTo>
                      <a:pt x="4" y="3"/>
                    </a:lnTo>
                    <a:lnTo>
                      <a:pt x="1" y="7"/>
                    </a:lnTo>
                    <a:lnTo>
                      <a:pt x="0" y="12"/>
                    </a:lnTo>
                    <a:lnTo>
                      <a:pt x="0" y="66"/>
                    </a:lnTo>
                    <a:lnTo>
                      <a:pt x="0" y="66"/>
                    </a:lnTo>
                    <a:lnTo>
                      <a:pt x="1" y="71"/>
                    </a:lnTo>
                    <a:lnTo>
                      <a:pt x="4" y="75"/>
                    </a:lnTo>
                    <a:lnTo>
                      <a:pt x="8" y="78"/>
                    </a:lnTo>
                    <a:lnTo>
                      <a:pt x="13" y="79"/>
                    </a:lnTo>
                    <a:lnTo>
                      <a:pt x="1031" y="79"/>
                    </a:lnTo>
                    <a:lnTo>
                      <a:pt x="1031" y="79"/>
                    </a:lnTo>
                    <a:lnTo>
                      <a:pt x="1036" y="78"/>
                    </a:lnTo>
                    <a:lnTo>
                      <a:pt x="1040" y="75"/>
                    </a:lnTo>
                    <a:lnTo>
                      <a:pt x="1043" y="71"/>
                    </a:lnTo>
                    <a:lnTo>
                      <a:pt x="1044" y="66"/>
                    </a:lnTo>
                    <a:lnTo>
                      <a:pt x="1044" y="12"/>
                    </a:lnTo>
                    <a:lnTo>
                      <a:pt x="1044" y="12"/>
                    </a:lnTo>
                    <a:lnTo>
                      <a:pt x="1043" y="7"/>
                    </a:lnTo>
                    <a:lnTo>
                      <a:pt x="1040" y="3"/>
                    </a:lnTo>
                    <a:lnTo>
                      <a:pt x="1036" y="1"/>
                    </a:lnTo>
                    <a:lnTo>
                      <a:pt x="1031" y="0"/>
                    </a:lnTo>
                    <a:lnTo>
                      <a:pt x="10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dirty="0"/>
              </a:p>
            </p:txBody>
          </p:sp>
        </p:grpSp>
        <p:sp>
          <p:nvSpPr>
            <p:cNvPr id="323" name="Rounded Rectangle 322"/>
            <p:cNvSpPr/>
            <p:nvPr/>
          </p:nvSpPr>
          <p:spPr>
            <a:xfrm>
              <a:off x="5072499" y="-1601580"/>
              <a:ext cx="36576" cy="783431"/>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cxnSp>
        <p:nvCxnSpPr>
          <p:cNvPr id="334" name="Straight Connector 333"/>
          <p:cNvCxnSpPr/>
          <p:nvPr/>
        </p:nvCxnSpPr>
        <p:spPr>
          <a:xfrm>
            <a:off x="6689172" y="3461731"/>
            <a:ext cx="23260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nvCxnSpPr>
        <p:spPr>
          <a:xfrm>
            <a:off x="6689169" y="3523616"/>
            <a:ext cx="2052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nvCxnSpPr>
        <p:spPr>
          <a:xfrm>
            <a:off x="6689172" y="3585501"/>
            <a:ext cx="23260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nvCxnSpPr>
        <p:spPr>
          <a:xfrm>
            <a:off x="6689167" y="3647386"/>
            <a:ext cx="22131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nvCxnSpPr>
        <p:spPr>
          <a:xfrm>
            <a:off x="6689167" y="3709271"/>
            <a:ext cx="22131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p:nvPr/>
        </p:nvCxnSpPr>
        <p:spPr>
          <a:xfrm>
            <a:off x="6689169" y="3399846"/>
            <a:ext cx="18192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40" name="Group 339"/>
          <p:cNvGrpSpPr/>
          <p:nvPr/>
        </p:nvGrpSpPr>
        <p:grpSpPr>
          <a:xfrm>
            <a:off x="6315856" y="3677057"/>
            <a:ext cx="853243" cy="866556"/>
            <a:chOff x="2039065" y="3727034"/>
            <a:chExt cx="853465" cy="866556"/>
          </a:xfrm>
        </p:grpSpPr>
        <p:sp>
          <p:nvSpPr>
            <p:cNvPr id="341" name="Freeform 340"/>
            <p:cNvSpPr/>
            <p:nvPr/>
          </p:nvSpPr>
          <p:spPr>
            <a:xfrm>
              <a:off x="2039065" y="3727034"/>
              <a:ext cx="853465" cy="866556"/>
            </a:xfrm>
            <a:custGeom>
              <a:avLst/>
              <a:gdLst>
                <a:gd name="connsiteX0" fmla="*/ 427900 w 853465"/>
                <a:gd name="connsiteY0" fmla="*/ 0 h 866556"/>
                <a:gd name="connsiteX1" fmla="*/ 455090 w 853465"/>
                <a:gd name="connsiteY1" fmla="*/ 3869 h 866556"/>
                <a:gd name="connsiteX2" fmla="*/ 484223 w 853465"/>
                <a:gd name="connsiteY2" fmla="*/ 5803 h 866556"/>
                <a:gd name="connsiteX3" fmla="*/ 507528 w 853465"/>
                <a:gd name="connsiteY3" fmla="*/ 13539 h 866556"/>
                <a:gd name="connsiteX4" fmla="*/ 530834 w 853465"/>
                <a:gd name="connsiteY4" fmla="*/ 21275 h 866556"/>
                <a:gd name="connsiteX5" fmla="*/ 552197 w 853465"/>
                <a:gd name="connsiteY5" fmla="*/ 30945 h 866556"/>
                <a:gd name="connsiteX6" fmla="*/ 573561 w 853465"/>
                <a:gd name="connsiteY6" fmla="*/ 44484 h 866556"/>
                <a:gd name="connsiteX7" fmla="*/ 589098 w 853465"/>
                <a:gd name="connsiteY7" fmla="*/ 59958 h 866556"/>
                <a:gd name="connsiteX8" fmla="*/ 602693 w 853465"/>
                <a:gd name="connsiteY8" fmla="*/ 75430 h 866556"/>
                <a:gd name="connsiteX9" fmla="*/ 616289 w 853465"/>
                <a:gd name="connsiteY9" fmla="*/ 94771 h 866556"/>
                <a:gd name="connsiteX10" fmla="*/ 626000 w 853465"/>
                <a:gd name="connsiteY10" fmla="*/ 112178 h 866556"/>
                <a:gd name="connsiteX11" fmla="*/ 631825 w 853465"/>
                <a:gd name="connsiteY11" fmla="*/ 131520 h 866556"/>
                <a:gd name="connsiteX12" fmla="*/ 635709 w 853465"/>
                <a:gd name="connsiteY12" fmla="*/ 152795 h 866556"/>
                <a:gd name="connsiteX13" fmla="*/ 635709 w 853465"/>
                <a:gd name="connsiteY13" fmla="*/ 172135 h 866556"/>
                <a:gd name="connsiteX14" fmla="*/ 635709 w 853465"/>
                <a:gd name="connsiteY14" fmla="*/ 193410 h 866556"/>
                <a:gd name="connsiteX15" fmla="*/ 633768 w 853465"/>
                <a:gd name="connsiteY15" fmla="*/ 214685 h 866556"/>
                <a:gd name="connsiteX16" fmla="*/ 626000 w 853465"/>
                <a:gd name="connsiteY16" fmla="*/ 235960 h 866556"/>
                <a:gd name="connsiteX17" fmla="*/ 631825 w 853465"/>
                <a:gd name="connsiteY17" fmla="*/ 235960 h 866556"/>
                <a:gd name="connsiteX18" fmla="*/ 639594 w 853465"/>
                <a:gd name="connsiteY18" fmla="*/ 235960 h 866556"/>
                <a:gd name="connsiteX19" fmla="*/ 647363 w 853465"/>
                <a:gd name="connsiteY19" fmla="*/ 239829 h 866556"/>
                <a:gd name="connsiteX20" fmla="*/ 649305 w 853465"/>
                <a:gd name="connsiteY20" fmla="*/ 245631 h 866556"/>
                <a:gd name="connsiteX21" fmla="*/ 653189 w 853465"/>
                <a:gd name="connsiteY21" fmla="*/ 253368 h 866556"/>
                <a:gd name="connsiteX22" fmla="*/ 655131 w 853465"/>
                <a:gd name="connsiteY22" fmla="*/ 274643 h 866556"/>
                <a:gd name="connsiteX23" fmla="*/ 653189 w 853465"/>
                <a:gd name="connsiteY23" fmla="*/ 297852 h 866556"/>
                <a:gd name="connsiteX24" fmla="*/ 643479 w 853465"/>
                <a:gd name="connsiteY24" fmla="*/ 321061 h 866556"/>
                <a:gd name="connsiteX25" fmla="*/ 633768 w 853465"/>
                <a:gd name="connsiteY25" fmla="*/ 342336 h 866556"/>
                <a:gd name="connsiteX26" fmla="*/ 626000 w 853465"/>
                <a:gd name="connsiteY26" fmla="*/ 350072 h 866556"/>
                <a:gd name="connsiteX27" fmla="*/ 618230 w 853465"/>
                <a:gd name="connsiteY27" fmla="*/ 357809 h 866556"/>
                <a:gd name="connsiteX28" fmla="*/ 608519 w 853465"/>
                <a:gd name="connsiteY28" fmla="*/ 363611 h 866556"/>
                <a:gd name="connsiteX29" fmla="*/ 600751 w 853465"/>
                <a:gd name="connsiteY29" fmla="*/ 363611 h 866556"/>
                <a:gd name="connsiteX30" fmla="*/ 596867 w 853465"/>
                <a:gd name="connsiteY30" fmla="*/ 363611 h 866556"/>
                <a:gd name="connsiteX31" fmla="*/ 579387 w 853465"/>
                <a:gd name="connsiteY31" fmla="*/ 410030 h 866556"/>
                <a:gd name="connsiteX32" fmla="*/ 565792 w 853465"/>
                <a:gd name="connsiteY32" fmla="*/ 431305 h 866556"/>
                <a:gd name="connsiteX33" fmla="*/ 556081 w 853465"/>
                <a:gd name="connsiteY33" fmla="*/ 452580 h 866556"/>
                <a:gd name="connsiteX34" fmla="*/ 552197 w 853465"/>
                <a:gd name="connsiteY34" fmla="*/ 464185 h 866556"/>
                <a:gd name="connsiteX35" fmla="*/ 550256 w 853465"/>
                <a:gd name="connsiteY35" fmla="*/ 491262 h 866556"/>
                <a:gd name="connsiteX36" fmla="*/ 548313 w 853465"/>
                <a:gd name="connsiteY36" fmla="*/ 528010 h 866556"/>
                <a:gd name="connsiteX37" fmla="*/ 550256 w 853465"/>
                <a:gd name="connsiteY37" fmla="*/ 543483 h 866556"/>
                <a:gd name="connsiteX38" fmla="*/ 556081 w 853465"/>
                <a:gd name="connsiteY38" fmla="*/ 557022 h 866556"/>
                <a:gd name="connsiteX39" fmla="*/ 558024 w 853465"/>
                <a:gd name="connsiteY39" fmla="*/ 564758 h 866556"/>
                <a:gd name="connsiteX40" fmla="*/ 565792 w 853465"/>
                <a:gd name="connsiteY40" fmla="*/ 568626 h 866556"/>
                <a:gd name="connsiteX41" fmla="*/ 589098 w 853465"/>
                <a:gd name="connsiteY41" fmla="*/ 584099 h 866556"/>
                <a:gd name="connsiteX42" fmla="*/ 620173 w 853465"/>
                <a:gd name="connsiteY42" fmla="*/ 599572 h 866556"/>
                <a:gd name="connsiteX43" fmla="*/ 655131 w 853465"/>
                <a:gd name="connsiteY43" fmla="*/ 616978 h 866556"/>
                <a:gd name="connsiteX44" fmla="*/ 723106 w 853465"/>
                <a:gd name="connsiteY44" fmla="*/ 644056 h 866556"/>
                <a:gd name="connsiteX45" fmla="*/ 767775 w 853465"/>
                <a:gd name="connsiteY45" fmla="*/ 659529 h 866556"/>
                <a:gd name="connsiteX46" fmla="*/ 777486 w 853465"/>
                <a:gd name="connsiteY46" fmla="*/ 665331 h 866556"/>
                <a:gd name="connsiteX47" fmla="*/ 789140 w 853465"/>
                <a:gd name="connsiteY47" fmla="*/ 676936 h 866556"/>
                <a:gd name="connsiteX48" fmla="*/ 808560 w 853465"/>
                <a:gd name="connsiteY48" fmla="*/ 696276 h 866556"/>
                <a:gd name="connsiteX49" fmla="*/ 820213 w 853465"/>
                <a:gd name="connsiteY49" fmla="*/ 709815 h 866556"/>
                <a:gd name="connsiteX50" fmla="*/ 827982 w 853465"/>
                <a:gd name="connsiteY50" fmla="*/ 723354 h 866556"/>
                <a:gd name="connsiteX51" fmla="*/ 833808 w 853465"/>
                <a:gd name="connsiteY51" fmla="*/ 736893 h 866556"/>
                <a:gd name="connsiteX52" fmla="*/ 835751 w 853465"/>
                <a:gd name="connsiteY52" fmla="*/ 748498 h 866556"/>
                <a:gd name="connsiteX53" fmla="*/ 853465 w 853465"/>
                <a:gd name="connsiteY53" fmla="*/ 866556 h 866556"/>
                <a:gd name="connsiteX54" fmla="*/ 0 w 853465"/>
                <a:gd name="connsiteY54" fmla="*/ 866556 h 866556"/>
                <a:gd name="connsiteX55" fmla="*/ 16166 w 853465"/>
                <a:gd name="connsiteY55" fmla="*/ 748498 h 866556"/>
                <a:gd name="connsiteX56" fmla="*/ 21992 w 853465"/>
                <a:gd name="connsiteY56" fmla="*/ 736893 h 866556"/>
                <a:gd name="connsiteX57" fmla="*/ 25877 w 853465"/>
                <a:gd name="connsiteY57" fmla="*/ 723354 h 866556"/>
                <a:gd name="connsiteX58" fmla="*/ 33645 w 853465"/>
                <a:gd name="connsiteY58" fmla="*/ 709815 h 866556"/>
                <a:gd name="connsiteX59" fmla="*/ 41414 w 853465"/>
                <a:gd name="connsiteY59" fmla="*/ 696276 h 866556"/>
                <a:gd name="connsiteX60" fmla="*/ 64720 w 853465"/>
                <a:gd name="connsiteY60" fmla="*/ 676936 h 866556"/>
                <a:gd name="connsiteX61" fmla="*/ 76372 w 853465"/>
                <a:gd name="connsiteY61" fmla="*/ 665331 h 866556"/>
                <a:gd name="connsiteX62" fmla="*/ 86083 w 853465"/>
                <a:gd name="connsiteY62" fmla="*/ 659529 h 866556"/>
                <a:gd name="connsiteX63" fmla="*/ 128810 w 853465"/>
                <a:gd name="connsiteY63" fmla="*/ 644056 h 866556"/>
                <a:gd name="connsiteX64" fmla="*/ 196785 w 853465"/>
                <a:gd name="connsiteY64" fmla="*/ 616978 h 866556"/>
                <a:gd name="connsiteX65" fmla="*/ 233685 w 853465"/>
                <a:gd name="connsiteY65" fmla="*/ 599572 h 866556"/>
                <a:gd name="connsiteX66" fmla="*/ 262818 w 853465"/>
                <a:gd name="connsiteY66" fmla="*/ 584099 h 866556"/>
                <a:gd name="connsiteX67" fmla="*/ 286124 w 853465"/>
                <a:gd name="connsiteY67" fmla="*/ 568626 h 866556"/>
                <a:gd name="connsiteX68" fmla="*/ 293893 w 853465"/>
                <a:gd name="connsiteY68" fmla="*/ 564758 h 866556"/>
                <a:gd name="connsiteX69" fmla="*/ 297777 w 853465"/>
                <a:gd name="connsiteY69" fmla="*/ 557022 h 866556"/>
                <a:gd name="connsiteX70" fmla="*/ 303604 w 853465"/>
                <a:gd name="connsiteY70" fmla="*/ 543483 h 866556"/>
                <a:gd name="connsiteX71" fmla="*/ 303604 w 853465"/>
                <a:gd name="connsiteY71" fmla="*/ 528010 h 866556"/>
                <a:gd name="connsiteX72" fmla="*/ 303604 w 853465"/>
                <a:gd name="connsiteY72" fmla="*/ 491262 h 866556"/>
                <a:gd name="connsiteX73" fmla="*/ 301661 w 853465"/>
                <a:gd name="connsiteY73" fmla="*/ 464185 h 866556"/>
                <a:gd name="connsiteX74" fmla="*/ 297777 w 853465"/>
                <a:gd name="connsiteY74" fmla="*/ 452580 h 866556"/>
                <a:gd name="connsiteX75" fmla="*/ 286124 w 853465"/>
                <a:gd name="connsiteY75" fmla="*/ 431305 h 866556"/>
                <a:gd name="connsiteX76" fmla="*/ 274471 w 853465"/>
                <a:gd name="connsiteY76" fmla="*/ 410030 h 866556"/>
                <a:gd name="connsiteX77" fmla="*/ 256991 w 853465"/>
                <a:gd name="connsiteY77" fmla="*/ 363611 h 866556"/>
                <a:gd name="connsiteX78" fmla="*/ 255050 w 853465"/>
                <a:gd name="connsiteY78" fmla="*/ 363611 h 866556"/>
                <a:gd name="connsiteX79" fmla="*/ 243396 w 853465"/>
                <a:gd name="connsiteY79" fmla="*/ 363611 h 866556"/>
                <a:gd name="connsiteX80" fmla="*/ 235628 w 853465"/>
                <a:gd name="connsiteY80" fmla="*/ 357809 h 866556"/>
                <a:gd name="connsiteX81" fmla="*/ 227860 w 853465"/>
                <a:gd name="connsiteY81" fmla="*/ 350072 h 866556"/>
                <a:gd name="connsiteX82" fmla="*/ 220091 w 853465"/>
                <a:gd name="connsiteY82" fmla="*/ 342336 h 866556"/>
                <a:gd name="connsiteX83" fmla="*/ 210380 w 853465"/>
                <a:gd name="connsiteY83" fmla="*/ 321061 h 866556"/>
                <a:gd name="connsiteX84" fmla="*/ 202612 w 853465"/>
                <a:gd name="connsiteY84" fmla="*/ 297852 h 866556"/>
                <a:gd name="connsiteX85" fmla="*/ 198727 w 853465"/>
                <a:gd name="connsiteY85" fmla="*/ 274643 h 866556"/>
                <a:gd name="connsiteX86" fmla="*/ 198727 w 853465"/>
                <a:gd name="connsiteY86" fmla="*/ 253368 h 866556"/>
                <a:gd name="connsiteX87" fmla="*/ 202612 w 853465"/>
                <a:gd name="connsiteY87" fmla="*/ 245631 h 866556"/>
                <a:gd name="connsiteX88" fmla="*/ 206496 w 853465"/>
                <a:gd name="connsiteY88" fmla="*/ 239829 h 866556"/>
                <a:gd name="connsiteX89" fmla="*/ 212322 w 853465"/>
                <a:gd name="connsiteY89" fmla="*/ 235960 h 866556"/>
                <a:gd name="connsiteX90" fmla="*/ 222033 w 853465"/>
                <a:gd name="connsiteY90" fmla="*/ 235960 h 866556"/>
                <a:gd name="connsiteX91" fmla="*/ 227860 w 853465"/>
                <a:gd name="connsiteY91" fmla="*/ 235960 h 866556"/>
                <a:gd name="connsiteX92" fmla="*/ 220091 w 853465"/>
                <a:gd name="connsiteY92" fmla="*/ 214685 h 866556"/>
                <a:gd name="connsiteX93" fmla="*/ 218149 w 853465"/>
                <a:gd name="connsiteY93" fmla="*/ 193410 h 866556"/>
                <a:gd name="connsiteX94" fmla="*/ 214265 w 853465"/>
                <a:gd name="connsiteY94" fmla="*/ 172135 h 866556"/>
                <a:gd name="connsiteX95" fmla="*/ 218149 w 853465"/>
                <a:gd name="connsiteY95" fmla="*/ 152795 h 866556"/>
                <a:gd name="connsiteX96" fmla="*/ 222033 w 853465"/>
                <a:gd name="connsiteY96" fmla="*/ 131520 h 866556"/>
                <a:gd name="connsiteX97" fmla="*/ 227860 w 853465"/>
                <a:gd name="connsiteY97" fmla="*/ 112178 h 866556"/>
                <a:gd name="connsiteX98" fmla="*/ 237571 w 853465"/>
                <a:gd name="connsiteY98" fmla="*/ 94771 h 866556"/>
                <a:gd name="connsiteX99" fmla="*/ 249223 w 853465"/>
                <a:gd name="connsiteY99" fmla="*/ 75430 h 866556"/>
                <a:gd name="connsiteX100" fmla="*/ 264760 w 853465"/>
                <a:gd name="connsiteY100" fmla="*/ 59958 h 866556"/>
                <a:gd name="connsiteX101" fmla="*/ 280297 w 853465"/>
                <a:gd name="connsiteY101" fmla="*/ 44484 h 866556"/>
                <a:gd name="connsiteX102" fmla="*/ 297777 w 853465"/>
                <a:gd name="connsiteY102" fmla="*/ 30945 h 866556"/>
                <a:gd name="connsiteX103" fmla="*/ 319140 w 853465"/>
                <a:gd name="connsiteY103" fmla="*/ 21275 h 866556"/>
                <a:gd name="connsiteX104" fmla="*/ 342446 w 853465"/>
                <a:gd name="connsiteY104" fmla="*/ 13539 h 866556"/>
                <a:gd name="connsiteX105" fmla="*/ 369636 w 853465"/>
                <a:gd name="connsiteY105" fmla="*/ 5803 h 866556"/>
                <a:gd name="connsiteX106" fmla="*/ 398768 w 853465"/>
                <a:gd name="connsiteY106" fmla="*/ 3869 h 86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53465" h="866556">
                  <a:moveTo>
                    <a:pt x="427900" y="0"/>
                  </a:moveTo>
                  <a:lnTo>
                    <a:pt x="455090" y="3869"/>
                  </a:lnTo>
                  <a:lnTo>
                    <a:pt x="484223" y="5803"/>
                  </a:lnTo>
                  <a:lnTo>
                    <a:pt x="507528" y="13539"/>
                  </a:lnTo>
                  <a:lnTo>
                    <a:pt x="530834" y="21275"/>
                  </a:lnTo>
                  <a:lnTo>
                    <a:pt x="552197" y="30945"/>
                  </a:lnTo>
                  <a:lnTo>
                    <a:pt x="573561" y="44484"/>
                  </a:lnTo>
                  <a:lnTo>
                    <a:pt x="589098" y="59958"/>
                  </a:lnTo>
                  <a:lnTo>
                    <a:pt x="602693" y="75430"/>
                  </a:lnTo>
                  <a:lnTo>
                    <a:pt x="616289" y="94771"/>
                  </a:lnTo>
                  <a:lnTo>
                    <a:pt x="626000" y="112178"/>
                  </a:lnTo>
                  <a:lnTo>
                    <a:pt x="631825" y="131520"/>
                  </a:lnTo>
                  <a:lnTo>
                    <a:pt x="635709" y="152795"/>
                  </a:lnTo>
                  <a:lnTo>
                    <a:pt x="635709" y="172135"/>
                  </a:lnTo>
                  <a:lnTo>
                    <a:pt x="635709" y="193410"/>
                  </a:lnTo>
                  <a:lnTo>
                    <a:pt x="633768" y="214685"/>
                  </a:lnTo>
                  <a:lnTo>
                    <a:pt x="626000" y="235960"/>
                  </a:lnTo>
                  <a:lnTo>
                    <a:pt x="631825" y="235960"/>
                  </a:lnTo>
                  <a:lnTo>
                    <a:pt x="639594" y="235960"/>
                  </a:lnTo>
                  <a:lnTo>
                    <a:pt x="647363" y="239829"/>
                  </a:lnTo>
                  <a:lnTo>
                    <a:pt x="649305" y="245631"/>
                  </a:lnTo>
                  <a:lnTo>
                    <a:pt x="653189" y="253368"/>
                  </a:lnTo>
                  <a:lnTo>
                    <a:pt x="655131" y="274643"/>
                  </a:lnTo>
                  <a:lnTo>
                    <a:pt x="653189" y="297852"/>
                  </a:lnTo>
                  <a:lnTo>
                    <a:pt x="643479" y="321061"/>
                  </a:lnTo>
                  <a:lnTo>
                    <a:pt x="633768" y="342336"/>
                  </a:lnTo>
                  <a:lnTo>
                    <a:pt x="626000" y="350072"/>
                  </a:lnTo>
                  <a:lnTo>
                    <a:pt x="618230" y="357809"/>
                  </a:lnTo>
                  <a:lnTo>
                    <a:pt x="608519" y="363611"/>
                  </a:lnTo>
                  <a:lnTo>
                    <a:pt x="600751" y="363611"/>
                  </a:lnTo>
                  <a:lnTo>
                    <a:pt x="596867" y="363611"/>
                  </a:lnTo>
                  <a:lnTo>
                    <a:pt x="579387" y="410030"/>
                  </a:lnTo>
                  <a:lnTo>
                    <a:pt x="565792" y="431305"/>
                  </a:lnTo>
                  <a:lnTo>
                    <a:pt x="556081" y="452580"/>
                  </a:lnTo>
                  <a:lnTo>
                    <a:pt x="552197" y="464185"/>
                  </a:lnTo>
                  <a:lnTo>
                    <a:pt x="550256" y="491262"/>
                  </a:lnTo>
                  <a:lnTo>
                    <a:pt x="548313" y="528010"/>
                  </a:lnTo>
                  <a:lnTo>
                    <a:pt x="550256" y="543483"/>
                  </a:lnTo>
                  <a:lnTo>
                    <a:pt x="556081" y="557022"/>
                  </a:lnTo>
                  <a:lnTo>
                    <a:pt x="558024" y="564758"/>
                  </a:lnTo>
                  <a:lnTo>
                    <a:pt x="565792" y="568626"/>
                  </a:lnTo>
                  <a:lnTo>
                    <a:pt x="589098" y="584099"/>
                  </a:lnTo>
                  <a:lnTo>
                    <a:pt x="620173" y="599572"/>
                  </a:lnTo>
                  <a:lnTo>
                    <a:pt x="655131" y="616978"/>
                  </a:lnTo>
                  <a:lnTo>
                    <a:pt x="723106" y="644056"/>
                  </a:lnTo>
                  <a:lnTo>
                    <a:pt x="767775" y="659529"/>
                  </a:lnTo>
                  <a:lnTo>
                    <a:pt x="777486" y="665331"/>
                  </a:lnTo>
                  <a:lnTo>
                    <a:pt x="789140" y="676936"/>
                  </a:lnTo>
                  <a:lnTo>
                    <a:pt x="808560" y="696276"/>
                  </a:lnTo>
                  <a:lnTo>
                    <a:pt x="820213" y="709815"/>
                  </a:lnTo>
                  <a:lnTo>
                    <a:pt x="827982" y="723354"/>
                  </a:lnTo>
                  <a:lnTo>
                    <a:pt x="833808" y="736893"/>
                  </a:lnTo>
                  <a:lnTo>
                    <a:pt x="835751" y="748498"/>
                  </a:lnTo>
                  <a:lnTo>
                    <a:pt x="853465" y="866556"/>
                  </a:lnTo>
                  <a:lnTo>
                    <a:pt x="0" y="866556"/>
                  </a:lnTo>
                  <a:lnTo>
                    <a:pt x="16166" y="748498"/>
                  </a:lnTo>
                  <a:lnTo>
                    <a:pt x="21992" y="736893"/>
                  </a:lnTo>
                  <a:lnTo>
                    <a:pt x="25877" y="723354"/>
                  </a:lnTo>
                  <a:lnTo>
                    <a:pt x="33645" y="709815"/>
                  </a:lnTo>
                  <a:lnTo>
                    <a:pt x="41414" y="696276"/>
                  </a:lnTo>
                  <a:lnTo>
                    <a:pt x="64720" y="676936"/>
                  </a:lnTo>
                  <a:lnTo>
                    <a:pt x="76372" y="665331"/>
                  </a:lnTo>
                  <a:lnTo>
                    <a:pt x="86083" y="659529"/>
                  </a:lnTo>
                  <a:lnTo>
                    <a:pt x="128810" y="644056"/>
                  </a:lnTo>
                  <a:lnTo>
                    <a:pt x="196785" y="616978"/>
                  </a:lnTo>
                  <a:lnTo>
                    <a:pt x="233685" y="599572"/>
                  </a:lnTo>
                  <a:lnTo>
                    <a:pt x="262818" y="584099"/>
                  </a:lnTo>
                  <a:lnTo>
                    <a:pt x="286124" y="568626"/>
                  </a:lnTo>
                  <a:lnTo>
                    <a:pt x="293893" y="564758"/>
                  </a:lnTo>
                  <a:lnTo>
                    <a:pt x="297777" y="557022"/>
                  </a:lnTo>
                  <a:lnTo>
                    <a:pt x="303604" y="543483"/>
                  </a:lnTo>
                  <a:lnTo>
                    <a:pt x="303604" y="528010"/>
                  </a:lnTo>
                  <a:lnTo>
                    <a:pt x="303604" y="491262"/>
                  </a:lnTo>
                  <a:lnTo>
                    <a:pt x="301661" y="464185"/>
                  </a:lnTo>
                  <a:lnTo>
                    <a:pt x="297777" y="452580"/>
                  </a:lnTo>
                  <a:lnTo>
                    <a:pt x="286124" y="431305"/>
                  </a:lnTo>
                  <a:lnTo>
                    <a:pt x="274471" y="410030"/>
                  </a:lnTo>
                  <a:lnTo>
                    <a:pt x="256991" y="363611"/>
                  </a:lnTo>
                  <a:lnTo>
                    <a:pt x="255050" y="363611"/>
                  </a:lnTo>
                  <a:lnTo>
                    <a:pt x="243396" y="363611"/>
                  </a:lnTo>
                  <a:lnTo>
                    <a:pt x="235628" y="357809"/>
                  </a:lnTo>
                  <a:lnTo>
                    <a:pt x="227860" y="350072"/>
                  </a:lnTo>
                  <a:lnTo>
                    <a:pt x="220091" y="342336"/>
                  </a:lnTo>
                  <a:lnTo>
                    <a:pt x="210380" y="321061"/>
                  </a:lnTo>
                  <a:lnTo>
                    <a:pt x="202612" y="297852"/>
                  </a:lnTo>
                  <a:lnTo>
                    <a:pt x="198727" y="274643"/>
                  </a:lnTo>
                  <a:lnTo>
                    <a:pt x="198727" y="253368"/>
                  </a:lnTo>
                  <a:lnTo>
                    <a:pt x="202612" y="245631"/>
                  </a:lnTo>
                  <a:lnTo>
                    <a:pt x="206496" y="239829"/>
                  </a:lnTo>
                  <a:lnTo>
                    <a:pt x="212322" y="235960"/>
                  </a:lnTo>
                  <a:lnTo>
                    <a:pt x="222033" y="235960"/>
                  </a:lnTo>
                  <a:lnTo>
                    <a:pt x="227860" y="235960"/>
                  </a:lnTo>
                  <a:lnTo>
                    <a:pt x="220091" y="214685"/>
                  </a:lnTo>
                  <a:lnTo>
                    <a:pt x="218149" y="193410"/>
                  </a:lnTo>
                  <a:lnTo>
                    <a:pt x="214265" y="172135"/>
                  </a:lnTo>
                  <a:lnTo>
                    <a:pt x="218149" y="152795"/>
                  </a:lnTo>
                  <a:lnTo>
                    <a:pt x="222033" y="131520"/>
                  </a:lnTo>
                  <a:lnTo>
                    <a:pt x="227860" y="112178"/>
                  </a:lnTo>
                  <a:lnTo>
                    <a:pt x="237571" y="94771"/>
                  </a:lnTo>
                  <a:lnTo>
                    <a:pt x="249223" y="75430"/>
                  </a:lnTo>
                  <a:lnTo>
                    <a:pt x="264760" y="59958"/>
                  </a:lnTo>
                  <a:lnTo>
                    <a:pt x="280297" y="44484"/>
                  </a:lnTo>
                  <a:lnTo>
                    <a:pt x="297777" y="30945"/>
                  </a:lnTo>
                  <a:lnTo>
                    <a:pt x="319140" y="21275"/>
                  </a:lnTo>
                  <a:lnTo>
                    <a:pt x="342446" y="13539"/>
                  </a:lnTo>
                  <a:lnTo>
                    <a:pt x="369636" y="5803"/>
                  </a:lnTo>
                  <a:lnTo>
                    <a:pt x="398768" y="3869"/>
                  </a:lnTo>
                  <a:close/>
                </a:path>
              </a:pathLst>
            </a:cu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1433" tIns="25719" rIns="51433" bIns="25719" rtlCol="0" anchor="t">
              <a:noAutofit/>
            </a:bodyPr>
            <a:lstStyle/>
            <a:p>
              <a:pPr defTabSz="342804"/>
              <a:endParaRPr lang="en-US" sz="1350" dirty="0">
                <a:solidFill>
                  <a:schemeClr val="accent2"/>
                </a:solidFill>
                <a:cs typeface="Arial" panose="020B0604020202020204" pitchFamily="34" charset="0"/>
              </a:endParaRPr>
            </a:p>
          </p:txBody>
        </p:sp>
        <p:sp>
          <p:nvSpPr>
            <p:cNvPr id="342" name="Freeform 341"/>
            <p:cNvSpPr>
              <a:spLocks/>
            </p:cNvSpPr>
            <p:nvPr/>
          </p:nvSpPr>
          <p:spPr bwMode="auto">
            <a:xfrm>
              <a:off x="2076103" y="3747616"/>
              <a:ext cx="789216" cy="843435"/>
            </a:xfrm>
            <a:custGeom>
              <a:avLst/>
              <a:gdLst>
                <a:gd name="connsiteX0" fmla="*/ 395491 w 789216"/>
                <a:gd name="connsiteY0" fmla="*/ 0 h 843435"/>
                <a:gd name="connsiteX1" fmla="*/ 420209 w 789216"/>
                <a:gd name="connsiteY1" fmla="*/ 3517 h 843435"/>
                <a:gd name="connsiteX2" fmla="*/ 446693 w 789216"/>
                <a:gd name="connsiteY2" fmla="*/ 5275 h 843435"/>
                <a:gd name="connsiteX3" fmla="*/ 467880 w 789216"/>
                <a:gd name="connsiteY3" fmla="*/ 12308 h 843435"/>
                <a:gd name="connsiteX4" fmla="*/ 489067 w 789216"/>
                <a:gd name="connsiteY4" fmla="*/ 19341 h 843435"/>
                <a:gd name="connsiteX5" fmla="*/ 508488 w 789216"/>
                <a:gd name="connsiteY5" fmla="*/ 28132 h 843435"/>
                <a:gd name="connsiteX6" fmla="*/ 527910 w 789216"/>
                <a:gd name="connsiteY6" fmla="*/ 40440 h 843435"/>
                <a:gd name="connsiteX7" fmla="*/ 542034 w 789216"/>
                <a:gd name="connsiteY7" fmla="*/ 54507 h 843435"/>
                <a:gd name="connsiteX8" fmla="*/ 554393 w 789216"/>
                <a:gd name="connsiteY8" fmla="*/ 68573 h 843435"/>
                <a:gd name="connsiteX9" fmla="*/ 566753 w 789216"/>
                <a:gd name="connsiteY9" fmla="*/ 86155 h 843435"/>
                <a:gd name="connsiteX10" fmla="*/ 575581 w 789216"/>
                <a:gd name="connsiteY10" fmla="*/ 101980 h 843435"/>
                <a:gd name="connsiteX11" fmla="*/ 580877 w 789216"/>
                <a:gd name="connsiteY11" fmla="*/ 119563 h 843435"/>
                <a:gd name="connsiteX12" fmla="*/ 584408 w 789216"/>
                <a:gd name="connsiteY12" fmla="*/ 138904 h 843435"/>
                <a:gd name="connsiteX13" fmla="*/ 584408 w 789216"/>
                <a:gd name="connsiteY13" fmla="*/ 156486 h 843435"/>
                <a:gd name="connsiteX14" fmla="*/ 584408 w 789216"/>
                <a:gd name="connsiteY14" fmla="*/ 175827 h 843435"/>
                <a:gd name="connsiteX15" fmla="*/ 582643 w 789216"/>
                <a:gd name="connsiteY15" fmla="*/ 195168 h 843435"/>
                <a:gd name="connsiteX16" fmla="*/ 575581 w 789216"/>
                <a:gd name="connsiteY16" fmla="*/ 214509 h 843435"/>
                <a:gd name="connsiteX17" fmla="*/ 580877 w 789216"/>
                <a:gd name="connsiteY17" fmla="*/ 214509 h 843435"/>
                <a:gd name="connsiteX18" fmla="*/ 587940 w 789216"/>
                <a:gd name="connsiteY18" fmla="*/ 214509 h 843435"/>
                <a:gd name="connsiteX19" fmla="*/ 595002 w 789216"/>
                <a:gd name="connsiteY19" fmla="*/ 218026 h 843435"/>
                <a:gd name="connsiteX20" fmla="*/ 596768 w 789216"/>
                <a:gd name="connsiteY20" fmla="*/ 223301 h 843435"/>
                <a:gd name="connsiteX21" fmla="*/ 600299 w 789216"/>
                <a:gd name="connsiteY21" fmla="*/ 230334 h 843435"/>
                <a:gd name="connsiteX22" fmla="*/ 602064 w 789216"/>
                <a:gd name="connsiteY22" fmla="*/ 249675 h 843435"/>
                <a:gd name="connsiteX23" fmla="*/ 600299 w 789216"/>
                <a:gd name="connsiteY23" fmla="*/ 270774 h 843435"/>
                <a:gd name="connsiteX24" fmla="*/ 591471 w 789216"/>
                <a:gd name="connsiteY24" fmla="*/ 291873 h 843435"/>
                <a:gd name="connsiteX25" fmla="*/ 582643 w 789216"/>
                <a:gd name="connsiteY25" fmla="*/ 311214 h 843435"/>
                <a:gd name="connsiteX26" fmla="*/ 575581 w 789216"/>
                <a:gd name="connsiteY26" fmla="*/ 318247 h 843435"/>
                <a:gd name="connsiteX27" fmla="*/ 568518 w 789216"/>
                <a:gd name="connsiteY27" fmla="*/ 325281 h 843435"/>
                <a:gd name="connsiteX28" fmla="*/ 559690 w 789216"/>
                <a:gd name="connsiteY28" fmla="*/ 330555 h 843435"/>
                <a:gd name="connsiteX29" fmla="*/ 552628 w 789216"/>
                <a:gd name="connsiteY29" fmla="*/ 330555 h 843435"/>
                <a:gd name="connsiteX30" fmla="*/ 549097 w 789216"/>
                <a:gd name="connsiteY30" fmla="*/ 330555 h 843435"/>
                <a:gd name="connsiteX31" fmla="*/ 533206 w 789216"/>
                <a:gd name="connsiteY31" fmla="*/ 372754 h 843435"/>
                <a:gd name="connsiteX32" fmla="*/ 520847 w 789216"/>
                <a:gd name="connsiteY32" fmla="*/ 392095 h 843435"/>
                <a:gd name="connsiteX33" fmla="*/ 512019 w 789216"/>
                <a:gd name="connsiteY33" fmla="*/ 411436 h 843435"/>
                <a:gd name="connsiteX34" fmla="*/ 508488 w 789216"/>
                <a:gd name="connsiteY34" fmla="*/ 421986 h 843435"/>
                <a:gd name="connsiteX35" fmla="*/ 506723 w 789216"/>
                <a:gd name="connsiteY35" fmla="*/ 446601 h 843435"/>
                <a:gd name="connsiteX36" fmla="*/ 504957 w 789216"/>
                <a:gd name="connsiteY36" fmla="*/ 480009 h 843435"/>
                <a:gd name="connsiteX37" fmla="*/ 506723 w 789216"/>
                <a:gd name="connsiteY37" fmla="*/ 494075 h 843435"/>
                <a:gd name="connsiteX38" fmla="*/ 512019 w 789216"/>
                <a:gd name="connsiteY38" fmla="*/ 506383 h 843435"/>
                <a:gd name="connsiteX39" fmla="*/ 513785 w 789216"/>
                <a:gd name="connsiteY39" fmla="*/ 513416 h 843435"/>
                <a:gd name="connsiteX40" fmla="*/ 520847 w 789216"/>
                <a:gd name="connsiteY40" fmla="*/ 516932 h 843435"/>
                <a:gd name="connsiteX41" fmla="*/ 542034 w 789216"/>
                <a:gd name="connsiteY41" fmla="*/ 530999 h 843435"/>
                <a:gd name="connsiteX42" fmla="*/ 570284 w 789216"/>
                <a:gd name="connsiteY42" fmla="*/ 545065 h 843435"/>
                <a:gd name="connsiteX43" fmla="*/ 602064 w 789216"/>
                <a:gd name="connsiteY43" fmla="*/ 560889 h 843435"/>
                <a:gd name="connsiteX44" fmla="*/ 663860 w 789216"/>
                <a:gd name="connsiteY44" fmla="*/ 585505 h 843435"/>
                <a:gd name="connsiteX45" fmla="*/ 704468 w 789216"/>
                <a:gd name="connsiteY45" fmla="*/ 599571 h 843435"/>
                <a:gd name="connsiteX46" fmla="*/ 713296 w 789216"/>
                <a:gd name="connsiteY46" fmla="*/ 604846 h 843435"/>
                <a:gd name="connsiteX47" fmla="*/ 723890 w 789216"/>
                <a:gd name="connsiteY47" fmla="*/ 615396 h 843435"/>
                <a:gd name="connsiteX48" fmla="*/ 741545 w 789216"/>
                <a:gd name="connsiteY48" fmla="*/ 632978 h 843435"/>
                <a:gd name="connsiteX49" fmla="*/ 752139 w 789216"/>
                <a:gd name="connsiteY49" fmla="*/ 645286 h 843435"/>
                <a:gd name="connsiteX50" fmla="*/ 759201 w 789216"/>
                <a:gd name="connsiteY50" fmla="*/ 657594 h 843435"/>
                <a:gd name="connsiteX51" fmla="*/ 764498 w 789216"/>
                <a:gd name="connsiteY51" fmla="*/ 669902 h 843435"/>
                <a:gd name="connsiteX52" fmla="*/ 766264 w 789216"/>
                <a:gd name="connsiteY52" fmla="*/ 680452 h 843435"/>
                <a:gd name="connsiteX53" fmla="*/ 789216 w 789216"/>
                <a:gd name="connsiteY53" fmla="*/ 833421 h 843435"/>
                <a:gd name="connsiteX54" fmla="*/ 789216 w 789216"/>
                <a:gd name="connsiteY54" fmla="*/ 835180 h 843435"/>
                <a:gd name="connsiteX55" fmla="*/ 787451 w 789216"/>
                <a:gd name="connsiteY55" fmla="*/ 842213 h 843435"/>
                <a:gd name="connsiteX56" fmla="*/ 786714 w 789216"/>
                <a:gd name="connsiteY56" fmla="*/ 843435 h 843435"/>
                <a:gd name="connsiteX57" fmla="*/ 2502 w 789216"/>
                <a:gd name="connsiteY57" fmla="*/ 843435 h 843435"/>
                <a:gd name="connsiteX58" fmla="*/ 1766 w 789216"/>
                <a:gd name="connsiteY58" fmla="*/ 842213 h 843435"/>
                <a:gd name="connsiteX59" fmla="*/ 0 w 789216"/>
                <a:gd name="connsiteY59" fmla="*/ 835180 h 843435"/>
                <a:gd name="connsiteX60" fmla="*/ 21187 w 789216"/>
                <a:gd name="connsiteY60" fmla="*/ 680452 h 843435"/>
                <a:gd name="connsiteX61" fmla="*/ 26484 w 789216"/>
                <a:gd name="connsiteY61" fmla="*/ 669902 h 843435"/>
                <a:gd name="connsiteX62" fmla="*/ 30015 w 789216"/>
                <a:gd name="connsiteY62" fmla="*/ 657594 h 843435"/>
                <a:gd name="connsiteX63" fmla="*/ 37077 w 789216"/>
                <a:gd name="connsiteY63" fmla="*/ 645286 h 843435"/>
                <a:gd name="connsiteX64" fmla="*/ 44140 w 789216"/>
                <a:gd name="connsiteY64" fmla="*/ 632978 h 843435"/>
                <a:gd name="connsiteX65" fmla="*/ 65327 w 789216"/>
                <a:gd name="connsiteY65" fmla="*/ 615396 h 843435"/>
                <a:gd name="connsiteX66" fmla="*/ 75920 w 789216"/>
                <a:gd name="connsiteY66" fmla="*/ 604846 h 843435"/>
                <a:gd name="connsiteX67" fmla="*/ 84748 w 789216"/>
                <a:gd name="connsiteY67" fmla="*/ 599571 h 843435"/>
                <a:gd name="connsiteX68" fmla="*/ 123591 w 789216"/>
                <a:gd name="connsiteY68" fmla="*/ 585505 h 843435"/>
                <a:gd name="connsiteX69" fmla="*/ 185386 w 789216"/>
                <a:gd name="connsiteY69" fmla="*/ 560889 h 843435"/>
                <a:gd name="connsiteX70" fmla="*/ 218932 w 789216"/>
                <a:gd name="connsiteY70" fmla="*/ 545065 h 843435"/>
                <a:gd name="connsiteX71" fmla="*/ 245416 w 789216"/>
                <a:gd name="connsiteY71" fmla="*/ 530999 h 843435"/>
                <a:gd name="connsiteX72" fmla="*/ 266603 w 789216"/>
                <a:gd name="connsiteY72" fmla="*/ 516932 h 843435"/>
                <a:gd name="connsiteX73" fmla="*/ 273666 w 789216"/>
                <a:gd name="connsiteY73" fmla="*/ 513416 h 843435"/>
                <a:gd name="connsiteX74" fmla="*/ 277197 w 789216"/>
                <a:gd name="connsiteY74" fmla="*/ 506383 h 843435"/>
                <a:gd name="connsiteX75" fmla="*/ 282494 w 789216"/>
                <a:gd name="connsiteY75" fmla="*/ 494075 h 843435"/>
                <a:gd name="connsiteX76" fmla="*/ 282494 w 789216"/>
                <a:gd name="connsiteY76" fmla="*/ 480009 h 843435"/>
                <a:gd name="connsiteX77" fmla="*/ 282494 w 789216"/>
                <a:gd name="connsiteY77" fmla="*/ 446601 h 843435"/>
                <a:gd name="connsiteX78" fmla="*/ 280728 w 789216"/>
                <a:gd name="connsiteY78" fmla="*/ 421986 h 843435"/>
                <a:gd name="connsiteX79" fmla="*/ 277197 w 789216"/>
                <a:gd name="connsiteY79" fmla="*/ 411436 h 843435"/>
                <a:gd name="connsiteX80" fmla="*/ 266603 w 789216"/>
                <a:gd name="connsiteY80" fmla="*/ 392095 h 843435"/>
                <a:gd name="connsiteX81" fmla="*/ 256010 w 789216"/>
                <a:gd name="connsiteY81" fmla="*/ 372754 h 843435"/>
                <a:gd name="connsiteX82" fmla="*/ 240119 w 789216"/>
                <a:gd name="connsiteY82" fmla="*/ 330555 h 843435"/>
                <a:gd name="connsiteX83" fmla="*/ 238354 w 789216"/>
                <a:gd name="connsiteY83" fmla="*/ 330555 h 843435"/>
                <a:gd name="connsiteX84" fmla="*/ 227760 w 789216"/>
                <a:gd name="connsiteY84" fmla="*/ 330555 h 843435"/>
                <a:gd name="connsiteX85" fmla="*/ 220698 w 789216"/>
                <a:gd name="connsiteY85" fmla="*/ 325281 h 843435"/>
                <a:gd name="connsiteX86" fmla="*/ 213636 w 789216"/>
                <a:gd name="connsiteY86" fmla="*/ 318247 h 843435"/>
                <a:gd name="connsiteX87" fmla="*/ 206573 w 789216"/>
                <a:gd name="connsiteY87" fmla="*/ 311214 h 843435"/>
                <a:gd name="connsiteX88" fmla="*/ 197745 w 789216"/>
                <a:gd name="connsiteY88" fmla="*/ 291873 h 843435"/>
                <a:gd name="connsiteX89" fmla="*/ 190683 w 789216"/>
                <a:gd name="connsiteY89" fmla="*/ 270774 h 843435"/>
                <a:gd name="connsiteX90" fmla="*/ 187152 w 789216"/>
                <a:gd name="connsiteY90" fmla="*/ 249675 h 843435"/>
                <a:gd name="connsiteX91" fmla="*/ 187152 w 789216"/>
                <a:gd name="connsiteY91" fmla="*/ 230334 h 843435"/>
                <a:gd name="connsiteX92" fmla="*/ 190683 w 789216"/>
                <a:gd name="connsiteY92" fmla="*/ 223301 h 843435"/>
                <a:gd name="connsiteX93" fmla="*/ 194214 w 789216"/>
                <a:gd name="connsiteY93" fmla="*/ 218026 h 843435"/>
                <a:gd name="connsiteX94" fmla="*/ 199511 w 789216"/>
                <a:gd name="connsiteY94" fmla="*/ 214509 h 843435"/>
                <a:gd name="connsiteX95" fmla="*/ 208339 w 789216"/>
                <a:gd name="connsiteY95" fmla="*/ 214509 h 843435"/>
                <a:gd name="connsiteX96" fmla="*/ 213636 w 789216"/>
                <a:gd name="connsiteY96" fmla="*/ 214509 h 843435"/>
                <a:gd name="connsiteX97" fmla="*/ 206573 w 789216"/>
                <a:gd name="connsiteY97" fmla="*/ 195168 h 843435"/>
                <a:gd name="connsiteX98" fmla="*/ 204808 w 789216"/>
                <a:gd name="connsiteY98" fmla="*/ 175827 h 843435"/>
                <a:gd name="connsiteX99" fmla="*/ 201277 w 789216"/>
                <a:gd name="connsiteY99" fmla="*/ 156486 h 843435"/>
                <a:gd name="connsiteX100" fmla="*/ 204808 w 789216"/>
                <a:gd name="connsiteY100" fmla="*/ 138904 h 843435"/>
                <a:gd name="connsiteX101" fmla="*/ 208339 w 789216"/>
                <a:gd name="connsiteY101" fmla="*/ 119563 h 843435"/>
                <a:gd name="connsiteX102" fmla="*/ 213636 w 789216"/>
                <a:gd name="connsiteY102" fmla="*/ 101980 h 843435"/>
                <a:gd name="connsiteX103" fmla="*/ 222464 w 789216"/>
                <a:gd name="connsiteY103" fmla="*/ 86155 h 843435"/>
                <a:gd name="connsiteX104" fmla="*/ 233057 w 789216"/>
                <a:gd name="connsiteY104" fmla="*/ 68573 h 843435"/>
                <a:gd name="connsiteX105" fmla="*/ 247182 w 789216"/>
                <a:gd name="connsiteY105" fmla="*/ 54507 h 843435"/>
                <a:gd name="connsiteX106" fmla="*/ 261306 w 789216"/>
                <a:gd name="connsiteY106" fmla="*/ 40440 h 843435"/>
                <a:gd name="connsiteX107" fmla="*/ 277197 w 789216"/>
                <a:gd name="connsiteY107" fmla="*/ 28132 h 843435"/>
                <a:gd name="connsiteX108" fmla="*/ 296618 w 789216"/>
                <a:gd name="connsiteY108" fmla="*/ 19341 h 843435"/>
                <a:gd name="connsiteX109" fmla="*/ 317805 w 789216"/>
                <a:gd name="connsiteY109" fmla="*/ 12308 h 843435"/>
                <a:gd name="connsiteX110" fmla="*/ 342523 w 789216"/>
                <a:gd name="connsiteY110" fmla="*/ 5275 h 843435"/>
                <a:gd name="connsiteX111" fmla="*/ 369007 w 789216"/>
                <a:gd name="connsiteY111" fmla="*/ 3517 h 84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789216" h="843435">
                  <a:moveTo>
                    <a:pt x="395491" y="0"/>
                  </a:moveTo>
                  <a:lnTo>
                    <a:pt x="420209" y="3517"/>
                  </a:lnTo>
                  <a:lnTo>
                    <a:pt x="446693" y="5275"/>
                  </a:lnTo>
                  <a:lnTo>
                    <a:pt x="467880" y="12308"/>
                  </a:lnTo>
                  <a:lnTo>
                    <a:pt x="489067" y="19341"/>
                  </a:lnTo>
                  <a:lnTo>
                    <a:pt x="508488" y="28132"/>
                  </a:lnTo>
                  <a:lnTo>
                    <a:pt x="527910" y="40440"/>
                  </a:lnTo>
                  <a:lnTo>
                    <a:pt x="542034" y="54507"/>
                  </a:lnTo>
                  <a:lnTo>
                    <a:pt x="554393" y="68573"/>
                  </a:lnTo>
                  <a:lnTo>
                    <a:pt x="566753" y="86155"/>
                  </a:lnTo>
                  <a:lnTo>
                    <a:pt x="575581" y="101980"/>
                  </a:lnTo>
                  <a:lnTo>
                    <a:pt x="580877" y="119563"/>
                  </a:lnTo>
                  <a:lnTo>
                    <a:pt x="584408" y="138904"/>
                  </a:lnTo>
                  <a:lnTo>
                    <a:pt x="584408" y="156486"/>
                  </a:lnTo>
                  <a:lnTo>
                    <a:pt x="584408" y="175827"/>
                  </a:lnTo>
                  <a:lnTo>
                    <a:pt x="582643" y="195168"/>
                  </a:lnTo>
                  <a:lnTo>
                    <a:pt x="575581" y="214509"/>
                  </a:lnTo>
                  <a:lnTo>
                    <a:pt x="580877" y="214509"/>
                  </a:lnTo>
                  <a:lnTo>
                    <a:pt x="587940" y="214509"/>
                  </a:lnTo>
                  <a:lnTo>
                    <a:pt x="595002" y="218026"/>
                  </a:lnTo>
                  <a:lnTo>
                    <a:pt x="596768" y="223301"/>
                  </a:lnTo>
                  <a:lnTo>
                    <a:pt x="600299" y="230334"/>
                  </a:lnTo>
                  <a:lnTo>
                    <a:pt x="602064" y="249675"/>
                  </a:lnTo>
                  <a:lnTo>
                    <a:pt x="600299" y="270774"/>
                  </a:lnTo>
                  <a:lnTo>
                    <a:pt x="591471" y="291873"/>
                  </a:lnTo>
                  <a:lnTo>
                    <a:pt x="582643" y="311214"/>
                  </a:lnTo>
                  <a:lnTo>
                    <a:pt x="575581" y="318247"/>
                  </a:lnTo>
                  <a:lnTo>
                    <a:pt x="568518" y="325281"/>
                  </a:lnTo>
                  <a:lnTo>
                    <a:pt x="559690" y="330555"/>
                  </a:lnTo>
                  <a:lnTo>
                    <a:pt x="552628" y="330555"/>
                  </a:lnTo>
                  <a:lnTo>
                    <a:pt x="549097" y="330555"/>
                  </a:lnTo>
                  <a:lnTo>
                    <a:pt x="533206" y="372754"/>
                  </a:lnTo>
                  <a:lnTo>
                    <a:pt x="520847" y="392095"/>
                  </a:lnTo>
                  <a:lnTo>
                    <a:pt x="512019" y="411436"/>
                  </a:lnTo>
                  <a:lnTo>
                    <a:pt x="508488" y="421986"/>
                  </a:lnTo>
                  <a:lnTo>
                    <a:pt x="506723" y="446601"/>
                  </a:lnTo>
                  <a:lnTo>
                    <a:pt x="504957" y="480009"/>
                  </a:lnTo>
                  <a:lnTo>
                    <a:pt x="506723" y="494075"/>
                  </a:lnTo>
                  <a:lnTo>
                    <a:pt x="512019" y="506383"/>
                  </a:lnTo>
                  <a:lnTo>
                    <a:pt x="513785" y="513416"/>
                  </a:lnTo>
                  <a:lnTo>
                    <a:pt x="520847" y="516932"/>
                  </a:lnTo>
                  <a:lnTo>
                    <a:pt x="542034" y="530999"/>
                  </a:lnTo>
                  <a:lnTo>
                    <a:pt x="570284" y="545065"/>
                  </a:lnTo>
                  <a:lnTo>
                    <a:pt x="602064" y="560889"/>
                  </a:lnTo>
                  <a:lnTo>
                    <a:pt x="663860" y="585505"/>
                  </a:lnTo>
                  <a:lnTo>
                    <a:pt x="704468" y="599571"/>
                  </a:lnTo>
                  <a:lnTo>
                    <a:pt x="713296" y="604846"/>
                  </a:lnTo>
                  <a:lnTo>
                    <a:pt x="723890" y="615396"/>
                  </a:lnTo>
                  <a:lnTo>
                    <a:pt x="741545" y="632978"/>
                  </a:lnTo>
                  <a:lnTo>
                    <a:pt x="752139" y="645286"/>
                  </a:lnTo>
                  <a:lnTo>
                    <a:pt x="759201" y="657594"/>
                  </a:lnTo>
                  <a:lnTo>
                    <a:pt x="764498" y="669902"/>
                  </a:lnTo>
                  <a:lnTo>
                    <a:pt x="766264" y="680452"/>
                  </a:lnTo>
                  <a:lnTo>
                    <a:pt x="789216" y="833421"/>
                  </a:lnTo>
                  <a:lnTo>
                    <a:pt x="789216" y="835180"/>
                  </a:lnTo>
                  <a:lnTo>
                    <a:pt x="787451" y="842213"/>
                  </a:lnTo>
                  <a:lnTo>
                    <a:pt x="786714" y="843435"/>
                  </a:lnTo>
                  <a:lnTo>
                    <a:pt x="2502" y="843435"/>
                  </a:lnTo>
                  <a:lnTo>
                    <a:pt x="1766" y="842213"/>
                  </a:lnTo>
                  <a:lnTo>
                    <a:pt x="0" y="835180"/>
                  </a:lnTo>
                  <a:lnTo>
                    <a:pt x="21187" y="680452"/>
                  </a:lnTo>
                  <a:lnTo>
                    <a:pt x="26484" y="669902"/>
                  </a:lnTo>
                  <a:lnTo>
                    <a:pt x="30015" y="657594"/>
                  </a:lnTo>
                  <a:lnTo>
                    <a:pt x="37077" y="645286"/>
                  </a:lnTo>
                  <a:lnTo>
                    <a:pt x="44140" y="632978"/>
                  </a:lnTo>
                  <a:lnTo>
                    <a:pt x="65327" y="615396"/>
                  </a:lnTo>
                  <a:lnTo>
                    <a:pt x="75920" y="604846"/>
                  </a:lnTo>
                  <a:lnTo>
                    <a:pt x="84748" y="599571"/>
                  </a:lnTo>
                  <a:lnTo>
                    <a:pt x="123591" y="585505"/>
                  </a:lnTo>
                  <a:lnTo>
                    <a:pt x="185386" y="560889"/>
                  </a:lnTo>
                  <a:lnTo>
                    <a:pt x="218932" y="545065"/>
                  </a:lnTo>
                  <a:lnTo>
                    <a:pt x="245416" y="530999"/>
                  </a:lnTo>
                  <a:lnTo>
                    <a:pt x="266603" y="516932"/>
                  </a:lnTo>
                  <a:lnTo>
                    <a:pt x="273666" y="513416"/>
                  </a:lnTo>
                  <a:lnTo>
                    <a:pt x="277197" y="506383"/>
                  </a:lnTo>
                  <a:lnTo>
                    <a:pt x="282494" y="494075"/>
                  </a:lnTo>
                  <a:lnTo>
                    <a:pt x="282494" y="480009"/>
                  </a:lnTo>
                  <a:lnTo>
                    <a:pt x="282494" y="446601"/>
                  </a:lnTo>
                  <a:lnTo>
                    <a:pt x="280728" y="421986"/>
                  </a:lnTo>
                  <a:lnTo>
                    <a:pt x="277197" y="411436"/>
                  </a:lnTo>
                  <a:lnTo>
                    <a:pt x="266603" y="392095"/>
                  </a:lnTo>
                  <a:lnTo>
                    <a:pt x="256010" y="372754"/>
                  </a:lnTo>
                  <a:lnTo>
                    <a:pt x="240119" y="330555"/>
                  </a:lnTo>
                  <a:lnTo>
                    <a:pt x="238354" y="330555"/>
                  </a:lnTo>
                  <a:lnTo>
                    <a:pt x="227760" y="330555"/>
                  </a:lnTo>
                  <a:lnTo>
                    <a:pt x="220698" y="325281"/>
                  </a:lnTo>
                  <a:lnTo>
                    <a:pt x="213636" y="318247"/>
                  </a:lnTo>
                  <a:lnTo>
                    <a:pt x="206573" y="311214"/>
                  </a:lnTo>
                  <a:lnTo>
                    <a:pt x="197745" y="291873"/>
                  </a:lnTo>
                  <a:lnTo>
                    <a:pt x="190683" y="270774"/>
                  </a:lnTo>
                  <a:lnTo>
                    <a:pt x="187152" y="249675"/>
                  </a:lnTo>
                  <a:lnTo>
                    <a:pt x="187152" y="230334"/>
                  </a:lnTo>
                  <a:lnTo>
                    <a:pt x="190683" y="223301"/>
                  </a:lnTo>
                  <a:lnTo>
                    <a:pt x="194214" y="218026"/>
                  </a:lnTo>
                  <a:lnTo>
                    <a:pt x="199511" y="214509"/>
                  </a:lnTo>
                  <a:lnTo>
                    <a:pt x="208339" y="214509"/>
                  </a:lnTo>
                  <a:lnTo>
                    <a:pt x="213636" y="214509"/>
                  </a:lnTo>
                  <a:lnTo>
                    <a:pt x="206573" y="195168"/>
                  </a:lnTo>
                  <a:lnTo>
                    <a:pt x="204808" y="175827"/>
                  </a:lnTo>
                  <a:lnTo>
                    <a:pt x="201277" y="156486"/>
                  </a:lnTo>
                  <a:lnTo>
                    <a:pt x="204808" y="138904"/>
                  </a:lnTo>
                  <a:lnTo>
                    <a:pt x="208339" y="119563"/>
                  </a:lnTo>
                  <a:lnTo>
                    <a:pt x="213636" y="101980"/>
                  </a:lnTo>
                  <a:lnTo>
                    <a:pt x="222464" y="86155"/>
                  </a:lnTo>
                  <a:lnTo>
                    <a:pt x="233057" y="68573"/>
                  </a:lnTo>
                  <a:lnTo>
                    <a:pt x="247182" y="54507"/>
                  </a:lnTo>
                  <a:lnTo>
                    <a:pt x="261306" y="40440"/>
                  </a:lnTo>
                  <a:lnTo>
                    <a:pt x="277197" y="28132"/>
                  </a:lnTo>
                  <a:lnTo>
                    <a:pt x="296618" y="19341"/>
                  </a:lnTo>
                  <a:lnTo>
                    <a:pt x="317805" y="12308"/>
                  </a:lnTo>
                  <a:lnTo>
                    <a:pt x="342523" y="5275"/>
                  </a:lnTo>
                  <a:lnTo>
                    <a:pt x="369007" y="3517"/>
                  </a:lnTo>
                  <a:close/>
                </a:path>
              </a:pathLst>
            </a:custGeom>
            <a:solidFill>
              <a:schemeClr val="accent2"/>
            </a:solidFill>
            <a:ln>
              <a:noFill/>
            </a:ln>
            <a:extLst/>
          </p:spPr>
          <p:txBody>
            <a:bodyPr vert="horz" wrap="square" lIns="68580" tIns="34290" rIns="68580" bIns="3429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grpSp>
      <p:grpSp>
        <p:nvGrpSpPr>
          <p:cNvPr id="343" name="Group 342"/>
          <p:cNvGrpSpPr/>
          <p:nvPr/>
        </p:nvGrpSpPr>
        <p:grpSpPr>
          <a:xfrm>
            <a:off x="5059166" y="3302912"/>
            <a:ext cx="443639" cy="564825"/>
            <a:chOff x="854043" y="3974589"/>
            <a:chExt cx="590637" cy="751783"/>
          </a:xfrm>
          <a:solidFill>
            <a:schemeClr val="accent2"/>
          </a:solidFill>
        </p:grpSpPr>
        <p:sp>
          <p:nvSpPr>
            <p:cNvPr id="344" name="Freeform 5"/>
            <p:cNvSpPr>
              <a:spLocks/>
            </p:cNvSpPr>
            <p:nvPr/>
          </p:nvSpPr>
          <p:spPr bwMode="auto">
            <a:xfrm>
              <a:off x="854043" y="3974589"/>
              <a:ext cx="214572" cy="214919"/>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345"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346" name="Right Arrow 345"/>
          <p:cNvSpPr/>
          <p:nvPr/>
        </p:nvSpPr>
        <p:spPr>
          <a:xfrm flipH="1">
            <a:off x="5645037" y="3422687"/>
            <a:ext cx="174754" cy="355305"/>
          </a:xfrm>
          <a:prstGeom prst="rightArrow">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endParaRPr lang="en-US" sz="1350" dirty="0"/>
          </a:p>
        </p:txBody>
      </p:sp>
      <p:sp>
        <p:nvSpPr>
          <p:cNvPr id="347" name="Freeform 346"/>
          <p:cNvSpPr>
            <a:spLocks noChangeAspect="1" noEditPoints="1"/>
          </p:cNvSpPr>
          <p:nvPr/>
        </p:nvSpPr>
        <p:spPr bwMode="auto">
          <a:xfrm flipH="1">
            <a:off x="5198786" y="1673709"/>
            <a:ext cx="493564" cy="548640"/>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accent2"/>
          </a:solidFill>
          <a:ln w="9525">
            <a:noFill/>
            <a:round/>
            <a:headEnd/>
            <a:tailEnd/>
          </a:ln>
        </p:spPr>
        <p:txBody>
          <a:bodyPr vert="horz" wrap="square" lIns="91420" tIns="45710" rIns="91420" bIns="45710" numCol="1" anchor="t" anchorCtr="0" compatLnSpc="1">
            <a:prstTxWarp prst="textNoShape">
              <a:avLst/>
            </a:prstTxWarp>
          </a:bodyPr>
          <a:lstStyle/>
          <a:p>
            <a:endParaRPr lang="en-US" sz="1575">
              <a:solidFill>
                <a:srgbClr val="FFFFFF"/>
              </a:solidFill>
            </a:endParaRPr>
          </a:p>
        </p:txBody>
      </p:sp>
      <p:grpSp>
        <p:nvGrpSpPr>
          <p:cNvPr id="348" name="Group 347"/>
          <p:cNvGrpSpPr>
            <a:grpSpLocks noChangeAspect="1"/>
          </p:cNvGrpSpPr>
          <p:nvPr/>
        </p:nvGrpSpPr>
        <p:grpSpPr>
          <a:xfrm>
            <a:off x="7619613" y="1559012"/>
            <a:ext cx="487251" cy="679523"/>
            <a:chOff x="4741863" y="1752600"/>
            <a:chExt cx="938212" cy="1055688"/>
          </a:xfrm>
          <a:solidFill>
            <a:schemeClr val="accent2"/>
          </a:solidFill>
          <a:effectLst/>
        </p:grpSpPr>
        <p:sp>
          <p:nvSpPr>
            <p:cNvPr id="349" name="Freeform 114"/>
            <p:cNvSpPr>
              <a:spLocks noEditPoints="1"/>
            </p:cNvSpPr>
            <p:nvPr/>
          </p:nvSpPr>
          <p:spPr bwMode="auto">
            <a:xfrm>
              <a:off x="4741863" y="1752600"/>
              <a:ext cx="938212" cy="1055688"/>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sp>
          <p:nvSpPr>
            <p:cNvPr id="350"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sp>
          <p:nvSpPr>
            <p:cNvPr id="351"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grpSp>
      <p:sp>
        <p:nvSpPr>
          <p:cNvPr id="352" name="Rectangle 351"/>
          <p:cNvSpPr/>
          <p:nvPr/>
        </p:nvSpPr>
        <p:spPr>
          <a:xfrm>
            <a:off x="4549616" y="2237370"/>
            <a:ext cx="1821781" cy="14856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ja-JP" altLang="en-US" sz="1200" dirty="0" smtClean="0">
                <a:solidFill>
                  <a:schemeClr val="tx1"/>
                </a:solidFill>
              </a:rPr>
              <a:t>ローミング・小規模拠点</a:t>
            </a:r>
            <a:endParaRPr lang="en-US" sz="1200" dirty="0">
              <a:solidFill>
                <a:schemeClr val="tx1"/>
              </a:solidFill>
            </a:endParaRPr>
          </a:p>
        </p:txBody>
      </p:sp>
      <p:sp>
        <p:nvSpPr>
          <p:cNvPr id="353" name="Rectangle 352"/>
          <p:cNvSpPr/>
          <p:nvPr/>
        </p:nvSpPr>
        <p:spPr>
          <a:xfrm>
            <a:off x="7180905" y="2246925"/>
            <a:ext cx="1371243" cy="1610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125" dirty="0">
                <a:solidFill>
                  <a:schemeClr val="tx1"/>
                </a:solidFill>
              </a:rPr>
              <a:t>HQ</a:t>
            </a:r>
          </a:p>
        </p:txBody>
      </p:sp>
      <p:cxnSp>
        <p:nvCxnSpPr>
          <p:cNvPr id="354" name="Elbow Connector 353"/>
          <p:cNvCxnSpPr/>
          <p:nvPr/>
        </p:nvCxnSpPr>
        <p:spPr>
          <a:xfrm rot="16200000" flipH="1">
            <a:off x="5422358" y="2431201"/>
            <a:ext cx="771241" cy="706727"/>
          </a:xfrm>
          <a:prstGeom prst="bentConnector3">
            <a:avLst/>
          </a:prstGeom>
          <a:ln w="1905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5" name="Elbow Connector 354"/>
          <p:cNvCxnSpPr/>
          <p:nvPr/>
        </p:nvCxnSpPr>
        <p:spPr>
          <a:xfrm rot="5400000">
            <a:off x="6938065" y="2259271"/>
            <a:ext cx="771244" cy="1096994"/>
          </a:xfrm>
          <a:prstGeom prst="bentConnector3">
            <a:avLst/>
          </a:prstGeom>
          <a:ln w="19050">
            <a:solidFill>
              <a:schemeClr val="accent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56" name="Rectangle 355"/>
          <p:cNvSpPr/>
          <p:nvPr/>
        </p:nvSpPr>
        <p:spPr>
          <a:xfrm>
            <a:off x="5004062" y="4032709"/>
            <a:ext cx="1330914" cy="4308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10" rIns="0" bIns="45710" rtlCol="0" anchor="ctr">
            <a:noAutofit/>
          </a:bodyPr>
          <a:lstStyle/>
          <a:p>
            <a:pPr algn="ctr"/>
            <a:r>
              <a:rPr lang="en-US" altLang="ja-JP" sz="1125" dirty="0" smtClean="0">
                <a:solidFill>
                  <a:schemeClr val="tx1"/>
                </a:solidFill>
              </a:rPr>
              <a:t>Web</a:t>
            </a:r>
            <a:r>
              <a:rPr lang="ja-JP" altLang="en-US" sz="1125" dirty="0" smtClean="0">
                <a:solidFill>
                  <a:schemeClr val="tx1"/>
                </a:solidFill>
              </a:rPr>
              <a:t>セキュリティ</a:t>
            </a:r>
            <a:endParaRPr lang="en-US" altLang="ja-JP" sz="1125" dirty="0" smtClean="0">
              <a:solidFill>
                <a:schemeClr val="tx1"/>
              </a:solidFill>
            </a:endParaRPr>
          </a:p>
          <a:p>
            <a:pPr algn="ctr"/>
            <a:r>
              <a:rPr lang="ja-JP" altLang="en-US" sz="1125" dirty="0" smtClean="0">
                <a:solidFill>
                  <a:schemeClr val="tx1"/>
                </a:solidFill>
              </a:rPr>
              <a:t>レポーティング</a:t>
            </a:r>
            <a:endParaRPr lang="en-US" sz="1125" dirty="0">
              <a:solidFill>
                <a:schemeClr val="tx1"/>
              </a:solidFill>
            </a:endParaRPr>
          </a:p>
        </p:txBody>
      </p:sp>
      <p:grpSp>
        <p:nvGrpSpPr>
          <p:cNvPr id="357" name="Group 356"/>
          <p:cNvGrpSpPr/>
          <p:nvPr/>
        </p:nvGrpSpPr>
        <p:grpSpPr>
          <a:xfrm>
            <a:off x="5496549" y="2574525"/>
            <a:ext cx="533891" cy="337141"/>
            <a:chOff x="11454660" y="502253"/>
            <a:chExt cx="437727" cy="255111"/>
          </a:xfrm>
        </p:grpSpPr>
        <p:sp>
          <p:nvSpPr>
            <p:cNvPr id="358" name="Oval 2"/>
            <p:cNvSpPr/>
            <p:nvPr/>
          </p:nvSpPr>
          <p:spPr bwMode="auto">
            <a:xfrm>
              <a:off x="11454660" y="502253"/>
              <a:ext cx="437727" cy="25511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2253" tIns="41127" rIns="41127" bIns="82253" numCol="1" spcCol="0" rtlCol="0" fromWordArt="0" anchor="b" anchorCtr="0" forceAA="0" compatLnSpc="1">
              <a:prstTxWarp prst="textNoShape">
                <a:avLst/>
              </a:prstTxWarp>
              <a:noAutofit/>
            </a:bodyPr>
            <a:lstStyle>
              <a:defPPr>
                <a:defRPr lang="en-US"/>
              </a:defPPr>
              <a:lvl1pPr marL="0" algn="l" defTabSz="457143" rtl="0" eaLnBrk="1" latinLnBrk="0" hangingPunct="1">
                <a:defRPr sz="1800" kern="1200">
                  <a:solidFill>
                    <a:schemeClr val="lt1"/>
                  </a:solidFill>
                  <a:latin typeface="+mn-lt"/>
                  <a:ea typeface="+mn-ea"/>
                  <a:cs typeface="+mn-cs"/>
                </a:defRPr>
              </a:lvl1pPr>
              <a:lvl2pPr marL="457143" algn="l" defTabSz="457143" rtl="0" eaLnBrk="1" latinLnBrk="0" hangingPunct="1">
                <a:defRPr sz="1800" kern="1200">
                  <a:solidFill>
                    <a:schemeClr val="lt1"/>
                  </a:solidFill>
                  <a:latin typeface="+mn-lt"/>
                  <a:ea typeface="+mn-ea"/>
                  <a:cs typeface="+mn-cs"/>
                </a:defRPr>
              </a:lvl2pPr>
              <a:lvl3pPr marL="914286" algn="l" defTabSz="457143" rtl="0" eaLnBrk="1" latinLnBrk="0" hangingPunct="1">
                <a:defRPr sz="1800" kern="1200">
                  <a:solidFill>
                    <a:schemeClr val="lt1"/>
                  </a:solidFill>
                  <a:latin typeface="+mn-lt"/>
                  <a:ea typeface="+mn-ea"/>
                  <a:cs typeface="+mn-cs"/>
                </a:defRPr>
              </a:lvl3pPr>
              <a:lvl4pPr marL="1371429" algn="l" defTabSz="457143" rtl="0" eaLnBrk="1" latinLnBrk="0" hangingPunct="1">
                <a:defRPr sz="1800" kern="1200">
                  <a:solidFill>
                    <a:schemeClr val="lt1"/>
                  </a:solidFill>
                  <a:latin typeface="+mn-lt"/>
                  <a:ea typeface="+mn-ea"/>
                  <a:cs typeface="+mn-cs"/>
                </a:defRPr>
              </a:lvl4pPr>
              <a:lvl5pPr marL="1828572" algn="l" defTabSz="457143" rtl="0" eaLnBrk="1" latinLnBrk="0" hangingPunct="1">
                <a:defRPr sz="1800" kern="1200">
                  <a:solidFill>
                    <a:schemeClr val="lt1"/>
                  </a:solidFill>
                  <a:latin typeface="+mn-lt"/>
                  <a:ea typeface="+mn-ea"/>
                  <a:cs typeface="+mn-cs"/>
                </a:defRPr>
              </a:lvl5pPr>
              <a:lvl6pPr marL="2285714" algn="l" defTabSz="457143" rtl="0" eaLnBrk="1" latinLnBrk="0" hangingPunct="1">
                <a:defRPr sz="1800" kern="1200">
                  <a:solidFill>
                    <a:schemeClr val="lt1"/>
                  </a:solidFill>
                  <a:latin typeface="+mn-lt"/>
                  <a:ea typeface="+mn-ea"/>
                  <a:cs typeface="+mn-cs"/>
                </a:defRPr>
              </a:lvl6pPr>
              <a:lvl7pPr marL="2742858" algn="l" defTabSz="457143" rtl="0" eaLnBrk="1" latinLnBrk="0" hangingPunct="1">
                <a:defRPr sz="1800" kern="1200">
                  <a:solidFill>
                    <a:schemeClr val="lt1"/>
                  </a:solidFill>
                  <a:latin typeface="+mn-lt"/>
                  <a:ea typeface="+mn-ea"/>
                  <a:cs typeface="+mn-cs"/>
                </a:defRPr>
              </a:lvl7pPr>
              <a:lvl8pPr marL="3199999" algn="l" defTabSz="457143" rtl="0" eaLnBrk="1" latinLnBrk="0" hangingPunct="1">
                <a:defRPr sz="1800" kern="1200">
                  <a:solidFill>
                    <a:schemeClr val="lt1"/>
                  </a:solidFill>
                  <a:latin typeface="+mn-lt"/>
                  <a:ea typeface="+mn-ea"/>
                  <a:cs typeface="+mn-cs"/>
                </a:defRPr>
              </a:lvl8pPr>
              <a:lvl9pPr marL="3657143" algn="l" defTabSz="457143" rtl="0" eaLnBrk="1" latinLnBrk="0" hangingPunct="1">
                <a:defRPr sz="1800" kern="1200">
                  <a:solidFill>
                    <a:schemeClr val="lt1"/>
                  </a:solidFill>
                  <a:latin typeface="+mn-lt"/>
                  <a:ea typeface="+mn-ea"/>
                  <a:cs typeface="+mn-cs"/>
                </a:defRPr>
              </a:lvl9pPr>
            </a:lstStyle>
            <a:p>
              <a:pPr algn="ctr" defTabSz="821699"/>
              <a:endParaRPr lang="en-US" sz="1200" spc="-45" dirty="0" err="1">
                <a:gradFill>
                  <a:gsLst>
                    <a:gs pos="0">
                      <a:srgbClr val="FFFFFF"/>
                    </a:gs>
                    <a:gs pos="100000">
                      <a:srgbClr val="FFFFFF"/>
                    </a:gs>
                  </a:gsLst>
                  <a:lin ang="5400000" scaled="0"/>
                </a:gradFill>
                <a:latin typeface="CiscoSansTT Light"/>
                <a:ea typeface="Segoe UI" pitchFamily="34" charset="0"/>
                <a:cs typeface="Arial" panose="020B0604020202020204" pitchFamily="34" charset="0"/>
              </a:endParaRPr>
            </a:p>
          </p:txBody>
        </p:sp>
        <p:grpSp>
          <p:nvGrpSpPr>
            <p:cNvPr id="359" name="Group 358"/>
            <p:cNvGrpSpPr/>
            <p:nvPr/>
          </p:nvGrpSpPr>
          <p:grpSpPr>
            <a:xfrm>
              <a:off x="11519241" y="617344"/>
              <a:ext cx="285307" cy="80850"/>
              <a:chOff x="691827" y="3506031"/>
              <a:chExt cx="2666757" cy="755693"/>
            </a:xfrm>
            <a:solidFill>
              <a:schemeClr val="accent5"/>
            </a:solidFill>
          </p:grpSpPr>
          <p:grpSp>
            <p:nvGrpSpPr>
              <p:cNvPr id="360" name="Group 359"/>
              <p:cNvGrpSpPr>
                <a:grpSpLocks noChangeAspect="1"/>
              </p:cNvGrpSpPr>
              <p:nvPr/>
            </p:nvGrpSpPr>
            <p:grpSpPr>
              <a:xfrm rot="20679101">
                <a:off x="691827" y="3506031"/>
                <a:ext cx="758555" cy="755693"/>
                <a:chOff x="7798595" y="7042151"/>
                <a:chExt cx="420688" cy="419100"/>
              </a:xfrm>
              <a:grpFill/>
            </p:grpSpPr>
            <p:sp>
              <p:nvSpPr>
                <p:cNvPr id="365" name="Freeform 364"/>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sp>
              <p:nvSpPr>
                <p:cNvPr id="366" name="Freeform 365"/>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grpSp>
          <p:grpSp>
            <p:nvGrpSpPr>
              <p:cNvPr id="361" name="Group 360"/>
              <p:cNvGrpSpPr>
                <a:grpSpLocks noChangeAspect="1"/>
              </p:cNvGrpSpPr>
              <p:nvPr/>
            </p:nvGrpSpPr>
            <p:grpSpPr bwMode="auto">
              <a:xfrm>
                <a:off x="1450697" y="3636763"/>
                <a:ext cx="1907887" cy="613019"/>
                <a:chOff x="-78" y="-1937"/>
                <a:chExt cx="7678" cy="2467"/>
              </a:xfrm>
              <a:grpFill/>
            </p:grpSpPr>
            <p:sp>
              <p:nvSpPr>
                <p:cNvPr id="362" name="Freeform 361"/>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sp>
              <p:nvSpPr>
                <p:cNvPr id="363" name="Freeform 362"/>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sp>
              <p:nvSpPr>
                <p:cNvPr id="364" name="Freeform 363"/>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grpSp>
        </p:grpSp>
      </p:grpSp>
      <p:grpSp>
        <p:nvGrpSpPr>
          <p:cNvPr id="367" name="Group 366"/>
          <p:cNvGrpSpPr/>
          <p:nvPr/>
        </p:nvGrpSpPr>
        <p:grpSpPr>
          <a:xfrm>
            <a:off x="7118153" y="2653509"/>
            <a:ext cx="627753" cy="496061"/>
            <a:chOff x="7019228" y="1441754"/>
            <a:chExt cx="1194676" cy="943808"/>
          </a:xfrm>
        </p:grpSpPr>
        <p:sp>
          <p:nvSpPr>
            <p:cNvPr id="368" name="TextBox 367"/>
            <p:cNvSpPr txBox="1"/>
            <p:nvPr/>
          </p:nvSpPr>
          <p:spPr>
            <a:xfrm>
              <a:off x="7138647" y="1899418"/>
              <a:ext cx="1043845" cy="486144"/>
            </a:xfrm>
            <a:prstGeom prst="rect">
              <a:avLst/>
            </a:prstGeom>
            <a:noFill/>
          </p:spPr>
          <p:txBody>
            <a:bodyPr wrap="square" lIns="81598" tIns="40797" rIns="81598" bIns="40797" rtlCol="0" anchor="ctr">
              <a:spAutoFit/>
            </a:bodyPr>
            <a:lstStyle/>
            <a:p>
              <a:pPr algn="r" defTabSz="456839"/>
              <a:r>
                <a:rPr lang="en-US" sz="1100" dirty="0">
                  <a:latin typeface="Arial"/>
                </a:rPr>
                <a:t>WSA</a:t>
              </a:r>
            </a:p>
          </p:txBody>
        </p:sp>
        <p:grpSp>
          <p:nvGrpSpPr>
            <p:cNvPr id="369" name="Group 368"/>
            <p:cNvGrpSpPr/>
            <p:nvPr/>
          </p:nvGrpSpPr>
          <p:grpSpPr>
            <a:xfrm>
              <a:off x="7019228" y="1441754"/>
              <a:ext cx="1194676" cy="543422"/>
              <a:chOff x="8571329" y="5087672"/>
              <a:chExt cx="1577111" cy="717567"/>
            </a:xfrm>
          </p:grpSpPr>
          <p:sp>
            <p:nvSpPr>
              <p:cNvPr id="370" name="Freeform 136"/>
              <p:cNvSpPr>
                <a:spLocks noEditPoints="1"/>
              </p:cNvSpPr>
              <p:nvPr/>
            </p:nvSpPr>
            <p:spPr bwMode="auto">
              <a:xfrm>
                <a:off x="8571329" y="5087672"/>
                <a:ext cx="1332555" cy="27237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chemeClr val="accent2"/>
              </a:solidFill>
              <a:ln>
                <a:noFill/>
              </a:ln>
              <a:extLst/>
            </p:spPr>
            <p:txBody>
              <a:bodyPr vert="horz" wrap="square" lIns="68526" tIns="34263" rIns="68526" bIns="34263" numCol="1" anchor="t" anchorCtr="0" compatLnSpc="1">
                <a:prstTxWarp prst="textNoShape">
                  <a:avLst/>
                </a:prstTxWarp>
              </a:bodyPr>
              <a:lstStyle/>
              <a:p>
                <a:pPr defTabSz="685612">
                  <a:defRPr/>
                </a:pPr>
                <a:endParaRPr lang="en-US" sz="1125" kern="0">
                  <a:solidFill>
                    <a:srgbClr val="FFFFFF"/>
                  </a:solidFill>
                  <a:latin typeface="Arial"/>
                </a:endParaRPr>
              </a:p>
            </p:txBody>
          </p:sp>
          <p:grpSp>
            <p:nvGrpSpPr>
              <p:cNvPr id="371" name="Group 370"/>
              <p:cNvGrpSpPr/>
              <p:nvPr/>
            </p:nvGrpSpPr>
            <p:grpSpPr>
              <a:xfrm>
                <a:off x="8656953" y="5282579"/>
                <a:ext cx="1365912" cy="295666"/>
                <a:chOff x="8781565" y="5356496"/>
                <a:chExt cx="1365912" cy="295666"/>
              </a:xfrm>
            </p:grpSpPr>
            <p:sp>
              <p:nvSpPr>
                <p:cNvPr id="375" name="Rounded Rectangle 374"/>
                <p:cNvSpPr/>
                <p:nvPr/>
              </p:nvSpPr>
              <p:spPr>
                <a:xfrm>
                  <a:off x="8781565" y="5356496"/>
                  <a:ext cx="1365912" cy="295666"/>
                </a:xfrm>
                <a:prstGeom prst="roundRect">
                  <a:avLst>
                    <a:gd name="adj" fmla="val 25619"/>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04"/>
                  <a:endParaRPr lang="en-US" sz="1425" dirty="0">
                    <a:solidFill>
                      <a:srgbClr val="FFFFFF"/>
                    </a:solidFill>
                  </a:endParaRPr>
                </a:p>
              </p:txBody>
            </p:sp>
            <p:sp>
              <p:nvSpPr>
                <p:cNvPr id="376" name="Freeform 136"/>
                <p:cNvSpPr>
                  <a:spLocks noEditPoints="1"/>
                </p:cNvSpPr>
                <p:nvPr/>
              </p:nvSpPr>
              <p:spPr bwMode="auto">
                <a:xfrm>
                  <a:off x="8802639" y="5374737"/>
                  <a:ext cx="1332555" cy="27237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chemeClr val="accent2"/>
                </a:solidFill>
                <a:ln>
                  <a:noFill/>
                </a:ln>
                <a:extLst/>
              </p:spPr>
              <p:txBody>
                <a:bodyPr vert="horz" wrap="square" lIns="68526" tIns="34263" rIns="68526" bIns="34263" numCol="1" anchor="t" anchorCtr="0" compatLnSpc="1">
                  <a:prstTxWarp prst="textNoShape">
                    <a:avLst/>
                  </a:prstTxWarp>
                </a:bodyPr>
                <a:lstStyle/>
                <a:p>
                  <a:pPr defTabSz="685612">
                    <a:defRPr/>
                  </a:pPr>
                  <a:endParaRPr lang="en-US" sz="1125" kern="0">
                    <a:solidFill>
                      <a:srgbClr val="FFFFFF"/>
                    </a:solidFill>
                    <a:latin typeface="Arial"/>
                  </a:endParaRPr>
                </a:p>
              </p:txBody>
            </p:sp>
          </p:grpSp>
          <p:grpSp>
            <p:nvGrpSpPr>
              <p:cNvPr id="372" name="Group 371"/>
              <p:cNvGrpSpPr/>
              <p:nvPr/>
            </p:nvGrpSpPr>
            <p:grpSpPr>
              <a:xfrm>
                <a:off x="8782528" y="5509573"/>
                <a:ext cx="1365912" cy="295666"/>
                <a:chOff x="8782528" y="5509573"/>
                <a:chExt cx="1365912" cy="295666"/>
              </a:xfrm>
            </p:grpSpPr>
            <p:sp>
              <p:nvSpPr>
                <p:cNvPr id="373" name="Rounded Rectangle 372"/>
                <p:cNvSpPr/>
                <p:nvPr/>
              </p:nvSpPr>
              <p:spPr>
                <a:xfrm>
                  <a:off x="8782528" y="5509573"/>
                  <a:ext cx="1365912" cy="295666"/>
                </a:xfrm>
                <a:prstGeom prst="roundRect">
                  <a:avLst>
                    <a:gd name="adj" fmla="val 25619"/>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04"/>
                  <a:endParaRPr lang="en-US" sz="1425" dirty="0">
                    <a:solidFill>
                      <a:srgbClr val="FFFFFF"/>
                    </a:solidFill>
                  </a:endParaRPr>
                </a:p>
              </p:txBody>
            </p:sp>
            <p:sp>
              <p:nvSpPr>
                <p:cNvPr id="374" name="Freeform 136"/>
                <p:cNvSpPr>
                  <a:spLocks noEditPoints="1"/>
                </p:cNvSpPr>
                <p:nvPr/>
              </p:nvSpPr>
              <p:spPr bwMode="auto">
                <a:xfrm>
                  <a:off x="8799572" y="5531565"/>
                  <a:ext cx="1332555" cy="27237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chemeClr val="accent2"/>
                </a:solidFill>
                <a:ln>
                  <a:noFill/>
                </a:ln>
                <a:extLst/>
              </p:spPr>
              <p:txBody>
                <a:bodyPr vert="horz" wrap="square" lIns="68526" tIns="34263" rIns="68526" bIns="34263" numCol="1" anchor="t" anchorCtr="0" compatLnSpc="1">
                  <a:prstTxWarp prst="textNoShape">
                    <a:avLst/>
                  </a:prstTxWarp>
                </a:bodyPr>
                <a:lstStyle/>
                <a:p>
                  <a:pPr defTabSz="685612">
                    <a:defRPr/>
                  </a:pPr>
                  <a:endParaRPr lang="en-US" sz="1125" kern="0">
                    <a:solidFill>
                      <a:srgbClr val="FFFFFF"/>
                    </a:solidFill>
                    <a:latin typeface="Arial"/>
                  </a:endParaRPr>
                </a:p>
              </p:txBody>
            </p:sp>
          </p:grpSp>
        </p:grpSp>
      </p:grpSp>
      <p:sp>
        <p:nvSpPr>
          <p:cNvPr id="377" name="Rectangle 376"/>
          <p:cNvSpPr/>
          <p:nvPr/>
        </p:nvSpPr>
        <p:spPr>
          <a:xfrm>
            <a:off x="367225" y="1112075"/>
            <a:ext cx="4022312" cy="3429000"/>
          </a:xfrm>
          <a:prstGeom prst="rect">
            <a:avLst/>
          </a:prstGeom>
          <a:solidFill>
            <a:schemeClr val="bg1">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68562" tIns="34285" rIns="68562" bIns="34285" rtlCol="0" anchor="t"/>
          <a:lstStyle/>
          <a:p>
            <a:pPr algn="ctr" defTabSz="342804"/>
            <a:r>
              <a:rPr lang="en-US" sz="1350" b="1" dirty="0">
                <a:solidFill>
                  <a:schemeClr val="tx2"/>
                </a:solidFill>
                <a:cs typeface="Arial" panose="020B0604020202020204" pitchFamily="34" charset="0"/>
              </a:rPr>
              <a:t>Unified </a:t>
            </a:r>
            <a:r>
              <a:rPr lang="en-US" sz="1350" b="1" dirty="0" smtClean="0">
                <a:solidFill>
                  <a:schemeClr val="tx2"/>
                </a:solidFill>
                <a:cs typeface="Arial" panose="020B0604020202020204" pitchFamily="34" charset="0"/>
              </a:rPr>
              <a:t>Policy</a:t>
            </a:r>
            <a:endParaRPr lang="en-US" sz="1350" b="1" dirty="0">
              <a:solidFill>
                <a:schemeClr val="tx2"/>
              </a:solidFill>
              <a:cs typeface="Arial" panose="020B0604020202020204" pitchFamily="34" charset="0"/>
            </a:endParaRPr>
          </a:p>
        </p:txBody>
      </p:sp>
      <p:sp>
        <p:nvSpPr>
          <p:cNvPr id="385" name="Freeform 384"/>
          <p:cNvSpPr>
            <a:spLocks noChangeAspect="1" noEditPoints="1"/>
          </p:cNvSpPr>
          <p:nvPr/>
        </p:nvSpPr>
        <p:spPr bwMode="auto">
          <a:xfrm flipH="1">
            <a:off x="1071598" y="1689893"/>
            <a:ext cx="493564" cy="548640"/>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accent2"/>
          </a:solidFill>
          <a:ln w="9525">
            <a:noFill/>
            <a:round/>
            <a:headEnd/>
            <a:tailEnd/>
          </a:ln>
        </p:spPr>
        <p:txBody>
          <a:bodyPr vert="horz" wrap="square" lIns="91420" tIns="45710" rIns="91420" bIns="45710" numCol="1" anchor="t" anchorCtr="0" compatLnSpc="1">
            <a:prstTxWarp prst="textNoShape">
              <a:avLst/>
            </a:prstTxWarp>
          </a:bodyPr>
          <a:lstStyle/>
          <a:p>
            <a:endParaRPr lang="en-US" sz="1575">
              <a:solidFill>
                <a:srgbClr val="FFFFFF"/>
              </a:solidFill>
            </a:endParaRPr>
          </a:p>
        </p:txBody>
      </p:sp>
      <p:grpSp>
        <p:nvGrpSpPr>
          <p:cNvPr id="386" name="Group 385"/>
          <p:cNvGrpSpPr>
            <a:grpSpLocks noChangeAspect="1"/>
          </p:cNvGrpSpPr>
          <p:nvPr/>
        </p:nvGrpSpPr>
        <p:grpSpPr>
          <a:xfrm>
            <a:off x="3217299" y="1559012"/>
            <a:ext cx="487251" cy="679523"/>
            <a:chOff x="4741863" y="1752600"/>
            <a:chExt cx="938212" cy="1055688"/>
          </a:xfrm>
          <a:solidFill>
            <a:schemeClr val="accent2"/>
          </a:solidFill>
          <a:effectLst/>
        </p:grpSpPr>
        <p:sp>
          <p:nvSpPr>
            <p:cNvPr id="387" name="Freeform 114"/>
            <p:cNvSpPr>
              <a:spLocks noEditPoints="1"/>
            </p:cNvSpPr>
            <p:nvPr/>
          </p:nvSpPr>
          <p:spPr bwMode="auto">
            <a:xfrm>
              <a:off x="4741863" y="1752600"/>
              <a:ext cx="938212" cy="1055688"/>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sp>
          <p:nvSpPr>
            <p:cNvPr id="388"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sp>
          <p:nvSpPr>
            <p:cNvPr id="389"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grpSp>
      <p:sp>
        <p:nvSpPr>
          <p:cNvPr id="390" name="Rectangle 389"/>
          <p:cNvSpPr/>
          <p:nvPr/>
        </p:nvSpPr>
        <p:spPr>
          <a:xfrm>
            <a:off x="438610" y="2246922"/>
            <a:ext cx="2036666" cy="15201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ja-JP" altLang="en-US" sz="1200" dirty="0" smtClean="0">
                <a:solidFill>
                  <a:schemeClr val="tx1"/>
                </a:solidFill>
              </a:rPr>
              <a:t>ローミング・小規模拠点</a:t>
            </a:r>
            <a:endParaRPr lang="en-US" sz="1200" dirty="0">
              <a:solidFill>
                <a:schemeClr val="tx1"/>
              </a:solidFill>
            </a:endParaRPr>
          </a:p>
        </p:txBody>
      </p:sp>
      <p:sp>
        <p:nvSpPr>
          <p:cNvPr id="391" name="Rectangle 390"/>
          <p:cNvSpPr/>
          <p:nvPr/>
        </p:nvSpPr>
        <p:spPr>
          <a:xfrm>
            <a:off x="2778591" y="2246925"/>
            <a:ext cx="1371243" cy="1610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en-US" sz="1125" dirty="0">
                <a:solidFill>
                  <a:schemeClr val="tx1"/>
                </a:solidFill>
              </a:rPr>
              <a:t>HQ</a:t>
            </a:r>
          </a:p>
        </p:txBody>
      </p:sp>
      <p:sp>
        <p:nvSpPr>
          <p:cNvPr id="393" name="Rectangle 392"/>
          <p:cNvSpPr/>
          <p:nvPr/>
        </p:nvSpPr>
        <p:spPr>
          <a:xfrm>
            <a:off x="601748" y="4032709"/>
            <a:ext cx="1330914" cy="4308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45710" rIns="0" bIns="45710" rtlCol="0" anchor="ctr">
            <a:noAutofit/>
          </a:bodyPr>
          <a:lstStyle/>
          <a:p>
            <a:pPr algn="ctr"/>
            <a:r>
              <a:rPr lang="en-US" sz="1125" dirty="0" smtClean="0">
                <a:solidFill>
                  <a:schemeClr val="tx1"/>
                </a:solidFill>
              </a:rPr>
              <a:t>CWS UI</a:t>
            </a:r>
            <a:endParaRPr lang="en-US" sz="1125" dirty="0">
              <a:solidFill>
                <a:schemeClr val="tx1"/>
              </a:solidFill>
            </a:endParaRPr>
          </a:p>
        </p:txBody>
      </p:sp>
      <p:sp>
        <p:nvSpPr>
          <p:cNvPr id="435" name="Freeform 434"/>
          <p:cNvSpPr>
            <a:spLocks/>
          </p:cNvSpPr>
          <p:nvPr/>
        </p:nvSpPr>
        <p:spPr bwMode="auto">
          <a:xfrm flipH="1">
            <a:off x="2189150" y="3639406"/>
            <a:ext cx="840539" cy="901671"/>
          </a:xfrm>
          <a:custGeom>
            <a:avLst/>
            <a:gdLst>
              <a:gd name="connsiteX0" fmla="*/ 451607 w 840758"/>
              <a:gd name="connsiteY0" fmla="*/ 0 h 901671"/>
              <a:gd name="connsiteX1" fmla="*/ 448030 w 840758"/>
              <a:gd name="connsiteY1" fmla="*/ 0 h 901671"/>
              <a:gd name="connsiteX2" fmla="*/ 420889 w 840758"/>
              <a:gd name="connsiteY2" fmla="*/ 0 h 901671"/>
              <a:gd name="connsiteX3" fmla="*/ 419871 w 840758"/>
              <a:gd name="connsiteY3" fmla="*/ 0 h 901671"/>
              <a:gd name="connsiteX4" fmla="*/ 392729 w 840758"/>
              <a:gd name="connsiteY4" fmla="*/ 0 h 901671"/>
              <a:gd name="connsiteX5" fmla="*/ 389152 w 840758"/>
              <a:gd name="connsiteY5" fmla="*/ 0 h 901671"/>
              <a:gd name="connsiteX6" fmla="*/ 360993 w 840758"/>
              <a:gd name="connsiteY6" fmla="*/ 2534 h 901671"/>
              <a:gd name="connsiteX7" fmla="*/ 332835 w 840758"/>
              <a:gd name="connsiteY7" fmla="*/ 10139 h 901671"/>
              <a:gd name="connsiteX8" fmla="*/ 309796 w 840758"/>
              <a:gd name="connsiteY8" fmla="*/ 15208 h 901671"/>
              <a:gd name="connsiteX9" fmla="*/ 284198 w 840758"/>
              <a:gd name="connsiteY9" fmla="*/ 27881 h 901671"/>
              <a:gd name="connsiteX10" fmla="*/ 263719 w 840758"/>
              <a:gd name="connsiteY10" fmla="*/ 38018 h 901671"/>
              <a:gd name="connsiteX11" fmla="*/ 243239 w 840758"/>
              <a:gd name="connsiteY11" fmla="*/ 50692 h 901671"/>
              <a:gd name="connsiteX12" fmla="*/ 225320 w 840758"/>
              <a:gd name="connsiteY12" fmla="*/ 63364 h 901671"/>
              <a:gd name="connsiteX13" fmla="*/ 212520 w 840758"/>
              <a:gd name="connsiteY13" fmla="*/ 81106 h 901671"/>
              <a:gd name="connsiteX14" fmla="*/ 199721 w 840758"/>
              <a:gd name="connsiteY14" fmla="*/ 98848 h 901671"/>
              <a:gd name="connsiteX15" fmla="*/ 184362 w 840758"/>
              <a:gd name="connsiteY15" fmla="*/ 116590 h 901671"/>
              <a:gd name="connsiteX16" fmla="*/ 179242 w 840758"/>
              <a:gd name="connsiteY16" fmla="*/ 136866 h 901671"/>
              <a:gd name="connsiteX17" fmla="*/ 169002 w 840758"/>
              <a:gd name="connsiteY17" fmla="*/ 152074 h 901671"/>
              <a:gd name="connsiteX18" fmla="*/ 163883 w 840758"/>
              <a:gd name="connsiteY18" fmla="*/ 172350 h 901671"/>
              <a:gd name="connsiteX19" fmla="*/ 161323 w 840758"/>
              <a:gd name="connsiteY19" fmla="*/ 195161 h 901671"/>
              <a:gd name="connsiteX20" fmla="*/ 161323 w 840758"/>
              <a:gd name="connsiteY20" fmla="*/ 215437 h 901671"/>
              <a:gd name="connsiteX21" fmla="*/ 161323 w 840758"/>
              <a:gd name="connsiteY21" fmla="*/ 238248 h 901671"/>
              <a:gd name="connsiteX22" fmla="*/ 161323 w 840758"/>
              <a:gd name="connsiteY22" fmla="*/ 263594 h 901671"/>
              <a:gd name="connsiteX23" fmla="*/ 169002 w 840758"/>
              <a:gd name="connsiteY23" fmla="*/ 299077 h 901671"/>
              <a:gd name="connsiteX24" fmla="*/ 169002 w 840758"/>
              <a:gd name="connsiteY24" fmla="*/ 332026 h 901671"/>
              <a:gd name="connsiteX25" fmla="*/ 163883 w 840758"/>
              <a:gd name="connsiteY25" fmla="*/ 362442 h 901671"/>
              <a:gd name="connsiteX26" fmla="*/ 161323 w 840758"/>
              <a:gd name="connsiteY26" fmla="*/ 385252 h 901671"/>
              <a:gd name="connsiteX27" fmla="*/ 151084 w 840758"/>
              <a:gd name="connsiteY27" fmla="*/ 410598 h 901671"/>
              <a:gd name="connsiteX28" fmla="*/ 143403 w 840758"/>
              <a:gd name="connsiteY28" fmla="*/ 425805 h 901671"/>
              <a:gd name="connsiteX29" fmla="*/ 133165 w 840758"/>
              <a:gd name="connsiteY29" fmla="*/ 443547 h 901671"/>
              <a:gd name="connsiteX30" fmla="*/ 120365 w 840758"/>
              <a:gd name="connsiteY30" fmla="*/ 456219 h 901671"/>
              <a:gd name="connsiteX31" fmla="*/ 94766 w 840758"/>
              <a:gd name="connsiteY31" fmla="*/ 473961 h 901671"/>
              <a:gd name="connsiteX32" fmla="*/ 74287 w 840758"/>
              <a:gd name="connsiteY32" fmla="*/ 484100 h 901671"/>
              <a:gd name="connsiteX33" fmla="*/ 53808 w 840758"/>
              <a:gd name="connsiteY33" fmla="*/ 491703 h 901671"/>
              <a:gd name="connsiteX34" fmla="*/ 56367 w 840758"/>
              <a:gd name="connsiteY34" fmla="*/ 501842 h 901671"/>
              <a:gd name="connsiteX35" fmla="*/ 66608 w 840758"/>
              <a:gd name="connsiteY35" fmla="*/ 522118 h 901671"/>
              <a:gd name="connsiteX36" fmla="*/ 92206 w 840758"/>
              <a:gd name="connsiteY36" fmla="*/ 552532 h 901671"/>
              <a:gd name="connsiteX37" fmla="*/ 110126 w 840758"/>
              <a:gd name="connsiteY37" fmla="*/ 570274 h 901671"/>
              <a:gd name="connsiteX38" fmla="*/ 130605 w 840758"/>
              <a:gd name="connsiteY38" fmla="*/ 588016 h 901671"/>
              <a:gd name="connsiteX39" fmla="*/ 148202 w 840758"/>
              <a:gd name="connsiteY39" fmla="*/ 594986 h 901671"/>
              <a:gd name="connsiteX40" fmla="*/ 170019 w 840758"/>
              <a:gd name="connsiteY40" fmla="*/ 610827 h 901671"/>
              <a:gd name="connsiteX41" fmla="*/ 193058 w 840758"/>
              <a:gd name="connsiteY41" fmla="*/ 623500 h 901671"/>
              <a:gd name="connsiteX42" fmla="*/ 221218 w 840758"/>
              <a:gd name="connsiteY42" fmla="*/ 636173 h 901671"/>
              <a:gd name="connsiteX43" fmla="*/ 251936 w 840758"/>
              <a:gd name="connsiteY43" fmla="*/ 646311 h 901671"/>
              <a:gd name="connsiteX44" fmla="*/ 282655 w 840758"/>
              <a:gd name="connsiteY44" fmla="*/ 656450 h 901671"/>
              <a:gd name="connsiteX45" fmla="*/ 85545 w 840758"/>
              <a:gd name="connsiteY45" fmla="*/ 755297 h 901671"/>
              <a:gd name="connsiteX46" fmla="*/ 62506 w 840758"/>
              <a:gd name="connsiteY46" fmla="*/ 767969 h 901671"/>
              <a:gd name="connsiteX47" fmla="*/ 42025 w 840758"/>
              <a:gd name="connsiteY47" fmla="*/ 788245 h 901671"/>
              <a:gd name="connsiteX48" fmla="*/ 24106 w 840758"/>
              <a:gd name="connsiteY48" fmla="*/ 816126 h 901671"/>
              <a:gd name="connsiteX49" fmla="*/ 16427 w 840758"/>
              <a:gd name="connsiteY49" fmla="*/ 828798 h 901671"/>
              <a:gd name="connsiteX50" fmla="*/ 13867 w 840758"/>
              <a:gd name="connsiteY50" fmla="*/ 844006 h 901671"/>
              <a:gd name="connsiteX51" fmla="*/ 0 w 840758"/>
              <a:gd name="connsiteY51" fmla="*/ 901671 h 901671"/>
              <a:gd name="connsiteX52" fmla="*/ 840758 w 840758"/>
              <a:gd name="connsiteY52" fmla="*/ 901671 h 901671"/>
              <a:gd name="connsiteX53" fmla="*/ 826892 w 840758"/>
              <a:gd name="connsiteY53" fmla="*/ 844006 h 901671"/>
              <a:gd name="connsiteX54" fmla="*/ 824332 w 840758"/>
              <a:gd name="connsiteY54" fmla="*/ 828798 h 901671"/>
              <a:gd name="connsiteX55" fmla="*/ 816653 w 840758"/>
              <a:gd name="connsiteY55" fmla="*/ 816126 h 901671"/>
              <a:gd name="connsiteX56" fmla="*/ 798733 w 840758"/>
              <a:gd name="connsiteY56" fmla="*/ 788245 h 901671"/>
              <a:gd name="connsiteX57" fmla="*/ 778254 w 840758"/>
              <a:gd name="connsiteY57" fmla="*/ 767969 h 901671"/>
              <a:gd name="connsiteX58" fmla="*/ 755215 w 840758"/>
              <a:gd name="connsiteY58" fmla="*/ 755297 h 901671"/>
              <a:gd name="connsiteX59" fmla="*/ 558104 w 840758"/>
              <a:gd name="connsiteY59" fmla="*/ 656450 h 901671"/>
              <a:gd name="connsiteX60" fmla="*/ 588822 w 840758"/>
              <a:gd name="connsiteY60" fmla="*/ 646311 h 901671"/>
              <a:gd name="connsiteX61" fmla="*/ 619542 w 840758"/>
              <a:gd name="connsiteY61" fmla="*/ 636173 h 901671"/>
              <a:gd name="connsiteX62" fmla="*/ 647700 w 840758"/>
              <a:gd name="connsiteY62" fmla="*/ 623500 h 901671"/>
              <a:gd name="connsiteX63" fmla="*/ 670739 w 840758"/>
              <a:gd name="connsiteY63" fmla="*/ 610827 h 901671"/>
              <a:gd name="connsiteX64" fmla="*/ 692556 w 840758"/>
              <a:gd name="connsiteY64" fmla="*/ 594986 h 901671"/>
              <a:gd name="connsiteX65" fmla="*/ 710155 w 840758"/>
              <a:gd name="connsiteY65" fmla="*/ 588016 h 901671"/>
              <a:gd name="connsiteX66" fmla="*/ 730634 w 840758"/>
              <a:gd name="connsiteY66" fmla="*/ 570274 h 901671"/>
              <a:gd name="connsiteX67" fmla="*/ 748552 w 840758"/>
              <a:gd name="connsiteY67" fmla="*/ 552532 h 901671"/>
              <a:gd name="connsiteX68" fmla="*/ 774152 w 840758"/>
              <a:gd name="connsiteY68" fmla="*/ 522118 h 901671"/>
              <a:gd name="connsiteX69" fmla="*/ 784391 w 840758"/>
              <a:gd name="connsiteY69" fmla="*/ 501842 h 901671"/>
              <a:gd name="connsiteX70" fmla="*/ 786951 w 840758"/>
              <a:gd name="connsiteY70" fmla="*/ 491703 h 901671"/>
              <a:gd name="connsiteX71" fmla="*/ 766472 w 840758"/>
              <a:gd name="connsiteY71" fmla="*/ 484100 h 901671"/>
              <a:gd name="connsiteX72" fmla="*/ 745992 w 840758"/>
              <a:gd name="connsiteY72" fmla="*/ 473961 h 901671"/>
              <a:gd name="connsiteX73" fmla="*/ 720394 w 840758"/>
              <a:gd name="connsiteY73" fmla="*/ 456219 h 901671"/>
              <a:gd name="connsiteX74" fmla="*/ 707595 w 840758"/>
              <a:gd name="connsiteY74" fmla="*/ 443547 h 901671"/>
              <a:gd name="connsiteX75" fmla="*/ 697355 w 840758"/>
              <a:gd name="connsiteY75" fmla="*/ 425805 h 901671"/>
              <a:gd name="connsiteX76" fmla="*/ 689676 w 840758"/>
              <a:gd name="connsiteY76" fmla="*/ 410598 h 901671"/>
              <a:gd name="connsiteX77" fmla="*/ 679436 w 840758"/>
              <a:gd name="connsiteY77" fmla="*/ 385252 h 901671"/>
              <a:gd name="connsiteX78" fmla="*/ 676876 w 840758"/>
              <a:gd name="connsiteY78" fmla="*/ 362442 h 901671"/>
              <a:gd name="connsiteX79" fmla="*/ 671756 w 840758"/>
              <a:gd name="connsiteY79" fmla="*/ 332026 h 901671"/>
              <a:gd name="connsiteX80" fmla="*/ 671756 w 840758"/>
              <a:gd name="connsiteY80" fmla="*/ 299077 h 901671"/>
              <a:gd name="connsiteX81" fmla="*/ 679436 w 840758"/>
              <a:gd name="connsiteY81" fmla="*/ 263594 h 901671"/>
              <a:gd name="connsiteX82" fmla="*/ 679436 w 840758"/>
              <a:gd name="connsiteY82" fmla="*/ 238248 h 901671"/>
              <a:gd name="connsiteX83" fmla="*/ 679436 w 840758"/>
              <a:gd name="connsiteY83" fmla="*/ 215437 h 901671"/>
              <a:gd name="connsiteX84" fmla="*/ 679436 w 840758"/>
              <a:gd name="connsiteY84" fmla="*/ 195161 h 901671"/>
              <a:gd name="connsiteX85" fmla="*/ 676876 w 840758"/>
              <a:gd name="connsiteY85" fmla="*/ 172350 h 901671"/>
              <a:gd name="connsiteX86" fmla="*/ 671756 w 840758"/>
              <a:gd name="connsiteY86" fmla="*/ 152074 h 901671"/>
              <a:gd name="connsiteX87" fmla="*/ 661516 w 840758"/>
              <a:gd name="connsiteY87" fmla="*/ 136866 h 901671"/>
              <a:gd name="connsiteX88" fmla="*/ 656397 w 840758"/>
              <a:gd name="connsiteY88" fmla="*/ 116590 h 901671"/>
              <a:gd name="connsiteX89" fmla="*/ 641038 w 840758"/>
              <a:gd name="connsiteY89" fmla="*/ 98848 h 901671"/>
              <a:gd name="connsiteX90" fmla="*/ 628238 w 840758"/>
              <a:gd name="connsiteY90" fmla="*/ 81106 h 901671"/>
              <a:gd name="connsiteX91" fmla="*/ 615438 w 840758"/>
              <a:gd name="connsiteY91" fmla="*/ 63364 h 901671"/>
              <a:gd name="connsiteX92" fmla="*/ 597520 w 840758"/>
              <a:gd name="connsiteY92" fmla="*/ 50692 h 901671"/>
              <a:gd name="connsiteX93" fmla="*/ 577041 w 840758"/>
              <a:gd name="connsiteY93" fmla="*/ 38018 h 901671"/>
              <a:gd name="connsiteX94" fmla="*/ 556562 w 840758"/>
              <a:gd name="connsiteY94" fmla="*/ 27881 h 901671"/>
              <a:gd name="connsiteX95" fmla="*/ 530964 w 840758"/>
              <a:gd name="connsiteY95" fmla="*/ 15208 h 901671"/>
              <a:gd name="connsiteX96" fmla="*/ 507925 w 840758"/>
              <a:gd name="connsiteY96" fmla="*/ 10139 h 901671"/>
              <a:gd name="connsiteX97" fmla="*/ 479765 w 840758"/>
              <a:gd name="connsiteY97" fmla="*/ 2534 h 90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840758" h="901671">
                <a:moveTo>
                  <a:pt x="451607" y="0"/>
                </a:moveTo>
                <a:lnTo>
                  <a:pt x="448030" y="0"/>
                </a:lnTo>
                <a:lnTo>
                  <a:pt x="420889" y="0"/>
                </a:lnTo>
                <a:lnTo>
                  <a:pt x="419871" y="0"/>
                </a:lnTo>
                <a:lnTo>
                  <a:pt x="392729" y="0"/>
                </a:lnTo>
                <a:lnTo>
                  <a:pt x="389152" y="0"/>
                </a:lnTo>
                <a:lnTo>
                  <a:pt x="360993" y="2534"/>
                </a:lnTo>
                <a:lnTo>
                  <a:pt x="332835" y="10139"/>
                </a:lnTo>
                <a:lnTo>
                  <a:pt x="309796" y="15208"/>
                </a:lnTo>
                <a:lnTo>
                  <a:pt x="284198" y="27881"/>
                </a:lnTo>
                <a:lnTo>
                  <a:pt x="263719" y="38018"/>
                </a:lnTo>
                <a:lnTo>
                  <a:pt x="243239" y="50692"/>
                </a:lnTo>
                <a:lnTo>
                  <a:pt x="225320" y="63364"/>
                </a:lnTo>
                <a:lnTo>
                  <a:pt x="212520" y="81106"/>
                </a:lnTo>
                <a:lnTo>
                  <a:pt x="199721" y="98848"/>
                </a:lnTo>
                <a:lnTo>
                  <a:pt x="184362" y="116590"/>
                </a:lnTo>
                <a:lnTo>
                  <a:pt x="179242" y="136866"/>
                </a:lnTo>
                <a:lnTo>
                  <a:pt x="169002" y="152074"/>
                </a:lnTo>
                <a:lnTo>
                  <a:pt x="163883" y="172350"/>
                </a:lnTo>
                <a:lnTo>
                  <a:pt x="161323" y="195161"/>
                </a:lnTo>
                <a:lnTo>
                  <a:pt x="161323" y="215437"/>
                </a:lnTo>
                <a:lnTo>
                  <a:pt x="161323" y="238248"/>
                </a:lnTo>
                <a:lnTo>
                  <a:pt x="161323" y="263594"/>
                </a:lnTo>
                <a:lnTo>
                  <a:pt x="169002" y="299077"/>
                </a:lnTo>
                <a:lnTo>
                  <a:pt x="169002" y="332026"/>
                </a:lnTo>
                <a:lnTo>
                  <a:pt x="163883" y="362442"/>
                </a:lnTo>
                <a:lnTo>
                  <a:pt x="161323" y="385252"/>
                </a:lnTo>
                <a:lnTo>
                  <a:pt x="151084" y="410598"/>
                </a:lnTo>
                <a:lnTo>
                  <a:pt x="143403" y="425805"/>
                </a:lnTo>
                <a:lnTo>
                  <a:pt x="133165" y="443547"/>
                </a:lnTo>
                <a:lnTo>
                  <a:pt x="120365" y="456219"/>
                </a:lnTo>
                <a:lnTo>
                  <a:pt x="94766" y="473961"/>
                </a:lnTo>
                <a:lnTo>
                  <a:pt x="74287" y="484100"/>
                </a:lnTo>
                <a:lnTo>
                  <a:pt x="53808" y="491703"/>
                </a:lnTo>
                <a:lnTo>
                  <a:pt x="56367" y="501842"/>
                </a:lnTo>
                <a:lnTo>
                  <a:pt x="66608" y="522118"/>
                </a:lnTo>
                <a:lnTo>
                  <a:pt x="92206" y="552532"/>
                </a:lnTo>
                <a:lnTo>
                  <a:pt x="110126" y="570274"/>
                </a:lnTo>
                <a:lnTo>
                  <a:pt x="130605" y="588016"/>
                </a:lnTo>
                <a:lnTo>
                  <a:pt x="148202" y="594986"/>
                </a:lnTo>
                <a:lnTo>
                  <a:pt x="170019" y="610827"/>
                </a:lnTo>
                <a:lnTo>
                  <a:pt x="193058" y="623500"/>
                </a:lnTo>
                <a:lnTo>
                  <a:pt x="221218" y="636173"/>
                </a:lnTo>
                <a:lnTo>
                  <a:pt x="251936" y="646311"/>
                </a:lnTo>
                <a:lnTo>
                  <a:pt x="282655" y="656450"/>
                </a:lnTo>
                <a:lnTo>
                  <a:pt x="85545" y="755297"/>
                </a:lnTo>
                <a:lnTo>
                  <a:pt x="62506" y="767969"/>
                </a:lnTo>
                <a:lnTo>
                  <a:pt x="42025" y="788245"/>
                </a:lnTo>
                <a:lnTo>
                  <a:pt x="24106" y="816126"/>
                </a:lnTo>
                <a:lnTo>
                  <a:pt x="16427" y="828798"/>
                </a:lnTo>
                <a:lnTo>
                  <a:pt x="13867" y="844006"/>
                </a:lnTo>
                <a:lnTo>
                  <a:pt x="0" y="901671"/>
                </a:lnTo>
                <a:lnTo>
                  <a:pt x="840758" y="901671"/>
                </a:lnTo>
                <a:lnTo>
                  <a:pt x="826892" y="844006"/>
                </a:lnTo>
                <a:lnTo>
                  <a:pt x="824332" y="828798"/>
                </a:lnTo>
                <a:lnTo>
                  <a:pt x="816653" y="816126"/>
                </a:lnTo>
                <a:lnTo>
                  <a:pt x="798733" y="788245"/>
                </a:lnTo>
                <a:lnTo>
                  <a:pt x="778254" y="767969"/>
                </a:lnTo>
                <a:lnTo>
                  <a:pt x="755215" y="755297"/>
                </a:lnTo>
                <a:lnTo>
                  <a:pt x="558104" y="656450"/>
                </a:lnTo>
                <a:lnTo>
                  <a:pt x="588822" y="646311"/>
                </a:lnTo>
                <a:lnTo>
                  <a:pt x="619542" y="636173"/>
                </a:lnTo>
                <a:lnTo>
                  <a:pt x="647700" y="623500"/>
                </a:lnTo>
                <a:lnTo>
                  <a:pt x="670739" y="610827"/>
                </a:lnTo>
                <a:lnTo>
                  <a:pt x="692556" y="594986"/>
                </a:lnTo>
                <a:lnTo>
                  <a:pt x="710155" y="588016"/>
                </a:lnTo>
                <a:lnTo>
                  <a:pt x="730634" y="570274"/>
                </a:lnTo>
                <a:lnTo>
                  <a:pt x="748552" y="552532"/>
                </a:lnTo>
                <a:lnTo>
                  <a:pt x="774152" y="522118"/>
                </a:lnTo>
                <a:lnTo>
                  <a:pt x="784391" y="501842"/>
                </a:lnTo>
                <a:lnTo>
                  <a:pt x="786951" y="491703"/>
                </a:lnTo>
                <a:lnTo>
                  <a:pt x="766472" y="484100"/>
                </a:lnTo>
                <a:lnTo>
                  <a:pt x="745992" y="473961"/>
                </a:lnTo>
                <a:lnTo>
                  <a:pt x="720394" y="456219"/>
                </a:lnTo>
                <a:lnTo>
                  <a:pt x="707595" y="443547"/>
                </a:lnTo>
                <a:lnTo>
                  <a:pt x="697355" y="425805"/>
                </a:lnTo>
                <a:lnTo>
                  <a:pt x="689676" y="410598"/>
                </a:lnTo>
                <a:lnTo>
                  <a:pt x="679436" y="385252"/>
                </a:lnTo>
                <a:lnTo>
                  <a:pt x="676876" y="362442"/>
                </a:lnTo>
                <a:lnTo>
                  <a:pt x="671756" y="332026"/>
                </a:lnTo>
                <a:lnTo>
                  <a:pt x="671756" y="299077"/>
                </a:lnTo>
                <a:lnTo>
                  <a:pt x="679436" y="263594"/>
                </a:lnTo>
                <a:lnTo>
                  <a:pt x="679436" y="238248"/>
                </a:lnTo>
                <a:lnTo>
                  <a:pt x="679436" y="215437"/>
                </a:lnTo>
                <a:lnTo>
                  <a:pt x="679436" y="195161"/>
                </a:lnTo>
                <a:lnTo>
                  <a:pt x="676876" y="172350"/>
                </a:lnTo>
                <a:lnTo>
                  <a:pt x="671756" y="152074"/>
                </a:lnTo>
                <a:lnTo>
                  <a:pt x="661516" y="136866"/>
                </a:lnTo>
                <a:lnTo>
                  <a:pt x="656397" y="116590"/>
                </a:lnTo>
                <a:lnTo>
                  <a:pt x="641038" y="98848"/>
                </a:lnTo>
                <a:lnTo>
                  <a:pt x="628238" y="81106"/>
                </a:lnTo>
                <a:lnTo>
                  <a:pt x="615438" y="63364"/>
                </a:lnTo>
                <a:lnTo>
                  <a:pt x="597520" y="50692"/>
                </a:lnTo>
                <a:lnTo>
                  <a:pt x="577041" y="38018"/>
                </a:lnTo>
                <a:lnTo>
                  <a:pt x="556562" y="27881"/>
                </a:lnTo>
                <a:lnTo>
                  <a:pt x="530964" y="15208"/>
                </a:lnTo>
                <a:lnTo>
                  <a:pt x="507925" y="10139"/>
                </a:lnTo>
                <a:lnTo>
                  <a:pt x="479765" y="2534"/>
                </a:lnTo>
                <a:close/>
              </a:path>
            </a:pathLst>
          </a:custGeom>
          <a:solidFill>
            <a:srgbClr val="F2F2F2"/>
          </a:solidFill>
          <a:ln>
            <a:noFill/>
          </a:ln>
          <a:extLst/>
        </p:spPr>
        <p:txBody>
          <a:bodyPr vert="horz" wrap="square" lIns="91420" tIns="45710" rIns="91420" bIns="4571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sp>
        <p:nvSpPr>
          <p:cNvPr id="127" name="Freeform 48"/>
          <p:cNvSpPr>
            <a:spLocks/>
          </p:cNvSpPr>
          <p:nvPr/>
        </p:nvSpPr>
        <p:spPr bwMode="auto">
          <a:xfrm>
            <a:off x="1684220" y="3416741"/>
            <a:ext cx="1719084" cy="1020388"/>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chemeClr val="accent3">
              <a:lumMod val="60000"/>
              <a:lumOff val="40000"/>
            </a:schemeClr>
          </a:solidFill>
          <a:ln w="25400" cap="flat" cmpd="sng" algn="ctr">
            <a:noFill/>
            <a:prstDash val="solid"/>
          </a:ln>
          <a:effectLst/>
        </p:spPr>
        <p:txBody>
          <a:bodyPr lIns="91396" tIns="45698" rIns="91396" bIns="45698" rtlCol="0" anchor="ctr"/>
          <a:lstStyle/>
          <a:p>
            <a:pPr algn="ctr" defTabSz="684490">
              <a:defRPr/>
            </a:pPr>
            <a:endParaRPr lang="en-US" kern="0" dirty="0" smtClean="0">
              <a:solidFill>
                <a:srgbClr val="FFFFFF"/>
              </a:solidFill>
              <a:latin typeface="CiscoSansTT Light"/>
              <a:cs typeface="CiscoSansTT Light"/>
            </a:endParaRPr>
          </a:p>
        </p:txBody>
      </p:sp>
      <p:cxnSp>
        <p:nvCxnSpPr>
          <p:cNvPr id="437" name="Elbow Connector 436"/>
          <p:cNvCxnSpPr/>
          <p:nvPr/>
        </p:nvCxnSpPr>
        <p:spPr>
          <a:xfrm rot="10800000" flipV="1">
            <a:off x="2159176" y="2407945"/>
            <a:ext cx="1320596" cy="388149"/>
          </a:xfrm>
          <a:prstGeom prst="bentConnector3">
            <a:avLst>
              <a:gd name="adj1" fmla="val -43"/>
            </a:avLst>
          </a:prstGeom>
          <a:ln w="19050">
            <a:solidFill>
              <a:schemeClr val="accent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38" name="Rectangle 437"/>
          <p:cNvSpPr/>
          <p:nvPr/>
        </p:nvSpPr>
        <p:spPr>
          <a:xfrm>
            <a:off x="5157810" y="2890521"/>
            <a:ext cx="1072986" cy="23888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a:r>
              <a:rPr lang="ja-JP" altLang="en-US" sz="900" dirty="0" smtClean="0">
                <a:solidFill>
                  <a:schemeClr val="tx1"/>
                </a:solidFill>
              </a:rPr>
              <a:t>ログ出力</a:t>
            </a:r>
            <a:endParaRPr lang="en-US" sz="900" dirty="0">
              <a:solidFill>
                <a:schemeClr val="tx1"/>
              </a:solidFill>
            </a:endParaRPr>
          </a:p>
        </p:txBody>
      </p:sp>
      <p:grpSp>
        <p:nvGrpSpPr>
          <p:cNvPr id="404" name="Group 403"/>
          <p:cNvGrpSpPr/>
          <p:nvPr/>
        </p:nvGrpSpPr>
        <p:grpSpPr>
          <a:xfrm>
            <a:off x="2728273" y="2653507"/>
            <a:ext cx="627753" cy="493122"/>
            <a:chOff x="7019228" y="1441754"/>
            <a:chExt cx="1194676" cy="938216"/>
          </a:xfrm>
        </p:grpSpPr>
        <p:sp>
          <p:nvSpPr>
            <p:cNvPr id="405" name="TextBox 404"/>
            <p:cNvSpPr txBox="1"/>
            <p:nvPr/>
          </p:nvSpPr>
          <p:spPr>
            <a:xfrm>
              <a:off x="7076808" y="1901145"/>
              <a:ext cx="1043846" cy="478825"/>
            </a:xfrm>
            <a:prstGeom prst="rect">
              <a:avLst/>
            </a:prstGeom>
            <a:noFill/>
          </p:spPr>
          <p:txBody>
            <a:bodyPr wrap="square" lIns="81598" tIns="40797" rIns="81598" bIns="40797" rtlCol="0" anchor="ctr">
              <a:spAutoFit/>
            </a:bodyPr>
            <a:lstStyle/>
            <a:p>
              <a:pPr algn="r" defTabSz="456839"/>
              <a:r>
                <a:rPr lang="en-US" sz="1100" dirty="0">
                  <a:latin typeface="Arial"/>
                </a:rPr>
                <a:t>WSA</a:t>
              </a:r>
            </a:p>
          </p:txBody>
        </p:sp>
        <p:grpSp>
          <p:nvGrpSpPr>
            <p:cNvPr id="406" name="Group 405"/>
            <p:cNvGrpSpPr/>
            <p:nvPr/>
          </p:nvGrpSpPr>
          <p:grpSpPr>
            <a:xfrm>
              <a:off x="7019228" y="1441754"/>
              <a:ext cx="1194676" cy="543422"/>
              <a:chOff x="8571329" y="5087672"/>
              <a:chExt cx="1577111" cy="717567"/>
            </a:xfrm>
          </p:grpSpPr>
          <p:sp>
            <p:nvSpPr>
              <p:cNvPr id="407" name="Freeform 136"/>
              <p:cNvSpPr>
                <a:spLocks noEditPoints="1"/>
              </p:cNvSpPr>
              <p:nvPr/>
            </p:nvSpPr>
            <p:spPr bwMode="auto">
              <a:xfrm>
                <a:off x="8571329" y="5087672"/>
                <a:ext cx="1332555" cy="27237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chemeClr val="accent2"/>
              </a:solidFill>
              <a:ln>
                <a:noFill/>
              </a:ln>
              <a:extLst/>
            </p:spPr>
            <p:txBody>
              <a:bodyPr vert="horz" wrap="square" lIns="68526" tIns="34263" rIns="68526" bIns="34263" numCol="1" anchor="t" anchorCtr="0" compatLnSpc="1">
                <a:prstTxWarp prst="textNoShape">
                  <a:avLst/>
                </a:prstTxWarp>
              </a:bodyPr>
              <a:lstStyle/>
              <a:p>
                <a:pPr defTabSz="685612">
                  <a:defRPr/>
                </a:pPr>
                <a:endParaRPr lang="en-US" sz="1125" kern="0">
                  <a:solidFill>
                    <a:srgbClr val="FFFFFF"/>
                  </a:solidFill>
                  <a:latin typeface="Arial"/>
                </a:endParaRPr>
              </a:p>
            </p:txBody>
          </p:sp>
          <p:grpSp>
            <p:nvGrpSpPr>
              <p:cNvPr id="408" name="Group 407"/>
              <p:cNvGrpSpPr/>
              <p:nvPr/>
            </p:nvGrpSpPr>
            <p:grpSpPr>
              <a:xfrm>
                <a:off x="8656953" y="5282579"/>
                <a:ext cx="1365912" cy="295666"/>
                <a:chOff x="8781565" y="5356496"/>
                <a:chExt cx="1365912" cy="295666"/>
              </a:xfrm>
            </p:grpSpPr>
            <p:sp>
              <p:nvSpPr>
                <p:cNvPr id="412" name="Rounded Rectangle 411"/>
                <p:cNvSpPr/>
                <p:nvPr/>
              </p:nvSpPr>
              <p:spPr>
                <a:xfrm>
                  <a:off x="8781565" y="5356496"/>
                  <a:ext cx="1365912" cy="295666"/>
                </a:xfrm>
                <a:prstGeom prst="roundRect">
                  <a:avLst>
                    <a:gd name="adj" fmla="val 25619"/>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04"/>
                  <a:endParaRPr lang="en-US" sz="1425" dirty="0">
                    <a:solidFill>
                      <a:srgbClr val="FFFFFF"/>
                    </a:solidFill>
                  </a:endParaRPr>
                </a:p>
              </p:txBody>
            </p:sp>
            <p:sp>
              <p:nvSpPr>
                <p:cNvPr id="413" name="Freeform 136"/>
                <p:cNvSpPr>
                  <a:spLocks noEditPoints="1"/>
                </p:cNvSpPr>
                <p:nvPr/>
              </p:nvSpPr>
              <p:spPr bwMode="auto">
                <a:xfrm>
                  <a:off x="8802639" y="5374737"/>
                  <a:ext cx="1332555" cy="27237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chemeClr val="accent2"/>
                </a:solidFill>
                <a:ln>
                  <a:noFill/>
                </a:ln>
                <a:extLst/>
              </p:spPr>
              <p:txBody>
                <a:bodyPr vert="horz" wrap="square" lIns="68526" tIns="34263" rIns="68526" bIns="34263" numCol="1" anchor="t" anchorCtr="0" compatLnSpc="1">
                  <a:prstTxWarp prst="textNoShape">
                    <a:avLst/>
                  </a:prstTxWarp>
                </a:bodyPr>
                <a:lstStyle/>
                <a:p>
                  <a:pPr defTabSz="685612">
                    <a:defRPr/>
                  </a:pPr>
                  <a:endParaRPr lang="en-US" sz="1125" kern="0">
                    <a:solidFill>
                      <a:srgbClr val="FFFFFF"/>
                    </a:solidFill>
                    <a:latin typeface="Arial"/>
                  </a:endParaRPr>
                </a:p>
              </p:txBody>
            </p:sp>
          </p:grpSp>
          <p:grpSp>
            <p:nvGrpSpPr>
              <p:cNvPr id="409" name="Group 408"/>
              <p:cNvGrpSpPr/>
              <p:nvPr/>
            </p:nvGrpSpPr>
            <p:grpSpPr>
              <a:xfrm>
                <a:off x="8782528" y="5509573"/>
                <a:ext cx="1365912" cy="295666"/>
                <a:chOff x="8782528" y="5509573"/>
                <a:chExt cx="1365912" cy="295666"/>
              </a:xfrm>
            </p:grpSpPr>
            <p:sp>
              <p:nvSpPr>
                <p:cNvPr id="410" name="Rounded Rectangle 409"/>
                <p:cNvSpPr/>
                <p:nvPr/>
              </p:nvSpPr>
              <p:spPr>
                <a:xfrm>
                  <a:off x="8782528" y="5509573"/>
                  <a:ext cx="1365912" cy="295666"/>
                </a:xfrm>
                <a:prstGeom prst="roundRect">
                  <a:avLst>
                    <a:gd name="adj" fmla="val 25619"/>
                  </a:avLst>
                </a:pr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04"/>
                  <a:endParaRPr lang="en-US" sz="1425" dirty="0">
                    <a:solidFill>
                      <a:srgbClr val="FFFFFF"/>
                    </a:solidFill>
                  </a:endParaRPr>
                </a:p>
              </p:txBody>
            </p:sp>
            <p:sp>
              <p:nvSpPr>
                <p:cNvPr id="411" name="Freeform 136"/>
                <p:cNvSpPr>
                  <a:spLocks noEditPoints="1"/>
                </p:cNvSpPr>
                <p:nvPr/>
              </p:nvSpPr>
              <p:spPr bwMode="auto">
                <a:xfrm>
                  <a:off x="8799572" y="5531565"/>
                  <a:ext cx="1332555" cy="27237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chemeClr val="accent2"/>
                </a:solidFill>
                <a:ln>
                  <a:noFill/>
                </a:ln>
                <a:extLst/>
              </p:spPr>
              <p:txBody>
                <a:bodyPr vert="horz" wrap="square" lIns="68526" tIns="34263" rIns="68526" bIns="34263" numCol="1" anchor="t" anchorCtr="0" compatLnSpc="1">
                  <a:prstTxWarp prst="textNoShape">
                    <a:avLst/>
                  </a:prstTxWarp>
                </a:bodyPr>
                <a:lstStyle/>
                <a:p>
                  <a:pPr defTabSz="685612">
                    <a:defRPr/>
                  </a:pPr>
                  <a:endParaRPr lang="en-US" sz="1125" kern="0">
                    <a:solidFill>
                      <a:srgbClr val="FFFFFF"/>
                    </a:solidFill>
                    <a:latin typeface="Arial"/>
                  </a:endParaRPr>
                </a:p>
              </p:txBody>
            </p:sp>
          </p:grpSp>
        </p:grpSp>
      </p:grpSp>
      <p:sp>
        <p:nvSpPr>
          <p:cNvPr id="378" name="Freeform 21"/>
          <p:cNvSpPr>
            <a:spLocks noEditPoints="1"/>
          </p:cNvSpPr>
          <p:nvPr/>
        </p:nvSpPr>
        <p:spPr bwMode="auto">
          <a:xfrm>
            <a:off x="1531575" y="3179191"/>
            <a:ext cx="1138181" cy="859100"/>
          </a:xfrm>
          <a:custGeom>
            <a:avLst/>
            <a:gdLst>
              <a:gd name="T0" fmla="*/ 130 w 138"/>
              <a:gd name="T1" fmla="*/ 0 h 104"/>
              <a:gd name="T2" fmla="*/ 8 w 138"/>
              <a:gd name="T3" fmla="*/ 0 h 104"/>
              <a:gd name="T4" fmla="*/ 0 w 138"/>
              <a:gd name="T5" fmla="*/ 9 h 104"/>
              <a:gd name="T6" fmla="*/ 0 w 138"/>
              <a:gd name="T7" fmla="*/ 84 h 104"/>
              <a:gd name="T8" fmla="*/ 8 w 138"/>
              <a:gd name="T9" fmla="*/ 92 h 104"/>
              <a:gd name="T10" fmla="*/ 57 w 138"/>
              <a:gd name="T11" fmla="*/ 92 h 104"/>
              <a:gd name="T12" fmla="*/ 57 w 138"/>
              <a:gd name="T13" fmla="*/ 94 h 104"/>
              <a:gd name="T14" fmla="*/ 57 w 138"/>
              <a:gd name="T15" fmla="*/ 98 h 104"/>
              <a:gd name="T16" fmla="*/ 36 w 138"/>
              <a:gd name="T17" fmla="*/ 98 h 104"/>
              <a:gd name="T18" fmla="*/ 33 w 138"/>
              <a:gd name="T19" fmla="*/ 101 h 104"/>
              <a:gd name="T20" fmla="*/ 36 w 138"/>
              <a:gd name="T21" fmla="*/ 104 h 104"/>
              <a:gd name="T22" fmla="*/ 102 w 138"/>
              <a:gd name="T23" fmla="*/ 104 h 104"/>
              <a:gd name="T24" fmla="*/ 105 w 138"/>
              <a:gd name="T25" fmla="*/ 101 h 104"/>
              <a:gd name="T26" fmla="*/ 102 w 138"/>
              <a:gd name="T27" fmla="*/ 98 h 104"/>
              <a:gd name="T28" fmla="*/ 81 w 138"/>
              <a:gd name="T29" fmla="*/ 98 h 104"/>
              <a:gd name="T30" fmla="*/ 81 w 138"/>
              <a:gd name="T31" fmla="*/ 94 h 104"/>
              <a:gd name="T32" fmla="*/ 81 w 138"/>
              <a:gd name="T33" fmla="*/ 92 h 104"/>
              <a:gd name="T34" fmla="*/ 130 w 138"/>
              <a:gd name="T35" fmla="*/ 92 h 104"/>
              <a:gd name="T36" fmla="*/ 138 w 138"/>
              <a:gd name="T37" fmla="*/ 84 h 104"/>
              <a:gd name="T38" fmla="*/ 138 w 138"/>
              <a:gd name="T39" fmla="*/ 9 h 104"/>
              <a:gd name="T40" fmla="*/ 130 w 138"/>
              <a:gd name="T41" fmla="*/ 0 h 104"/>
              <a:gd name="T42" fmla="*/ 131 w 138"/>
              <a:gd name="T43" fmla="*/ 74 h 104"/>
              <a:gd name="T44" fmla="*/ 124 w 138"/>
              <a:gd name="T45" fmla="*/ 80 h 104"/>
              <a:gd name="T46" fmla="*/ 14 w 138"/>
              <a:gd name="T47" fmla="*/ 80 h 104"/>
              <a:gd name="T48" fmla="*/ 7 w 138"/>
              <a:gd name="T49" fmla="*/ 74 h 104"/>
              <a:gd name="T50" fmla="*/ 7 w 138"/>
              <a:gd name="T51" fmla="*/ 15 h 104"/>
              <a:gd name="T52" fmla="*/ 14 w 138"/>
              <a:gd name="T53" fmla="*/ 8 h 104"/>
              <a:gd name="T54" fmla="*/ 124 w 138"/>
              <a:gd name="T55" fmla="*/ 8 h 104"/>
              <a:gd name="T56" fmla="*/ 131 w 138"/>
              <a:gd name="T57" fmla="*/ 15 h 104"/>
              <a:gd name="T58" fmla="*/ 131 w 138"/>
              <a:gd name="T59"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8" h="104">
                <a:moveTo>
                  <a:pt x="130" y="0"/>
                </a:moveTo>
                <a:cubicBezTo>
                  <a:pt x="8" y="0"/>
                  <a:pt x="8" y="0"/>
                  <a:pt x="8" y="0"/>
                </a:cubicBezTo>
                <a:cubicBezTo>
                  <a:pt x="4" y="0"/>
                  <a:pt x="0" y="4"/>
                  <a:pt x="0" y="9"/>
                </a:cubicBezTo>
                <a:cubicBezTo>
                  <a:pt x="0" y="84"/>
                  <a:pt x="0" y="84"/>
                  <a:pt x="0" y="84"/>
                </a:cubicBezTo>
                <a:cubicBezTo>
                  <a:pt x="0" y="88"/>
                  <a:pt x="4" y="92"/>
                  <a:pt x="8" y="92"/>
                </a:cubicBezTo>
                <a:cubicBezTo>
                  <a:pt x="57" y="92"/>
                  <a:pt x="57" y="92"/>
                  <a:pt x="57" y="92"/>
                </a:cubicBezTo>
                <a:cubicBezTo>
                  <a:pt x="57" y="93"/>
                  <a:pt x="57" y="94"/>
                  <a:pt x="57" y="94"/>
                </a:cubicBezTo>
                <a:cubicBezTo>
                  <a:pt x="57" y="96"/>
                  <a:pt x="57" y="97"/>
                  <a:pt x="57" y="98"/>
                </a:cubicBezTo>
                <a:cubicBezTo>
                  <a:pt x="36" y="98"/>
                  <a:pt x="36" y="98"/>
                  <a:pt x="36" y="98"/>
                </a:cubicBezTo>
                <a:cubicBezTo>
                  <a:pt x="35" y="98"/>
                  <a:pt x="33" y="99"/>
                  <a:pt x="33" y="101"/>
                </a:cubicBezTo>
                <a:cubicBezTo>
                  <a:pt x="33" y="103"/>
                  <a:pt x="35" y="104"/>
                  <a:pt x="36" y="104"/>
                </a:cubicBezTo>
                <a:cubicBezTo>
                  <a:pt x="102" y="104"/>
                  <a:pt x="102" y="104"/>
                  <a:pt x="102" y="104"/>
                </a:cubicBezTo>
                <a:cubicBezTo>
                  <a:pt x="103" y="104"/>
                  <a:pt x="105" y="103"/>
                  <a:pt x="105" y="101"/>
                </a:cubicBezTo>
                <a:cubicBezTo>
                  <a:pt x="105" y="99"/>
                  <a:pt x="103" y="98"/>
                  <a:pt x="102" y="98"/>
                </a:cubicBezTo>
                <a:cubicBezTo>
                  <a:pt x="81" y="98"/>
                  <a:pt x="81" y="98"/>
                  <a:pt x="81" y="98"/>
                </a:cubicBezTo>
                <a:cubicBezTo>
                  <a:pt x="81" y="97"/>
                  <a:pt x="81" y="96"/>
                  <a:pt x="81" y="94"/>
                </a:cubicBezTo>
                <a:cubicBezTo>
                  <a:pt x="81" y="94"/>
                  <a:pt x="81" y="93"/>
                  <a:pt x="81" y="92"/>
                </a:cubicBezTo>
                <a:cubicBezTo>
                  <a:pt x="130" y="92"/>
                  <a:pt x="130" y="92"/>
                  <a:pt x="130" y="92"/>
                </a:cubicBezTo>
                <a:cubicBezTo>
                  <a:pt x="134" y="92"/>
                  <a:pt x="138" y="88"/>
                  <a:pt x="138" y="84"/>
                </a:cubicBezTo>
                <a:cubicBezTo>
                  <a:pt x="138" y="39"/>
                  <a:pt x="138" y="18"/>
                  <a:pt x="138" y="9"/>
                </a:cubicBezTo>
                <a:cubicBezTo>
                  <a:pt x="138" y="4"/>
                  <a:pt x="134" y="0"/>
                  <a:pt x="130" y="0"/>
                </a:cubicBezTo>
                <a:close/>
                <a:moveTo>
                  <a:pt x="131" y="74"/>
                </a:moveTo>
                <a:cubicBezTo>
                  <a:pt x="131" y="77"/>
                  <a:pt x="128" y="80"/>
                  <a:pt x="124" y="80"/>
                </a:cubicBezTo>
                <a:cubicBezTo>
                  <a:pt x="14" y="80"/>
                  <a:pt x="14" y="80"/>
                  <a:pt x="14" y="80"/>
                </a:cubicBezTo>
                <a:cubicBezTo>
                  <a:pt x="10" y="80"/>
                  <a:pt x="7" y="77"/>
                  <a:pt x="7" y="74"/>
                </a:cubicBezTo>
                <a:cubicBezTo>
                  <a:pt x="7" y="15"/>
                  <a:pt x="7" y="15"/>
                  <a:pt x="7" y="15"/>
                </a:cubicBezTo>
                <a:cubicBezTo>
                  <a:pt x="7" y="11"/>
                  <a:pt x="10" y="8"/>
                  <a:pt x="14" y="8"/>
                </a:cubicBezTo>
                <a:cubicBezTo>
                  <a:pt x="124" y="8"/>
                  <a:pt x="124" y="8"/>
                  <a:pt x="124" y="8"/>
                </a:cubicBezTo>
                <a:cubicBezTo>
                  <a:pt x="128" y="8"/>
                  <a:pt x="131" y="11"/>
                  <a:pt x="131" y="15"/>
                </a:cubicBezTo>
                <a:lnTo>
                  <a:pt x="131" y="74"/>
                </a:lnTo>
                <a:close/>
              </a:path>
            </a:pathLst>
          </a:custGeom>
          <a:solidFill>
            <a:schemeClr val="accent2"/>
          </a:solidFill>
          <a:ln>
            <a:noFill/>
          </a:ln>
          <a:extLst/>
        </p:spPr>
        <p:txBody>
          <a:bodyPr vert="horz" wrap="square" lIns="91416" tIns="45708" rIns="91416" bIns="45708" numCol="1" anchor="t" anchorCtr="0" compatLnSpc="1">
            <a:prstTxWarp prst="textNoShape">
              <a:avLst/>
            </a:prstTxWarp>
          </a:bodyPr>
          <a:lstStyle/>
          <a:p>
            <a:pPr defTabSz="685742">
              <a:defRPr/>
            </a:pPr>
            <a:endParaRPr lang="en-US" sz="1425" kern="0" dirty="0">
              <a:solidFill>
                <a:srgbClr val="FFFFFF"/>
              </a:solidFill>
              <a:latin typeface="Arial"/>
            </a:endParaRPr>
          </a:p>
        </p:txBody>
      </p:sp>
      <p:cxnSp>
        <p:nvCxnSpPr>
          <p:cNvPr id="379" name="Straight Connector 378"/>
          <p:cNvCxnSpPr/>
          <p:nvPr/>
        </p:nvCxnSpPr>
        <p:spPr>
          <a:xfrm>
            <a:off x="1758239" y="3374374"/>
            <a:ext cx="23260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p:cNvCxnSpPr/>
          <p:nvPr/>
        </p:nvCxnSpPr>
        <p:spPr>
          <a:xfrm>
            <a:off x="1769531" y="3474092"/>
            <a:ext cx="2052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1769530" y="3606285"/>
            <a:ext cx="23260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2" name="Straight Connector 381"/>
          <p:cNvCxnSpPr/>
          <p:nvPr/>
        </p:nvCxnSpPr>
        <p:spPr>
          <a:xfrm>
            <a:off x="1769525" y="3637929"/>
            <a:ext cx="19197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3" name="Straight Connector 382"/>
          <p:cNvCxnSpPr/>
          <p:nvPr/>
        </p:nvCxnSpPr>
        <p:spPr>
          <a:xfrm>
            <a:off x="1769525" y="3728321"/>
            <a:ext cx="22131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p:cNvCxnSpPr/>
          <p:nvPr/>
        </p:nvCxnSpPr>
        <p:spPr>
          <a:xfrm>
            <a:off x="1758236" y="3339600"/>
            <a:ext cx="18192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414" name="Rectangle 413"/>
          <p:cNvSpPr/>
          <p:nvPr/>
        </p:nvSpPr>
        <p:spPr>
          <a:xfrm>
            <a:off x="1651374" y="3320286"/>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27988" tIns="45710" rIns="91420" bIns="45710" rtlCol="0" anchor="ctr"/>
          <a:lstStyle/>
          <a:p>
            <a:pPr algn="ctr"/>
            <a:r>
              <a:rPr lang="en-US" sz="900" dirty="0">
                <a:solidFill>
                  <a:schemeClr val="accent2"/>
                </a:solidFill>
                <a:sym typeface="Wingdings" panose="05000000000000000000" pitchFamily="2" charset="2"/>
              </a:rPr>
              <a:t></a:t>
            </a:r>
            <a:endParaRPr lang="en-US" sz="900" dirty="0">
              <a:solidFill>
                <a:schemeClr val="accent2"/>
              </a:solidFill>
            </a:endParaRPr>
          </a:p>
        </p:txBody>
      </p:sp>
      <p:sp>
        <p:nvSpPr>
          <p:cNvPr id="415" name="Rectangle 414"/>
          <p:cNvSpPr/>
          <p:nvPr/>
        </p:nvSpPr>
        <p:spPr>
          <a:xfrm>
            <a:off x="1651374" y="3455040"/>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88" tIns="45710" rIns="91420" bIns="45710" numCol="1" spcCol="0" rtlCol="0" fromWordArt="0" anchor="ctr" anchorCtr="0" forceAA="0" compatLnSpc="1">
            <a:prstTxWarp prst="textNoShape">
              <a:avLst/>
            </a:prstTxWarp>
            <a:noAutofit/>
          </a:bodyPr>
          <a:lstStyle/>
          <a:p>
            <a:pPr algn="ctr"/>
            <a:endParaRPr lang="en-US" sz="900" dirty="0">
              <a:solidFill>
                <a:schemeClr val="accent2"/>
              </a:solidFill>
            </a:endParaRPr>
          </a:p>
        </p:txBody>
      </p:sp>
      <p:sp>
        <p:nvSpPr>
          <p:cNvPr id="416" name="Rectangle 415"/>
          <p:cNvSpPr/>
          <p:nvPr/>
        </p:nvSpPr>
        <p:spPr>
          <a:xfrm>
            <a:off x="1651374" y="3585327"/>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88" tIns="45710" rIns="91420" bIns="45710" numCol="1" spcCol="0" rtlCol="0" fromWordArt="0" anchor="ctr" anchorCtr="0" forceAA="0" compatLnSpc="1">
            <a:prstTxWarp prst="textNoShape">
              <a:avLst/>
            </a:prstTxWarp>
            <a:noAutofit/>
          </a:bodyPr>
          <a:lstStyle/>
          <a:p>
            <a:pPr algn="ctr"/>
            <a:endParaRPr lang="en-US" sz="900" dirty="0">
              <a:solidFill>
                <a:schemeClr val="accent2"/>
              </a:solidFill>
            </a:endParaRPr>
          </a:p>
        </p:txBody>
      </p:sp>
      <p:sp>
        <p:nvSpPr>
          <p:cNvPr id="417" name="Rectangle 416"/>
          <p:cNvSpPr/>
          <p:nvPr/>
        </p:nvSpPr>
        <p:spPr>
          <a:xfrm>
            <a:off x="1651374" y="3706431"/>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88" tIns="45710" rIns="91420" bIns="45710" numCol="1" spcCol="0" rtlCol="0" fromWordArt="0" anchor="ctr" anchorCtr="0" forceAA="0" compatLnSpc="1">
            <a:prstTxWarp prst="textNoShape">
              <a:avLst/>
            </a:prstTxWarp>
            <a:noAutofit/>
          </a:bodyPr>
          <a:lstStyle/>
          <a:p>
            <a:pPr algn="ctr"/>
            <a:r>
              <a:rPr lang="en-US" sz="900">
                <a:solidFill>
                  <a:schemeClr val="accent2"/>
                </a:solidFill>
                <a:sym typeface="Wingdings" panose="05000000000000000000" pitchFamily="2" charset="2"/>
              </a:rPr>
              <a:t></a:t>
            </a:r>
            <a:endParaRPr lang="en-US" sz="900" dirty="0">
              <a:solidFill>
                <a:schemeClr val="accent2"/>
              </a:solidFill>
            </a:endParaRPr>
          </a:p>
        </p:txBody>
      </p:sp>
      <p:cxnSp>
        <p:nvCxnSpPr>
          <p:cNvPr id="418" name="Straight Connector 417"/>
          <p:cNvCxnSpPr/>
          <p:nvPr/>
        </p:nvCxnSpPr>
        <p:spPr>
          <a:xfrm>
            <a:off x="1769529" y="3506939"/>
            <a:ext cx="170633"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p:cNvCxnSpPr/>
          <p:nvPr/>
        </p:nvCxnSpPr>
        <p:spPr>
          <a:xfrm>
            <a:off x="1769530" y="3759520"/>
            <a:ext cx="27424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p:cNvCxnSpPr/>
          <p:nvPr/>
        </p:nvCxnSpPr>
        <p:spPr>
          <a:xfrm>
            <a:off x="2242678" y="3606285"/>
            <a:ext cx="23260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p:cNvCxnSpPr/>
          <p:nvPr/>
        </p:nvCxnSpPr>
        <p:spPr>
          <a:xfrm>
            <a:off x="2242674" y="3637929"/>
            <a:ext cx="19197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422" name="Group 421"/>
          <p:cNvGrpSpPr/>
          <p:nvPr/>
        </p:nvGrpSpPr>
        <p:grpSpPr>
          <a:xfrm>
            <a:off x="2231387" y="3339600"/>
            <a:ext cx="182833" cy="34774"/>
            <a:chOff x="6489984" y="3389577"/>
            <a:chExt cx="232661" cy="34774"/>
          </a:xfrm>
        </p:grpSpPr>
        <p:cxnSp>
          <p:nvCxnSpPr>
            <p:cNvPr id="423" name="Straight Connector 422"/>
            <p:cNvCxnSpPr/>
            <p:nvPr/>
          </p:nvCxnSpPr>
          <p:spPr>
            <a:xfrm>
              <a:off x="6489984" y="3424351"/>
              <a:ext cx="23266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p:cNvCxnSpPr/>
            <p:nvPr/>
          </p:nvCxnSpPr>
          <p:spPr>
            <a:xfrm>
              <a:off x="6489984" y="3389577"/>
              <a:ext cx="18197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25" name="Rectangle 424"/>
          <p:cNvSpPr/>
          <p:nvPr/>
        </p:nvSpPr>
        <p:spPr>
          <a:xfrm>
            <a:off x="2124524" y="3320286"/>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127988" tIns="45710" rIns="91420" bIns="45710" rtlCol="0" anchor="ctr"/>
          <a:lstStyle/>
          <a:p>
            <a:pPr algn="ctr"/>
            <a:endParaRPr lang="en-US" sz="900" dirty="0">
              <a:solidFill>
                <a:schemeClr val="accent2"/>
              </a:solidFill>
            </a:endParaRPr>
          </a:p>
        </p:txBody>
      </p:sp>
      <p:sp>
        <p:nvSpPr>
          <p:cNvPr id="426" name="Rectangle 425"/>
          <p:cNvSpPr/>
          <p:nvPr/>
        </p:nvSpPr>
        <p:spPr>
          <a:xfrm>
            <a:off x="2124524" y="3455040"/>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88" tIns="45710" rIns="91420" bIns="45710" numCol="1" spcCol="0" rtlCol="0" fromWordArt="0" anchor="ctr" anchorCtr="0" forceAA="0" compatLnSpc="1">
            <a:prstTxWarp prst="textNoShape">
              <a:avLst/>
            </a:prstTxWarp>
            <a:noAutofit/>
          </a:bodyPr>
          <a:lstStyle/>
          <a:p>
            <a:pPr algn="ctr"/>
            <a:endParaRPr lang="en-US" sz="900" dirty="0">
              <a:solidFill>
                <a:schemeClr val="accent2"/>
              </a:solidFill>
            </a:endParaRPr>
          </a:p>
        </p:txBody>
      </p:sp>
      <p:sp>
        <p:nvSpPr>
          <p:cNvPr id="427" name="Rectangle 426"/>
          <p:cNvSpPr/>
          <p:nvPr/>
        </p:nvSpPr>
        <p:spPr>
          <a:xfrm>
            <a:off x="2124524" y="3585327"/>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88" tIns="45710" rIns="91420" bIns="45710" numCol="1" spcCol="0" rtlCol="0" fromWordArt="0" anchor="ctr" anchorCtr="0" forceAA="0" compatLnSpc="1">
            <a:prstTxWarp prst="textNoShape">
              <a:avLst/>
            </a:prstTxWarp>
            <a:noAutofit/>
          </a:bodyPr>
          <a:lstStyle/>
          <a:p>
            <a:pPr algn="ctr"/>
            <a:r>
              <a:rPr lang="en-US" sz="900">
                <a:solidFill>
                  <a:schemeClr val="accent2"/>
                </a:solidFill>
                <a:sym typeface="Wingdings" panose="05000000000000000000" pitchFamily="2" charset="2"/>
              </a:rPr>
              <a:t></a:t>
            </a:r>
            <a:endParaRPr lang="en-US" sz="900" dirty="0">
              <a:solidFill>
                <a:schemeClr val="accent2"/>
              </a:solidFill>
            </a:endParaRPr>
          </a:p>
        </p:txBody>
      </p:sp>
      <p:sp>
        <p:nvSpPr>
          <p:cNvPr id="428" name="Rectangle 427"/>
          <p:cNvSpPr/>
          <p:nvPr/>
        </p:nvSpPr>
        <p:spPr>
          <a:xfrm>
            <a:off x="2124524" y="3706431"/>
            <a:ext cx="71219" cy="71237"/>
          </a:xfrm>
          <a:prstGeom prst="rect">
            <a:avLst/>
          </a:prstGeom>
          <a:solidFill>
            <a:srgbClr val="F2F2F2"/>
          </a:solidFill>
          <a:ln w="63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88" tIns="45710" rIns="91420" bIns="45710" numCol="1" spcCol="0" rtlCol="0" fromWordArt="0" anchor="ctr" anchorCtr="0" forceAA="0" compatLnSpc="1">
            <a:prstTxWarp prst="textNoShape">
              <a:avLst/>
            </a:prstTxWarp>
            <a:noAutofit/>
          </a:bodyPr>
          <a:lstStyle/>
          <a:p>
            <a:pPr algn="ctr"/>
            <a:r>
              <a:rPr lang="en-US" sz="900">
                <a:solidFill>
                  <a:schemeClr val="accent2"/>
                </a:solidFill>
                <a:sym typeface="Wingdings" panose="05000000000000000000" pitchFamily="2" charset="2"/>
              </a:rPr>
              <a:t></a:t>
            </a:r>
            <a:endParaRPr lang="en-US" sz="900" dirty="0">
              <a:solidFill>
                <a:schemeClr val="accent2"/>
              </a:solidFill>
            </a:endParaRPr>
          </a:p>
        </p:txBody>
      </p:sp>
      <p:grpSp>
        <p:nvGrpSpPr>
          <p:cNvPr id="429" name="Group 428"/>
          <p:cNvGrpSpPr/>
          <p:nvPr/>
        </p:nvGrpSpPr>
        <p:grpSpPr>
          <a:xfrm>
            <a:off x="2242677" y="3474094"/>
            <a:ext cx="219399" cy="32847"/>
            <a:chOff x="6501277" y="3524069"/>
            <a:chExt cx="205289" cy="32847"/>
          </a:xfrm>
        </p:grpSpPr>
        <p:cxnSp>
          <p:nvCxnSpPr>
            <p:cNvPr id="430" name="Straight Connector 429"/>
            <p:cNvCxnSpPr/>
            <p:nvPr/>
          </p:nvCxnSpPr>
          <p:spPr>
            <a:xfrm>
              <a:off x="6501277" y="3524069"/>
              <a:ext cx="20528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1" name="Straight Connector 430"/>
            <p:cNvCxnSpPr/>
            <p:nvPr/>
          </p:nvCxnSpPr>
          <p:spPr>
            <a:xfrm>
              <a:off x="6501277" y="3556916"/>
              <a:ext cx="17067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32" name="Group 431"/>
          <p:cNvGrpSpPr/>
          <p:nvPr/>
        </p:nvGrpSpPr>
        <p:grpSpPr>
          <a:xfrm>
            <a:off x="2242678" y="3728325"/>
            <a:ext cx="182833" cy="31199"/>
            <a:chOff x="6501277" y="3778298"/>
            <a:chExt cx="274320" cy="31199"/>
          </a:xfrm>
        </p:grpSpPr>
        <p:cxnSp>
          <p:nvCxnSpPr>
            <p:cNvPr id="433" name="Straight Connector 432"/>
            <p:cNvCxnSpPr/>
            <p:nvPr/>
          </p:nvCxnSpPr>
          <p:spPr>
            <a:xfrm>
              <a:off x="6501277" y="3778298"/>
              <a:ext cx="22136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p:cNvCxnSpPr/>
            <p:nvPr/>
          </p:nvCxnSpPr>
          <p:spPr>
            <a:xfrm>
              <a:off x="6501277" y="3809497"/>
              <a:ext cx="2743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436" name="Freeform 435"/>
          <p:cNvSpPr>
            <a:spLocks/>
          </p:cNvSpPr>
          <p:nvPr/>
        </p:nvSpPr>
        <p:spPr bwMode="auto">
          <a:xfrm flipH="1">
            <a:off x="2216690" y="3653025"/>
            <a:ext cx="785452" cy="888048"/>
          </a:xfrm>
          <a:custGeom>
            <a:avLst/>
            <a:gdLst>
              <a:gd name="connsiteX0" fmla="*/ 421217 w 785656"/>
              <a:gd name="connsiteY0" fmla="*/ 0 h 888048"/>
              <a:gd name="connsiteX1" fmla="*/ 417965 w 785656"/>
              <a:gd name="connsiteY1" fmla="*/ 0 h 888048"/>
              <a:gd name="connsiteX2" fmla="*/ 393291 w 785656"/>
              <a:gd name="connsiteY2" fmla="*/ 0 h 888048"/>
              <a:gd name="connsiteX3" fmla="*/ 392366 w 785656"/>
              <a:gd name="connsiteY3" fmla="*/ 0 h 888048"/>
              <a:gd name="connsiteX4" fmla="*/ 367692 w 785656"/>
              <a:gd name="connsiteY4" fmla="*/ 0 h 888048"/>
              <a:gd name="connsiteX5" fmla="*/ 364440 w 785656"/>
              <a:gd name="connsiteY5" fmla="*/ 0 h 888048"/>
              <a:gd name="connsiteX6" fmla="*/ 338841 w 785656"/>
              <a:gd name="connsiteY6" fmla="*/ 2327 h 888048"/>
              <a:gd name="connsiteX7" fmla="*/ 313243 w 785656"/>
              <a:gd name="connsiteY7" fmla="*/ 9309 h 888048"/>
              <a:gd name="connsiteX8" fmla="*/ 292298 w 785656"/>
              <a:gd name="connsiteY8" fmla="*/ 13963 h 888048"/>
              <a:gd name="connsiteX9" fmla="*/ 269027 w 785656"/>
              <a:gd name="connsiteY9" fmla="*/ 25600 h 888048"/>
              <a:gd name="connsiteX10" fmla="*/ 250410 w 785656"/>
              <a:gd name="connsiteY10" fmla="*/ 34908 h 888048"/>
              <a:gd name="connsiteX11" fmla="*/ 231792 w 785656"/>
              <a:gd name="connsiteY11" fmla="*/ 46544 h 888048"/>
              <a:gd name="connsiteX12" fmla="*/ 215502 w 785656"/>
              <a:gd name="connsiteY12" fmla="*/ 58179 h 888048"/>
              <a:gd name="connsiteX13" fmla="*/ 203865 w 785656"/>
              <a:gd name="connsiteY13" fmla="*/ 74470 h 888048"/>
              <a:gd name="connsiteX14" fmla="*/ 192230 w 785656"/>
              <a:gd name="connsiteY14" fmla="*/ 90760 h 888048"/>
              <a:gd name="connsiteX15" fmla="*/ 178267 w 785656"/>
              <a:gd name="connsiteY15" fmla="*/ 107050 h 888048"/>
              <a:gd name="connsiteX16" fmla="*/ 173613 w 785656"/>
              <a:gd name="connsiteY16" fmla="*/ 125668 h 888048"/>
              <a:gd name="connsiteX17" fmla="*/ 164304 w 785656"/>
              <a:gd name="connsiteY17" fmla="*/ 139631 h 888048"/>
              <a:gd name="connsiteX18" fmla="*/ 159650 w 785656"/>
              <a:gd name="connsiteY18" fmla="*/ 158249 h 888048"/>
              <a:gd name="connsiteX19" fmla="*/ 157323 w 785656"/>
              <a:gd name="connsiteY19" fmla="*/ 179193 h 888048"/>
              <a:gd name="connsiteX20" fmla="*/ 157323 w 785656"/>
              <a:gd name="connsiteY20" fmla="*/ 197810 h 888048"/>
              <a:gd name="connsiteX21" fmla="*/ 157323 w 785656"/>
              <a:gd name="connsiteY21" fmla="*/ 218755 h 888048"/>
              <a:gd name="connsiteX22" fmla="*/ 157323 w 785656"/>
              <a:gd name="connsiteY22" fmla="*/ 242028 h 888048"/>
              <a:gd name="connsiteX23" fmla="*/ 164304 w 785656"/>
              <a:gd name="connsiteY23" fmla="*/ 274607 h 888048"/>
              <a:gd name="connsiteX24" fmla="*/ 164304 w 785656"/>
              <a:gd name="connsiteY24" fmla="*/ 304861 h 888048"/>
              <a:gd name="connsiteX25" fmla="*/ 159650 w 785656"/>
              <a:gd name="connsiteY25" fmla="*/ 332788 h 888048"/>
              <a:gd name="connsiteX26" fmla="*/ 157323 w 785656"/>
              <a:gd name="connsiteY26" fmla="*/ 353732 h 888048"/>
              <a:gd name="connsiteX27" fmla="*/ 148014 w 785656"/>
              <a:gd name="connsiteY27" fmla="*/ 377003 h 888048"/>
              <a:gd name="connsiteX28" fmla="*/ 141032 w 785656"/>
              <a:gd name="connsiteY28" fmla="*/ 390967 h 888048"/>
              <a:gd name="connsiteX29" fmla="*/ 131724 w 785656"/>
              <a:gd name="connsiteY29" fmla="*/ 407257 h 888048"/>
              <a:gd name="connsiteX30" fmla="*/ 120088 w 785656"/>
              <a:gd name="connsiteY30" fmla="*/ 418892 h 888048"/>
              <a:gd name="connsiteX31" fmla="*/ 96816 w 785656"/>
              <a:gd name="connsiteY31" fmla="*/ 435183 h 888048"/>
              <a:gd name="connsiteX32" fmla="*/ 78199 w 785656"/>
              <a:gd name="connsiteY32" fmla="*/ 444492 h 888048"/>
              <a:gd name="connsiteX33" fmla="*/ 59582 w 785656"/>
              <a:gd name="connsiteY33" fmla="*/ 451473 h 888048"/>
              <a:gd name="connsiteX34" fmla="*/ 61909 w 785656"/>
              <a:gd name="connsiteY34" fmla="*/ 460782 h 888048"/>
              <a:gd name="connsiteX35" fmla="*/ 71218 w 785656"/>
              <a:gd name="connsiteY35" fmla="*/ 479400 h 888048"/>
              <a:gd name="connsiteX36" fmla="*/ 94489 w 785656"/>
              <a:gd name="connsiteY36" fmla="*/ 507325 h 888048"/>
              <a:gd name="connsiteX37" fmla="*/ 110780 w 785656"/>
              <a:gd name="connsiteY37" fmla="*/ 523616 h 888048"/>
              <a:gd name="connsiteX38" fmla="*/ 129397 w 785656"/>
              <a:gd name="connsiteY38" fmla="*/ 539906 h 888048"/>
              <a:gd name="connsiteX39" fmla="*/ 145395 w 785656"/>
              <a:gd name="connsiteY39" fmla="*/ 546306 h 888048"/>
              <a:gd name="connsiteX40" fmla="*/ 165229 w 785656"/>
              <a:gd name="connsiteY40" fmla="*/ 560851 h 888048"/>
              <a:gd name="connsiteX41" fmla="*/ 186173 w 785656"/>
              <a:gd name="connsiteY41" fmla="*/ 572487 h 888048"/>
              <a:gd name="connsiteX42" fmla="*/ 211773 w 785656"/>
              <a:gd name="connsiteY42" fmla="*/ 584123 h 888048"/>
              <a:gd name="connsiteX43" fmla="*/ 239698 w 785656"/>
              <a:gd name="connsiteY43" fmla="*/ 593431 h 888048"/>
              <a:gd name="connsiteX44" fmla="*/ 267625 w 785656"/>
              <a:gd name="connsiteY44" fmla="*/ 602741 h 888048"/>
              <a:gd name="connsiteX45" fmla="*/ 88433 w 785656"/>
              <a:gd name="connsiteY45" fmla="*/ 693501 h 888048"/>
              <a:gd name="connsiteX46" fmla="*/ 67489 w 785656"/>
              <a:gd name="connsiteY46" fmla="*/ 705136 h 888048"/>
              <a:gd name="connsiteX47" fmla="*/ 48870 w 785656"/>
              <a:gd name="connsiteY47" fmla="*/ 723753 h 888048"/>
              <a:gd name="connsiteX48" fmla="*/ 32580 w 785656"/>
              <a:gd name="connsiteY48" fmla="*/ 749353 h 888048"/>
              <a:gd name="connsiteX49" fmla="*/ 25599 w 785656"/>
              <a:gd name="connsiteY49" fmla="*/ 760988 h 888048"/>
              <a:gd name="connsiteX50" fmla="*/ 23272 w 785656"/>
              <a:gd name="connsiteY50" fmla="*/ 774951 h 888048"/>
              <a:gd name="connsiteX51" fmla="*/ 0 w 785656"/>
              <a:gd name="connsiteY51" fmla="*/ 872694 h 888048"/>
              <a:gd name="connsiteX52" fmla="*/ 0 w 785656"/>
              <a:gd name="connsiteY52" fmla="*/ 877348 h 888048"/>
              <a:gd name="connsiteX53" fmla="*/ 6981 w 785656"/>
              <a:gd name="connsiteY53" fmla="*/ 886656 h 888048"/>
              <a:gd name="connsiteX54" fmla="*/ 8374 w 785656"/>
              <a:gd name="connsiteY54" fmla="*/ 888048 h 888048"/>
              <a:gd name="connsiteX55" fmla="*/ 777283 w 785656"/>
              <a:gd name="connsiteY55" fmla="*/ 888048 h 888048"/>
              <a:gd name="connsiteX56" fmla="*/ 778675 w 785656"/>
              <a:gd name="connsiteY56" fmla="*/ 886656 h 888048"/>
              <a:gd name="connsiteX57" fmla="*/ 785656 w 785656"/>
              <a:gd name="connsiteY57" fmla="*/ 877348 h 888048"/>
              <a:gd name="connsiteX58" fmla="*/ 785656 w 785656"/>
              <a:gd name="connsiteY58" fmla="*/ 872694 h 888048"/>
              <a:gd name="connsiteX59" fmla="*/ 762385 w 785656"/>
              <a:gd name="connsiteY59" fmla="*/ 774951 h 888048"/>
              <a:gd name="connsiteX60" fmla="*/ 760058 w 785656"/>
              <a:gd name="connsiteY60" fmla="*/ 760988 h 888048"/>
              <a:gd name="connsiteX61" fmla="*/ 753077 w 785656"/>
              <a:gd name="connsiteY61" fmla="*/ 749353 h 888048"/>
              <a:gd name="connsiteX62" fmla="*/ 736786 w 785656"/>
              <a:gd name="connsiteY62" fmla="*/ 723753 h 888048"/>
              <a:gd name="connsiteX63" fmla="*/ 718169 w 785656"/>
              <a:gd name="connsiteY63" fmla="*/ 705136 h 888048"/>
              <a:gd name="connsiteX64" fmla="*/ 697225 w 785656"/>
              <a:gd name="connsiteY64" fmla="*/ 693501 h 888048"/>
              <a:gd name="connsiteX65" fmla="*/ 518033 w 785656"/>
              <a:gd name="connsiteY65" fmla="*/ 602741 h 888048"/>
              <a:gd name="connsiteX66" fmla="*/ 545958 w 785656"/>
              <a:gd name="connsiteY66" fmla="*/ 593431 h 888048"/>
              <a:gd name="connsiteX67" fmla="*/ 573885 w 785656"/>
              <a:gd name="connsiteY67" fmla="*/ 584123 h 888048"/>
              <a:gd name="connsiteX68" fmla="*/ 599484 w 785656"/>
              <a:gd name="connsiteY68" fmla="*/ 572487 h 888048"/>
              <a:gd name="connsiteX69" fmla="*/ 620428 w 785656"/>
              <a:gd name="connsiteY69" fmla="*/ 560851 h 888048"/>
              <a:gd name="connsiteX70" fmla="*/ 640262 w 785656"/>
              <a:gd name="connsiteY70" fmla="*/ 546306 h 888048"/>
              <a:gd name="connsiteX71" fmla="*/ 656261 w 785656"/>
              <a:gd name="connsiteY71" fmla="*/ 539906 h 888048"/>
              <a:gd name="connsiteX72" fmla="*/ 674878 w 785656"/>
              <a:gd name="connsiteY72" fmla="*/ 523616 h 888048"/>
              <a:gd name="connsiteX73" fmla="*/ 691167 w 785656"/>
              <a:gd name="connsiteY73" fmla="*/ 507325 h 888048"/>
              <a:gd name="connsiteX74" fmla="*/ 714440 w 785656"/>
              <a:gd name="connsiteY74" fmla="*/ 479400 h 888048"/>
              <a:gd name="connsiteX75" fmla="*/ 723748 w 785656"/>
              <a:gd name="connsiteY75" fmla="*/ 460782 h 888048"/>
              <a:gd name="connsiteX76" fmla="*/ 726075 w 785656"/>
              <a:gd name="connsiteY76" fmla="*/ 451473 h 888048"/>
              <a:gd name="connsiteX77" fmla="*/ 707458 w 785656"/>
              <a:gd name="connsiteY77" fmla="*/ 444492 h 888048"/>
              <a:gd name="connsiteX78" fmla="*/ 688840 w 785656"/>
              <a:gd name="connsiteY78" fmla="*/ 435183 h 888048"/>
              <a:gd name="connsiteX79" fmla="*/ 665569 w 785656"/>
              <a:gd name="connsiteY79" fmla="*/ 418892 h 888048"/>
              <a:gd name="connsiteX80" fmla="*/ 653934 w 785656"/>
              <a:gd name="connsiteY80" fmla="*/ 407257 h 888048"/>
              <a:gd name="connsiteX81" fmla="*/ 644624 w 785656"/>
              <a:gd name="connsiteY81" fmla="*/ 390967 h 888048"/>
              <a:gd name="connsiteX82" fmla="*/ 637643 w 785656"/>
              <a:gd name="connsiteY82" fmla="*/ 377003 h 888048"/>
              <a:gd name="connsiteX83" fmla="*/ 628334 w 785656"/>
              <a:gd name="connsiteY83" fmla="*/ 353732 h 888048"/>
              <a:gd name="connsiteX84" fmla="*/ 626007 w 785656"/>
              <a:gd name="connsiteY84" fmla="*/ 332788 h 888048"/>
              <a:gd name="connsiteX85" fmla="*/ 621353 w 785656"/>
              <a:gd name="connsiteY85" fmla="*/ 304861 h 888048"/>
              <a:gd name="connsiteX86" fmla="*/ 621353 w 785656"/>
              <a:gd name="connsiteY86" fmla="*/ 274607 h 888048"/>
              <a:gd name="connsiteX87" fmla="*/ 628334 w 785656"/>
              <a:gd name="connsiteY87" fmla="*/ 242028 h 888048"/>
              <a:gd name="connsiteX88" fmla="*/ 628334 w 785656"/>
              <a:gd name="connsiteY88" fmla="*/ 218755 h 888048"/>
              <a:gd name="connsiteX89" fmla="*/ 628334 w 785656"/>
              <a:gd name="connsiteY89" fmla="*/ 197810 h 888048"/>
              <a:gd name="connsiteX90" fmla="*/ 628334 w 785656"/>
              <a:gd name="connsiteY90" fmla="*/ 179193 h 888048"/>
              <a:gd name="connsiteX91" fmla="*/ 626007 w 785656"/>
              <a:gd name="connsiteY91" fmla="*/ 158249 h 888048"/>
              <a:gd name="connsiteX92" fmla="*/ 621353 w 785656"/>
              <a:gd name="connsiteY92" fmla="*/ 139631 h 888048"/>
              <a:gd name="connsiteX93" fmla="*/ 612044 w 785656"/>
              <a:gd name="connsiteY93" fmla="*/ 125668 h 888048"/>
              <a:gd name="connsiteX94" fmla="*/ 607390 w 785656"/>
              <a:gd name="connsiteY94" fmla="*/ 107050 h 888048"/>
              <a:gd name="connsiteX95" fmla="*/ 593427 w 785656"/>
              <a:gd name="connsiteY95" fmla="*/ 90760 h 888048"/>
              <a:gd name="connsiteX96" fmla="*/ 581791 w 785656"/>
              <a:gd name="connsiteY96" fmla="*/ 74470 h 888048"/>
              <a:gd name="connsiteX97" fmla="*/ 570155 w 785656"/>
              <a:gd name="connsiteY97" fmla="*/ 58179 h 888048"/>
              <a:gd name="connsiteX98" fmla="*/ 553866 w 785656"/>
              <a:gd name="connsiteY98" fmla="*/ 46544 h 888048"/>
              <a:gd name="connsiteX99" fmla="*/ 535248 w 785656"/>
              <a:gd name="connsiteY99" fmla="*/ 34908 h 888048"/>
              <a:gd name="connsiteX100" fmla="*/ 516631 w 785656"/>
              <a:gd name="connsiteY100" fmla="*/ 25600 h 888048"/>
              <a:gd name="connsiteX101" fmla="*/ 493359 w 785656"/>
              <a:gd name="connsiteY101" fmla="*/ 13963 h 888048"/>
              <a:gd name="connsiteX102" fmla="*/ 472415 w 785656"/>
              <a:gd name="connsiteY102" fmla="*/ 9309 h 888048"/>
              <a:gd name="connsiteX103" fmla="*/ 446815 w 785656"/>
              <a:gd name="connsiteY103" fmla="*/ 2327 h 888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785656" h="888048">
                <a:moveTo>
                  <a:pt x="421217" y="0"/>
                </a:moveTo>
                <a:lnTo>
                  <a:pt x="417965" y="0"/>
                </a:lnTo>
                <a:lnTo>
                  <a:pt x="393291" y="0"/>
                </a:lnTo>
                <a:lnTo>
                  <a:pt x="392366" y="0"/>
                </a:lnTo>
                <a:lnTo>
                  <a:pt x="367692" y="0"/>
                </a:lnTo>
                <a:lnTo>
                  <a:pt x="364440" y="0"/>
                </a:lnTo>
                <a:lnTo>
                  <a:pt x="338841" y="2327"/>
                </a:lnTo>
                <a:lnTo>
                  <a:pt x="313243" y="9309"/>
                </a:lnTo>
                <a:lnTo>
                  <a:pt x="292298" y="13963"/>
                </a:lnTo>
                <a:lnTo>
                  <a:pt x="269027" y="25600"/>
                </a:lnTo>
                <a:lnTo>
                  <a:pt x="250410" y="34908"/>
                </a:lnTo>
                <a:lnTo>
                  <a:pt x="231792" y="46544"/>
                </a:lnTo>
                <a:lnTo>
                  <a:pt x="215502" y="58179"/>
                </a:lnTo>
                <a:lnTo>
                  <a:pt x="203865" y="74470"/>
                </a:lnTo>
                <a:lnTo>
                  <a:pt x="192230" y="90760"/>
                </a:lnTo>
                <a:lnTo>
                  <a:pt x="178267" y="107050"/>
                </a:lnTo>
                <a:lnTo>
                  <a:pt x="173613" y="125668"/>
                </a:lnTo>
                <a:lnTo>
                  <a:pt x="164304" y="139631"/>
                </a:lnTo>
                <a:lnTo>
                  <a:pt x="159650" y="158249"/>
                </a:lnTo>
                <a:lnTo>
                  <a:pt x="157323" y="179193"/>
                </a:lnTo>
                <a:lnTo>
                  <a:pt x="157323" y="197810"/>
                </a:lnTo>
                <a:lnTo>
                  <a:pt x="157323" y="218755"/>
                </a:lnTo>
                <a:lnTo>
                  <a:pt x="157323" y="242028"/>
                </a:lnTo>
                <a:lnTo>
                  <a:pt x="164304" y="274607"/>
                </a:lnTo>
                <a:lnTo>
                  <a:pt x="164304" y="304861"/>
                </a:lnTo>
                <a:lnTo>
                  <a:pt x="159650" y="332788"/>
                </a:lnTo>
                <a:lnTo>
                  <a:pt x="157323" y="353732"/>
                </a:lnTo>
                <a:lnTo>
                  <a:pt x="148014" y="377003"/>
                </a:lnTo>
                <a:lnTo>
                  <a:pt x="141032" y="390967"/>
                </a:lnTo>
                <a:lnTo>
                  <a:pt x="131724" y="407257"/>
                </a:lnTo>
                <a:lnTo>
                  <a:pt x="120088" y="418892"/>
                </a:lnTo>
                <a:lnTo>
                  <a:pt x="96816" y="435183"/>
                </a:lnTo>
                <a:lnTo>
                  <a:pt x="78199" y="444492"/>
                </a:lnTo>
                <a:lnTo>
                  <a:pt x="59582" y="451473"/>
                </a:lnTo>
                <a:lnTo>
                  <a:pt x="61909" y="460782"/>
                </a:lnTo>
                <a:lnTo>
                  <a:pt x="71218" y="479400"/>
                </a:lnTo>
                <a:lnTo>
                  <a:pt x="94489" y="507325"/>
                </a:lnTo>
                <a:lnTo>
                  <a:pt x="110780" y="523616"/>
                </a:lnTo>
                <a:lnTo>
                  <a:pt x="129397" y="539906"/>
                </a:lnTo>
                <a:lnTo>
                  <a:pt x="145395" y="546306"/>
                </a:lnTo>
                <a:lnTo>
                  <a:pt x="165229" y="560851"/>
                </a:lnTo>
                <a:lnTo>
                  <a:pt x="186173" y="572487"/>
                </a:lnTo>
                <a:lnTo>
                  <a:pt x="211773" y="584123"/>
                </a:lnTo>
                <a:lnTo>
                  <a:pt x="239698" y="593431"/>
                </a:lnTo>
                <a:lnTo>
                  <a:pt x="267625" y="602741"/>
                </a:lnTo>
                <a:lnTo>
                  <a:pt x="88433" y="693501"/>
                </a:lnTo>
                <a:lnTo>
                  <a:pt x="67489" y="705136"/>
                </a:lnTo>
                <a:lnTo>
                  <a:pt x="48870" y="723753"/>
                </a:lnTo>
                <a:lnTo>
                  <a:pt x="32580" y="749353"/>
                </a:lnTo>
                <a:lnTo>
                  <a:pt x="25599" y="760988"/>
                </a:lnTo>
                <a:lnTo>
                  <a:pt x="23272" y="774951"/>
                </a:lnTo>
                <a:lnTo>
                  <a:pt x="0" y="872694"/>
                </a:lnTo>
                <a:lnTo>
                  <a:pt x="0" y="877348"/>
                </a:lnTo>
                <a:lnTo>
                  <a:pt x="6981" y="886656"/>
                </a:lnTo>
                <a:lnTo>
                  <a:pt x="8374" y="888048"/>
                </a:lnTo>
                <a:lnTo>
                  <a:pt x="777283" y="888048"/>
                </a:lnTo>
                <a:lnTo>
                  <a:pt x="778675" y="886656"/>
                </a:lnTo>
                <a:lnTo>
                  <a:pt x="785656" y="877348"/>
                </a:lnTo>
                <a:lnTo>
                  <a:pt x="785656" y="872694"/>
                </a:lnTo>
                <a:lnTo>
                  <a:pt x="762385" y="774951"/>
                </a:lnTo>
                <a:lnTo>
                  <a:pt x="760058" y="760988"/>
                </a:lnTo>
                <a:lnTo>
                  <a:pt x="753077" y="749353"/>
                </a:lnTo>
                <a:lnTo>
                  <a:pt x="736786" y="723753"/>
                </a:lnTo>
                <a:lnTo>
                  <a:pt x="718169" y="705136"/>
                </a:lnTo>
                <a:lnTo>
                  <a:pt x="697225" y="693501"/>
                </a:lnTo>
                <a:lnTo>
                  <a:pt x="518033" y="602741"/>
                </a:lnTo>
                <a:lnTo>
                  <a:pt x="545958" y="593431"/>
                </a:lnTo>
                <a:lnTo>
                  <a:pt x="573885" y="584123"/>
                </a:lnTo>
                <a:lnTo>
                  <a:pt x="599484" y="572487"/>
                </a:lnTo>
                <a:lnTo>
                  <a:pt x="620428" y="560851"/>
                </a:lnTo>
                <a:lnTo>
                  <a:pt x="640262" y="546306"/>
                </a:lnTo>
                <a:lnTo>
                  <a:pt x="656261" y="539906"/>
                </a:lnTo>
                <a:lnTo>
                  <a:pt x="674878" y="523616"/>
                </a:lnTo>
                <a:lnTo>
                  <a:pt x="691167" y="507325"/>
                </a:lnTo>
                <a:lnTo>
                  <a:pt x="714440" y="479400"/>
                </a:lnTo>
                <a:lnTo>
                  <a:pt x="723748" y="460782"/>
                </a:lnTo>
                <a:lnTo>
                  <a:pt x="726075" y="451473"/>
                </a:lnTo>
                <a:lnTo>
                  <a:pt x="707458" y="444492"/>
                </a:lnTo>
                <a:lnTo>
                  <a:pt x="688840" y="435183"/>
                </a:lnTo>
                <a:lnTo>
                  <a:pt x="665569" y="418892"/>
                </a:lnTo>
                <a:lnTo>
                  <a:pt x="653934" y="407257"/>
                </a:lnTo>
                <a:lnTo>
                  <a:pt x="644624" y="390967"/>
                </a:lnTo>
                <a:lnTo>
                  <a:pt x="637643" y="377003"/>
                </a:lnTo>
                <a:lnTo>
                  <a:pt x="628334" y="353732"/>
                </a:lnTo>
                <a:lnTo>
                  <a:pt x="626007" y="332788"/>
                </a:lnTo>
                <a:lnTo>
                  <a:pt x="621353" y="304861"/>
                </a:lnTo>
                <a:lnTo>
                  <a:pt x="621353" y="274607"/>
                </a:lnTo>
                <a:lnTo>
                  <a:pt x="628334" y="242028"/>
                </a:lnTo>
                <a:lnTo>
                  <a:pt x="628334" y="218755"/>
                </a:lnTo>
                <a:lnTo>
                  <a:pt x="628334" y="197810"/>
                </a:lnTo>
                <a:lnTo>
                  <a:pt x="628334" y="179193"/>
                </a:lnTo>
                <a:lnTo>
                  <a:pt x="626007" y="158249"/>
                </a:lnTo>
                <a:lnTo>
                  <a:pt x="621353" y="139631"/>
                </a:lnTo>
                <a:lnTo>
                  <a:pt x="612044" y="125668"/>
                </a:lnTo>
                <a:lnTo>
                  <a:pt x="607390" y="107050"/>
                </a:lnTo>
                <a:lnTo>
                  <a:pt x="593427" y="90760"/>
                </a:lnTo>
                <a:lnTo>
                  <a:pt x="581791" y="74470"/>
                </a:lnTo>
                <a:lnTo>
                  <a:pt x="570155" y="58179"/>
                </a:lnTo>
                <a:lnTo>
                  <a:pt x="553866" y="46544"/>
                </a:lnTo>
                <a:lnTo>
                  <a:pt x="535248" y="34908"/>
                </a:lnTo>
                <a:lnTo>
                  <a:pt x="516631" y="25600"/>
                </a:lnTo>
                <a:lnTo>
                  <a:pt x="493359" y="13963"/>
                </a:lnTo>
                <a:lnTo>
                  <a:pt x="472415" y="9309"/>
                </a:lnTo>
                <a:lnTo>
                  <a:pt x="446815" y="2327"/>
                </a:lnTo>
                <a:close/>
              </a:path>
            </a:pathLst>
          </a:custGeom>
          <a:solidFill>
            <a:srgbClr val="2F2E7E"/>
          </a:solidFill>
          <a:ln>
            <a:noFill/>
          </a:ln>
          <a:extLst/>
        </p:spPr>
        <p:txBody>
          <a:bodyPr vert="horz" wrap="square" lIns="91420" tIns="45710" rIns="91420" bIns="4571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a:p>
        </p:txBody>
      </p:sp>
      <p:cxnSp>
        <p:nvCxnSpPr>
          <p:cNvPr id="392" name="Elbow Connector 391"/>
          <p:cNvCxnSpPr/>
          <p:nvPr/>
        </p:nvCxnSpPr>
        <p:spPr>
          <a:xfrm rot="16200000" flipH="1">
            <a:off x="1351212" y="2383262"/>
            <a:ext cx="773382" cy="822746"/>
          </a:xfrm>
          <a:prstGeom prst="bentConnector3">
            <a:avLst/>
          </a:prstGeom>
          <a:ln w="19050">
            <a:solidFill>
              <a:schemeClr val="accent1"/>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0" name="Freeform 115"/>
          <p:cNvSpPr>
            <a:spLocks/>
          </p:cNvSpPr>
          <p:nvPr/>
        </p:nvSpPr>
        <p:spPr bwMode="auto">
          <a:xfrm>
            <a:off x="8396753" y="3492049"/>
            <a:ext cx="2056" cy="956802"/>
          </a:xfrm>
          <a:custGeom>
            <a:avLst/>
            <a:gdLst/>
            <a:ahLst/>
            <a:cxnLst>
              <a:cxn ang="0">
                <a:pos x="0" y="0"/>
              </a:cxn>
              <a:cxn ang="0">
                <a:pos x="0" y="650"/>
              </a:cxn>
              <a:cxn ang="0">
                <a:pos x="0" y="0"/>
              </a:cxn>
            </a:cxnLst>
            <a:rect l="0" t="0" r="r" b="b"/>
            <a:pathLst>
              <a:path h="650">
                <a:moveTo>
                  <a:pt x="0" y="0"/>
                </a:moveTo>
                <a:lnTo>
                  <a:pt x="0" y="650"/>
                </a:lnTo>
                <a:lnTo>
                  <a:pt x="0" y="0"/>
                </a:lnTo>
                <a:close/>
              </a:path>
            </a:pathLst>
          </a:custGeom>
          <a:solidFill>
            <a:schemeClr val="bg1">
              <a:lumMod val="65000"/>
            </a:schemeClr>
          </a:solid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sp>
        <p:nvSpPr>
          <p:cNvPr id="131" name="Line 116"/>
          <p:cNvSpPr>
            <a:spLocks noChangeShapeType="1"/>
          </p:cNvSpPr>
          <p:nvPr/>
        </p:nvSpPr>
        <p:spPr bwMode="auto">
          <a:xfrm>
            <a:off x="8396753" y="3492049"/>
            <a:ext cx="2056" cy="956802"/>
          </a:xfrm>
          <a:prstGeom prst="line">
            <a:avLst/>
          </a:prstGeom>
          <a:solidFill>
            <a:schemeClr val="bg1">
              <a:lumMod val="65000"/>
            </a:schemeClr>
          </a:solidFill>
          <a:ln w="9525">
            <a:noFill/>
            <a:round/>
            <a:headEnd/>
            <a:tailEnd/>
          </a:ln>
        </p:spPr>
        <p:txBody>
          <a:bodyPr vert="horz" wrap="square" lIns="68580" tIns="34290" rIns="68580" bIns="34290" numCol="1" anchor="t" anchorCtr="0" compatLnSpc="1">
            <a:prstTxWarp prst="textNoShape">
              <a:avLst/>
            </a:prstTxWarp>
          </a:bodyPr>
          <a:lstStyle/>
          <a:p>
            <a:pPr defTabSz="685742">
              <a:defRPr/>
            </a:pPr>
            <a:endParaRPr lang="en-US" sz="1425" kern="0" dirty="0">
              <a:solidFill>
                <a:srgbClr val="FFFFFF"/>
              </a:solidFill>
              <a:latin typeface="Arial"/>
            </a:endParaRPr>
          </a:p>
        </p:txBody>
      </p:sp>
      <p:grpSp>
        <p:nvGrpSpPr>
          <p:cNvPr id="394" name="Group 393"/>
          <p:cNvGrpSpPr/>
          <p:nvPr/>
        </p:nvGrpSpPr>
        <p:grpSpPr>
          <a:xfrm>
            <a:off x="1409823" y="2598801"/>
            <a:ext cx="533891" cy="337141"/>
            <a:chOff x="11454660" y="502253"/>
            <a:chExt cx="437727" cy="255111"/>
          </a:xfrm>
        </p:grpSpPr>
        <p:sp>
          <p:nvSpPr>
            <p:cNvPr id="395" name="Oval 2"/>
            <p:cNvSpPr/>
            <p:nvPr/>
          </p:nvSpPr>
          <p:spPr bwMode="auto">
            <a:xfrm>
              <a:off x="11454660" y="502253"/>
              <a:ext cx="437727" cy="255111"/>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2253" tIns="41127" rIns="41127" bIns="82253" numCol="1" spcCol="0" rtlCol="0" fromWordArt="0" anchor="b" anchorCtr="0" forceAA="0" compatLnSpc="1">
              <a:prstTxWarp prst="textNoShape">
                <a:avLst/>
              </a:prstTxWarp>
              <a:noAutofit/>
            </a:bodyPr>
            <a:lstStyle>
              <a:defPPr>
                <a:defRPr lang="en-US"/>
              </a:defPPr>
              <a:lvl1pPr marL="0" algn="l" defTabSz="457143" rtl="0" eaLnBrk="1" latinLnBrk="0" hangingPunct="1">
                <a:defRPr sz="1800" kern="1200">
                  <a:solidFill>
                    <a:schemeClr val="lt1"/>
                  </a:solidFill>
                  <a:latin typeface="+mn-lt"/>
                  <a:ea typeface="+mn-ea"/>
                  <a:cs typeface="+mn-cs"/>
                </a:defRPr>
              </a:lvl1pPr>
              <a:lvl2pPr marL="457143" algn="l" defTabSz="457143" rtl="0" eaLnBrk="1" latinLnBrk="0" hangingPunct="1">
                <a:defRPr sz="1800" kern="1200">
                  <a:solidFill>
                    <a:schemeClr val="lt1"/>
                  </a:solidFill>
                  <a:latin typeface="+mn-lt"/>
                  <a:ea typeface="+mn-ea"/>
                  <a:cs typeface="+mn-cs"/>
                </a:defRPr>
              </a:lvl2pPr>
              <a:lvl3pPr marL="914286" algn="l" defTabSz="457143" rtl="0" eaLnBrk="1" latinLnBrk="0" hangingPunct="1">
                <a:defRPr sz="1800" kern="1200">
                  <a:solidFill>
                    <a:schemeClr val="lt1"/>
                  </a:solidFill>
                  <a:latin typeface="+mn-lt"/>
                  <a:ea typeface="+mn-ea"/>
                  <a:cs typeface="+mn-cs"/>
                </a:defRPr>
              </a:lvl3pPr>
              <a:lvl4pPr marL="1371429" algn="l" defTabSz="457143" rtl="0" eaLnBrk="1" latinLnBrk="0" hangingPunct="1">
                <a:defRPr sz="1800" kern="1200">
                  <a:solidFill>
                    <a:schemeClr val="lt1"/>
                  </a:solidFill>
                  <a:latin typeface="+mn-lt"/>
                  <a:ea typeface="+mn-ea"/>
                  <a:cs typeface="+mn-cs"/>
                </a:defRPr>
              </a:lvl4pPr>
              <a:lvl5pPr marL="1828572" algn="l" defTabSz="457143" rtl="0" eaLnBrk="1" latinLnBrk="0" hangingPunct="1">
                <a:defRPr sz="1800" kern="1200">
                  <a:solidFill>
                    <a:schemeClr val="lt1"/>
                  </a:solidFill>
                  <a:latin typeface="+mn-lt"/>
                  <a:ea typeface="+mn-ea"/>
                  <a:cs typeface="+mn-cs"/>
                </a:defRPr>
              </a:lvl5pPr>
              <a:lvl6pPr marL="2285714" algn="l" defTabSz="457143" rtl="0" eaLnBrk="1" latinLnBrk="0" hangingPunct="1">
                <a:defRPr sz="1800" kern="1200">
                  <a:solidFill>
                    <a:schemeClr val="lt1"/>
                  </a:solidFill>
                  <a:latin typeface="+mn-lt"/>
                  <a:ea typeface="+mn-ea"/>
                  <a:cs typeface="+mn-cs"/>
                </a:defRPr>
              </a:lvl6pPr>
              <a:lvl7pPr marL="2742858" algn="l" defTabSz="457143" rtl="0" eaLnBrk="1" latinLnBrk="0" hangingPunct="1">
                <a:defRPr sz="1800" kern="1200">
                  <a:solidFill>
                    <a:schemeClr val="lt1"/>
                  </a:solidFill>
                  <a:latin typeface="+mn-lt"/>
                  <a:ea typeface="+mn-ea"/>
                  <a:cs typeface="+mn-cs"/>
                </a:defRPr>
              </a:lvl7pPr>
              <a:lvl8pPr marL="3199999" algn="l" defTabSz="457143" rtl="0" eaLnBrk="1" latinLnBrk="0" hangingPunct="1">
                <a:defRPr sz="1800" kern="1200">
                  <a:solidFill>
                    <a:schemeClr val="lt1"/>
                  </a:solidFill>
                  <a:latin typeface="+mn-lt"/>
                  <a:ea typeface="+mn-ea"/>
                  <a:cs typeface="+mn-cs"/>
                </a:defRPr>
              </a:lvl8pPr>
              <a:lvl9pPr marL="3657143" algn="l" defTabSz="457143" rtl="0" eaLnBrk="1" latinLnBrk="0" hangingPunct="1">
                <a:defRPr sz="1800" kern="1200">
                  <a:solidFill>
                    <a:schemeClr val="lt1"/>
                  </a:solidFill>
                  <a:latin typeface="+mn-lt"/>
                  <a:ea typeface="+mn-ea"/>
                  <a:cs typeface="+mn-cs"/>
                </a:defRPr>
              </a:lvl9pPr>
            </a:lstStyle>
            <a:p>
              <a:pPr algn="ctr" defTabSz="821699"/>
              <a:endParaRPr lang="en-US" sz="1200" spc="-45" dirty="0" err="1">
                <a:gradFill>
                  <a:gsLst>
                    <a:gs pos="0">
                      <a:srgbClr val="FFFFFF"/>
                    </a:gs>
                    <a:gs pos="100000">
                      <a:srgbClr val="FFFFFF"/>
                    </a:gs>
                  </a:gsLst>
                  <a:lin ang="5400000" scaled="0"/>
                </a:gradFill>
                <a:latin typeface="CiscoSansTT Light"/>
                <a:ea typeface="Segoe UI" pitchFamily="34" charset="0"/>
                <a:cs typeface="Arial" panose="020B0604020202020204" pitchFamily="34" charset="0"/>
              </a:endParaRPr>
            </a:p>
          </p:txBody>
        </p:sp>
        <p:grpSp>
          <p:nvGrpSpPr>
            <p:cNvPr id="396" name="Group 395"/>
            <p:cNvGrpSpPr/>
            <p:nvPr/>
          </p:nvGrpSpPr>
          <p:grpSpPr>
            <a:xfrm>
              <a:off x="11519241" y="617344"/>
              <a:ext cx="285307" cy="80850"/>
              <a:chOff x="691827" y="3506031"/>
              <a:chExt cx="2666757" cy="755693"/>
            </a:xfrm>
            <a:solidFill>
              <a:schemeClr val="accent5"/>
            </a:solidFill>
          </p:grpSpPr>
          <p:grpSp>
            <p:nvGrpSpPr>
              <p:cNvPr id="397" name="Group 396"/>
              <p:cNvGrpSpPr>
                <a:grpSpLocks noChangeAspect="1"/>
              </p:cNvGrpSpPr>
              <p:nvPr/>
            </p:nvGrpSpPr>
            <p:grpSpPr>
              <a:xfrm rot="20679101">
                <a:off x="691827" y="3506031"/>
                <a:ext cx="758555" cy="755693"/>
                <a:chOff x="7798595" y="7042151"/>
                <a:chExt cx="420688" cy="419100"/>
              </a:xfrm>
              <a:grpFill/>
            </p:grpSpPr>
            <p:sp>
              <p:nvSpPr>
                <p:cNvPr id="402" name="Freeform 401"/>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sp>
              <p:nvSpPr>
                <p:cNvPr id="403" name="Freeform 402"/>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grpSp>
          <p:grpSp>
            <p:nvGrpSpPr>
              <p:cNvPr id="398" name="Group 397"/>
              <p:cNvGrpSpPr>
                <a:grpSpLocks noChangeAspect="1"/>
              </p:cNvGrpSpPr>
              <p:nvPr/>
            </p:nvGrpSpPr>
            <p:grpSpPr bwMode="auto">
              <a:xfrm>
                <a:off x="1450697" y="3636763"/>
                <a:ext cx="1907887" cy="613019"/>
                <a:chOff x="-78" y="-1937"/>
                <a:chExt cx="7678" cy="2467"/>
              </a:xfrm>
              <a:grpFill/>
            </p:grpSpPr>
            <p:sp>
              <p:nvSpPr>
                <p:cNvPr id="399" name="Freeform 398"/>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sp>
              <p:nvSpPr>
                <p:cNvPr id="400" name="Freeform 399"/>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sp>
              <p:nvSpPr>
                <p:cNvPr id="401" name="Freeform 400"/>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defPPr>
                    <a:defRPr lang="en-US"/>
                  </a:defPPr>
                  <a:lvl1pPr marL="0" algn="l" defTabSz="457143" rtl="0" eaLnBrk="1" latinLnBrk="0" hangingPunct="1">
                    <a:defRPr sz="1800" kern="1200">
                      <a:solidFill>
                        <a:schemeClr val="tx1"/>
                      </a:solidFill>
                      <a:latin typeface="+mn-lt"/>
                      <a:ea typeface="+mn-ea"/>
                      <a:cs typeface="+mn-cs"/>
                    </a:defRPr>
                  </a:lvl1pPr>
                  <a:lvl2pPr marL="457143" algn="l" defTabSz="457143" rtl="0" eaLnBrk="1" latinLnBrk="0" hangingPunct="1">
                    <a:defRPr sz="1800" kern="1200">
                      <a:solidFill>
                        <a:schemeClr val="tx1"/>
                      </a:solidFill>
                      <a:latin typeface="+mn-lt"/>
                      <a:ea typeface="+mn-ea"/>
                      <a:cs typeface="+mn-cs"/>
                    </a:defRPr>
                  </a:lvl2pPr>
                  <a:lvl3pPr marL="914286" algn="l" defTabSz="457143" rtl="0" eaLnBrk="1" latinLnBrk="0" hangingPunct="1">
                    <a:defRPr sz="1800" kern="1200">
                      <a:solidFill>
                        <a:schemeClr val="tx1"/>
                      </a:solidFill>
                      <a:latin typeface="+mn-lt"/>
                      <a:ea typeface="+mn-ea"/>
                      <a:cs typeface="+mn-cs"/>
                    </a:defRPr>
                  </a:lvl3pPr>
                  <a:lvl4pPr marL="1371429" algn="l" defTabSz="457143" rtl="0" eaLnBrk="1" latinLnBrk="0" hangingPunct="1">
                    <a:defRPr sz="1800" kern="1200">
                      <a:solidFill>
                        <a:schemeClr val="tx1"/>
                      </a:solidFill>
                      <a:latin typeface="+mn-lt"/>
                      <a:ea typeface="+mn-ea"/>
                      <a:cs typeface="+mn-cs"/>
                    </a:defRPr>
                  </a:lvl4pPr>
                  <a:lvl5pPr marL="1828572" algn="l" defTabSz="457143" rtl="0" eaLnBrk="1" latinLnBrk="0" hangingPunct="1">
                    <a:defRPr sz="1800" kern="1200">
                      <a:solidFill>
                        <a:schemeClr val="tx1"/>
                      </a:solidFill>
                      <a:latin typeface="+mn-lt"/>
                      <a:ea typeface="+mn-ea"/>
                      <a:cs typeface="+mn-cs"/>
                    </a:defRPr>
                  </a:lvl5pPr>
                  <a:lvl6pPr marL="2285714" algn="l" defTabSz="457143" rtl="0" eaLnBrk="1" latinLnBrk="0" hangingPunct="1">
                    <a:defRPr sz="1800" kern="1200">
                      <a:solidFill>
                        <a:schemeClr val="tx1"/>
                      </a:solidFill>
                      <a:latin typeface="+mn-lt"/>
                      <a:ea typeface="+mn-ea"/>
                      <a:cs typeface="+mn-cs"/>
                    </a:defRPr>
                  </a:lvl6pPr>
                  <a:lvl7pPr marL="2742858" algn="l" defTabSz="457143" rtl="0" eaLnBrk="1" latinLnBrk="0" hangingPunct="1">
                    <a:defRPr sz="1800" kern="1200">
                      <a:solidFill>
                        <a:schemeClr val="tx1"/>
                      </a:solidFill>
                      <a:latin typeface="+mn-lt"/>
                      <a:ea typeface="+mn-ea"/>
                      <a:cs typeface="+mn-cs"/>
                    </a:defRPr>
                  </a:lvl7pPr>
                  <a:lvl8pPr marL="3199999" algn="l" defTabSz="457143" rtl="0" eaLnBrk="1" latinLnBrk="0" hangingPunct="1">
                    <a:defRPr sz="1800" kern="1200">
                      <a:solidFill>
                        <a:schemeClr val="tx1"/>
                      </a:solidFill>
                      <a:latin typeface="+mn-lt"/>
                      <a:ea typeface="+mn-ea"/>
                      <a:cs typeface="+mn-cs"/>
                    </a:defRPr>
                  </a:lvl8pPr>
                  <a:lvl9pPr marL="3657143" algn="l" defTabSz="457143" rtl="0" eaLnBrk="1" latinLnBrk="0" hangingPunct="1">
                    <a:defRPr sz="1800" kern="1200">
                      <a:solidFill>
                        <a:schemeClr val="tx1"/>
                      </a:solidFill>
                      <a:latin typeface="+mn-lt"/>
                      <a:ea typeface="+mn-ea"/>
                      <a:cs typeface="+mn-cs"/>
                    </a:defRPr>
                  </a:lvl9pPr>
                </a:lstStyle>
                <a:p>
                  <a:pPr defTabSz="913686"/>
                  <a:endParaRPr lang="en-US" sz="900">
                    <a:solidFill>
                      <a:srgbClr val="000000"/>
                    </a:solidFill>
                    <a:latin typeface="CiscoSansTT Light"/>
                  </a:endParaRPr>
                </a:p>
              </p:txBody>
            </p:sp>
          </p:grpSp>
        </p:grpSp>
      </p:grpSp>
    </p:spTree>
    <p:extLst>
      <p:ext uri="{BB962C8B-B14F-4D97-AF65-F5344CB8AC3E}">
        <p14:creationId xmlns:p14="http://schemas.microsoft.com/office/powerpoint/2010/main" val="234089653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92"/>
                                        </p:tgtEl>
                                        <p:attrNameLst>
                                          <p:attrName>style.visibility</p:attrName>
                                        </p:attrNameLst>
                                      </p:cBhvr>
                                      <p:to>
                                        <p:strVal val="visible"/>
                                      </p:to>
                                    </p:set>
                                    <p:animEffect transition="in" filter="wipe(down)">
                                      <p:cBhvr>
                                        <p:cTn id="7" dur="500"/>
                                        <p:tgtEl>
                                          <p:spTgt spid="39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437"/>
                                        </p:tgtEl>
                                        <p:attrNameLst>
                                          <p:attrName>style.visibility</p:attrName>
                                        </p:attrNameLst>
                                      </p:cBhvr>
                                      <p:to>
                                        <p:strVal val="visible"/>
                                      </p:to>
                                    </p:set>
                                    <p:animEffect transition="in" filter="wipe(down)">
                                      <p:cBhvr>
                                        <p:cTn id="12" dur="500"/>
                                        <p:tgtEl>
                                          <p:spTgt spid="43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93"/>
                                        </p:tgtEl>
                                        <p:attrNameLst>
                                          <p:attrName>style.visibility</p:attrName>
                                        </p:attrNameLst>
                                      </p:cBhvr>
                                      <p:to>
                                        <p:strVal val="visible"/>
                                      </p:to>
                                    </p:set>
                                    <p:animEffect transition="in" filter="fade">
                                      <p:cBhvr>
                                        <p:cTn id="17" dur="500"/>
                                        <p:tgtEl>
                                          <p:spTgt spid="29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9"/>
                                        </p:tgtEl>
                                        <p:attrNameLst>
                                          <p:attrName>style.visibility</p:attrName>
                                        </p:attrNameLst>
                                      </p:cBhvr>
                                      <p:to>
                                        <p:strVal val="visible"/>
                                      </p:to>
                                    </p:set>
                                    <p:animEffect transition="in" filter="fade">
                                      <p:cBhvr>
                                        <p:cTn id="20" dur="500"/>
                                        <p:tgtEl>
                                          <p:spTgt spid="12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18"/>
                                        </p:tgtEl>
                                        <p:attrNameLst>
                                          <p:attrName>style.visibility</p:attrName>
                                        </p:attrNameLst>
                                      </p:cBhvr>
                                      <p:to>
                                        <p:strVal val="visible"/>
                                      </p:to>
                                    </p:set>
                                    <p:animEffect transition="in" filter="fade">
                                      <p:cBhvr>
                                        <p:cTn id="23" dur="500"/>
                                        <p:tgtEl>
                                          <p:spTgt spid="318"/>
                                        </p:tgtEl>
                                      </p:cBhvr>
                                    </p:animEffect>
                                  </p:childTnLst>
                                </p:cTn>
                              </p:par>
                              <p:par>
                                <p:cTn id="24" presetID="10" presetClass="entr" presetSubtype="0" fill="hold" nodeType="withEffect">
                                  <p:stCondLst>
                                    <p:cond delay="0"/>
                                  </p:stCondLst>
                                  <p:childTnLst>
                                    <p:set>
                                      <p:cBhvr>
                                        <p:cTn id="25" dur="1" fill="hold">
                                          <p:stCondLst>
                                            <p:cond delay="0"/>
                                          </p:stCondLst>
                                        </p:cTn>
                                        <p:tgtEl>
                                          <p:spTgt spid="319"/>
                                        </p:tgtEl>
                                        <p:attrNameLst>
                                          <p:attrName>style.visibility</p:attrName>
                                        </p:attrNameLst>
                                      </p:cBhvr>
                                      <p:to>
                                        <p:strVal val="visible"/>
                                      </p:to>
                                    </p:set>
                                    <p:animEffect transition="in" filter="fade">
                                      <p:cBhvr>
                                        <p:cTn id="26" dur="500"/>
                                        <p:tgtEl>
                                          <p:spTgt spid="319"/>
                                        </p:tgtEl>
                                      </p:cBhvr>
                                    </p:animEffect>
                                  </p:childTnLst>
                                </p:cTn>
                              </p:par>
                              <p:par>
                                <p:cTn id="27" presetID="10" presetClass="entr" presetSubtype="0" fill="hold" nodeType="withEffect">
                                  <p:stCondLst>
                                    <p:cond delay="0"/>
                                  </p:stCondLst>
                                  <p:childTnLst>
                                    <p:set>
                                      <p:cBhvr>
                                        <p:cTn id="28" dur="1" fill="hold">
                                          <p:stCondLst>
                                            <p:cond delay="0"/>
                                          </p:stCondLst>
                                        </p:cTn>
                                        <p:tgtEl>
                                          <p:spTgt spid="334"/>
                                        </p:tgtEl>
                                        <p:attrNameLst>
                                          <p:attrName>style.visibility</p:attrName>
                                        </p:attrNameLst>
                                      </p:cBhvr>
                                      <p:to>
                                        <p:strVal val="visible"/>
                                      </p:to>
                                    </p:set>
                                    <p:animEffect transition="in" filter="fade">
                                      <p:cBhvr>
                                        <p:cTn id="29" dur="500"/>
                                        <p:tgtEl>
                                          <p:spTgt spid="334"/>
                                        </p:tgtEl>
                                      </p:cBhvr>
                                    </p:animEffect>
                                  </p:childTnLst>
                                </p:cTn>
                              </p:par>
                              <p:par>
                                <p:cTn id="30" presetID="10" presetClass="entr" presetSubtype="0" fill="hold" nodeType="withEffect">
                                  <p:stCondLst>
                                    <p:cond delay="0"/>
                                  </p:stCondLst>
                                  <p:childTnLst>
                                    <p:set>
                                      <p:cBhvr>
                                        <p:cTn id="31" dur="1" fill="hold">
                                          <p:stCondLst>
                                            <p:cond delay="0"/>
                                          </p:stCondLst>
                                        </p:cTn>
                                        <p:tgtEl>
                                          <p:spTgt spid="335"/>
                                        </p:tgtEl>
                                        <p:attrNameLst>
                                          <p:attrName>style.visibility</p:attrName>
                                        </p:attrNameLst>
                                      </p:cBhvr>
                                      <p:to>
                                        <p:strVal val="visible"/>
                                      </p:to>
                                    </p:set>
                                    <p:animEffect transition="in" filter="fade">
                                      <p:cBhvr>
                                        <p:cTn id="32" dur="500"/>
                                        <p:tgtEl>
                                          <p:spTgt spid="335"/>
                                        </p:tgtEl>
                                      </p:cBhvr>
                                    </p:animEffect>
                                  </p:childTnLst>
                                </p:cTn>
                              </p:par>
                              <p:par>
                                <p:cTn id="33" presetID="10" presetClass="entr" presetSubtype="0" fill="hold" nodeType="withEffect">
                                  <p:stCondLst>
                                    <p:cond delay="0"/>
                                  </p:stCondLst>
                                  <p:childTnLst>
                                    <p:set>
                                      <p:cBhvr>
                                        <p:cTn id="34" dur="1" fill="hold">
                                          <p:stCondLst>
                                            <p:cond delay="0"/>
                                          </p:stCondLst>
                                        </p:cTn>
                                        <p:tgtEl>
                                          <p:spTgt spid="336"/>
                                        </p:tgtEl>
                                        <p:attrNameLst>
                                          <p:attrName>style.visibility</p:attrName>
                                        </p:attrNameLst>
                                      </p:cBhvr>
                                      <p:to>
                                        <p:strVal val="visible"/>
                                      </p:to>
                                    </p:set>
                                    <p:animEffect transition="in" filter="fade">
                                      <p:cBhvr>
                                        <p:cTn id="35" dur="500"/>
                                        <p:tgtEl>
                                          <p:spTgt spid="336"/>
                                        </p:tgtEl>
                                      </p:cBhvr>
                                    </p:animEffect>
                                  </p:childTnLst>
                                </p:cTn>
                              </p:par>
                              <p:par>
                                <p:cTn id="36" presetID="10" presetClass="entr" presetSubtype="0" fill="hold" nodeType="withEffect">
                                  <p:stCondLst>
                                    <p:cond delay="0"/>
                                  </p:stCondLst>
                                  <p:childTnLst>
                                    <p:set>
                                      <p:cBhvr>
                                        <p:cTn id="37" dur="1" fill="hold">
                                          <p:stCondLst>
                                            <p:cond delay="0"/>
                                          </p:stCondLst>
                                        </p:cTn>
                                        <p:tgtEl>
                                          <p:spTgt spid="337"/>
                                        </p:tgtEl>
                                        <p:attrNameLst>
                                          <p:attrName>style.visibility</p:attrName>
                                        </p:attrNameLst>
                                      </p:cBhvr>
                                      <p:to>
                                        <p:strVal val="visible"/>
                                      </p:to>
                                    </p:set>
                                    <p:animEffect transition="in" filter="fade">
                                      <p:cBhvr>
                                        <p:cTn id="38" dur="500"/>
                                        <p:tgtEl>
                                          <p:spTgt spid="337"/>
                                        </p:tgtEl>
                                      </p:cBhvr>
                                    </p:animEffect>
                                  </p:childTnLst>
                                </p:cTn>
                              </p:par>
                              <p:par>
                                <p:cTn id="39" presetID="10" presetClass="entr" presetSubtype="0" fill="hold" nodeType="withEffect">
                                  <p:stCondLst>
                                    <p:cond delay="0"/>
                                  </p:stCondLst>
                                  <p:childTnLst>
                                    <p:set>
                                      <p:cBhvr>
                                        <p:cTn id="40" dur="1" fill="hold">
                                          <p:stCondLst>
                                            <p:cond delay="0"/>
                                          </p:stCondLst>
                                        </p:cTn>
                                        <p:tgtEl>
                                          <p:spTgt spid="338"/>
                                        </p:tgtEl>
                                        <p:attrNameLst>
                                          <p:attrName>style.visibility</p:attrName>
                                        </p:attrNameLst>
                                      </p:cBhvr>
                                      <p:to>
                                        <p:strVal val="visible"/>
                                      </p:to>
                                    </p:set>
                                    <p:animEffect transition="in" filter="fade">
                                      <p:cBhvr>
                                        <p:cTn id="41" dur="500"/>
                                        <p:tgtEl>
                                          <p:spTgt spid="338"/>
                                        </p:tgtEl>
                                      </p:cBhvr>
                                    </p:animEffect>
                                  </p:childTnLst>
                                </p:cTn>
                              </p:par>
                              <p:par>
                                <p:cTn id="42" presetID="10" presetClass="entr" presetSubtype="0" fill="hold" nodeType="withEffect">
                                  <p:stCondLst>
                                    <p:cond delay="0"/>
                                  </p:stCondLst>
                                  <p:childTnLst>
                                    <p:set>
                                      <p:cBhvr>
                                        <p:cTn id="43" dur="1" fill="hold">
                                          <p:stCondLst>
                                            <p:cond delay="0"/>
                                          </p:stCondLst>
                                        </p:cTn>
                                        <p:tgtEl>
                                          <p:spTgt spid="339"/>
                                        </p:tgtEl>
                                        <p:attrNameLst>
                                          <p:attrName>style.visibility</p:attrName>
                                        </p:attrNameLst>
                                      </p:cBhvr>
                                      <p:to>
                                        <p:strVal val="visible"/>
                                      </p:to>
                                    </p:set>
                                    <p:animEffect transition="in" filter="fade">
                                      <p:cBhvr>
                                        <p:cTn id="44" dur="500"/>
                                        <p:tgtEl>
                                          <p:spTgt spid="339"/>
                                        </p:tgtEl>
                                      </p:cBhvr>
                                    </p:animEffect>
                                  </p:childTnLst>
                                </p:cTn>
                              </p:par>
                              <p:par>
                                <p:cTn id="45" presetID="10" presetClass="entr" presetSubtype="0" fill="hold" nodeType="withEffect">
                                  <p:stCondLst>
                                    <p:cond delay="0"/>
                                  </p:stCondLst>
                                  <p:childTnLst>
                                    <p:set>
                                      <p:cBhvr>
                                        <p:cTn id="46" dur="1" fill="hold">
                                          <p:stCondLst>
                                            <p:cond delay="0"/>
                                          </p:stCondLst>
                                        </p:cTn>
                                        <p:tgtEl>
                                          <p:spTgt spid="340"/>
                                        </p:tgtEl>
                                        <p:attrNameLst>
                                          <p:attrName>style.visibility</p:attrName>
                                        </p:attrNameLst>
                                      </p:cBhvr>
                                      <p:to>
                                        <p:strVal val="visible"/>
                                      </p:to>
                                    </p:set>
                                    <p:animEffect transition="in" filter="fade">
                                      <p:cBhvr>
                                        <p:cTn id="47" dur="500"/>
                                        <p:tgtEl>
                                          <p:spTgt spid="340"/>
                                        </p:tgtEl>
                                      </p:cBhvr>
                                    </p:animEffect>
                                  </p:childTnLst>
                                </p:cTn>
                              </p:par>
                              <p:par>
                                <p:cTn id="48" presetID="10" presetClass="entr" presetSubtype="0" fill="hold" nodeType="withEffect">
                                  <p:stCondLst>
                                    <p:cond delay="0"/>
                                  </p:stCondLst>
                                  <p:childTnLst>
                                    <p:set>
                                      <p:cBhvr>
                                        <p:cTn id="49" dur="1" fill="hold">
                                          <p:stCondLst>
                                            <p:cond delay="0"/>
                                          </p:stCondLst>
                                        </p:cTn>
                                        <p:tgtEl>
                                          <p:spTgt spid="343"/>
                                        </p:tgtEl>
                                        <p:attrNameLst>
                                          <p:attrName>style.visibility</p:attrName>
                                        </p:attrNameLst>
                                      </p:cBhvr>
                                      <p:to>
                                        <p:strVal val="visible"/>
                                      </p:to>
                                    </p:set>
                                    <p:animEffect transition="in" filter="fade">
                                      <p:cBhvr>
                                        <p:cTn id="50" dur="500"/>
                                        <p:tgtEl>
                                          <p:spTgt spid="343"/>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46"/>
                                        </p:tgtEl>
                                        <p:attrNameLst>
                                          <p:attrName>style.visibility</p:attrName>
                                        </p:attrNameLst>
                                      </p:cBhvr>
                                      <p:to>
                                        <p:strVal val="visible"/>
                                      </p:to>
                                    </p:set>
                                    <p:animEffect transition="in" filter="fade">
                                      <p:cBhvr>
                                        <p:cTn id="53" dur="500"/>
                                        <p:tgtEl>
                                          <p:spTgt spid="34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47"/>
                                        </p:tgtEl>
                                        <p:attrNameLst>
                                          <p:attrName>style.visibility</p:attrName>
                                        </p:attrNameLst>
                                      </p:cBhvr>
                                      <p:to>
                                        <p:strVal val="visible"/>
                                      </p:to>
                                    </p:set>
                                    <p:animEffect transition="in" filter="fade">
                                      <p:cBhvr>
                                        <p:cTn id="56" dur="500"/>
                                        <p:tgtEl>
                                          <p:spTgt spid="347"/>
                                        </p:tgtEl>
                                      </p:cBhvr>
                                    </p:animEffect>
                                  </p:childTnLst>
                                </p:cTn>
                              </p:par>
                              <p:par>
                                <p:cTn id="57" presetID="10" presetClass="entr" presetSubtype="0" fill="hold" nodeType="withEffect">
                                  <p:stCondLst>
                                    <p:cond delay="0"/>
                                  </p:stCondLst>
                                  <p:childTnLst>
                                    <p:set>
                                      <p:cBhvr>
                                        <p:cTn id="58" dur="1" fill="hold">
                                          <p:stCondLst>
                                            <p:cond delay="0"/>
                                          </p:stCondLst>
                                        </p:cTn>
                                        <p:tgtEl>
                                          <p:spTgt spid="348"/>
                                        </p:tgtEl>
                                        <p:attrNameLst>
                                          <p:attrName>style.visibility</p:attrName>
                                        </p:attrNameLst>
                                      </p:cBhvr>
                                      <p:to>
                                        <p:strVal val="visible"/>
                                      </p:to>
                                    </p:set>
                                    <p:animEffect transition="in" filter="fade">
                                      <p:cBhvr>
                                        <p:cTn id="59" dur="500"/>
                                        <p:tgtEl>
                                          <p:spTgt spid="34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52"/>
                                        </p:tgtEl>
                                        <p:attrNameLst>
                                          <p:attrName>style.visibility</p:attrName>
                                        </p:attrNameLst>
                                      </p:cBhvr>
                                      <p:to>
                                        <p:strVal val="visible"/>
                                      </p:to>
                                    </p:set>
                                    <p:animEffect transition="in" filter="fade">
                                      <p:cBhvr>
                                        <p:cTn id="62" dur="500"/>
                                        <p:tgtEl>
                                          <p:spTgt spid="352"/>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53"/>
                                        </p:tgtEl>
                                        <p:attrNameLst>
                                          <p:attrName>style.visibility</p:attrName>
                                        </p:attrNameLst>
                                      </p:cBhvr>
                                      <p:to>
                                        <p:strVal val="visible"/>
                                      </p:to>
                                    </p:set>
                                    <p:animEffect transition="in" filter="fade">
                                      <p:cBhvr>
                                        <p:cTn id="65" dur="500"/>
                                        <p:tgtEl>
                                          <p:spTgt spid="35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56"/>
                                        </p:tgtEl>
                                        <p:attrNameLst>
                                          <p:attrName>style.visibility</p:attrName>
                                        </p:attrNameLst>
                                      </p:cBhvr>
                                      <p:to>
                                        <p:strVal val="visible"/>
                                      </p:to>
                                    </p:set>
                                    <p:animEffect transition="in" filter="fade">
                                      <p:cBhvr>
                                        <p:cTn id="68" dur="500"/>
                                        <p:tgtEl>
                                          <p:spTgt spid="356"/>
                                        </p:tgtEl>
                                      </p:cBhvr>
                                    </p:animEffect>
                                  </p:childTnLst>
                                </p:cTn>
                              </p:par>
                              <p:par>
                                <p:cTn id="69" presetID="10" presetClass="entr" presetSubtype="0" fill="hold" nodeType="withEffect">
                                  <p:stCondLst>
                                    <p:cond delay="0"/>
                                  </p:stCondLst>
                                  <p:childTnLst>
                                    <p:set>
                                      <p:cBhvr>
                                        <p:cTn id="70" dur="1" fill="hold">
                                          <p:stCondLst>
                                            <p:cond delay="0"/>
                                          </p:stCondLst>
                                        </p:cTn>
                                        <p:tgtEl>
                                          <p:spTgt spid="357"/>
                                        </p:tgtEl>
                                        <p:attrNameLst>
                                          <p:attrName>style.visibility</p:attrName>
                                        </p:attrNameLst>
                                      </p:cBhvr>
                                      <p:to>
                                        <p:strVal val="visible"/>
                                      </p:to>
                                    </p:set>
                                    <p:animEffect transition="in" filter="fade">
                                      <p:cBhvr>
                                        <p:cTn id="71" dur="500"/>
                                        <p:tgtEl>
                                          <p:spTgt spid="357"/>
                                        </p:tgtEl>
                                      </p:cBhvr>
                                    </p:animEffect>
                                  </p:childTnLst>
                                </p:cTn>
                              </p:par>
                              <p:par>
                                <p:cTn id="72" presetID="10" presetClass="entr" presetSubtype="0" fill="hold" nodeType="withEffect">
                                  <p:stCondLst>
                                    <p:cond delay="0"/>
                                  </p:stCondLst>
                                  <p:childTnLst>
                                    <p:set>
                                      <p:cBhvr>
                                        <p:cTn id="73" dur="1" fill="hold">
                                          <p:stCondLst>
                                            <p:cond delay="0"/>
                                          </p:stCondLst>
                                        </p:cTn>
                                        <p:tgtEl>
                                          <p:spTgt spid="367"/>
                                        </p:tgtEl>
                                        <p:attrNameLst>
                                          <p:attrName>style.visibility</p:attrName>
                                        </p:attrNameLst>
                                      </p:cBhvr>
                                      <p:to>
                                        <p:strVal val="visible"/>
                                      </p:to>
                                    </p:set>
                                    <p:animEffect transition="in" filter="fade">
                                      <p:cBhvr>
                                        <p:cTn id="74" dur="500"/>
                                        <p:tgtEl>
                                          <p:spTgt spid="367"/>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0"/>
                                        </p:tgtEl>
                                        <p:attrNameLst>
                                          <p:attrName>style.visibility</p:attrName>
                                        </p:attrNameLst>
                                      </p:cBhvr>
                                      <p:to>
                                        <p:strVal val="visible"/>
                                      </p:to>
                                    </p:set>
                                    <p:animEffect transition="in" filter="fade">
                                      <p:cBhvr>
                                        <p:cTn id="77" dur="500"/>
                                        <p:tgtEl>
                                          <p:spTgt spid="130"/>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31"/>
                                        </p:tgtEl>
                                        <p:attrNameLst>
                                          <p:attrName>style.visibility</p:attrName>
                                        </p:attrNameLst>
                                      </p:cBhvr>
                                      <p:to>
                                        <p:strVal val="visible"/>
                                      </p:to>
                                    </p:set>
                                    <p:animEffect transition="in" filter="fade">
                                      <p:cBhvr>
                                        <p:cTn id="80" dur="500"/>
                                        <p:tgtEl>
                                          <p:spTgt spid="131"/>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1" fill="hold" nodeType="clickEffect">
                                  <p:stCondLst>
                                    <p:cond delay="0"/>
                                  </p:stCondLst>
                                  <p:childTnLst>
                                    <p:set>
                                      <p:cBhvr>
                                        <p:cTn id="84" dur="1" fill="hold">
                                          <p:stCondLst>
                                            <p:cond delay="0"/>
                                          </p:stCondLst>
                                        </p:cTn>
                                        <p:tgtEl>
                                          <p:spTgt spid="354"/>
                                        </p:tgtEl>
                                        <p:attrNameLst>
                                          <p:attrName>style.visibility</p:attrName>
                                        </p:attrNameLst>
                                      </p:cBhvr>
                                      <p:to>
                                        <p:strVal val="visible"/>
                                      </p:to>
                                    </p:set>
                                    <p:animEffect transition="in" filter="wipe(up)">
                                      <p:cBhvr>
                                        <p:cTn id="85" dur="500"/>
                                        <p:tgtEl>
                                          <p:spTgt spid="354"/>
                                        </p:tgtEl>
                                      </p:cBhvr>
                                    </p:animEffect>
                                  </p:childTnLst>
                                </p:cTn>
                              </p:par>
                            </p:childTnLst>
                          </p:cTn>
                        </p:par>
                        <p:par>
                          <p:cTn id="86" fill="hold">
                            <p:stCondLst>
                              <p:cond delay="500"/>
                            </p:stCondLst>
                            <p:childTnLst>
                              <p:par>
                                <p:cTn id="87" presetID="10" presetClass="entr" presetSubtype="0" fill="hold" grpId="0" nodeType="afterEffect">
                                  <p:stCondLst>
                                    <p:cond delay="750"/>
                                  </p:stCondLst>
                                  <p:childTnLst>
                                    <p:set>
                                      <p:cBhvr>
                                        <p:cTn id="88" dur="1" fill="hold">
                                          <p:stCondLst>
                                            <p:cond delay="0"/>
                                          </p:stCondLst>
                                        </p:cTn>
                                        <p:tgtEl>
                                          <p:spTgt spid="438"/>
                                        </p:tgtEl>
                                        <p:attrNameLst>
                                          <p:attrName>style.visibility</p:attrName>
                                        </p:attrNameLst>
                                      </p:cBhvr>
                                      <p:to>
                                        <p:strVal val="visible"/>
                                      </p:to>
                                    </p:set>
                                    <p:animEffect transition="in" filter="fade">
                                      <p:cBhvr>
                                        <p:cTn id="89" dur="500"/>
                                        <p:tgtEl>
                                          <p:spTgt spid="438"/>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1" fill="hold" nodeType="clickEffect">
                                  <p:stCondLst>
                                    <p:cond delay="0"/>
                                  </p:stCondLst>
                                  <p:childTnLst>
                                    <p:set>
                                      <p:cBhvr>
                                        <p:cTn id="93" dur="1" fill="hold">
                                          <p:stCondLst>
                                            <p:cond delay="0"/>
                                          </p:stCondLst>
                                        </p:cTn>
                                        <p:tgtEl>
                                          <p:spTgt spid="355"/>
                                        </p:tgtEl>
                                        <p:attrNameLst>
                                          <p:attrName>style.visibility</p:attrName>
                                        </p:attrNameLst>
                                      </p:cBhvr>
                                      <p:to>
                                        <p:strVal val="visible"/>
                                      </p:to>
                                    </p:set>
                                    <p:animEffect transition="in" filter="wipe(up)">
                                      <p:cBhvr>
                                        <p:cTn id="94" dur="500"/>
                                        <p:tgtEl>
                                          <p:spTgt spid="3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3" grpId="0" animBg="1"/>
      <p:bldP spid="129" grpId="0" animBg="1"/>
      <p:bldP spid="318" grpId="0" animBg="1"/>
      <p:bldP spid="346" grpId="0" animBg="1"/>
      <p:bldP spid="347" grpId="0" animBg="1"/>
      <p:bldP spid="352" grpId="0"/>
      <p:bldP spid="353" grpId="0"/>
      <p:bldP spid="356" grpId="0"/>
      <p:bldP spid="438" grpId="0"/>
      <p:bldP spid="130" grpId="0" animBg="1"/>
      <p:bldP spid="13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p:cNvGrpSpPr/>
          <p:nvPr/>
        </p:nvGrpSpPr>
        <p:grpSpPr>
          <a:xfrm>
            <a:off x="420786" y="3226117"/>
            <a:ext cx="8131974" cy="1304635"/>
            <a:chOff x="420786" y="2321150"/>
            <a:chExt cx="8131974" cy="1304635"/>
          </a:xfrm>
        </p:grpSpPr>
        <p:pic>
          <p:nvPicPr>
            <p:cNvPr id="6" name="Picture 5"/>
            <p:cNvPicPr>
              <a:picLocks noChangeAspect="1"/>
            </p:cNvPicPr>
            <p:nvPr/>
          </p:nvPicPr>
          <p:blipFill>
            <a:blip r:embed="rId2"/>
            <a:stretch>
              <a:fillRect/>
            </a:stretch>
          </p:blipFill>
          <p:spPr>
            <a:xfrm>
              <a:off x="2144909" y="2321150"/>
              <a:ext cx="6407851" cy="1304635"/>
            </a:xfrm>
            <a:prstGeom prst="rect">
              <a:avLst/>
            </a:prstGeom>
            <a:ln>
              <a:noFill/>
            </a:ln>
            <a:effectLst>
              <a:outerShdw blurRad="292100" dist="139700" dir="2700000" algn="tl" rotWithShape="0">
                <a:srgbClr val="333333">
                  <a:alpha val="65000"/>
                </a:srgbClr>
              </a:outerShdw>
            </a:effectLst>
          </p:spPr>
        </p:pic>
        <p:sp>
          <p:nvSpPr>
            <p:cNvPr id="14" name="TextBox 13"/>
            <p:cNvSpPr txBox="1"/>
            <p:nvPr/>
          </p:nvSpPr>
          <p:spPr>
            <a:xfrm>
              <a:off x="420786" y="2788801"/>
              <a:ext cx="1724123" cy="369332"/>
            </a:xfrm>
            <a:prstGeom prst="rect">
              <a:avLst/>
            </a:prstGeom>
            <a:noFill/>
          </p:spPr>
          <p:txBody>
            <a:bodyPr wrap="square" rtlCol="0">
              <a:spAutoFit/>
            </a:bodyPr>
            <a:lstStyle/>
            <a:p>
              <a:r>
                <a:rPr lang="en-US" dirty="0" smtClean="0">
                  <a:solidFill>
                    <a:schemeClr val="tx2"/>
                  </a:solidFill>
                </a:rPr>
                <a:t>WSA Interface</a:t>
              </a:r>
              <a:endParaRPr lang="en-US" dirty="0">
                <a:solidFill>
                  <a:schemeClr val="tx2"/>
                </a:solidFill>
              </a:endParaRPr>
            </a:p>
          </p:txBody>
        </p:sp>
      </p:grpSp>
      <p:sp>
        <p:nvSpPr>
          <p:cNvPr id="2" name="Title 1"/>
          <p:cNvSpPr>
            <a:spLocks noGrp="1"/>
          </p:cNvSpPr>
          <p:nvPr>
            <p:ph type="title"/>
          </p:nvPr>
        </p:nvSpPr>
        <p:spPr>
          <a:xfrm>
            <a:off x="308293" y="102051"/>
            <a:ext cx="8345488" cy="731837"/>
          </a:xfrm>
        </p:spPr>
        <p:txBody>
          <a:bodyPr/>
          <a:lstStyle/>
          <a:p>
            <a:r>
              <a:rPr lang="en-US" altLang="ja-JP" dirty="0" smtClean="0"/>
              <a:t>WSA </a:t>
            </a:r>
            <a:r>
              <a:rPr lang="ja-JP" altLang="en-US" dirty="0" smtClean="0"/>
              <a:t>と</a:t>
            </a:r>
            <a:r>
              <a:rPr lang="en-US" altLang="ja-JP" dirty="0" smtClean="0"/>
              <a:t> CWS</a:t>
            </a:r>
            <a:r>
              <a:rPr lang="ja-JP" altLang="en-US" dirty="0" smtClean="0"/>
              <a:t>アカウントのリンク</a:t>
            </a:r>
            <a:endParaRPr lang="en-US" dirty="0"/>
          </a:p>
        </p:txBody>
      </p:sp>
      <p:pic>
        <p:nvPicPr>
          <p:cNvPr id="8" name="Picture 7"/>
          <p:cNvPicPr>
            <a:picLocks noChangeAspect="1"/>
          </p:cNvPicPr>
          <p:nvPr/>
        </p:nvPicPr>
        <p:blipFill>
          <a:blip r:embed="rId3"/>
          <a:stretch>
            <a:fillRect/>
          </a:stretch>
        </p:blipFill>
        <p:spPr>
          <a:xfrm>
            <a:off x="235466" y="1110091"/>
            <a:ext cx="6594213" cy="1426129"/>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a:xfrm>
            <a:off x="4341633" y="3946415"/>
            <a:ext cx="2755135" cy="142924"/>
          </a:xfrm>
          <a:prstGeom prst="rect">
            <a:avLst/>
          </a:prstGeom>
          <a:noFill/>
          <a:ln>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0" name="Group 9"/>
          <p:cNvGrpSpPr/>
          <p:nvPr/>
        </p:nvGrpSpPr>
        <p:grpSpPr>
          <a:xfrm>
            <a:off x="2814606" y="2121820"/>
            <a:ext cx="3801389" cy="319686"/>
            <a:chOff x="2814602" y="1780248"/>
            <a:chExt cx="3801389" cy="319686"/>
          </a:xfrm>
        </p:grpSpPr>
        <p:pic>
          <p:nvPicPr>
            <p:cNvPr id="5" name="Picture 3"/>
            <p:cNvPicPr>
              <a:picLocks noChangeAspect="1" noChangeArrowheads="1"/>
            </p:cNvPicPr>
            <p:nvPr/>
          </p:nvPicPr>
          <p:blipFill rotWithShape="1">
            <a:blip r:embed="rId4">
              <a:extLst>
                <a:ext uri="{28A0092B-C50C-407E-A947-70E740481C1C}">
                  <a14:useLocalDpi xmlns:a14="http://schemas.microsoft.com/office/drawing/2010/main"/>
                </a:ext>
              </a:extLst>
            </a:blip>
            <a:srcRect/>
            <a:stretch/>
          </p:blipFill>
          <p:spPr bwMode="auto">
            <a:xfrm>
              <a:off x="5065614" y="1780248"/>
              <a:ext cx="1550377" cy="319686"/>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2814602" y="1849348"/>
              <a:ext cx="2259104" cy="246221"/>
            </a:xfrm>
            <a:prstGeom prst="rect">
              <a:avLst/>
            </a:prstGeom>
            <a:solidFill>
              <a:schemeClr val="bg1"/>
            </a:solidFill>
            <a:effectLst/>
          </p:spPr>
          <p:txBody>
            <a:bodyPr wrap="square" rtlCol="0">
              <a:spAutoFit/>
            </a:bodyPr>
            <a:lstStyle/>
            <a:p>
              <a:r>
                <a:rPr lang="en-US" sz="1000" dirty="0" smtClean="0">
                  <a:solidFill>
                    <a:schemeClr val="accent1">
                      <a:lumMod val="50000"/>
                    </a:schemeClr>
                  </a:solidFill>
                  <a:latin typeface="Calibri" panose="020F0502020204030204" pitchFamily="34" charset="0"/>
                </a:rPr>
                <a:t>4e59366154674c68523043574e413835</a:t>
              </a:r>
              <a:endParaRPr lang="en-US" sz="1000" dirty="0">
                <a:solidFill>
                  <a:schemeClr val="accent1">
                    <a:lumMod val="50000"/>
                  </a:schemeClr>
                </a:solidFill>
                <a:latin typeface="Calibri" panose="020F0502020204030204" pitchFamily="34" charset="0"/>
              </a:endParaRPr>
            </a:p>
          </p:txBody>
        </p:sp>
      </p:grpSp>
      <p:sp>
        <p:nvSpPr>
          <p:cNvPr id="11" name="Rectangle 10"/>
          <p:cNvSpPr/>
          <p:nvPr/>
        </p:nvSpPr>
        <p:spPr>
          <a:xfrm>
            <a:off x="316386" y="2166021"/>
            <a:ext cx="873144" cy="271122"/>
          </a:xfrm>
          <a:prstGeom prst="rect">
            <a:avLst/>
          </a:prstGeom>
          <a:noFill/>
          <a:ln>
            <a:solidFill>
              <a:srgbClr val="FF0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6960849" y="1671175"/>
            <a:ext cx="1464658" cy="646331"/>
          </a:xfrm>
          <a:prstGeom prst="rect">
            <a:avLst/>
          </a:prstGeom>
          <a:noFill/>
        </p:spPr>
        <p:txBody>
          <a:bodyPr wrap="square" rtlCol="0">
            <a:spAutoFit/>
          </a:bodyPr>
          <a:lstStyle/>
          <a:p>
            <a:r>
              <a:rPr lang="en-US" dirty="0" err="1" smtClean="0">
                <a:solidFill>
                  <a:schemeClr val="tx2"/>
                </a:solidFill>
              </a:rPr>
              <a:t>ScanCenter</a:t>
            </a:r>
            <a:endParaRPr lang="en-US" dirty="0" smtClean="0">
              <a:solidFill>
                <a:schemeClr val="tx2"/>
              </a:solidFill>
            </a:endParaRPr>
          </a:p>
          <a:p>
            <a:r>
              <a:rPr lang="ja-JP" altLang="en-US" dirty="0" smtClean="0">
                <a:solidFill>
                  <a:schemeClr val="tx2"/>
                </a:solidFill>
              </a:rPr>
              <a:t>（</a:t>
            </a:r>
            <a:r>
              <a:rPr lang="en-US" altLang="ja-JP" dirty="0" smtClean="0">
                <a:solidFill>
                  <a:schemeClr val="tx2"/>
                </a:solidFill>
              </a:rPr>
              <a:t>CWS</a:t>
            </a:r>
            <a:r>
              <a:rPr lang="ja-JP" altLang="en-US" dirty="0" smtClean="0">
                <a:solidFill>
                  <a:schemeClr val="tx2"/>
                </a:solidFill>
              </a:rPr>
              <a:t>）</a:t>
            </a:r>
            <a:endParaRPr lang="en-US" dirty="0">
              <a:solidFill>
                <a:schemeClr val="tx2"/>
              </a:solidFill>
            </a:endParaRPr>
          </a:p>
        </p:txBody>
      </p:sp>
    </p:spTree>
    <p:extLst>
      <p:ext uri="{BB962C8B-B14F-4D97-AF65-F5344CB8AC3E}">
        <p14:creationId xmlns:p14="http://schemas.microsoft.com/office/powerpoint/2010/main" val="195723738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par>
                          <p:cTn id="17" fill="hold">
                            <p:stCondLst>
                              <p:cond delay="500"/>
                            </p:stCondLst>
                            <p:childTnLst>
                              <p:par>
                                <p:cTn id="18" presetID="10" presetClass="entr" presetSubtype="0" fill="hold" grpId="0" nodeType="afterEffect">
                                  <p:stCondLst>
                                    <p:cond delay="75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31179" y="1169764"/>
            <a:ext cx="8108466" cy="3168210"/>
          </a:xfrm>
        </p:spPr>
        <p:txBody>
          <a:bodyPr/>
          <a:lstStyle/>
          <a:p>
            <a:r>
              <a:rPr lang="ja-JP" altLang="en-US" dirty="0" smtClean="0"/>
              <a:t>レポーティング</a:t>
            </a:r>
            <a:endParaRPr lang="en-US" dirty="0"/>
          </a:p>
          <a:p>
            <a:pPr lvl="1"/>
            <a:r>
              <a:rPr lang="en-US" altLang="ja-JP" dirty="0" smtClean="0"/>
              <a:t>CWS</a:t>
            </a:r>
            <a:r>
              <a:rPr lang="ja-JP" altLang="en-US" dirty="0" smtClean="0"/>
              <a:t>と</a:t>
            </a:r>
            <a:r>
              <a:rPr lang="en-US" altLang="ja-JP" dirty="0" smtClean="0"/>
              <a:t>WSA</a:t>
            </a:r>
            <a:r>
              <a:rPr lang="ja-JP" altLang="en-US" dirty="0" smtClean="0"/>
              <a:t>の統一されたレポーティング</a:t>
            </a:r>
            <a:endParaRPr lang="en-US" dirty="0" smtClean="0"/>
          </a:p>
          <a:p>
            <a:pPr lvl="1"/>
            <a:r>
              <a:rPr lang="en-US" altLang="ja-JP" dirty="0" smtClean="0"/>
              <a:t>WSA </a:t>
            </a:r>
            <a:r>
              <a:rPr lang="ja-JP" altLang="en-US" dirty="0" smtClean="0"/>
              <a:t>スタンドアロンプロキシーモードのサポート</a:t>
            </a:r>
            <a:endParaRPr lang="en-US" dirty="0" smtClean="0"/>
          </a:p>
          <a:p>
            <a:r>
              <a:rPr lang="en-US" altLang="ja-JP" dirty="0" smtClean="0"/>
              <a:t>Scan Center</a:t>
            </a:r>
            <a:r>
              <a:rPr lang="ja-JP" altLang="en-US" dirty="0" smtClean="0"/>
              <a:t>による</a:t>
            </a:r>
            <a:r>
              <a:rPr lang="en-US" altLang="ja-JP" dirty="0" smtClean="0"/>
              <a:t> WSA </a:t>
            </a:r>
            <a:r>
              <a:rPr lang="ja-JP" altLang="en-US" dirty="0" smtClean="0"/>
              <a:t>ヘルスモニタリング</a:t>
            </a:r>
            <a:endParaRPr lang="en-US" dirty="0" smtClean="0"/>
          </a:p>
          <a:p>
            <a:pPr lvl="1"/>
            <a:r>
              <a:rPr lang="en-US" altLang="ja-JP" dirty="0" smtClean="0"/>
              <a:t>CWS</a:t>
            </a:r>
            <a:r>
              <a:rPr lang="ja-JP" altLang="en-US" dirty="0" smtClean="0"/>
              <a:t>インターフェースからすべての</a:t>
            </a:r>
            <a:r>
              <a:rPr lang="en-US" altLang="ja-JP" dirty="0" smtClean="0"/>
              <a:t>WSA</a:t>
            </a:r>
            <a:r>
              <a:rPr lang="ja-JP" altLang="en-US" dirty="0" smtClean="0"/>
              <a:t>チェック</a:t>
            </a:r>
            <a:endParaRPr lang="en-US" dirty="0" smtClean="0"/>
          </a:p>
          <a:p>
            <a:r>
              <a:rPr lang="en-US" altLang="ja-JP" dirty="0" smtClean="0"/>
              <a:t>WSA</a:t>
            </a:r>
            <a:r>
              <a:rPr lang="ja-JP" altLang="en-US" dirty="0" smtClean="0"/>
              <a:t>と</a:t>
            </a:r>
            <a:r>
              <a:rPr lang="en-US" altLang="ja-JP" dirty="0" smtClean="0"/>
              <a:t>CWS</a:t>
            </a:r>
            <a:r>
              <a:rPr lang="ja-JP" altLang="en-US" dirty="0" smtClean="0"/>
              <a:t>の機能差分</a:t>
            </a:r>
            <a:endParaRPr lang="en-US" dirty="0" smtClean="0"/>
          </a:p>
          <a:p>
            <a:pPr lvl="1"/>
            <a:r>
              <a:rPr lang="en-US" dirty="0" smtClean="0"/>
              <a:t>Regex</a:t>
            </a:r>
          </a:p>
          <a:p>
            <a:pPr lvl="1"/>
            <a:r>
              <a:rPr lang="en-US" dirty="0" smtClean="0"/>
              <a:t>Secure ICAP</a:t>
            </a:r>
          </a:p>
        </p:txBody>
      </p:sp>
      <p:sp>
        <p:nvSpPr>
          <p:cNvPr id="2" name="Title 1"/>
          <p:cNvSpPr>
            <a:spLocks noGrp="1"/>
          </p:cNvSpPr>
          <p:nvPr>
            <p:ph type="title"/>
          </p:nvPr>
        </p:nvSpPr>
        <p:spPr>
          <a:xfrm>
            <a:off x="437766" y="211843"/>
            <a:ext cx="8345488" cy="731837"/>
          </a:xfrm>
        </p:spPr>
        <p:txBody>
          <a:bodyPr/>
          <a:lstStyle/>
          <a:p>
            <a:r>
              <a:rPr lang="ja-JP" altLang="en-US" dirty="0" smtClean="0"/>
              <a:t>ハイブリッドフェーズ</a:t>
            </a:r>
            <a:r>
              <a:rPr lang="en-US" altLang="ja-JP" dirty="0" smtClean="0"/>
              <a:t>2</a:t>
            </a:r>
            <a:endParaRPr lang="en-US" dirty="0"/>
          </a:p>
        </p:txBody>
      </p:sp>
      <p:sp>
        <p:nvSpPr>
          <p:cNvPr id="6" name="TextBox 5"/>
          <p:cNvSpPr txBox="1"/>
          <p:nvPr/>
        </p:nvSpPr>
        <p:spPr>
          <a:xfrm>
            <a:off x="7735986" y="170163"/>
            <a:ext cx="1329570" cy="274158"/>
          </a:xfrm>
          <a:prstGeom prst="rect">
            <a:avLst/>
          </a:prstGeom>
          <a:noFill/>
        </p:spPr>
        <p:txBody>
          <a:bodyPr wrap="square" lIns="68556" tIns="34279" rIns="68556" bIns="34279" rtlCol="0">
            <a:spAutoFit/>
          </a:bodyPr>
          <a:lstStyle/>
          <a:p>
            <a:pPr defTabSz="685577">
              <a:lnSpc>
                <a:spcPct val="80000"/>
              </a:lnSpc>
              <a:spcBef>
                <a:spcPct val="0"/>
              </a:spcBef>
            </a:pPr>
            <a:r>
              <a:rPr lang="en-GB" sz="1600" dirty="0" smtClean="0">
                <a:solidFill>
                  <a:srgbClr val="00A2BF"/>
                </a:solidFill>
                <a:latin typeface="+mj-lt"/>
                <a:ea typeface="+mj-ea"/>
                <a:cs typeface="CiscoSans"/>
              </a:rPr>
              <a:t>2H CY2016</a:t>
            </a:r>
            <a:endParaRPr lang="en-GB" sz="1600" dirty="0">
              <a:solidFill>
                <a:srgbClr val="00A2BF"/>
              </a:solidFill>
              <a:latin typeface="+mj-lt"/>
              <a:ea typeface="+mj-ea"/>
              <a:cs typeface="CiscoSans"/>
            </a:endParaRPr>
          </a:p>
        </p:txBody>
      </p:sp>
      <p:pic>
        <p:nvPicPr>
          <p:cNvPr id="2050" name="Picture 2" descr="http://www.cgfns.org/wp-content/uploads/magnifieddoc-300x241.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6724483" y="1320502"/>
            <a:ext cx="1197623" cy="96209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d35brb9zkkbdsd.cloudfront.net/wp-content/uploads/2013/01/fetal-heartbeat-e1359585870146.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49351" y="2574703"/>
            <a:ext cx="2037226" cy="96574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p:cNvGrpSpPr/>
          <p:nvPr/>
        </p:nvGrpSpPr>
        <p:grpSpPr>
          <a:xfrm>
            <a:off x="6467693" y="3795949"/>
            <a:ext cx="672938" cy="994689"/>
            <a:chOff x="6281577" y="1297719"/>
            <a:chExt cx="672938" cy="994689"/>
          </a:xfrm>
        </p:grpSpPr>
        <p:pic>
          <p:nvPicPr>
            <p:cNvPr id="2054" name="Picture 6" descr="http://thumbs.dreamstime.com/z/tin-bucket-close-up-stainless-steel-52333972.jp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1"/>
            <a:stretch/>
          </p:blipFill>
          <p:spPr bwMode="auto">
            <a:xfrm rot="183741">
              <a:off x="6281577" y="1587800"/>
              <a:ext cx="672938" cy="70460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cdn2.iconfinder.com/data/icons/seo-web-optomization-ultimate-set/512/time_efficiency-512.pn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rot="21300900">
              <a:off x="6369122" y="1297719"/>
              <a:ext cx="557228" cy="36603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4259276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fade">
                                      <p:cBhvr>
                                        <p:cTn id="7" dur="500"/>
                                        <p:tgtEl>
                                          <p:spTgt spid="2052"/>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6" end="6"/>
                                            </p:txEl>
                                          </p:spTgt>
                                        </p:tgtEl>
                                        <p:attrNameLst>
                                          <p:attrName>style.visibility</p:attrName>
                                        </p:attrNameLst>
                                      </p:cBhvr>
                                      <p:to>
                                        <p:strVal val="visible"/>
                                      </p:to>
                                    </p:set>
                                    <p:animEffect transition="in" filter="fade">
                                      <p:cBhvr>
                                        <p:cTn id="10" dur="500"/>
                                        <p:tgtEl>
                                          <p:spTgt spid="3">
                                            <p:txEl>
                                              <p:pRg st="6" end="6"/>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animEffect transition="in" filter="fade">
                                      <p:cBhvr>
                                        <p:cTn id="13" dur="500"/>
                                        <p:tgtEl>
                                          <p:spTgt spid="3">
                                            <p:txEl>
                                              <p:pRg st="7" end="7"/>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Infrastructure</a:t>
            </a:r>
            <a:endParaRPr lang="en-US" dirty="0"/>
          </a:p>
        </p:txBody>
      </p:sp>
      <p:pic>
        <p:nvPicPr>
          <p:cNvPr id="2050" name="Picture 2" descr="http://www.ceebusinessportal.eu/documents/10180/470540/Real-Estate-Construction-and-Infrastructure1.png/547fc323-1303-4ef8-a1af-f21f899986a7?t=1412584220114"/>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4622413" y="1479884"/>
            <a:ext cx="3637758" cy="238783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13887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6237" y="779282"/>
            <a:ext cx="9041047" cy="4313137"/>
          </a:xfrm>
          <a:prstGeom prst="roundRect">
            <a:avLst>
              <a:gd name="adj" fmla="val 5867"/>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a:xfrm>
            <a:off x="87594" y="252415"/>
            <a:ext cx="8929406" cy="437967"/>
          </a:xfrm>
        </p:spPr>
        <p:txBody>
          <a:bodyPr anchor="t"/>
          <a:lstStyle/>
          <a:p>
            <a:r>
              <a:rPr lang="en-US" sz="2800" dirty="0">
                <a:latin typeface="メイリオ"/>
                <a:ea typeface="メイリオ"/>
                <a:cs typeface="メイリオ"/>
              </a:rPr>
              <a:t>Threat-Centric </a:t>
            </a:r>
            <a:r>
              <a:rPr lang="en-US" sz="2800" dirty="0">
                <a:solidFill>
                  <a:srgbClr val="2968AF"/>
                </a:solidFill>
                <a:latin typeface="メイリオ"/>
                <a:ea typeface="メイリオ"/>
                <a:cs typeface="メイリオ"/>
              </a:rPr>
              <a:t>Cisco Security </a:t>
            </a:r>
            <a:r>
              <a:rPr lang="en-US" sz="2800" dirty="0">
                <a:latin typeface="メイリオ"/>
                <a:ea typeface="メイリオ"/>
                <a:cs typeface="メイリオ"/>
              </a:rPr>
              <a:t>Products &amp; </a:t>
            </a:r>
            <a:r>
              <a:rPr lang="en-US" sz="2800" dirty="0" smtClean="0">
                <a:latin typeface="メイリオ"/>
                <a:ea typeface="メイリオ"/>
                <a:cs typeface="メイリオ"/>
              </a:rPr>
              <a:t>Solutions</a:t>
            </a:r>
            <a:endParaRPr lang="en-US" sz="2800" dirty="0">
              <a:latin typeface="メイリオ"/>
              <a:ea typeface="メイリオ"/>
              <a:cs typeface="メイリオ"/>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395726" y="955087"/>
            <a:ext cx="4622566" cy="3001056"/>
          </a:xfrm>
          <a:prstGeom prst="rect">
            <a:avLst/>
          </a:prstGeom>
        </p:spPr>
      </p:pic>
      <p:sp>
        <p:nvSpPr>
          <p:cNvPr id="48" name="Rectangle 19"/>
          <p:cNvSpPr>
            <a:spLocks noChangeArrowheads="1"/>
          </p:cNvSpPr>
          <p:nvPr/>
        </p:nvSpPr>
        <p:spPr bwMode="auto">
          <a:xfrm flipH="1">
            <a:off x="3654261" y="2857087"/>
            <a:ext cx="916751" cy="404764"/>
          </a:xfrm>
          <a:prstGeom prst="roundRect">
            <a:avLst>
              <a:gd name="adj" fmla="val 10785"/>
            </a:avLst>
          </a:prstGeom>
          <a:noFill/>
          <a:ln w="9525">
            <a:solidFill>
              <a:schemeClr val="tx2">
                <a:lumMod val="40000"/>
                <a:lumOff val="6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algn="ctr" defTabSz="684381">
              <a:lnSpc>
                <a:spcPct val="90000"/>
              </a:lnSpc>
              <a:spcBef>
                <a:spcPts val="450"/>
              </a:spcBef>
            </a:pPr>
            <a:r>
              <a:rPr lang="en-US" altLang="ja-JP" sz="1000" dirty="0" smtClean="0">
                <a:solidFill>
                  <a:srgbClr val="676767"/>
                </a:solidFill>
                <a:latin typeface="Arial" charset="0"/>
                <a:ea typeface="ＭＳ Ｐゴシック" charset="0"/>
                <a:cs typeface="ＭＳ Ｐゴシック" charset="0"/>
              </a:rPr>
              <a:t>DNS</a:t>
            </a:r>
            <a:endParaRPr lang="en-US" altLang="ja-JP" sz="1400" b="1" dirty="0">
              <a:solidFill>
                <a:srgbClr val="194147"/>
              </a:solidFill>
              <a:latin typeface="Arial"/>
              <a:ea typeface="MS PGothic" charset="0"/>
            </a:endParaRPr>
          </a:p>
          <a:p>
            <a:pPr algn="ctr" defTabSz="684381">
              <a:lnSpc>
                <a:spcPct val="90000"/>
              </a:lnSpc>
              <a:spcBef>
                <a:spcPts val="450"/>
              </a:spcBef>
            </a:pPr>
            <a:endParaRPr lang="en-US" altLang="ja-JP" sz="1000" dirty="0" smtClean="0">
              <a:solidFill>
                <a:srgbClr val="676767"/>
              </a:solidFill>
              <a:latin typeface="Arial" charset="0"/>
              <a:ea typeface="ＭＳ Ｐゴシック" charset="0"/>
              <a:cs typeface="ＭＳ Ｐゴシック" charset="0"/>
            </a:endParaRPr>
          </a:p>
        </p:txBody>
      </p:sp>
      <p:pic>
        <p:nvPicPr>
          <p:cNvPr id="49" name="Picture 48"/>
          <p:cNvPicPr>
            <a:picLocks noChangeAspect="1"/>
          </p:cNvPicPr>
          <p:nvPr/>
        </p:nvPicPr>
        <p:blipFill>
          <a:blip r:embed="rId3"/>
          <a:stretch>
            <a:fillRect/>
          </a:stretch>
        </p:blipFill>
        <p:spPr>
          <a:xfrm>
            <a:off x="3867260" y="3045075"/>
            <a:ext cx="487866" cy="193464"/>
          </a:xfrm>
          <a:prstGeom prst="rect">
            <a:avLst/>
          </a:prstGeom>
        </p:spPr>
      </p:pic>
      <p:sp>
        <p:nvSpPr>
          <p:cNvPr id="54" name="Rectangle 19"/>
          <p:cNvSpPr>
            <a:spLocks noChangeArrowheads="1"/>
          </p:cNvSpPr>
          <p:nvPr/>
        </p:nvSpPr>
        <p:spPr bwMode="auto">
          <a:xfrm flipH="1">
            <a:off x="102624" y="2218865"/>
            <a:ext cx="2700304" cy="2829223"/>
          </a:xfrm>
          <a:prstGeom prst="roundRect">
            <a:avLst>
              <a:gd name="adj" fmla="val 10785"/>
            </a:avLst>
          </a:prstGeom>
          <a:solidFill>
            <a:schemeClr val="accent4">
              <a:lumMod val="20000"/>
              <a:lumOff val="8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sp>
        <p:nvSpPr>
          <p:cNvPr id="51" name="Rectangle 19"/>
          <p:cNvSpPr>
            <a:spLocks noChangeArrowheads="1"/>
          </p:cNvSpPr>
          <p:nvPr/>
        </p:nvSpPr>
        <p:spPr bwMode="auto">
          <a:xfrm flipH="1">
            <a:off x="1754331" y="2899263"/>
            <a:ext cx="1462387"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sz="1050" dirty="0">
                <a:solidFill>
                  <a:srgbClr val="676767"/>
                </a:solidFill>
                <a:latin typeface="Arial" charset="0"/>
                <a:ea typeface="ＭＳ Ｐゴシック" charset="0"/>
                <a:cs typeface="ＭＳ Ｐゴシック" charset="0"/>
              </a:rPr>
              <a:t>次世代</a:t>
            </a:r>
            <a:r>
              <a:rPr lang="en-US" sz="1050" dirty="0" smtClean="0">
                <a:solidFill>
                  <a:srgbClr val="676767"/>
                </a:solidFill>
                <a:latin typeface="Arial" charset="0"/>
                <a:ea typeface="ＭＳ Ｐゴシック" charset="0"/>
                <a:cs typeface="ＭＳ Ｐゴシック" charset="0"/>
              </a:rPr>
              <a:t>FW</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SA/Firepower</a:t>
            </a:r>
            <a:endParaRPr lang="en-US" sz="1400" b="1" dirty="0">
              <a:solidFill>
                <a:schemeClr val="accent6">
                  <a:lumMod val="50000"/>
                </a:schemeClr>
              </a:solidFill>
              <a:latin typeface="Arial"/>
              <a:ea typeface="MS PGothic" charset="0"/>
            </a:endParaRPr>
          </a:p>
        </p:txBody>
      </p:sp>
      <p:sp>
        <p:nvSpPr>
          <p:cNvPr id="57" name="Rectangle 19"/>
          <p:cNvSpPr>
            <a:spLocks noChangeArrowheads="1"/>
          </p:cNvSpPr>
          <p:nvPr/>
        </p:nvSpPr>
        <p:spPr bwMode="auto">
          <a:xfrm flipH="1">
            <a:off x="1667504" y="3477734"/>
            <a:ext cx="1032811"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sz="900" dirty="0" smtClean="0">
                <a:solidFill>
                  <a:srgbClr val="676767"/>
                </a:solidFill>
                <a:latin typeface="Arial" charset="0"/>
                <a:ea typeface="ＭＳ Ｐゴシック" charset="0"/>
                <a:cs typeface="ＭＳ Ｐゴシック" charset="0"/>
              </a:rPr>
              <a:t>メールセキュリティ</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ESA</a:t>
            </a:r>
            <a:endParaRPr lang="en-US" sz="1400" b="1" dirty="0">
              <a:solidFill>
                <a:schemeClr val="accent6">
                  <a:lumMod val="50000"/>
                </a:schemeClr>
              </a:solidFill>
              <a:latin typeface="Arial"/>
              <a:ea typeface="MS PGothic" charset="0"/>
            </a:endParaRPr>
          </a:p>
        </p:txBody>
      </p:sp>
      <p:sp>
        <p:nvSpPr>
          <p:cNvPr id="58" name="Rectangle 19"/>
          <p:cNvSpPr>
            <a:spLocks noChangeArrowheads="1"/>
          </p:cNvSpPr>
          <p:nvPr/>
        </p:nvSpPr>
        <p:spPr bwMode="auto">
          <a:xfrm flipH="1">
            <a:off x="1667504" y="3962308"/>
            <a:ext cx="1032811"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900" dirty="0" smtClean="0">
                <a:solidFill>
                  <a:srgbClr val="676767"/>
                </a:solidFill>
                <a:latin typeface="Arial" charset="0"/>
                <a:ea typeface="ＭＳ Ｐゴシック" charset="0"/>
                <a:cs typeface="ＭＳ Ｐゴシック" charset="0"/>
              </a:rPr>
              <a:t>ウェブ</a:t>
            </a:r>
            <a:r>
              <a:rPr lang="en-US" sz="900" dirty="0" smtClean="0">
                <a:solidFill>
                  <a:srgbClr val="676767"/>
                </a:solidFill>
                <a:latin typeface="Arial" charset="0"/>
                <a:ea typeface="ＭＳ Ｐゴシック" charset="0"/>
                <a:cs typeface="ＭＳ Ｐゴシック" charset="0"/>
              </a:rPr>
              <a:t>セキュリティ</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WSA</a:t>
            </a:r>
            <a:endParaRPr lang="en-US" sz="1400" b="1" dirty="0">
              <a:solidFill>
                <a:schemeClr val="accent6">
                  <a:lumMod val="50000"/>
                </a:schemeClr>
              </a:solidFill>
              <a:latin typeface="Arial"/>
              <a:ea typeface="MS PGothic" charset="0"/>
            </a:endParaRPr>
          </a:p>
        </p:txBody>
      </p:sp>
      <p:grpSp>
        <p:nvGrpSpPr>
          <p:cNvPr id="59" name="Group 58"/>
          <p:cNvGrpSpPr/>
          <p:nvPr/>
        </p:nvGrpSpPr>
        <p:grpSpPr>
          <a:xfrm>
            <a:off x="504200" y="4505833"/>
            <a:ext cx="198707" cy="241668"/>
            <a:chOff x="2322747" y="1197939"/>
            <a:chExt cx="198707" cy="241668"/>
          </a:xfrm>
        </p:grpSpPr>
        <p:sp>
          <p:nvSpPr>
            <p:cNvPr id="60" name="Rectangle 59"/>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1" name="Rectangle 60"/>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2" name="Freeform 61"/>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pic>
        <p:nvPicPr>
          <p:cNvPr id="63" name="Picture 62"/>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78881" y="4395868"/>
            <a:ext cx="968525" cy="578773"/>
          </a:xfrm>
          <a:prstGeom prst="rect">
            <a:avLst/>
          </a:prstGeom>
        </p:spPr>
      </p:pic>
      <p:sp>
        <p:nvSpPr>
          <p:cNvPr id="64" name="Rectangle 19"/>
          <p:cNvSpPr>
            <a:spLocks noChangeArrowheads="1"/>
          </p:cNvSpPr>
          <p:nvPr/>
        </p:nvSpPr>
        <p:spPr bwMode="auto">
          <a:xfrm flipH="1">
            <a:off x="1303498" y="4519472"/>
            <a:ext cx="1032811"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900" dirty="0" smtClean="0">
                <a:solidFill>
                  <a:srgbClr val="676767"/>
                </a:solidFill>
                <a:latin typeface="Arial" charset="0"/>
                <a:ea typeface="ＭＳ Ｐゴシック" charset="0"/>
                <a:cs typeface="ＭＳ Ｐゴシック" charset="0"/>
              </a:rPr>
              <a:t>マルウェア対策</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MP</a:t>
            </a:r>
            <a:endParaRPr lang="en-US" sz="1400" b="1" dirty="0">
              <a:solidFill>
                <a:schemeClr val="accent6">
                  <a:lumMod val="50000"/>
                </a:schemeClr>
              </a:solidFill>
              <a:latin typeface="Arial"/>
              <a:ea typeface="MS PGothic" charset="0"/>
            </a:endParaRPr>
          </a:p>
        </p:txBody>
      </p:sp>
      <p:sp>
        <p:nvSpPr>
          <p:cNvPr id="66" name="Rectangle 19"/>
          <p:cNvSpPr>
            <a:spLocks noChangeArrowheads="1"/>
          </p:cNvSpPr>
          <p:nvPr/>
        </p:nvSpPr>
        <p:spPr bwMode="auto">
          <a:xfrm flipH="1">
            <a:off x="214594" y="3199671"/>
            <a:ext cx="1088903"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900" dirty="0" smtClean="0">
                <a:solidFill>
                  <a:srgbClr val="676767"/>
                </a:solidFill>
                <a:latin typeface="Arial" charset="0"/>
                <a:ea typeface="ＭＳ Ｐゴシック" charset="0"/>
                <a:cs typeface="ＭＳ Ｐゴシック" charset="0"/>
              </a:rPr>
              <a:t>認証・検疫・</a:t>
            </a:r>
            <a:r>
              <a:rPr lang="en-US" altLang="ja-JP" sz="900" dirty="0" smtClean="0">
                <a:solidFill>
                  <a:srgbClr val="676767"/>
                </a:solidFill>
                <a:latin typeface="Arial" charset="0"/>
                <a:ea typeface="ＭＳ Ｐゴシック" charset="0"/>
                <a:cs typeface="ＭＳ Ｐゴシック" charset="0"/>
              </a:rPr>
              <a:t>BYOD</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ISE</a:t>
            </a:r>
            <a:endParaRPr lang="en-US" sz="1400" b="1" dirty="0">
              <a:solidFill>
                <a:schemeClr val="accent6">
                  <a:lumMod val="50000"/>
                </a:schemeClr>
              </a:solidFill>
              <a:latin typeface="Arial"/>
              <a:ea typeface="MS PGothic" charset="0"/>
            </a:endParaRPr>
          </a:p>
        </p:txBody>
      </p:sp>
      <p:sp>
        <p:nvSpPr>
          <p:cNvPr id="26" name="AutoShape 230"/>
          <p:cNvSpPr>
            <a:spLocks noChangeAspect="1"/>
          </p:cNvSpPr>
          <p:nvPr/>
        </p:nvSpPr>
        <p:spPr bwMode="auto">
          <a:xfrm>
            <a:off x="5958887" y="4377728"/>
            <a:ext cx="319873" cy="447817"/>
          </a:xfrm>
          <a:custGeom>
            <a:avLst/>
            <a:gdLst>
              <a:gd name="T0" fmla="*/ 260 w 21600"/>
              <a:gd name="T1" fmla="*/ 364 h 21600"/>
              <a:gd name="T2" fmla="*/ 0 60000 65536"/>
              <a:gd name="T3" fmla="*/ 0 w 21600"/>
              <a:gd name="T4" fmla="*/ 0 h 21600"/>
              <a:gd name="T5" fmla="*/ 21600 w 21600"/>
              <a:gd name="T6" fmla="*/ 21600 h 21600"/>
            </a:gdLst>
            <a:ahLst/>
            <a:cxnLst>
              <a:cxn ang="T2">
                <a:pos x="T0" y="T1"/>
              </a:cxn>
            </a:cxnLst>
            <a:rect l="T3" t="T4" r="T5" b="T6"/>
            <a:pathLst>
              <a:path w="21600" h="21600">
                <a:moveTo>
                  <a:pt x="19895" y="0"/>
                </a:moveTo>
                <a:cubicBezTo>
                  <a:pt x="8185" y="0"/>
                  <a:pt x="1933" y="0"/>
                  <a:pt x="1933" y="0"/>
                </a:cubicBezTo>
                <a:cubicBezTo>
                  <a:pt x="909" y="0"/>
                  <a:pt x="0" y="650"/>
                  <a:pt x="0" y="1462"/>
                </a:cubicBezTo>
                <a:cubicBezTo>
                  <a:pt x="0" y="20301"/>
                  <a:pt x="0" y="20301"/>
                  <a:pt x="0" y="20301"/>
                </a:cubicBezTo>
                <a:cubicBezTo>
                  <a:pt x="0" y="21113"/>
                  <a:pt x="909" y="21600"/>
                  <a:pt x="1933" y="21600"/>
                </a:cubicBezTo>
                <a:cubicBezTo>
                  <a:pt x="13642" y="21600"/>
                  <a:pt x="19895" y="21600"/>
                  <a:pt x="19895" y="21600"/>
                </a:cubicBezTo>
                <a:cubicBezTo>
                  <a:pt x="20918" y="21600"/>
                  <a:pt x="21600" y="21113"/>
                  <a:pt x="21600" y="20301"/>
                </a:cubicBezTo>
                <a:cubicBezTo>
                  <a:pt x="21600" y="1462"/>
                  <a:pt x="21600" y="1462"/>
                  <a:pt x="21600" y="1462"/>
                </a:cubicBezTo>
                <a:cubicBezTo>
                  <a:pt x="21600" y="650"/>
                  <a:pt x="20918" y="0"/>
                  <a:pt x="19895" y="0"/>
                </a:cubicBezTo>
                <a:close/>
                <a:moveTo>
                  <a:pt x="20236" y="17621"/>
                </a:moveTo>
                <a:cubicBezTo>
                  <a:pt x="20236" y="18189"/>
                  <a:pt x="19554" y="18596"/>
                  <a:pt x="18872" y="18596"/>
                </a:cubicBezTo>
                <a:cubicBezTo>
                  <a:pt x="9208" y="18596"/>
                  <a:pt x="2956" y="18596"/>
                  <a:pt x="2956" y="18596"/>
                </a:cubicBezTo>
                <a:cubicBezTo>
                  <a:pt x="2046" y="18596"/>
                  <a:pt x="1364" y="18189"/>
                  <a:pt x="1364" y="17621"/>
                </a:cubicBezTo>
                <a:cubicBezTo>
                  <a:pt x="1364" y="4223"/>
                  <a:pt x="1364" y="2192"/>
                  <a:pt x="1364" y="2192"/>
                </a:cubicBezTo>
                <a:cubicBezTo>
                  <a:pt x="1364" y="1543"/>
                  <a:pt x="2046" y="1056"/>
                  <a:pt x="2956" y="1056"/>
                </a:cubicBezTo>
                <a:cubicBezTo>
                  <a:pt x="12619" y="1056"/>
                  <a:pt x="18872" y="1056"/>
                  <a:pt x="18872" y="1056"/>
                </a:cubicBezTo>
                <a:cubicBezTo>
                  <a:pt x="19554" y="1056"/>
                  <a:pt x="20236" y="1543"/>
                  <a:pt x="20236" y="2192"/>
                </a:cubicBezTo>
                <a:cubicBezTo>
                  <a:pt x="20236" y="15591"/>
                  <a:pt x="20236" y="15591"/>
                  <a:pt x="20236" y="15591"/>
                </a:cubicBezTo>
                <a:lnTo>
                  <a:pt x="20236" y="17621"/>
                </a:lnTo>
                <a:close/>
                <a:moveTo>
                  <a:pt x="20236" y="17621"/>
                </a:moveTo>
              </a:path>
            </a:pathLst>
          </a:custGeom>
          <a:solidFill>
            <a:schemeClr val="tx1">
              <a:lumMod val="50000"/>
            </a:schemeClr>
          </a:solidFill>
          <a:ln w="6350">
            <a:solidFill>
              <a:srgbClr val="5F5F5F"/>
            </a:solidFill>
            <a:round/>
            <a:headEnd/>
            <a:tailEnd/>
          </a:ln>
        </p:spPr>
        <p:txBody>
          <a:bodyPr lIns="0" tIns="0" rIns="0" bIns="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itchFamily="34" charset="0"/>
              <a:ea typeface="ヒラギノ角ゴ ProN W3"/>
              <a:cs typeface="ヒラギノ角ゴ ProN W3"/>
            </a:endParaRPr>
          </a:p>
        </p:txBody>
      </p:sp>
      <p:sp>
        <p:nvSpPr>
          <p:cNvPr id="73" name="Rectangle 19"/>
          <p:cNvSpPr>
            <a:spLocks noChangeArrowheads="1"/>
          </p:cNvSpPr>
          <p:nvPr/>
        </p:nvSpPr>
        <p:spPr bwMode="auto">
          <a:xfrm flipH="1">
            <a:off x="498480" y="3830011"/>
            <a:ext cx="521130" cy="324086"/>
          </a:xfrm>
          <a:prstGeom prst="roundRect">
            <a:avLst>
              <a:gd name="adj" fmla="val 10785"/>
            </a:avLst>
          </a:prstGeom>
          <a:solidFill>
            <a:schemeClr val="bg1"/>
          </a:solid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700" dirty="0" smtClean="0">
                <a:solidFill>
                  <a:srgbClr val="676767"/>
                </a:solidFill>
                <a:latin typeface="Arial" charset="0"/>
                <a:ea typeface="ＭＳ Ｐゴシック" charset="0"/>
                <a:cs typeface="ＭＳ Ｐゴシック" charset="0"/>
              </a:rPr>
              <a:t>アクセス</a:t>
            </a:r>
            <a:r>
              <a:rPr lang="en-US" altLang="ja-JP" sz="700" dirty="0" smtClean="0">
                <a:solidFill>
                  <a:srgbClr val="676767"/>
                </a:solidFill>
                <a:latin typeface="Arial" charset="0"/>
                <a:ea typeface="ＭＳ Ｐゴシック" charset="0"/>
                <a:cs typeface="ＭＳ Ｐゴシック" charset="0"/>
              </a:rPr>
              <a:t/>
            </a:r>
            <a:br>
              <a:rPr lang="en-US" altLang="ja-JP" sz="700" dirty="0" smtClean="0">
                <a:solidFill>
                  <a:srgbClr val="676767"/>
                </a:solidFill>
                <a:latin typeface="Arial" charset="0"/>
                <a:ea typeface="ＭＳ Ｐゴシック" charset="0"/>
                <a:cs typeface="ＭＳ Ｐゴシック" charset="0"/>
              </a:rPr>
            </a:br>
            <a:r>
              <a:rPr lang="ja-JP" altLang="en-US" sz="700" dirty="0" smtClean="0">
                <a:solidFill>
                  <a:srgbClr val="676767"/>
                </a:solidFill>
                <a:latin typeface="Arial" charset="0"/>
                <a:ea typeface="ＭＳ Ｐゴシック" charset="0"/>
                <a:cs typeface="ＭＳ Ｐゴシック" charset="0"/>
              </a:rPr>
              <a:t>ポイント</a:t>
            </a:r>
            <a:endParaRPr lang="en-US" sz="1100" b="1" dirty="0">
              <a:solidFill>
                <a:schemeClr val="accent6">
                  <a:lumMod val="50000"/>
                </a:schemeClr>
              </a:solidFill>
              <a:latin typeface="Arial"/>
              <a:ea typeface="MS PGothic" charset="0"/>
            </a:endParaRPr>
          </a:p>
        </p:txBody>
      </p:sp>
      <p:grpSp>
        <p:nvGrpSpPr>
          <p:cNvPr id="75" name="グループ化 81"/>
          <p:cNvGrpSpPr/>
          <p:nvPr/>
        </p:nvGrpSpPr>
        <p:grpSpPr>
          <a:xfrm>
            <a:off x="517723" y="4039525"/>
            <a:ext cx="335466" cy="365782"/>
            <a:chOff x="9180641" y="7486150"/>
            <a:chExt cx="578526" cy="480626"/>
          </a:xfrm>
        </p:grpSpPr>
        <p:sp>
          <p:nvSpPr>
            <p:cNvPr id="76" name="円弧 222"/>
            <p:cNvSpPr/>
            <p:nvPr/>
          </p:nvSpPr>
          <p:spPr>
            <a:xfrm>
              <a:off x="9304064" y="7486150"/>
              <a:ext cx="331680" cy="222125"/>
            </a:xfrm>
            <a:prstGeom prst="arc">
              <a:avLst>
                <a:gd name="adj1" fmla="val 182688"/>
                <a:gd name="adj2" fmla="val 10800000"/>
              </a:avLst>
            </a:prstGeom>
            <a:noFill/>
            <a:ln w="6350" cap="flat" cmpd="sng" algn="ctr">
              <a:solidFill>
                <a:srgbClr val="5F5F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a:ln>
                  <a:noFill/>
                </a:ln>
                <a:solidFill>
                  <a:srgbClr val="0096D6"/>
                </a:solidFill>
                <a:effectLst/>
                <a:uLnTx/>
                <a:uFillTx/>
                <a:latin typeface="CiscoSans ExtraLight"/>
                <a:ea typeface="+mn-ea"/>
                <a:cs typeface="+mn-cs"/>
              </a:endParaRPr>
            </a:p>
          </p:txBody>
        </p:sp>
        <p:sp>
          <p:nvSpPr>
            <p:cNvPr id="77" name="円弧 223"/>
            <p:cNvSpPr/>
            <p:nvPr/>
          </p:nvSpPr>
          <p:spPr>
            <a:xfrm>
              <a:off x="9237792" y="7511512"/>
              <a:ext cx="464225" cy="310890"/>
            </a:xfrm>
            <a:prstGeom prst="arc">
              <a:avLst>
                <a:gd name="adj1" fmla="val 182688"/>
                <a:gd name="adj2" fmla="val 10800000"/>
              </a:avLst>
            </a:prstGeom>
            <a:noFill/>
            <a:ln w="6350" cap="flat" cmpd="sng" algn="ctr">
              <a:solidFill>
                <a:srgbClr val="5F5F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a:ln>
                  <a:noFill/>
                </a:ln>
                <a:solidFill>
                  <a:srgbClr val="0096D6"/>
                </a:solidFill>
                <a:effectLst/>
                <a:uLnTx/>
                <a:uFillTx/>
                <a:latin typeface="CiscoSans ExtraLight"/>
                <a:ea typeface="+mn-ea"/>
                <a:cs typeface="+mn-cs"/>
              </a:endParaRPr>
            </a:p>
          </p:txBody>
        </p:sp>
        <p:sp>
          <p:nvSpPr>
            <p:cNvPr id="78" name="円弧 224"/>
            <p:cNvSpPr/>
            <p:nvPr/>
          </p:nvSpPr>
          <p:spPr>
            <a:xfrm>
              <a:off x="9180641" y="7579339"/>
              <a:ext cx="578526" cy="387437"/>
            </a:xfrm>
            <a:prstGeom prst="arc">
              <a:avLst>
                <a:gd name="adj1" fmla="val 182688"/>
                <a:gd name="adj2" fmla="val 10800000"/>
              </a:avLst>
            </a:prstGeom>
            <a:noFill/>
            <a:ln w="6350" cap="flat" cmpd="sng" algn="ctr">
              <a:solidFill>
                <a:srgbClr val="5F5F5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2000" b="0" i="0" u="none" strike="noStrike" kern="0" cap="none" spc="0" normalizeH="0" baseline="0" noProof="0">
                <a:ln>
                  <a:noFill/>
                </a:ln>
                <a:solidFill>
                  <a:srgbClr val="0096D6"/>
                </a:solidFill>
                <a:effectLst/>
                <a:uLnTx/>
                <a:uFillTx/>
                <a:latin typeface="CiscoSans ExtraLight"/>
                <a:ea typeface="+mn-ea"/>
                <a:cs typeface="+mn-cs"/>
              </a:endParaRPr>
            </a:p>
          </p:txBody>
        </p:sp>
      </p:grpSp>
      <p:cxnSp>
        <p:nvCxnSpPr>
          <p:cNvPr id="24" name="Elbow Connector 23"/>
          <p:cNvCxnSpPr>
            <a:stCxn id="51" idx="3"/>
            <a:endCxn id="66" idx="1"/>
          </p:cNvCxnSpPr>
          <p:nvPr/>
        </p:nvCxnSpPr>
        <p:spPr>
          <a:xfrm rot="10800000" flipV="1">
            <a:off x="1303497" y="3101645"/>
            <a:ext cx="450834" cy="300408"/>
          </a:xfrm>
          <a:prstGeom prst="bentConnector3">
            <a:avLst>
              <a:gd name="adj1" fmla="val 70267"/>
            </a:avLst>
          </a:prstGeom>
          <a:ln w="3175" cmpd="sng">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79" name="Elbow Connector 78"/>
          <p:cNvCxnSpPr>
            <a:stCxn id="51" idx="3"/>
            <a:endCxn id="58" idx="3"/>
          </p:cNvCxnSpPr>
          <p:nvPr/>
        </p:nvCxnSpPr>
        <p:spPr>
          <a:xfrm rot="10800000" flipV="1">
            <a:off x="1667505" y="3101644"/>
            <a:ext cx="86827" cy="1063045"/>
          </a:xfrm>
          <a:prstGeom prst="bentConnector3">
            <a:avLst>
              <a:gd name="adj1" fmla="val 363282"/>
            </a:avLst>
          </a:prstGeom>
          <a:ln w="3175" cmpd="sng">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83" name="Elbow Connector 82"/>
          <p:cNvCxnSpPr>
            <a:stCxn id="51" idx="3"/>
            <a:endCxn id="57" idx="3"/>
          </p:cNvCxnSpPr>
          <p:nvPr/>
        </p:nvCxnSpPr>
        <p:spPr>
          <a:xfrm rot="10800000" flipV="1">
            <a:off x="1667505" y="3101644"/>
            <a:ext cx="86827" cy="578471"/>
          </a:xfrm>
          <a:prstGeom prst="bentConnector3">
            <a:avLst>
              <a:gd name="adj1" fmla="val 363282"/>
            </a:avLst>
          </a:prstGeom>
          <a:ln w="3175" cmpd="sng">
            <a:solidFill>
              <a:schemeClr val="tx1">
                <a:lumMod val="50000"/>
              </a:schemeClr>
            </a:solidFill>
          </a:ln>
        </p:spPr>
        <p:style>
          <a:lnRef idx="2">
            <a:schemeClr val="accent1"/>
          </a:lnRef>
          <a:fillRef idx="0">
            <a:schemeClr val="accent1"/>
          </a:fillRef>
          <a:effectRef idx="1">
            <a:schemeClr val="accent1"/>
          </a:effectRef>
          <a:fontRef idx="minor">
            <a:schemeClr val="tx1"/>
          </a:fontRef>
        </p:style>
      </p:cxnSp>
      <p:cxnSp>
        <p:nvCxnSpPr>
          <p:cNvPr id="92" name="Straight Connector 91"/>
          <p:cNvCxnSpPr>
            <a:stCxn id="66" idx="2"/>
            <a:endCxn id="73" idx="0"/>
          </p:cNvCxnSpPr>
          <p:nvPr/>
        </p:nvCxnSpPr>
        <p:spPr>
          <a:xfrm>
            <a:off x="759045" y="3604435"/>
            <a:ext cx="0" cy="225576"/>
          </a:xfrm>
          <a:prstGeom prst="line">
            <a:avLst/>
          </a:prstGeom>
          <a:ln w="3175" cmpd="sng">
            <a:solidFill>
              <a:srgbClr val="343434"/>
            </a:solidFill>
          </a:ln>
        </p:spPr>
        <p:style>
          <a:lnRef idx="2">
            <a:schemeClr val="accent1"/>
          </a:lnRef>
          <a:fillRef idx="0">
            <a:schemeClr val="accent1"/>
          </a:fillRef>
          <a:effectRef idx="1">
            <a:schemeClr val="accent1"/>
          </a:effectRef>
          <a:fontRef idx="minor">
            <a:schemeClr val="tx1"/>
          </a:fontRef>
        </p:style>
      </p:cxnSp>
      <p:pic>
        <p:nvPicPr>
          <p:cNvPr id="93" name="Picture 9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67324" y="2000013"/>
            <a:ext cx="1183441" cy="760040"/>
          </a:xfrm>
          <a:prstGeom prst="rect">
            <a:avLst/>
          </a:prstGeom>
        </p:spPr>
      </p:pic>
      <p:sp>
        <p:nvSpPr>
          <p:cNvPr id="94" name="Rectangle 19"/>
          <p:cNvSpPr>
            <a:spLocks noChangeArrowheads="1"/>
          </p:cNvSpPr>
          <p:nvPr/>
        </p:nvSpPr>
        <p:spPr bwMode="auto">
          <a:xfrm flipH="1">
            <a:off x="4700239" y="2857087"/>
            <a:ext cx="1032811" cy="404764"/>
          </a:xfrm>
          <a:prstGeom prst="roundRect">
            <a:avLst>
              <a:gd name="adj" fmla="val 10785"/>
            </a:avLst>
          </a:prstGeom>
          <a:noFill/>
          <a:ln w="12700" cmpd="sng">
            <a:solidFill>
              <a:schemeClr val="tx2">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00" dirty="0" smtClean="0">
                <a:solidFill>
                  <a:srgbClr val="676767"/>
                </a:solidFill>
                <a:latin typeface="Arial" charset="0"/>
                <a:ea typeface="ＭＳ Ｐゴシック" charset="0"/>
                <a:cs typeface="ＭＳ Ｐゴシック" charset="0"/>
              </a:rPr>
              <a:t>ウェブプロキシ</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endParaRPr lang="en-US" sz="1400" b="1" dirty="0">
              <a:solidFill>
                <a:schemeClr val="accent6">
                  <a:lumMod val="50000"/>
                </a:schemeClr>
              </a:solidFill>
              <a:latin typeface="Arial"/>
              <a:ea typeface="MS PGothic" charset="0"/>
            </a:endParaRPr>
          </a:p>
        </p:txBody>
      </p:sp>
      <p:grpSp>
        <p:nvGrpSpPr>
          <p:cNvPr id="95" name="Group 94"/>
          <p:cNvGrpSpPr/>
          <p:nvPr/>
        </p:nvGrpSpPr>
        <p:grpSpPr>
          <a:xfrm>
            <a:off x="4853435" y="3040512"/>
            <a:ext cx="682833" cy="188784"/>
            <a:chOff x="691827" y="3506031"/>
            <a:chExt cx="2666757" cy="755693"/>
          </a:xfrm>
          <a:solidFill>
            <a:srgbClr val="B7D333"/>
          </a:solidFill>
        </p:grpSpPr>
        <p:grpSp>
          <p:nvGrpSpPr>
            <p:cNvPr id="96" name="Group 95"/>
            <p:cNvGrpSpPr>
              <a:grpSpLocks noChangeAspect="1"/>
            </p:cNvGrpSpPr>
            <p:nvPr/>
          </p:nvGrpSpPr>
          <p:grpSpPr>
            <a:xfrm rot="20679101">
              <a:off x="691827" y="3506031"/>
              <a:ext cx="758555" cy="755693"/>
              <a:chOff x="7798595" y="7042151"/>
              <a:chExt cx="420688" cy="419100"/>
            </a:xfrm>
            <a:grpFill/>
          </p:grpSpPr>
          <p:sp>
            <p:nvSpPr>
              <p:cNvPr id="101"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102"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nvGrpSpPr>
            <p:cNvPr id="97" name="Group 5"/>
            <p:cNvGrpSpPr>
              <a:grpSpLocks noChangeAspect="1"/>
            </p:cNvGrpSpPr>
            <p:nvPr/>
          </p:nvGrpSpPr>
          <p:grpSpPr bwMode="auto">
            <a:xfrm>
              <a:off x="1450697" y="3636763"/>
              <a:ext cx="1907887" cy="613019"/>
              <a:chOff x="-78" y="-1937"/>
              <a:chExt cx="7678" cy="2467"/>
            </a:xfrm>
            <a:grpFill/>
          </p:grpSpPr>
          <p:sp>
            <p:nvSpPr>
              <p:cNvPr id="98"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99"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100"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grpSp>
        <p:nvGrpSpPr>
          <p:cNvPr id="105" name="Group 104"/>
          <p:cNvGrpSpPr/>
          <p:nvPr/>
        </p:nvGrpSpPr>
        <p:grpSpPr>
          <a:xfrm>
            <a:off x="2073462" y="4709016"/>
            <a:ext cx="142755" cy="175277"/>
            <a:chOff x="2322747" y="1197939"/>
            <a:chExt cx="198707" cy="241668"/>
          </a:xfrm>
        </p:grpSpPr>
        <p:sp>
          <p:nvSpPr>
            <p:cNvPr id="106" name="Rectangle 105"/>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7" name="Rectangle 106"/>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8" name="Freeform 107"/>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09" name="Group 108"/>
          <p:cNvGrpSpPr/>
          <p:nvPr/>
        </p:nvGrpSpPr>
        <p:grpSpPr>
          <a:xfrm>
            <a:off x="2440624" y="4158991"/>
            <a:ext cx="142755" cy="175277"/>
            <a:chOff x="2322747" y="1197939"/>
            <a:chExt cx="198707" cy="241668"/>
          </a:xfrm>
        </p:grpSpPr>
        <p:sp>
          <p:nvSpPr>
            <p:cNvPr id="110" name="Rectangle 109"/>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1" name="Rectangle 110"/>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2" name="Freeform 111"/>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13" name="Group 112"/>
          <p:cNvGrpSpPr/>
          <p:nvPr/>
        </p:nvGrpSpPr>
        <p:grpSpPr>
          <a:xfrm>
            <a:off x="2440624" y="3680116"/>
            <a:ext cx="142755" cy="175277"/>
            <a:chOff x="2322747" y="1197939"/>
            <a:chExt cx="198707" cy="241668"/>
          </a:xfrm>
        </p:grpSpPr>
        <p:sp>
          <p:nvSpPr>
            <p:cNvPr id="114" name="Rectangle 113"/>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5" name="Rectangle 114"/>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6" name="Freeform 115"/>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17" name="Group 116"/>
          <p:cNvGrpSpPr/>
          <p:nvPr/>
        </p:nvGrpSpPr>
        <p:grpSpPr>
          <a:xfrm>
            <a:off x="3145343" y="3113337"/>
            <a:ext cx="142755" cy="175277"/>
            <a:chOff x="2322747" y="1197939"/>
            <a:chExt cx="198707" cy="241668"/>
          </a:xfrm>
        </p:grpSpPr>
        <p:sp>
          <p:nvSpPr>
            <p:cNvPr id="118" name="Rectangle 117"/>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9" name="Rectangle 118"/>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0" name="Freeform 119"/>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grpSp>
        <p:nvGrpSpPr>
          <p:cNvPr id="121" name="Group 120"/>
          <p:cNvGrpSpPr/>
          <p:nvPr/>
        </p:nvGrpSpPr>
        <p:grpSpPr>
          <a:xfrm>
            <a:off x="5596588" y="3058644"/>
            <a:ext cx="142755" cy="175277"/>
            <a:chOff x="2322747" y="1197939"/>
            <a:chExt cx="198707" cy="241668"/>
          </a:xfrm>
        </p:grpSpPr>
        <p:sp>
          <p:nvSpPr>
            <p:cNvPr id="122" name="Rectangle 121"/>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3" name="Rectangle 122"/>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4" name="Freeform 123"/>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FFFFFF"/>
                </a:solidFill>
                <a:latin typeface="Arial"/>
              </a:endParaRPr>
            </a:p>
          </p:txBody>
        </p:sp>
      </p:grpSp>
      <p:sp>
        <p:nvSpPr>
          <p:cNvPr id="125" name="Rectangle 19"/>
          <p:cNvSpPr>
            <a:spLocks noChangeArrowheads="1"/>
          </p:cNvSpPr>
          <p:nvPr/>
        </p:nvSpPr>
        <p:spPr bwMode="auto">
          <a:xfrm flipH="1">
            <a:off x="4951135" y="1783533"/>
            <a:ext cx="1168497" cy="404764"/>
          </a:xfrm>
          <a:prstGeom prst="roundRect">
            <a:avLst>
              <a:gd name="adj" fmla="val 10785"/>
            </a:avLst>
          </a:prstGeom>
          <a:noFill/>
          <a:ln w="12700" cmpd="sng">
            <a:solidFill>
              <a:srgbClr val="0D868E"/>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クラウドサンドボックス</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ThreatGRID</a:t>
            </a:r>
            <a:endParaRPr lang="en-US" sz="1400" b="1" dirty="0">
              <a:solidFill>
                <a:schemeClr val="accent6">
                  <a:lumMod val="50000"/>
                </a:schemeClr>
              </a:solidFill>
              <a:latin typeface="Arial"/>
              <a:ea typeface="MS PGothic" charset="0"/>
            </a:endParaRPr>
          </a:p>
        </p:txBody>
      </p:sp>
      <p:pic>
        <p:nvPicPr>
          <p:cNvPr id="126" name="Picture 125"/>
          <p:cNvPicPr>
            <a:picLocks noChangeAspect="1"/>
          </p:cNvPicPr>
          <p:nvPr/>
        </p:nvPicPr>
        <p:blipFill>
          <a:blip r:embed="rId6">
            <a:clrChange>
              <a:clrFrom>
                <a:srgbClr val="FFFFFF"/>
              </a:clrFrom>
              <a:clrTo>
                <a:srgbClr val="FFFFFF">
                  <a:alpha val="0"/>
                </a:srgbClr>
              </a:clrTo>
            </a:clrChange>
          </a:blip>
          <a:stretch>
            <a:fillRect/>
          </a:stretch>
        </p:blipFill>
        <p:spPr>
          <a:xfrm>
            <a:off x="4153618" y="1285411"/>
            <a:ext cx="961547" cy="215190"/>
          </a:xfrm>
          <a:prstGeom prst="rect">
            <a:avLst/>
          </a:prstGeom>
        </p:spPr>
      </p:pic>
      <p:sp>
        <p:nvSpPr>
          <p:cNvPr id="129" name="Rectangle 19"/>
          <p:cNvSpPr>
            <a:spLocks noChangeArrowheads="1"/>
          </p:cNvSpPr>
          <p:nvPr/>
        </p:nvSpPr>
        <p:spPr bwMode="auto">
          <a:xfrm flipH="1">
            <a:off x="214594" y="949866"/>
            <a:ext cx="2434400" cy="1152782"/>
          </a:xfrm>
          <a:prstGeom prst="roundRect">
            <a:avLst>
              <a:gd name="adj" fmla="val 10785"/>
            </a:avLst>
          </a:prstGeom>
          <a:solidFill>
            <a:schemeClr val="accent4">
              <a:lumMod val="20000"/>
              <a:lumOff val="8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pic>
        <p:nvPicPr>
          <p:cNvPr id="128" name="Picture 12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925690" y="679162"/>
            <a:ext cx="1139014" cy="679069"/>
          </a:xfrm>
          <a:prstGeom prst="rect">
            <a:avLst/>
          </a:prstGeom>
        </p:spPr>
      </p:pic>
      <p:sp>
        <p:nvSpPr>
          <p:cNvPr id="131" name="Rectangle 19"/>
          <p:cNvSpPr>
            <a:spLocks noChangeArrowheads="1"/>
          </p:cNvSpPr>
          <p:nvPr/>
        </p:nvSpPr>
        <p:spPr bwMode="auto">
          <a:xfrm flipH="1">
            <a:off x="1293786" y="690590"/>
            <a:ext cx="606248"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1400" b="1" dirty="0" smtClean="0">
                <a:solidFill>
                  <a:schemeClr val="accent6">
                    <a:lumMod val="50000"/>
                  </a:schemeClr>
                </a:solidFill>
                <a:latin typeface="Arial"/>
                <a:ea typeface="MS PGothic" charset="0"/>
              </a:rPr>
              <a:t>SOC</a:t>
            </a:r>
            <a:endParaRPr lang="en-US" sz="1400" b="1" dirty="0">
              <a:solidFill>
                <a:schemeClr val="accent6">
                  <a:lumMod val="50000"/>
                </a:schemeClr>
              </a:solidFill>
              <a:latin typeface="Arial"/>
              <a:ea typeface="MS PGothic" charset="0"/>
            </a:endParaRPr>
          </a:p>
        </p:txBody>
      </p:sp>
      <p:sp>
        <p:nvSpPr>
          <p:cNvPr id="132" name="Rectangle 19"/>
          <p:cNvSpPr>
            <a:spLocks noChangeArrowheads="1"/>
          </p:cNvSpPr>
          <p:nvPr/>
        </p:nvSpPr>
        <p:spPr bwMode="auto">
          <a:xfrm flipH="1">
            <a:off x="301553" y="1051858"/>
            <a:ext cx="1534340"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50" dirty="0" smtClean="0">
                <a:solidFill>
                  <a:srgbClr val="676767"/>
                </a:solidFill>
                <a:latin typeface="Arial" charset="0"/>
                <a:ea typeface="ＭＳ Ｐゴシック" charset="0"/>
                <a:cs typeface="ＭＳ Ｐゴシック" charset="0"/>
              </a:rPr>
              <a:t>マネジメント</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sz="1400" b="1" dirty="0" err="1" smtClean="0">
                <a:solidFill>
                  <a:schemeClr val="accent6">
                    <a:lumMod val="50000"/>
                  </a:schemeClr>
                </a:solidFill>
                <a:latin typeface="Arial"/>
                <a:ea typeface="MS PGothic" charset="0"/>
              </a:rPr>
              <a:t>F</a:t>
            </a:r>
            <a:r>
              <a:rPr lang="en-US" altLang="ja-JP" sz="1400" b="1" dirty="0" err="1" smtClean="0">
                <a:solidFill>
                  <a:schemeClr val="accent6">
                    <a:lumMod val="50000"/>
                  </a:schemeClr>
                </a:solidFill>
                <a:latin typeface="Arial"/>
                <a:ea typeface="MS PGothic" charset="0"/>
              </a:rPr>
              <a:t>iresight</a:t>
            </a:r>
            <a:r>
              <a:rPr lang="en-US" altLang="ja-JP" sz="1400" b="1" dirty="0" smtClean="0">
                <a:solidFill>
                  <a:schemeClr val="accent6">
                    <a:lumMod val="50000"/>
                  </a:schemeClr>
                </a:solidFill>
                <a:latin typeface="Arial"/>
                <a:ea typeface="MS PGothic" charset="0"/>
              </a:rPr>
              <a:t> / SMA</a:t>
            </a:r>
            <a:endParaRPr lang="en-US" sz="1400" b="1" dirty="0">
              <a:solidFill>
                <a:schemeClr val="accent6">
                  <a:lumMod val="50000"/>
                </a:schemeClr>
              </a:solidFill>
              <a:latin typeface="Arial"/>
              <a:ea typeface="MS PGothic" charset="0"/>
            </a:endParaRPr>
          </a:p>
        </p:txBody>
      </p:sp>
      <p:sp>
        <p:nvSpPr>
          <p:cNvPr id="133" name="Rectangle 19"/>
          <p:cNvSpPr>
            <a:spLocks noChangeArrowheads="1"/>
          </p:cNvSpPr>
          <p:nvPr/>
        </p:nvSpPr>
        <p:spPr bwMode="auto">
          <a:xfrm flipH="1">
            <a:off x="301554" y="1551178"/>
            <a:ext cx="1534340"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50" dirty="0" smtClean="0">
                <a:solidFill>
                  <a:srgbClr val="676767"/>
                </a:solidFill>
                <a:latin typeface="Arial" charset="0"/>
                <a:ea typeface="ＭＳ Ｐゴシック" charset="0"/>
                <a:cs typeface="ＭＳ Ｐゴシック" charset="0"/>
              </a:rPr>
              <a:t>インシデントレスポンス</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TA(MTD)</a:t>
            </a:r>
            <a:endParaRPr lang="en-US" sz="1400" b="1" dirty="0">
              <a:solidFill>
                <a:schemeClr val="accent6">
                  <a:lumMod val="50000"/>
                </a:schemeClr>
              </a:solidFill>
              <a:latin typeface="Arial"/>
              <a:ea typeface="MS PGothic" charset="0"/>
            </a:endParaRPr>
          </a:p>
        </p:txBody>
      </p:sp>
      <p:pic>
        <p:nvPicPr>
          <p:cNvPr id="134" name="Picture 133"/>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29074" y="1583248"/>
            <a:ext cx="634294" cy="331827"/>
          </a:xfrm>
          <a:prstGeom prst="rect">
            <a:avLst/>
          </a:prstGeom>
          <a:ln>
            <a:solidFill>
              <a:schemeClr val="accent1">
                <a:lumMod val="50000"/>
              </a:schemeClr>
            </a:solidFill>
          </a:ln>
        </p:spPr>
      </p:pic>
      <p:sp>
        <p:nvSpPr>
          <p:cNvPr id="155" name="Rectangle 19"/>
          <p:cNvSpPr>
            <a:spLocks noChangeArrowheads="1"/>
          </p:cNvSpPr>
          <p:nvPr/>
        </p:nvSpPr>
        <p:spPr bwMode="auto">
          <a:xfrm flipH="1">
            <a:off x="6569360" y="1245437"/>
            <a:ext cx="2434400" cy="666033"/>
          </a:xfrm>
          <a:prstGeom prst="roundRect">
            <a:avLst>
              <a:gd name="adj" fmla="val 10785"/>
            </a:avLst>
          </a:prstGeom>
          <a:solidFill>
            <a:schemeClr val="accent4">
              <a:lumMod val="20000"/>
              <a:lumOff val="8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pic>
        <p:nvPicPr>
          <p:cNvPr id="154" name="Picture 15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96585" y="812991"/>
            <a:ext cx="713266" cy="713266"/>
          </a:xfrm>
          <a:prstGeom prst="rect">
            <a:avLst/>
          </a:prstGeom>
        </p:spPr>
      </p:pic>
      <p:sp>
        <p:nvSpPr>
          <p:cNvPr id="156" name="Rectangle 19"/>
          <p:cNvSpPr>
            <a:spLocks noChangeArrowheads="1"/>
          </p:cNvSpPr>
          <p:nvPr/>
        </p:nvSpPr>
        <p:spPr bwMode="auto">
          <a:xfrm flipH="1">
            <a:off x="7409850" y="977297"/>
            <a:ext cx="1479993"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r>
              <a:rPr lang="en-US" sz="1400" b="1" dirty="0" smtClean="0">
                <a:solidFill>
                  <a:schemeClr val="accent6">
                    <a:lumMod val="50000"/>
                  </a:schemeClr>
                </a:solidFill>
                <a:latin typeface="Arial"/>
                <a:ea typeface="MS PGothic" charset="0"/>
              </a:rPr>
              <a:t>データセンタ</a:t>
            </a:r>
            <a:endParaRPr lang="en-US" sz="1400" b="1" dirty="0">
              <a:solidFill>
                <a:schemeClr val="accent6">
                  <a:lumMod val="50000"/>
                </a:schemeClr>
              </a:solidFill>
              <a:latin typeface="Arial"/>
              <a:ea typeface="MS PGothic" charset="0"/>
            </a:endParaRPr>
          </a:p>
        </p:txBody>
      </p:sp>
      <p:sp>
        <p:nvSpPr>
          <p:cNvPr id="157" name="Rectangle 19"/>
          <p:cNvSpPr>
            <a:spLocks noChangeArrowheads="1"/>
          </p:cNvSpPr>
          <p:nvPr/>
        </p:nvSpPr>
        <p:spPr bwMode="auto">
          <a:xfrm flipH="1">
            <a:off x="6753985" y="1422266"/>
            <a:ext cx="2135857"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sz="1050" b="1" dirty="0" smtClean="0">
                <a:solidFill>
                  <a:srgbClr val="676767"/>
                </a:solidFill>
                <a:latin typeface="Arial" charset="0"/>
                <a:ea typeface="ＭＳ Ｐゴシック" charset="0"/>
                <a:cs typeface="ＭＳ Ｐゴシック" charset="0"/>
              </a:rPr>
              <a:t>高帯域</a:t>
            </a:r>
            <a:r>
              <a:rPr lang="en-US" sz="1050" dirty="0" smtClean="0">
                <a:solidFill>
                  <a:srgbClr val="676767"/>
                </a:solidFill>
                <a:latin typeface="Arial" charset="0"/>
                <a:ea typeface="ＭＳ Ｐゴシック" charset="0"/>
                <a:cs typeface="ＭＳ Ｐゴシック" charset="0"/>
              </a:rPr>
              <a:t> </a:t>
            </a:r>
            <a:r>
              <a:rPr lang="en-US" sz="1050" dirty="0" err="1" smtClean="0">
                <a:solidFill>
                  <a:srgbClr val="676767"/>
                </a:solidFill>
                <a:latin typeface="Arial" charset="0"/>
                <a:ea typeface="ＭＳ Ｐゴシック" charset="0"/>
                <a:cs typeface="ＭＳ Ｐゴシック" charset="0"/>
              </a:rPr>
              <a:t>次世代FW</a:t>
            </a:r>
            <a:r>
              <a:rPr lang="en-US" sz="1050" dirty="0" smtClean="0">
                <a:solidFill>
                  <a:srgbClr val="676767"/>
                </a:solidFill>
                <a:latin typeface="Arial" charset="0"/>
                <a:ea typeface="ＭＳ Ｐゴシック" charset="0"/>
                <a:cs typeface="ＭＳ Ｐゴシック" charset="0"/>
              </a:rPr>
              <a:t>/IPS + </a:t>
            </a:r>
            <a:r>
              <a:rPr lang="en-US" sz="1050" b="1" dirty="0" err="1" smtClean="0">
                <a:solidFill>
                  <a:srgbClr val="676767"/>
                </a:solidFill>
                <a:latin typeface="Arial" charset="0"/>
                <a:ea typeface="ＭＳ Ｐゴシック" charset="0"/>
                <a:cs typeface="ＭＳ Ｐゴシック" charset="0"/>
              </a:rPr>
              <a:t>DDoS</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Firepower 4100/9300</a:t>
            </a:r>
          </a:p>
        </p:txBody>
      </p:sp>
      <p:sp>
        <p:nvSpPr>
          <p:cNvPr id="161" name="Rectangle 19"/>
          <p:cNvSpPr>
            <a:spLocks noChangeArrowheads="1"/>
          </p:cNvSpPr>
          <p:nvPr/>
        </p:nvSpPr>
        <p:spPr bwMode="auto">
          <a:xfrm flipH="1">
            <a:off x="6569360" y="3402054"/>
            <a:ext cx="2434400" cy="1559805"/>
          </a:xfrm>
          <a:prstGeom prst="roundRect">
            <a:avLst>
              <a:gd name="adj" fmla="val 10785"/>
            </a:avLst>
          </a:prstGeom>
          <a:solidFill>
            <a:schemeClr val="bg1"/>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t"/>
          <a:lstStyle/>
          <a:p>
            <a:pPr algn="ctr" defTabSz="684381">
              <a:lnSpc>
                <a:spcPct val="90000"/>
              </a:lnSpc>
              <a:spcBef>
                <a:spcPts val="450"/>
              </a:spcBef>
            </a:pPr>
            <a:endParaRPr lang="en-US" sz="1400" b="1" dirty="0">
              <a:solidFill>
                <a:srgbClr val="194147"/>
              </a:solidFill>
              <a:latin typeface="Arial"/>
              <a:ea typeface="MS PGothic" charset="0"/>
            </a:endParaRPr>
          </a:p>
        </p:txBody>
      </p:sp>
      <p:pic>
        <p:nvPicPr>
          <p:cNvPr id="163" name="Picture 16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652676" y="3484073"/>
            <a:ext cx="488674" cy="466683"/>
          </a:xfrm>
          <a:prstGeom prst="rect">
            <a:avLst/>
          </a:prstGeom>
        </p:spPr>
      </p:pic>
      <p:sp>
        <p:nvSpPr>
          <p:cNvPr id="164" name="Rectangle 19"/>
          <p:cNvSpPr>
            <a:spLocks noChangeArrowheads="1"/>
          </p:cNvSpPr>
          <p:nvPr/>
        </p:nvSpPr>
        <p:spPr bwMode="auto">
          <a:xfrm flipH="1">
            <a:off x="7196540" y="3516900"/>
            <a:ext cx="1706131"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r>
              <a:rPr lang="en-US" sz="1400" b="1" dirty="0" smtClean="0">
                <a:solidFill>
                  <a:schemeClr val="accent6">
                    <a:lumMod val="50000"/>
                  </a:schemeClr>
                </a:solidFill>
                <a:latin typeface="Arial"/>
                <a:ea typeface="MS PGothic" charset="0"/>
              </a:rPr>
              <a:t>オープンコミュニティ</a:t>
            </a:r>
            <a:endParaRPr lang="en-US" sz="1400" b="1" dirty="0">
              <a:solidFill>
                <a:schemeClr val="accent6">
                  <a:lumMod val="50000"/>
                </a:schemeClr>
              </a:solidFill>
              <a:latin typeface="Arial"/>
              <a:ea typeface="MS PGothic" charset="0"/>
            </a:endParaRPr>
          </a:p>
        </p:txBody>
      </p:sp>
      <p:pic>
        <p:nvPicPr>
          <p:cNvPr id="165" name="Picture 164"/>
          <p:cNvPicPr>
            <a:picLocks noChangeAspect="1"/>
          </p:cNvPicPr>
          <p:nvPr/>
        </p:nvPicPr>
        <p:blipFill>
          <a:blip r:embed="rId11" cstate="print">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753985" y="3963727"/>
            <a:ext cx="808202" cy="379726"/>
          </a:xfrm>
          <a:prstGeom prst="rect">
            <a:avLst/>
          </a:prstGeom>
        </p:spPr>
      </p:pic>
      <p:pic>
        <p:nvPicPr>
          <p:cNvPr id="166" name="Picture 165"/>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7611384" y="3965929"/>
            <a:ext cx="427237" cy="375323"/>
          </a:xfrm>
          <a:prstGeom prst="rect">
            <a:avLst/>
          </a:prstGeom>
        </p:spPr>
      </p:pic>
      <p:pic>
        <p:nvPicPr>
          <p:cNvPr id="167" name="Picture 166"/>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8147351" y="3963451"/>
            <a:ext cx="742491" cy="380278"/>
          </a:xfrm>
          <a:prstGeom prst="rect">
            <a:avLst/>
          </a:prstGeom>
          <a:ln>
            <a:solidFill>
              <a:srgbClr val="B7695A"/>
            </a:solidFill>
          </a:ln>
        </p:spPr>
      </p:pic>
      <p:pic>
        <p:nvPicPr>
          <p:cNvPr id="159" name="Picture 15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295286" y="4495363"/>
            <a:ext cx="1131990" cy="270476"/>
          </a:xfrm>
          <a:prstGeom prst="rect">
            <a:avLst/>
          </a:prstGeom>
        </p:spPr>
      </p:pic>
      <p:sp>
        <p:nvSpPr>
          <p:cNvPr id="158" name="Rectangle 19"/>
          <p:cNvSpPr>
            <a:spLocks noChangeArrowheads="1"/>
          </p:cNvSpPr>
          <p:nvPr/>
        </p:nvSpPr>
        <p:spPr bwMode="auto">
          <a:xfrm flipH="1">
            <a:off x="7102866" y="4677484"/>
            <a:ext cx="1548464" cy="282001"/>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800" dirty="0" smtClean="0">
                <a:solidFill>
                  <a:srgbClr val="676767"/>
                </a:solidFill>
                <a:latin typeface="Arial" charset="0"/>
                <a:ea typeface="ＭＳ Ｐゴシック" charset="0"/>
                <a:cs typeface="ＭＳ Ｐゴシック" charset="0"/>
              </a:rPr>
              <a:t>HTTPS</a:t>
            </a:r>
            <a:r>
              <a:rPr lang="ja-JP" altLang="en-US" sz="800" dirty="0" smtClean="0">
                <a:solidFill>
                  <a:srgbClr val="676767"/>
                </a:solidFill>
                <a:latin typeface="Arial" charset="0"/>
                <a:ea typeface="ＭＳ Ｐゴシック" charset="0"/>
                <a:cs typeface="ＭＳ Ｐゴシック" charset="0"/>
              </a:rPr>
              <a:t>証明書サービス</a:t>
            </a:r>
            <a:endParaRPr lang="en-US" sz="1400" b="1" dirty="0">
              <a:solidFill>
                <a:schemeClr val="accent6">
                  <a:lumMod val="50000"/>
                </a:schemeClr>
              </a:solidFill>
              <a:latin typeface="Arial"/>
              <a:ea typeface="MS PGothic" charset="0"/>
            </a:endParaRPr>
          </a:p>
        </p:txBody>
      </p:sp>
      <p:sp>
        <p:nvSpPr>
          <p:cNvPr id="168" name="Rectangle 19"/>
          <p:cNvSpPr>
            <a:spLocks noChangeArrowheads="1"/>
          </p:cNvSpPr>
          <p:nvPr/>
        </p:nvSpPr>
        <p:spPr bwMode="auto">
          <a:xfrm flipH="1">
            <a:off x="4845730" y="2355289"/>
            <a:ext cx="1269402" cy="404764"/>
          </a:xfrm>
          <a:prstGeom prst="roundRect">
            <a:avLst>
              <a:gd name="adj" fmla="val 10785"/>
            </a:avLst>
          </a:prstGeom>
          <a:noFill/>
          <a:ln w="12700" cmpd="sng">
            <a:solidFill>
              <a:srgbClr val="0D868E"/>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クラウドメールセキュリティ</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C</a:t>
            </a:r>
            <a:r>
              <a:rPr lang="en-US" altLang="ja-JP" sz="800" dirty="0" smtClean="0">
                <a:solidFill>
                  <a:schemeClr val="accent6">
                    <a:lumMod val="50000"/>
                  </a:schemeClr>
                </a:solidFill>
                <a:latin typeface="Arial"/>
                <a:ea typeface="MS PGothic" charset="0"/>
              </a:rPr>
              <a:t>isco</a:t>
            </a:r>
            <a:r>
              <a:rPr lang="en-US" altLang="ja-JP" sz="1400" b="1" dirty="0" smtClean="0">
                <a:solidFill>
                  <a:schemeClr val="accent6">
                    <a:lumMod val="50000"/>
                  </a:schemeClr>
                </a:solidFill>
                <a:latin typeface="Arial"/>
                <a:ea typeface="MS PGothic" charset="0"/>
              </a:rPr>
              <a:t>E</a:t>
            </a:r>
            <a:r>
              <a:rPr lang="en-US" altLang="ja-JP" sz="800" dirty="0" smtClean="0">
                <a:solidFill>
                  <a:schemeClr val="accent6">
                    <a:lumMod val="50000"/>
                  </a:schemeClr>
                </a:solidFill>
                <a:latin typeface="Arial"/>
                <a:ea typeface="MS PGothic" charset="0"/>
              </a:rPr>
              <a:t>mail</a:t>
            </a:r>
            <a:r>
              <a:rPr lang="en-US" altLang="ja-JP" sz="1400" b="1" dirty="0" smtClean="0">
                <a:solidFill>
                  <a:schemeClr val="accent6">
                    <a:lumMod val="50000"/>
                  </a:schemeClr>
                </a:solidFill>
                <a:latin typeface="Arial"/>
                <a:ea typeface="MS PGothic" charset="0"/>
              </a:rPr>
              <a:t>S</a:t>
            </a:r>
            <a:r>
              <a:rPr lang="en-US" altLang="ja-JP" sz="800" dirty="0" smtClean="0">
                <a:solidFill>
                  <a:schemeClr val="accent6">
                    <a:lumMod val="50000"/>
                  </a:schemeClr>
                </a:solidFill>
                <a:latin typeface="Arial"/>
                <a:ea typeface="MS PGothic" charset="0"/>
              </a:rPr>
              <a:t>ecurity</a:t>
            </a:r>
            <a:endParaRPr lang="en-US" sz="800" dirty="0">
              <a:solidFill>
                <a:schemeClr val="accent6">
                  <a:lumMod val="50000"/>
                </a:schemeClr>
              </a:solidFill>
              <a:latin typeface="Arial"/>
              <a:ea typeface="MS PGothic" charset="0"/>
            </a:endParaRPr>
          </a:p>
        </p:txBody>
      </p:sp>
      <p:sp>
        <p:nvSpPr>
          <p:cNvPr id="170" name="Oval Callout 169"/>
          <p:cNvSpPr/>
          <p:nvPr/>
        </p:nvSpPr>
        <p:spPr>
          <a:xfrm>
            <a:off x="3497941" y="4066084"/>
            <a:ext cx="2221389" cy="989260"/>
          </a:xfrm>
          <a:prstGeom prst="wedgeEllipseCallout">
            <a:avLst>
              <a:gd name="adj1" fmla="val 62832"/>
              <a:gd name="adj2" fmla="val 11945"/>
            </a:avLst>
          </a:prstGeom>
          <a:solidFill>
            <a:srgbClr val="FFFFFF"/>
          </a:solidFill>
          <a:ln>
            <a:solidFill>
              <a:schemeClr val="tx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1" name="Rectangle 19"/>
          <p:cNvSpPr>
            <a:spLocks noChangeArrowheads="1"/>
          </p:cNvSpPr>
          <p:nvPr/>
        </p:nvSpPr>
        <p:spPr bwMode="auto">
          <a:xfrm flipH="1">
            <a:off x="3596535" y="4624797"/>
            <a:ext cx="877453"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800" b="1" dirty="0" smtClean="0">
                <a:solidFill>
                  <a:schemeClr val="tx1">
                    <a:lumMod val="50000"/>
                  </a:schemeClr>
                </a:solidFill>
                <a:latin typeface="Arial"/>
                <a:ea typeface="MS PGothic" charset="0"/>
              </a:rPr>
              <a:t>VPN</a:t>
            </a:r>
            <a:r>
              <a:rPr lang="ja-JP" altLang="en-US" sz="800" b="1" dirty="0" smtClean="0">
                <a:solidFill>
                  <a:schemeClr val="tx1">
                    <a:lumMod val="50000"/>
                  </a:schemeClr>
                </a:solidFill>
                <a:latin typeface="Arial"/>
                <a:ea typeface="MS PGothic" charset="0"/>
              </a:rPr>
              <a:t>クライアント</a:t>
            </a:r>
            <a:endParaRPr lang="en-US" sz="800" b="1" dirty="0">
              <a:solidFill>
                <a:schemeClr val="tx1">
                  <a:lumMod val="50000"/>
                </a:schemeClr>
              </a:solidFill>
              <a:latin typeface="Arial"/>
              <a:ea typeface="MS PGothic" charset="0"/>
            </a:endParaRPr>
          </a:p>
        </p:txBody>
      </p:sp>
      <p:pic>
        <p:nvPicPr>
          <p:cNvPr id="27" name="Picture 26"/>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845081" y="4252214"/>
            <a:ext cx="374359" cy="374359"/>
          </a:xfrm>
          <a:prstGeom prst="rect">
            <a:avLst/>
          </a:prstGeom>
        </p:spPr>
      </p:pic>
      <p:pic>
        <p:nvPicPr>
          <p:cNvPr id="28" name="Picture 27"/>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478009" y="4158690"/>
            <a:ext cx="292019" cy="292019"/>
          </a:xfrm>
          <a:prstGeom prst="rect">
            <a:avLst/>
          </a:prstGeom>
        </p:spPr>
      </p:pic>
      <p:grpSp>
        <p:nvGrpSpPr>
          <p:cNvPr id="10" name="Group 9"/>
          <p:cNvGrpSpPr/>
          <p:nvPr/>
        </p:nvGrpSpPr>
        <p:grpSpPr>
          <a:xfrm>
            <a:off x="5028598" y="4379766"/>
            <a:ext cx="545193" cy="196811"/>
            <a:chOff x="788926" y="1193067"/>
            <a:chExt cx="808167" cy="275817"/>
          </a:xfrm>
        </p:grpSpPr>
        <p:sp>
          <p:nvSpPr>
            <p:cNvPr id="9" name="Rounded Rectangle 8"/>
            <p:cNvSpPr/>
            <p:nvPr/>
          </p:nvSpPr>
          <p:spPr>
            <a:xfrm>
              <a:off x="788926" y="1193067"/>
              <a:ext cx="808167" cy="275817"/>
            </a:xfrm>
            <a:prstGeom prst="roundRect">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9" name="Group 28"/>
            <p:cNvGrpSpPr/>
            <p:nvPr/>
          </p:nvGrpSpPr>
          <p:grpSpPr>
            <a:xfrm>
              <a:off x="879362" y="1240911"/>
              <a:ext cx="633709" cy="180129"/>
              <a:chOff x="691827" y="3506031"/>
              <a:chExt cx="2666757" cy="755693"/>
            </a:xfrm>
            <a:solidFill>
              <a:srgbClr val="B7D333"/>
            </a:solidFill>
          </p:grpSpPr>
          <p:grpSp>
            <p:nvGrpSpPr>
              <p:cNvPr id="36" name="Group 35"/>
              <p:cNvGrpSpPr>
                <a:grpSpLocks noChangeAspect="1"/>
              </p:cNvGrpSpPr>
              <p:nvPr/>
            </p:nvGrpSpPr>
            <p:grpSpPr>
              <a:xfrm rot="20679101">
                <a:off x="691827" y="3506031"/>
                <a:ext cx="758555" cy="755693"/>
                <a:chOff x="7798595" y="7042151"/>
                <a:chExt cx="420688" cy="419100"/>
              </a:xfrm>
              <a:grpFill/>
            </p:grpSpPr>
            <p:sp>
              <p:nvSpPr>
                <p:cNvPr id="46"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47"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nvGrpSpPr>
              <p:cNvPr id="39" name="Group 5"/>
              <p:cNvGrpSpPr>
                <a:grpSpLocks noChangeAspect="1"/>
              </p:cNvGrpSpPr>
              <p:nvPr/>
            </p:nvGrpSpPr>
            <p:grpSpPr bwMode="auto">
              <a:xfrm>
                <a:off x="1450697" y="3636763"/>
                <a:ext cx="1907887" cy="613019"/>
                <a:chOff x="-78" y="-1937"/>
                <a:chExt cx="7678" cy="2467"/>
              </a:xfrm>
              <a:grpFill/>
            </p:grpSpPr>
            <p:sp>
              <p:nvSpPr>
                <p:cNvPr id="43"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44"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sp>
              <p:nvSpPr>
                <p:cNvPr id="45"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DB34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lgn="ctr" defTabSz="685891" eaLnBrk="0" fontAlgn="base" hangingPunct="0">
                    <a:lnSpc>
                      <a:spcPct val="90000"/>
                    </a:lnSpc>
                    <a:spcBef>
                      <a:spcPct val="0"/>
                    </a:spcBef>
                    <a:spcAft>
                      <a:spcPct val="0"/>
                    </a:spcAft>
                    <a:defRPr/>
                  </a:pPr>
                  <a:endParaRPr lang="en-US" sz="1400" kern="0">
                    <a:solidFill>
                      <a:srgbClr val="0096D6"/>
                    </a:solidFill>
                    <a:latin typeface="Arial" pitchFamily="34" charset="0"/>
                  </a:endParaRPr>
                </a:p>
              </p:txBody>
            </p:sp>
          </p:grpSp>
        </p:grpSp>
      </p:grpSp>
      <p:pic>
        <p:nvPicPr>
          <p:cNvPr id="65" name="Picture 64"/>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456032" y="4702057"/>
            <a:ext cx="305230" cy="305230"/>
          </a:xfrm>
          <a:prstGeom prst="rect">
            <a:avLst/>
          </a:prstGeom>
        </p:spPr>
      </p:pic>
      <p:sp>
        <p:nvSpPr>
          <p:cNvPr id="67" name="Can 19"/>
          <p:cNvSpPr/>
          <p:nvPr/>
        </p:nvSpPr>
        <p:spPr>
          <a:xfrm rot="8531615" flipH="1">
            <a:off x="3387498" y="3252840"/>
            <a:ext cx="257320" cy="1141283"/>
          </a:xfrm>
          <a:prstGeom prst="can">
            <a:avLst>
              <a:gd name="adj" fmla="val 56471"/>
            </a:avLst>
          </a:prstGeom>
          <a:solidFill>
            <a:schemeClr val="bg2">
              <a:lumMod val="50000"/>
            </a:schemeClr>
          </a:solidFill>
          <a:ln w="6350">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65306" tIns="32653" rIns="65306" bIns="32653" rtlCol="0" anchor="ctr">
            <a:noAutofit/>
          </a:bodyPr>
          <a:lstStyle/>
          <a:p>
            <a:pPr algn="ctr"/>
            <a:r>
              <a:rPr lang="en-US" altLang="ja-JP" sz="700" dirty="0" err="1" smtClean="0">
                <a:solidFill>
                  <a:schemeClr val="bg1"/>
                </a:solidFill>
                <a:latin typeface="Arial" pitchFamily="34" charset="0"/>
                <a:ea typeface="ＭＳ Ｐゴシック" pitchFamily="50" charset="-128"/>
                <a:cs typeface="Arial" pitchFamily="34" charset="0"/>
              </a:rPr>
              <a:t>IPsec</a:t>
            </a:r>
            <a:r>
              <a:rPr lang="en-US" altLang="ja-JP" sz="700" dirty="0" smtClean="0">
                <a:solidFill>
                  <a:schemeClr val="bg1"/>
                </a:solidFill>
                <a:latin typeface="Arial" pitchFamily="34" charset="0"/>
                <a:ea typeface="ＭＳ Ｐゴシック" pitchFamily="50" charset="-128"/>
                <a:cs typeface="Arial" pitchFamily="34" charset="0"/>
              </a:rPr>
              <a:t> / SSL-VPN</a:t>
            </a:r>
            <a:endParaRPr lang="en-US" sz="700" dirty="0" smtClean="0">
              <a:solidFill>
                <a:schemeClr val="bg1"/>
              </a:solidFill>
              <a:latin typeface="Arial" pitchFamily="34" charset="0"/>
              <a:ea typeface="ＭＳ Ｐゴシック" pitchFamily="50" charset="-128"/>
              <a:cs typeface="Arial" pitchFamily="34" charset="0"/>
            </a:endParaRPr>
          </a:p>
        </p:txBody>
      </p:sp>
      <p:sp>
        <p:nvSpPr>
          <p:cNvPr id="68" name="Rectangle 19"/>
          <p:cNvSpPr>
            <a:spLocks noChangeArrowheads="1"/>
          </p:cNvSpPr>
          <p:nvPr/>
        </p:nvSpPr>
        <p:spPr bwMode="auto">
          <a:xfrm flipH="1">
            <a:off x="4896103" y="4572614"/>
            <a:ext cx="877453"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b="1" dirty="0" smtClean="0">
                <a:solidFill>
                  <a:schemeClr val="tx1">
                    <a:lumMod val="50000"/>
                  </a:schemeClr>
                </a:solidFill>
                <a:latin typeface="Arial"/>
                <a:ea typeface="MS PGothic" charset="0"/>
              </a:rPr>
              <a:t>セキュアブラウザ</a:t>
            </a:r>
            <a:endParaRPr lang="en-US" sz="800" b="1" dirty="0">
              <a:solidFill>
                <a:schemeClr val="tx1">
                  <a:lumMod val="50000"/>
                </a:schemeClr>
              </a:solidFill>
              <a:latin typeface="Arial"/>
              <a:ea typeface="MS PGothic" charset="0"/>
            </a:endParaRPr>
          </a:p>
        </p:txBody>
      </p:sp>
      <p:sp>
        <p:nvSpPr>
          <p:cNvPr id="69" name="Rectangle 19"/>
          <p:cNvSpPr>
            <a:spLocks noChangeArrowheads="1"/>
          </p:cNvSpPr>
          <p:nvPr/>
        </p:nvSpPr>
        <p:spPr bwMode="auto">
          <a:xfrm flipH="1">
            <a:off x="4201871" y="4455346"/>
            <a:ext cx="877453"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b="1" dirty="0" smtClean="0">
                <a:solidFill>
                  <a:schemeClr val="tx1">
                    <a:lumMod val="50000"/>
                  </a:schemeClr>
                </a:solidFill>
                <a:latin typeface="Arial"/>
                <a:ea typeface="MS PGothic" charset="0"/>
              </a:rPr>
              <a:t>ローミング</a:t>
            </a:r>
            <a:endParaRPr lang="en-US" altLang="ja-JP" sz="800" b="1" dirty="0" smtClean="0">
              <a:solidFill>
                <a:schemeClr val="tx1">
                  <a:lumMod val="50000"/>
                </a:schemeClr>
              </a:solidFill>
              <a:latin typeface="Arial"/>
              <a:ea typeface="MS PGothic" charset="0"/>
            </a:endParaRPr>
          </a:p>
          <a:p>
            <a:pPr lvl="0" algn="ctr"/>
            <a:r>
              <a:rPr lang="ja-JP" altLang="en-US" sz="800" b="1" dirty="0" smtClean="0">
                <a:solidFill>
                  <a:schemeClr val="tx1">
                    <a:lumMod val="50000"/>
                  </a:schemeClr>
                </a:solidFill>
                <a:latin typeface="Arial"/>
                <a:ea typeface="MS PGothic" charset="0"/>
              </a:rPr>
              <a:t>クライアント</a:t>
            </a:r>
            <a:endParaRPr lang="en-US" sz="800" b="1" dirty="0">
              <a:solidFill>
                <a:schemeClr val="tx1">
                  <a:lumMod val="50000"/>
                </a:schemeClr>
              </a:solidFill>
              <a:latin typeface="Arial"/>
              <a:ea typeface="MS PGothic" charset="0"/>
            </a:endParaRPr>
          </a:p>
        </p:txBody>
      </p:sp>
      <p:sp>
        <p:nvSpPr>
          <p:cNvPr id="70" name="Rectangle 19"/>
          <p:cNvSpPr>
            <a:spLocks noChangeArrowheads="1"/>
          </p:cNvSpPr>
          <p:nvPr/>
        </p:nvSpPr>
        <p:spPr bwMode="auto">
          <a:xfrm flipH="1">
            <a:off x="4705741" y="4779571"/>
            <a:ext cx="438726" cy="159740"/>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en-US" altLang="ja-JP" sz="800" b="1" dirty="0" smtClean="0">
                <a:solidFill>
                  <a:schemeClr val="tx1">
                    <a:lumMod val="50000"/>
                  </a:schemeClr>
                </a:solidFill>
                <a:latin typeface="Arial"/>
                <a:ea typeface="MS PGothic" charset="0"/>
              </a:rPr>
              <a:t>MDM</a:t>
            </a:r>
            <a:endParaRPr lang="en-US" sz="800" b="1" dirty="0">
              <a:solidFill>
                <a:schemeClr val="tx1">
                  <a:lumMod val="50000"/>
                </a:schemeClr>
              </a:solidFill>
              <a:latin typeface="Arial"/>
              <a:ea typeface="MS PGothic" charset="0"/>
            </a:endParaRPr>
          </a:p>
        </p:txBody>
      </p:sp>
      <p:sp>
        <p:nvSpPr>
          <p:cNvPr id="72" name="Can 19"/>
          <p:cNvSpPr/>
          <p:nvPr/>
        </p:nvSpPr>
        <p:spPr>
          <a:xfrm rot="9677587" flipH="1">
            <a:off x="4264829" y="3287832"/>
            <a:ext cx="134447" cy="844820"/>
          </a:xfrm>
          <a:prstGeom prst="can">
            <a:avLst>
              <a:gd name="adj" fmla="val 56471"/>
            </a:avLst>
          </a:prstGeom>
          <a:solidFill>
            <a:schemeClr val="bg2">
              <a:lumMod val="50000"/>
            </a:schemeClr>
          </a:solidFill>
          <a:ln w="6350">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65306" tIns="32653" rIns="65306" bIns="32653" rtlCol="0" anchor="ctr">
            <a:noAutofit/>
          </a:bodyPr>
          <a:lstStyle/>
          <a:p>
            <a:pPr algn="ctr"/>
            <a:r>
              <a:rPr lang="en-US" altLang="ja-JP" sz="700" dirty="0" smtClean="0">
                <a:solidFill>
                  <a:schemeClr val="bg1"/>
                </a:solidFill>
                <a:latin typeface="Arial" pitchFamily="34" charset="0"/>
                <a:ea typeface="ＭＳ Ｐゴシック" pitchFamily="50" charset="-128"/>
                <a:cs typeface="Arial" pitchFamily="34" charset="0"/>
              </a:rPr>
              <a:t>https://</a:t>
            </a:r>
            <a:endParaRPr lang="en-US" sz="700" dirty="0" smtClean="0">
              <a:solidFill>
                <a:schemeClr val="bg1"/>
              </a:solidFill>
              <a:latin typeface="Arial" pitchFamily="34" charset="0"/>
              <a:ea typeface="ＭＳ Ｐゴシック" pitchFamily="50" charset="-128"/>
              <a:cs typeface="Arial" pitchFamily="34" charset="0"/>
            </a:endParaRPr>
          </a:p>
        </p:txBody>
      </p:sp>
      <p:cxnSp>
        <p:nvCxnSpPr>
          <p:cNvPr id="104" name="Straight Arrow Connector 103"/>
          <p:cNvCxnSpPr/>
          <p:nvPr/>
        </p:nvCxnSpPr>
        <p:spPr>
          <a:xfrm flipV="1">
            <a:off x="5276715" y="3313164"/>
            <a:ext cx="0" cy="982267"/>
          </a:xfrm>
          <a:prstGeom prst="straightConnector1">
            <a:avLst/>
          </a:prstGeom>
          <a:ln w="9525" cmpd="sng">
            <a:prstDash val="sysDash"/>
            <a:tailEnd type="arrow"/>
          </a:ln>
        </p:spPr>
        <p:style>
          <a:lnRef idx="2">
            <a:schemeClr val="accent1"/>
          </a:lnRef>
          <a:fillRef idx="0">
            <a:schemeClr val="accent1"/>
          </a:fillRef>
          <a:effectRef idx="1">
            <a:schemeClr val="accent1"/>
          </a:effectRef>
          <a:fontRef idx="minor">
            <a:schemeClr val="tx1"/>
          </a:fontRef>
        </p:style>
      </p:cxnSp>
      <p:sp>
        <p:nvSpPr>
          <p:cNvPr id="171" name="Rectangle 19"/>
          <p:cNvSpPr>
            <a:spLocks noChangeArrowheads="1"/>
          </p:cNvSpPr>
          <p:nvPr/>
        </p:nvSpPr>
        <p:spPr bwMode="auto">
          <a:xfrm flipH="1">
            <a:off x="5814219" y="4825545"/>
            <a:ext cx="602424" cy="149096"/>
          </a:xfrm>
          <a:prstGeom prst="roundRect">
            <a:avLst>
              <a:gd name="adj" fmla="val 10785"/>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b="1" dirty="0" smtClean="0">
                <a:solidFill>
                  <a:schemeClr val="tx1">
                    <a:lumMod val="50000"/>
                  </a:schemeClr>
                </a:solidFill>
                <a:latin typeface="Arial"/>
                <a:ea typeface="MS PGothic" charset="0"/>
              </a:rPr>
              <a:t>モバイル</a:t>
            </a:r>
            <a:endParaRPr lang="en-US" sz="800" b="1" dirty="0">
              <a:solidFill>
                <a:schemeClr val="tx1">
                  <a:lumMod val="50000"/>
                </a:schemeClr>
              </a:solidFill>
              <a:latin typeface="Arial"/>
              <a:ea typeface="MS PGothic" charset="0"/>
            </a:endParaRPr>
          </a:p>
        </p:txBody>
      </p:sp>
      <p:sp>
        <p:nvSpPr>
          <p:cNvPr id="2" name="Rounded Rectangle 1"/>
          <p:cNvSpPr/>
          <p:nvPr/>
        </p:nvSpPr>
        <p:spPr>
          <a:xfrm>
            <a:off x="1667504" y="3975065"/>
            <a:ext cx="1032811" cy="387277"/>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6" name="Rounded Rectangle 135"/>
          <p:cNvSpPr/>
          <p:nvPr/>
        </p:nvSpPr>
        <p:spPr>
          <a:xfrm>
            <a:off x="4724806" y="2865005"/>
            <a:ext cx="1032811" cy="387277"/>
          </a:xfrm>
          <a:prstGeom prst="round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8" name="Rectangle 19"/>
          <p:cNvSpPr>
            <a:spLocks noChangeArrowheads="1"/>
          </p:cNvSpPr>
          <p:nvPr/>
        </p:nvSpPr>
        <p:spPr bwMode="auto">
          <a:xfrm flipH="1">
            <a:off x="1253744" y="2470394"/>
            <a:ext cx="1164299" cy="404764"/>
          </a:xfrm>
          <a:prstGeom prst="roundRect">
            <a:avLst>
              <a:gd name="adj" fmla="val 10785"/>
            </a:avLst>
          </a:prstGeom>
          <a:solidFill>
            <a:schemeClr val="bg1"/>
          </a:solidFill>
          <a:ln w="9525">
            <a:solidFill>
              <a:schemeClr val="accent6">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000" dirty="0" smtClean="0">
                <a:solidFill>
                  <a:srgbClr val="676767"/>
                </a:solidFill>
                <a:latin typeface="Arial" charset="0"/>
                <a:ea typeface="ＭＳ Ｐゴシック" charset="0"/>
                <a:cs typeface="ＭＳ Ｐゴシック" charset="0"/>
              </a:rPr>
              <a:t>サンドボックス</a:t>
            </a:r>
            <a:r>
              <a:rPr lang="en-US" sz="1000" dirty="0" smtClean="0">
                <a:solidFill>
                  <a:srgbClr val="676767"/>
                </a:solidFill>
                <a:latin typeface="Arial" charset="0"/>
                <a:ea typeface="ＭＳ Ｐゴシック" charset="0"/>
                <a:cs typeface="ＭＳ Ｐゴシック" charset="0"/>
              </a:rPr>
              <a:t/>
            </a:r>
            <a:br>
              <a:rPr lang="en-US" sz="1000" dirty="0" smtClean="0">
                <a:solidFill>
                  <a:srgbClr val="676767"/>
                </a:solidFill>
                <a:latin typeface="Arial" charset="0"/>
                <a:ea typeface="ＭＳ Ｐゴシック" charset="0"/>
                <a:cs typeface="ＭＳ Ｐゴシック" charset="0"/>
              </a:rPr>
            </a:br>
            <a:r>
              <a:rPr lang="en-US" altLang="ja-JP" sz="1200" b="1" dirty="0" err="1" smtClean="0">
                <a:solidFill>
                  <a:schemeClr val="accent6">
                    <a:lumMod val="50000"/>
                  </a:schemeClr>
                </a:solidFill>
                <a:latin typeface="Arial"/>
                <a:ea typeface="MS PGothic" charset="0"/>
              </a:rPr>
              <a:t>ThreatGRID</a:t>
            </a:r>
            <a:endParaRPr lang="en-US" sz="1200" b="1" dirty="0">
              <a:solidFill>
                <a:schemeClr val="accent6">
                  <a:lumMod val="50000"/>
                </a:schemeClr>
              </a:solidFill>
              <a:latin typeface="Arial"/>
              <a:ea typeface="MS PGothic" charset="0"/>
            </a:endParaRPr>
          </a:p>
        </p:txBody>
      </p:sp>
      <p:sp>
        <p:nvSpPr>
          <p:cNvPr id="140" name="Rectangle 19"/>
          <p:cNvSpPr>
            <a:spLocks noChangeArrowheads="1"/>
          </p:cNvSpPr>
          <p:nvPr/>
        </p:nvSpPr>
        <p:spPr bwMode="auto">
          <a:xfrm flipH="1">
            <a:off x="1325085" y="2188297"/>
            <a:ext cx="1235198" cy="259276"/>
          </a:xfrm>
          <a:prstGeom prst="roundRect">
            <a:avLst>
              <a:gd name="adj" fmla="val 10785"/>
            </a:avLst>
          </a:prstGeom>
          <a:noFill/>
          <a:ln w="12700" cmpd="sng">
            <a:no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1400" b="1" dirty="0" smtClean="0">
                <a:solidFill>
                  <a:schemeClr val="accent6">
                    <a:lumMod val="50000"/>
                  </a:schemeClr>
                </a:solidFill>
                <a:latin typeface="Arial"/>
                <a:ea typeface="MS PGothic" charset="0"/>
              </a:rPr>
              <a:t>キャンパス</a:t>
            </a:r>
            <a:endParaRPr lang="en-US" sz="1400" b="1" dirty="0">
              <a:solidFill>
                <a:schemeClr val="accent6">
                  <a:lumMod val="50000"/>
                </a:schemeClr>
              </a:solidFill>
              <a:latin typeface="Arial"/>
              <a:ea typeface="MS PGothic" charset="0"/>
            </a:endParaRPr>
          </a:p>
        </p:txBody>
      </p:sp>
      <p:sp>
        <p:nvSpPr>
          <p:cNvPr id="182" name="Rounded Rectangle 181"/>
          <p:cNvSpPr/>
          <p:nvPr/>
        </p:nvSpPr>
        <p:spPr>
          <a:xfrm>
            <a:off x="3666266" y="2855511"/>
            <a:ext cx="923020" cy="389073"/>
          </a:xfrm>
          <a:prstGeom prst="roundRect">
            <a:avLst/>
          </a:prstGeom>
          <a:noFill/>
          <a:ln w="9525" cmpd="sng">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127" name="Straight Connector 126"/>
          <p:cNvCxnSpPr/>
          <p:nvPr/>
        </p:nvCxnSpPr>
        <p:spPr>
          <a:xfrm flipV="1">
            <a:off x="2700315" y="3151697"/>
            <a:ext cx="2069713" cy="934783"/>
          </a:xfrm>
          <a:prstGeom prst="line">
            <a:avLst/>
          </a:prstGeom>
          <a:ln>
            <a:solidFill>
              <a:schemeClr val="accent6"/>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35" name="Straight Connector 134"/>
          <p:cNvCxnSpPr/>
          <p:nvPr/>
        </p:nvCxnSpPr>
        <p:spPr>
          <a:xfrm>
            <a:off x="4700239" y="2699087"/>
            <a:ext cx="355131" cy="176071"/>
          </a:xfrm>
          <a:prstGeom prst="line">
            <a:avLst/>
          </a:prstGeom>
          <a:ln>
            <a:solidFill>
              <a:srgbClr val="FF6600"/>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flipV="1">
            <a:off x="2700209" y="2699087"/>
            <a:ext cx="465145" cy="1294830"/>
          </a:xfrm>
          <a:prstGeom prst="line">
            <a:avLst/>
          </a:prstGeom>
          <a:ln>
            <a:solidFill>
              <a:srgbClr val="FF6600"/>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p:nvCxnSpPr>
        <p:spPr>
          <a:xfrm>
            <a:off x="4033774" y="2184837"/>
            <a:ext cx="0" cy="175053"/>
          </a:xfrm>
          <a:prstGeom prst="line">
            <a:avLst/>
          </a:prstGeom>
          <a:ln>
            <a:solidFill>
              <a:srgbClr val="FF66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183" name="Rounded Rectangle 182"/>
          <p:cNvSpPr/>
          <p:nvPr/>
        </p:nvSpPr>
        <p:spPr>
          <a:xfrm>
            <a:off x="3064704" y="2358622"/>
            <a:ext cx="1740028" cy="389073"/>
          </a:xfrm>
          <a:prstGeom prst="roundRect">
            <a:avLst/>
          </a:prstGeom>
          <a:noFill/>
          <a:ln w="9525" cmpd="sng">
            <a:solidFill>
              <a:srgbClr val="FF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62" name="Group 726"/>
          <p:cNvGrpSpPr/>
          <p:nvPr/>
        </p:nvGrpSpPr>
        <p:grpSpPr>
          <a:xfrm>
            <a:off x="2473376" y="2470394"/>
            <a:ext cx="453878" cy="160140"/>
            <a:chOff x="3553591" y="3364929"/>
            <a:chExt cx="474623" cy="167460"/>
          </a:xfrm>
        </p:grpSpPr>
        <p:sp>
          <p:nvSpPr>
            <p:cNvPr id="169"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72"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73"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74"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75"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76"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77" name="Rectangle 176"/>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178" name="Rectangle 177"/>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grpSp>
        <p:nvGrpSpPr>
          <p:cNvPr id="179" name="Group 726"/>
          <p:cNvGrpSpPr/>
          <p:nvPr/>
        </p:nvGrpSpPr>
        <p:grpSpPr>
          <a:xfrm>
            <a:off x="6242707" y="1632899"/>
            <a:ext cx="453878" cy="160140"/>
            <a:chOff x="3553591" y="3364929"/>
            <a:chExt cx="474623" cy="167460"/>
          </a:xfrm>
        </p:grpSpPr>
        <p:sp>
          <p:nvSpPr>
            <p:cNvPr id="180"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1"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4"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5"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6"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7"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188" name="Rectangle 187"/>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189" name="Rectangle 188"/>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190" name="Rectangle 189"/>
          <p:cNvSpPr/>
          <p:nvPr/>
        </p:nvSpPr>
        <p:spPr>
          <a:xfrm>
            <a:off x="2501620" y="2295481"/>
            <a:ext cx="466794" cy="215444"/>
          </a:xfrm>
          <a:prstGeom prst="rect">
            <a:avLst/>
          </a:prstGeom>
        </p:spPr>
        <p:txBody>
          <a:bodyPr wrap="none">
            <a:spAutoFit/>
          </a:bodyPr>
          <a:lstStyle/>
          <a:p>
            <a:r>
              <a:rPr lang="en-US" sz="800" dirty="0" smtClean="0"/>
              <a:t>ルータ</a:t>
            </a:r>
            <a:endParaRPr lang="en-US" sz="800" dirty="0"/>
          </a:p>
        </p:txBody>
      </p:sp>
      <p:sp>
        <p:nvSpPr>
          <p:cNvPr id="191" name="Rectangle 190"/>
          <p:cNvSpPr/>
          <p:nvPr/>
        </p:nvSpPr>
        <p:spPr>
          <a:xfrm>
            <a:off x="6260982" y="1460776"/>
            <a:ext cx="466794" cy="215444"/>
          </a:xfrm>
          <a:prstGeom prst="rect">
            <a:avLst/>
          </a:prstGeom>
        </p:spPr>
        <p:txBody>
          <a:bodyPr wrap="none">
            <a:spAutoFit/>
          </a:bodyPr>
          <a:lstStyle/>
          <a:p>
            <a:r>
              <a:rPr lang="en-US" sz="800" dirty="0" smtClean="0"/>
              <a:t>ルータ</a:t>
            </a:r>
            <a:endParaRPr lang="en-US" sz="800" dirty="0"/>
          </a:p>
        </p:txBody>
      </p:sp>
      <p:sp>
        <p:nvSpPr>
          <p:cNvPr id="201" name="Rounded Rectangle 200"/>
          <p:cNvSpPr/>
          <p:nvPr/>
        </p:nvSpPr>
        <p:spPr>
          <a:xfrm>
            <a:off x="3053970" y="1799224"/>
            <a:ext cx="1927020" cy="389073"/>
          </a:xfrm>
          <a:prstGeom prst="roundRect">
            <a:avLst/>
          </a:prstGeom>
          <a:noFill/>
          <a:ln w="9525" cmpd="sng">
            <a:solidFill>
              <a:srgbClr val="FF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03" name="Straight Connector 202"/>
          <p:cNvCxnSpPr/>
          <p:nvPr/>
        </p:nvCxnSpPr>
        <p:spPr>
          <a:xfrm flipV="1">
            <a:off x="2700209" y="2218865"/>
            <a:ext cx="1167051" cy="1800922"/>
          </a:xfrm>
          <a:prstGeom prst="line">
            <a:avLst/>
          </a:prstGeom>
          <a:ln>
            <a:solidFill>
              <a:srgbClr val="FF6600"/>
            </a:solidFill>
            <a:headEnd type="oval"/>
            <a:tailEnd type="oval"/>
          </a:ln>
        </p:spPr>
        <p:style>
          <a:lnRef idx="2">
            <a:schemeClr val="accent1"/>
          </a:lnRef>
          <a:fillRef idx="0">
            <a:schemeClr val="accent1"/>
          </a:fillRef>
          <a:effectRef idx="1">
            <a:schemeClr val="accent1"/>
          </a:effectRef>
          <a:fontRef idx="minor">
            <a:schemeClr val="tx1"/>
          </a:fontRef>
        </p:style>
      </p:cxnSp>
      <p:cxnSp>
        <p:nvCxnSpPr>
          <p:cNvPr id="204" name="Straight Connector 203"/>
          <p:cNvCxnSpPr/>
          <p:nvPr/>
        </p:nvCxnSpPr>
        <p:spPr>
          <a:xfrm>
            <a:off x="4219440" y="2188297"/>
            <a:ext cx="541822" cy="829876"/>
          </a:xfrm>
          <a:prstGeom prst="line">
            <a:avLst/>
          </a:prstGeom>
          <a:ln>
            <a:solidFill>
              <a:srgbClr val="FF66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205" name="Rounded Rectangle 204"/>
          <p:cNvSpPr/>
          <p:nvPr/>
        </p:nvSpPr>
        <p:spPr>
          <a:xfrm>
            <a:off x="4153618" y="1245437"/>
            <a:ext cx="961547" cy="280820"/>
          </a:xfrm>
          <a:prstGeom prst="round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06" name="Straight Connector 205"/>
          <p:cNvCxnSpPr/>
          <p:nvPr/>
        </p:nvCxnSpPr>
        <p:spPr>
          <a:xfrm>
            <a:off x="4497644" y="1526257"/>
            <a:ext cx="0" cy="1340128"/>
          </a:xfrm>
          <a:prstGeom prst="line">
            <a:avLst/>
          </a:prstGeom>
          <a:ln>
            <a:solidFill>
              <a:srgbClr val="FF6600"/>
            </a:solidFill>
            <a:headEnd type="oval"/>
            <a:tailEnd type="oval"/>
          </a:ln>
        </p:spPr>
        <p:style>
          <a:lnRef idx="2">
            <a:schemeClr val="accent1"/>
          </a:lnRef>
          <a:fillRef idx="0">
            <a:schemeClr val="accent1"/>
          </a:fillRef>
          <a:effectRef idx="1">
            <a:schemeClr val="accent1"/>
          </a:effectRef>
          <a:fontRef idx="minor">
            <a:schemeClr val="tx1"/>
          </a:fontRef>
        </p:style>
      </p:cxnSp>
      <p:sp>
        <p:nvSpPr>
          <p:cNvPr id="139" name="Rectangle 19"/>
          <p:cNvSpPr>
            <a:spLocks noChangeArrowheads="1"/>
          </p:cNvSpPr>
          <p:nvPr/>
        </p:nvSpPr>
        <p:spPr bwMode="auto">
          <a:xfrm flipH="1">
            <a:off x="3050011" y="1789209"/>
            <a:ext cx="1930979" cy="404764"/>
          </a:xfrm>
          <a:prstGeom prst="roundRect">
            <a:avLst>
              <a:gd name="adj" fmla="val 10785"/>
            </a:avLst>
          </a:prstGeom>
          <a:noFill/>
          <a:ln w="12700" cmpd="sng">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ファイルレピュテーション</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smtClean="0">
                <a:solidFill>
                  <a:schemeClr val="accent6">
                    <a:lumMod val="50000"/>
                  </a:schemeClr>
                </a:solidFill>
                <a:latin typeface="Arial"/>
                <a:ea typeface="MS PGothic" charset="0"/>
              </a:rPr>
              <a:t>A</a:t>
            </a:r>
            <a:r>
              <a:rPr lang="en-US" altLang="ja-JP" sz="800" b="1" dirty="0" smtClean="0">
                <a:solidFill>
                  <a:schemeClr val="accent6">
                    <a:lumMod val="50000"/>
                  </a:schemeClr>
                </a:solidFill>
                <a:latin typeface="Arial"/>
                <a:ea typeface="MS PGothic" charset="0"/>
              </a:rPr>
              <a:t>dvanced </a:t>
            </a:r>
            <a:r>
              <a:rPr lang="en-US" altLang="ja-JP" sz="1400" b="1" dirty="0" smtClean="0">
                <a:solidFill>
                  <a:schemeClr val="accent6">
                    <a:lumMod val="50000"/>
                  </a:schemeClr>
                </a:solidFill>
                <a:latin typeface="Arial"/>
                <a:ea typeface="MS PGothic" charset="0"/>
              </a:rPr>
              <a:t>M</a:t>
            </a:r>
            <a:r>
              <a:rPr lang="en-US" altLang="ja-JP" sz="800" b="1" dirty="0" smtClean="0">
                <a:solidFill>
                  <a:schemeClr val="accent6">
                    <a:lumMod val="50000"/>
                  </a:schemeClr>
                </a:solidFill>
                <a:latin typeface="Arial"/>
                <a:ea typeface="MS PGothic" charset="0"/>
              </a:rPr>
              <a:t>alware</a:t>
            </a:r>
            <a:r>
              <a:rPr lang="en-US" altLang="ja-JP" sz="1400" b="1" dirty="0" smtClean="0">
                <a:solidFill>
                  <a:schemeClr val="accent6">
                    <a:lumMod val="50000"/>
                  </a:schemeClr>
                </a:solidFill>
                <a:latin typeface="Arial"/>
                <a:ea typeface="MS PGothic" charset="0"/>
              </a:rPr>
              <a:t> P</a:t>
            </a:r>
            <a:r>
              <a:rPr lang="en-US" altLang="ja-JP" sz="800" b="1" dirty="0" smtClean="0">
                <a:solidFill>
                  <a:schemeClr val="accent6">
                    <a:lumMod val="50000"/>
                  </a:schemeClr>
                </a:solidFill>
                <a:latin typeface="Arial"/>
                <a:ea typeface="MS PGothic" charset="0"/>
              </a:rPr>
              <a:t>rotection</a:t>
            </a:r>
            <a:endParaRPr lang="en-US" sz="800" b="1" dirty="0">
              <a:solidFill>
                <a:schemeClr val="accent6">
                  <a:lumMod val="50000"/>
                </a:schemeClr>
              </a:solidFill>
              <a:latin typeface="Arial"/>
              <a:ea typeface="MS PGothic" charset="0"/>
            </a:endParaRPr>
          </a:p>
        </p:txBody>
      </p:sp>
      <p:sp>
        <p:nvSpPr>
          <p:cNvPr id="137" name="Rectangle 19"/>
          <p:cNvSpPr>
            <a:spLocks noChangeArrowheads="1"/>
          </p:cNvSpPr>
          <p:nvPr/>
        </p:nvSpPr>
        <p:spPr bwMode="auto">
          <a:xfrm flipH="1">
            <a:off x="3053970" y="2346153"/>
            <a:ext cx="1750762" cy="404764"/>
          </a:xfrm>
          <a:prstGeom prst="roundRect">
            <a:avLst>
              <a:gd name="adj" fmla="val 10785"/>
            </a:avLst>
          </a:prstGeom>
          <a:noFill/>
          <a:ln w="12700" cmpd="sng">
            <a:solidFill>
              <a:srgbClr val="0D868E"/>
            </a:solidFill>
          </a:ln>
          <a:effectLst/>
        </p:spPr>
        <p:style>
          <a:lnRef idx="2">
            <a:schemeClr val="accent1">
              <a:shade val="50000"/>
            </a:schemeClr>
          </a:lnRef>
          <a:fillRef idx="1">
            <a:schemeClr val="accent1"/>
          </a:fillRef>
          <a:effectRef idx="0">
            <a:schemeClr val="accent1"/>
          </a:effectRef>
          <a:fontRef idx="minor">
            <a:schemeClr val="lt1"/>
          </a:fontRef>
        </p:style>
        <p:txBody>
          <a:bodyPr lIns="68430" tIns="43200" rIns="68430" bIns="34216" rtlCol="0" anchor="ctr"/>
          <a:lstStyle/>
          <a:p>
            <a:pPr lvl="0" algn="ctr"/>
            <a:r>
              <a:rPr lang="ja-JP" altLang="en-US" sz="800" dirty="0" smtClean="0">
                <a:solidFill>
                  <a:srgbClr val="676767"/>
                </a:solidFill>
                <a:latin typeface="Arial" charset="0"/>
                <a:ea typeface="ＭＳ Ｐゴシック" charset="0"/>
                <a:cs typeface="ＭＳ Ｐゴシック" charset="0"/>
              </a:rPr>
              <a:t>振る舞い型の脅威検出システム</a:t>
            </a:r>
            <a:r>
              <a:rPr lang="en-US" sz="1050" dirty="0" smtClean="0">
                <a:solidFill>
                  <a:srgbClr val="676767"/>
                </a:solidFill>
                <a:latin typeface="Arial" charset="0"/>
                <a:ea typeface="ＭＳ Ｐゴシック" charset="0"/>
                <a:cs typeface="ＭＳ Ｐゴシック" charset="0"/>
              </a:rPr>
              <a:t/>
            </a:r>
            <a:br>
              <a:rPr lang="en-US" sz="1050" dirty="0" smtClean="0">
                <a:solidFill>
                  <a:srgbClr val="676767"/>
                </a:solidFill>
                <a:latin typeface="Arial" charset="0"/>
                <a:ea typeface="ＭＳ Ｐゴシック" charset="0"/>
                <a:cs typeface="ＭＳ Ｐゴシック" charset="0"/>
              </a:rPr>
            </a:br>
            <a:r>
              <a:rPr lang="en-US" altLang="ja-JP" sz="1400" b="1" dirty="0">
                <a:solidFill>
                  <a:schemeClr val="accent6">
                    <a:lumMod val="50000"/>
                  </a:schemeClr>
                </a:solidFill>
                <a:ea typeface="MS PGothic" charset="0"/>
              </a:rPr>
              <a:t>C</a:t>
            </a:r>
            <a:r>
              <a:rPr lang="en-US" altLang="ja-JP" sz="800" b="1" dirty="0">
                <a:solidFill>
                  <a:schemeClr val="accent6">
                    <a:lumMod val="50000"/>
                  </a:schemeClr>
                </a:solidFill>
                <a:ea typeface="MS PGothic" charset="0"/>
              </a:rPr>
              <a:t>ognitive</a:t>
            </a:r>
            <a:r>
              <a:rPr lang="en-US" altLang="ja-JP" sz="1400" b="1" dirty="0">
                <a:solidFill>
                  <a:schemeClr val="accent6">
                    <a:lumMod val="50000"/>
                  </a:schemeClr>
                </a:solidFill>
                <a:ea typeface="MS PGothic" charset="0"/>
              </a:rPr>
              <a:t> T</a:t>
            </a:r>
            <a:r>
              <a:rPr lang="en-US" altLang="ja-JP" sz="800" b="1" dirty="0">
                <a:solidFill>
                  <a:schemeClr val="accent6">
                    <a:lumMod val="50000"/>
                  </a:schemeClr>
                </a:solidFill>
                <a:ea typeface="MS PGothic" charset="0"/>
              </a:rPr>
              <a:t>hreat</a:t>
            </a:r>
            <a:r>
              <a:rPr lang="en-US" altLang="ja-JP" sz="1400" b="1" dirty="0">
                <a:solidFill>
                  <a:schemeClr val="accent6">
                    <a:lumMod val="50000"/>
                  </a:schemeClr>
                </a:solidFill>
                <a:ea typeface="MS PGothic" charset="0"/>
              </a:rPr>
              <a:t> A</a:t>
            </a:r>
            <a:r>
              <a:rPr lang="en-US" altLang="ja-JP" sz="800" b="1" dirty="0">
                <a:solidFill>
                  <a:schemeClr val="accent6">
                    <a:lumMod val="50000"/>
                  </a:schemeClr>
                </a:solidFill>
                <a:ea typeface="MS PGothic" charset="0"/>
              </a:rPr>
              <a:t>nalytics </a:t>
            </a:r>
            <a:endParaRPr lang="en-US" sz="200" dirty="0">
              <a:solidFill>
                <a:schemeClr val="accent6">
                  <a:lumMod val="50000"/>
                </a:schemeClr>
              </a:solidFill>
              <a:latin typeface="Arial"/>
              <a:ea typeface="MS PGothic" charset="0"/>
            </a:endParaRPr>
          </a:p>
        </p:txBody>
      </p:sp>
    </p:spTree>
    <p:extLst>
      <p:ext uri="{BB962C8B-B14F-4D97-AF65-F5344CB8AC3E}">
        <p14:creationId xmlns:p14="http://schemas.microsoft.com/office/powerpoint/2010/main" val="202565438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loud Web Security </a:t>
            </a:r>
            <a:r>
              <a:rPr lang="en-US" altLang="ja-JP" dirty="0" smtClean="0"/>
              <a:t>DC </a:t>
            </a:r>
            <a:r>
              <a:rPr lang="ja-JP" altLang="en-US" dirty="0" smtClean="0"/>
              <a:t>マップ</a:t>
            </a:r>
            <a:endParaRPr lang="en-US" dirty="0"/>
          </a:p>
        </p:txBody>
      </p:sp>
      <p:grpSp>
        <p:nvGrpSpPr>
          <p:cNvPr id="5" name="Group 4"/>
          <p:cNvGrpSpPr/>
          <p:nvPr/>
        </p:nvGrpSpPr>
        <p:grpSpPr>
          <a:xfrm>
            <a:off x="52800" y="897308"/>
            <a:ext cx="7618828" cy="4024311"/>
            <a:chOff x="1315611" y="1287218"/>
            <a:chExt cx="10139514" cy="4731772"/>
          </a:xfrm>
          <a:solidFill>
            <a:schemeClr val="tx1">
              <a:lumMod val="40000"/>
              <a:lumOff val="60000"/>
            </a:schemeClr>
          </a:solidFill>
        </p:grpSpPr>
        <p:sp>
          <p:nvSpPr>
            <p:cNvPr id="6" name="Freeform 6"/>
            <p:cNvSpPr>
              <a:spLocks/>
            </p:cNvSpPr>
            <p:nvPr/>
          </p:nvSpPr>
          <p:spPr bwMode="auto">
            <a:xfrm>
              <a:off x="3840349" y="1287218"/>
              <a:ext cx="638790" cy="182512"/>
            </a:xfrm>
            <a:custGeom>
              <a:avLst/>
              <a:gdLst>
                <a:gd name="T0" fmla="*/ 378 w 378"/>
                <a:gd name="T1" fmla="*/ 0 h 108"/>
                <a:gd name="T2" fmla="*/ 346 w 378"/>
                <a:gd name="T3" fmla="*/ 18 h 108"/>
                <a:gd name="T4" fmla="*/ 274 w 378"/>
                <a:gd name="T5" fmla="*/ 44 h 108"/>
                <a:gd name="T6" fmla="*/ 198 w 378"/>
                <a:gd name="T7" fmla="*/ 64 h 108"/>
                <a:gd name="T8" fmla="*/ 126 w 378"/>
                <a:gd name="T9" fmla="*/ 90 h 108"/>
                <a:gd name="T10" fmla="*/ 94 w 378"/>
                <a:gd name="T11" fmla="*/ 108 h 108"/>
                <a:gd name="T12" fmla="*/ 90 w 378"/>
                <a:gd name="T13" fmla="*/ 104 h 108"/>
                <a:gd name="T14" fmla="*/ 74 w 378"/>
                <a:gd name="T15" fmla="*/ 96 h 108"/>
                <a:gd name="T16" fmla="*/ 50 w 378"/>
                <a:gd name="T17" fmla="*/ 96 h 108"/>
                <a:gd name="T18" fmla="*/ 24 w 378"/>
                <a:gd name="T19" fmla="*/ 98 h 108"/>
                <a:gd name="T20" fmla="*/ 0 w 378"/>
                <a:gd name="T21" fmla="*/ 90 h 108"/>
                <a:gd name="T22" fmla="*/ 8 w 378"/>
                <a:gd name="T23" fmla="*/ 88 h 108"/>
                <a:gd name="T24" fmla="*/ 38 w 378"/>
                <a:gd name="T25" fmla="*/ 88 h 108"/>
                <a:gd name="T26" fmla="*/ 58 w 378"/>
                <a:gd name="T27" fmla="*/ 88 h 108"/>
                <a:gd name="T28" fmla="*/ 76 w 378"/>
                <a:gd name="T29" fmla="*/ 80 h 108"/>
                <a:gd name="T30" fmla="*/ 74 w 378"/>
                <a:gd name="T31" fmla="*/ 76 h 108"/>
                <a:gd name="T32" fmla="*/ 64 w 378"/>
                <a:gd name="T33" fmla="*/ 70 h 108"/>
                <a:gd name="T34" fmla="*/ 56 w 378"/>
                <a:gd name="T35" fmla="*/ 70 h 108"/>
                <a:gd name="T36" fmla="*/ 64 w 378"/>
                <a:gd name="T37" fmla="*/ 66 h 108"/>
                <a:gd name="T38" fmla="*/ 72 w 378"/>
                <a:gd name="T39" fmla="*/ 68 h 108"/>
                <a:gd name="T40" fmla="*/ 88 w 378"/>
                <a:gd name="T41" fmla="*/ 72 h 108"/>
                <a:gd name="T42" fmla="*/ 94 w 378"/>
                <a:gd name="T43" fmla="*/ 70 h 108"/>
                <a:gd name="T44" fmla="*/ 98 w 378"/>
                <a:gd name="T45" fmla="*/ 64 h 108"/>
                <a:gd name="T46" fmla="*/ 92 w 378"/>
                <a:gd name="T47" fmla="*/ 58 h 108"/>
                <a:gd name="T48" fmla="*/ 86 w 378"/>
                <a:gd name="T49" fmla="*/ 50 h 108"/>
                <a:gd name="T50" fmla="*/ 90 w 378"/>
                <a:gd name="T51" fmla="*/ 48 h 108"/>
                <a:gd name="T52" fmla="*/ 114 w 378"/>
                <a:gd name="T53" fmla="*/ 44 h 108"/>
                <a:gd name="T54" fmla="*/ 158 w 378"/>
                <a:gd name="T55" fmla="*/ 48 h 108"/>
                <a:gd name="T56" fmla="*/ 186 w 378"/>
                <a:gd name="T57" fmla="*/ 44 h 108"/>
                <a:gd name="T58" fmla="*/ 196 w 378"/>
                <a:gd name="T59" fmla="*/ 38 h 108"/>
                <a:gd name="T60" fmla="*/ 188 w 378"/>
                <a:gd name="T61" fmla="*/ 34 h 108"/>
                <a:gd name="T62" fmla="*/ 156 w 378"/>
                <a:gd name="T63" fmla="*/ 32 h 108"/>
                <a:gd name="T64" fmla="*/ 116 w 378"/>
                <a:gd name="T65" fmla="*/ 30 h 108"/>
                <a:gd name="T66" fmla="*/ 104 w 378"/>
                <a:gd name="T67" fmla="*/ 28 h 108"/>
                <a:gd name="T68" fmla="*/ 162 w 378"/>
                <a:gd name="T69" fmla="*/ 18 h 108"/>
                <a:gd name="T70" fmla="*/ 308 w 378"/>
                <a:gd name="T71" fmla="*/ 8 h 108"/>
                <a:gd name="T72" fmla="*/ 378 w 378"/>
                <a:gd name="T7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8" h="108">
                  <a:moveTo>
                    <a:pt x="378" y="0"/>
                  </a:moveTo>
                  <a:lnTo>
                    <a:pt x="378" y="0"/>
                  </a:lnTo>
                  <a:lnTo>
                    <a:pt x="362" y="10"/>
                  </a:lnTo>
                  <a:lnTo>
                    <a:pt x="346" y="18"/>
                  </a:lnTo>
                  <a:lnTo>
                    <a:pt x="312" y="32"/>
                  </a:lnTo>
                  <a:lnTo>
                    <a:pt x="274" y="44"/>
                  </a:lnTo>
                  <a:lnTo>
                    <a:pt x="236" y="54"/>
                  </a:lnTo>
                  <a:lnTo>
                    <a:pt x="198" y="64"/>
                  </a:lnTo>
                  <a:lnTo>
                    <a:pt x="160" y="76"/>
                  </a:lnTo>
                  <a:lnTo>
                    <a:pt x="126" y="90"/>
                  </a:lnTo>
                  <a:lnTo>
                    <a:pt x="110" y="98"/>
                  </a:lnTo>
                  <a:lnTo>
                    <a:pt x="94" y="108"/>
                  </a:lnTo>
                  <a:lnTo>
                    <a:pt x="94" y="108"/>
                  </a:lnTo>
                  <a:lnTo>
                    <a:pt x="90" y="104"/>
                  </a:lnTo>
                  <a:lnTo>
                    <a:pt x="86" y="100"/>
                  </a:lnTo>
                  <a:lnTo>
                    <a:pt x="74" y="96"/>
                  </a:lnTo>
                  <a:lnTo>
                    <a:pt x="62" y="96"/>
                  </a:lnTo>
                  <a:lnTo>
                    <a:pt x="50" y="96"/>
                  </a:lnTo>
                  <a:lnTo>
                    <a:pt x="36" y="98"/>
                  </a:lnTo>
                  <a:lnTo>
                    <a:pt x="24" y="98"/>
                  </a:lnTo>
                  <a:lnTo>
                    <a:pt x="12" y="96"/>
                  </a:lnTo>
                  <a:lnTo>
                    <a:pt x="0" y="90"/>
                  </a:lnTo>
                  <a:lnTo>
                    <a:pt x="0" y="90"/>
                  </a:lnTo>
                  <a:lnTo>
                    <a:pt x="8" y="88"/>
                  </a:lnTo>
                  <a:lnTo>
                    <a:pt x="18" y="88"/>
                  </a:lnTo>
                  <a:lnTo>
                    <a:pt x="38" y="88"/>
                  </a:lnTo>
                  <a:lnTo>
                    <a:pt x="48" y="88"/>
                  </a:lnTo>
                  <a:lnTo>
                    <a:pt x="58" y="88"/>
                  </a:lnTo>
                  <a:lnTo>
                    <a:pt x="68" y="84"/>
                  </a:lnTo>
                  <a:lnTo>
                    <a:pt x="76" y="80"/>
                  </a:lnTo>
                  <a:lnTo>
                    <a:pt x="76" y="80"/>
                  </a:lnTo>
                  <a:lnTo>
                    <a:pt x="74" y="76"/>
                  </a:lnTo>
                  <a:lnTo>
                    <a:pt x="70" y="72"/>
                  </a:lnTo>
                  <a:lnTo>
                    <a:pt x="64" y="70"/>
                  </a:lnTo>
                  <a:lnTo>
                    <a:pt x="56" y="70"/>
                  </a:lnTo>
                  <a:lnTo>
                    <a:pt x="56" y="70"/>
                  </a:lnTo>
                  <a:lnTo>
                    <a:pt x="60" y="66"/>
                  </a:lnTo>
                  <a:lnTo>
                    <a:pt x="64" y="66"/>
                  </a:lnTo>
                  <a:lnTo>
                    <a:pt x="68" y="66"/>
                  </a:lnTo>
                  <a:lnTo>
                    <a:pt x="72" y="68"/>
                  </a:lnTo>
                  <a:lnTo>
                    <a:pt x="84" y="72"/>
                  </a:lnTo>
                  <a:lnTo>
                    <a:pt x="88" y="72"/>
                  </a:lnTo>
                  <a:lnTo>
                    <a:pt x="94" y="70"/>
                  </a:lnTo>
                  <a:lnTo>
                    <a:pt x="94" y="70"/>
                  </a:lnTo>
                  <a:lnTo>
                    <a:pt x="98" y="68"/>
                  </a:lnTo>
                  <a:lnTo>
                    <a:pt x="98" y="64"/>
                  </a:lnTo>
                  <a:lnTo>
                    <a:pt x="96" y="60"/>
                  </a:lnTo>
                  <a:lnTo>
                    <a:pt x="92" y="58"/>
                  </a:lnTo>
                  <a:lnTo>
                    <a:pt x="86" y="52"/>
                  </a:lnTo>
                  <a:lnTo>
                    <a:pt x="86" y="50"/>
                  </a:lnTo>
                  <a:lnTo>
                    <a:pt x="90" y="48"/>
                  </a:lnTo>
                  <a:lnTo>
                    <a:pt x="90" y="48"/>
                  </a:lnTo>
                  <a:lnTo>
                    <a:pt x="100" y="44"/>
                  </a:lnTo>
                  <a:lnTo>
                    <a:pt x="114" y="44"/>
                  </a:lnTo>
                  <a:lnTo>
                    <a:pt x="144" y="48"/>
                  </a:lnTo>
                  <a:lnTo>
                    <a:pt x="158" y="48"/>
                  </a:lnTo>
                  <a:lnTo>
                    <a:pt x="174" y="48"/>
                  </a:lnTo>
                  <a:lnTo>
                    <a:pt x="186" y="44"/>
                  </a:lnTo>
                  <a:lnTo>
                    <a:pt x="192" y="42"/>
                  </a:lnTo>
                  <a:lnTo>
                    <a:pt x="196" y="38"/>
                  </a:lnTo>
                  <a:lnTo>
                    <a:pt x="196" y="38"/>
                  </a:lnTo>
                  <a:lnTo>
                    <a:pt x="188" y="34"/>
                  </a:lnTo>
                  <a:lnTo>
                    <a:pt x="180" y="32"/>
                  </a:lnTo>
                  <a:lnTo>
                    <a:pt x="156" y="32"/>
                  </a:lnTo>
                  <a:lnTo>
                    <a:pt x="130" y="32"/>
                  </a:lnTo>
                  <a:lnTo>
                    <a:pt x="116" y="30"/>
                  </a:lnTo>
                  <a:lnTo>
                    <a:pt x="104" y="28"/>
                  </a:lnTo>
                  <a:lnTo>
                    <a:pt x="104" y="28"/>
                  </a:lnTo>
                  <a:lnTo>
                    <a:pt x="130" y="24"/>
                  </a:lnTo>
                  <a:lnTo>
                    <a:pt x="162" y="18"/>
                  </a:lnTo>
                  <a:lnTo>
                    <a:pt x="232" y="12"/>
                  </a:lnTo>
                  <a:lnTo>
                    <a:pt x="308" y="8"/>
                  </a:lnTo>
                  <a:lnTo>
                    <a:pt x="344" y="4"/>
                  </a:lnTo>
                  <a:lnTo>
                    <a:pt x="378" y="0"/>
                  </a:lnTo>
                  <a:lnTo>
                    <a:pt x="37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 name="Freeform 7"/>
            <p:cNvSpPr>
              <a:spLocks/>
            </p:cNvSpPr>
            <p:nvPr/>
          </p:nvSpPr>
          <p:spPr bwMode="auto">
            <a:xfrm>
              <a:off x="4235791" y="1290598"/>
              <a:ext cx="1237021" cy="652309"/>
            </a:xfrm>
            <a:custGeom>
              <a:avLst/>
              <a:gdLst>
                <a:gd name="T0" fmla="*/ 720 w 732"/>
                <a:gd name="T1" fmla="*/ 30 h 386"/>
                <a:gd name="T2" fmla="*/ 664 w 732"/>
                <a:gd name="T3" fmla="*/ 46 h 386"/>
                <a:gd name="T4" fmla="*/ 636 w 732"/>
                <a:gd name="T5" fmla="*/ 64 h 386"/>
                <a:gd name="T6" fmla="*/ 636 w 732"/>
                <a:gd name="T7" fmla="*/ 72 h 386"/>
                <a:gd name="T8" fmla="*/ 642 w 732"/>
                <a:gd name="T9" fmla="*/ 82 h 386"/>
                <a:gd name="T10" fmla="*/ 610 w 732"/>
                <a:gd name="T11" fmla="*/ 120 h 386"/>
                <a:gd name="T12" fmla="*/ 568 w 732"/>
                <a:gd name="T13" fmla="*/ 148 h 386"/>
                <a:gd name="T14" fmla="*/ 530 w 732"/>
                <a:gd name="T15" fmla="*/ 148 h 386"/>
                <a:gd name="T16" fmla="*/ 532 w 732"/>
                <a:gd name="T17" fmla="*/ 162 h 386"/>
                <a:gd name="T18" fmla="*/ 564 w 732"/>
                <a:gd name="T19" fmla="*/ 180 h 386"/>
                <a:gd name="T20" fmla="*/ 578 w 732"/>
                <a:gd name="T21" fmla="*/ 190 h 386"/>
                <a:gd name="T22" fmla="*/ 554 w 732"/>
                <a:gd name="T23" fmla="*/ 196 h 386"/>
                <a:gd name="T24" fmla="*/ 526 w 732"/>
                <a:gd name="T25" fmla="*/ 178 h 386"/>
                <a:gd name="T26" fmla="*/ 512 w 732"/>
                <a:gd name="T27" fmla="*/ 180 h 386"/>
                <a:gd name="T28" fmla="*/ 512 w 732"/>
                <a:gd name="T29" fmla="*/ 192 h 386"/>
                <a:gd name="T30" fmla="*/ 498 w 732"/>
                <a:gd name="T31" fmla="*/ 200 h 386"/>
                <a:gd name="T32" fmla="*/ 508 w 732"/>
                <a:gd name="T33" fmla="*/ 208 h 386"/>
                <a:gd name="T34" fmla="*/ 532 w 732"/>
                <a:gd name="T35" fmla="*/ 206 h 386"/>
                <a:gd name="T36" fmla="*/ 550 w 732"/>
                <a:gd name="T37" fmla="*/ 214 h 386"/>
                <a:gd name="T38" fmla="*/ 522 w 732"/>
                <a:gd name="T39" fmla="*/ 224 h 386"/>
                <a:gd name="T40" fmla="*/ 460 w 732"/>
                <a:gd name="T41" fmla="*/ 228 h 386"/>
                <a:gd name="T42" fmla="*/ 428 w 732"/>
                <a:gd name="T43" fmla="*/ 232 h 386"/>
                <a:gd name="T44" fmla="*/ 392 w 732"/>
                <a:gd name="T45" fmla="*/ 250 h 386"/>
                <a:gd name="T46" fmla="*/ 358 w 732"/>
                <a:gd name="T47" fmla="*/ 274 h 386"/>
                <a:gd name="T48" fmla="*/ 334 w 732"/>
                <a:gd name="T49" fmla="*/ 280 h 386"/>
                <a:gd name="T50" fmla="*/ 284 w 732"/>
                <a:gd name="T51" fmla="*/ 290 h 386"/>
                <a:gd name="T52" fmla="*/ 260 w 732"/>
                <a:gd name="T53" fmla="*/ 302 h 386"/>
                <a:gd name="T54" fmla="*/ 230 w 732"/>
                <a:gd name="T55" fmla="*/ 336 h 386"/>
                <a:gd name="T56" fmla="*/ 204 w 732"/>
                <a:gd name="T57" fmla="*/ 376 h 386"/>
                <a:gd name="T58" fmla="*/ 188 w 732"/>
                <a:gd name="T59" fmla="*/ 384 h 386"/>
                <a:gd name="T60" fmla="*/ 170 w 732"/>
                <a:gd name="T61" fmla="*/ 386 h 386"/>
                <a:gd name="T62" fmla="*/ 144 w 732"/>
                <a:gd name="T63" fmla="*/ 376 h 386"/>
                <a:gd name="T64" fmla="*/ 120 w 732"/>
                <a:gd name="T65" fmla="*/ 350 h 386"/>
                <a:gd name="T66" fmla="*/ 108 w 732"/>
                <a:gd name="T67" fmla="*/ 292 h 386"/>
                <a:gd name="T68" fmla="*/ 116 w 732"/>
                <a:gd name="T69" fmla="*/ 262 h 386"/>
                <a:gd name="T70" fmla="*/ 158 w 732"/>
                <a:gd name="T71" fmla="*/ 224 h 386"/>
                <a:gd name="T72" fmla="*/ 170 w 732"/>
                <a:gd name="T73" fmla="*/ 204 h 386"/>
                <a:gd name="T74" fmla="*/ 164 w 732"/>
                <a:gd name="T75" fmla="*/ 184 h 386"/>
                <a:gd name="T76" fmla="*/ 144 w 732"/>
                <a:gd name="T77" fmla="*/ 172 h 386"/>
                <a:gd name="T78" fmla="*/ 142 w 732"/>
                <a:gd name="T79" fmla="*/ 136 h 386"/>
                <a:gd name="T80" fmla="*/ 122 w 732"/>
                <a:gd name="T81" fmla="*/ 114 h 386"/>
                <a:gd name="T82" fmla="*/ 76 w 732"/>
                <a:gd name="T83" fmla="*/ 100 h 386"/>
                <a:gd name="T84" fmla="*/ 0 w 732"/>
                <a:gd name="T85" fmla="*/ 92 h 386"/>
                <a:gd name="T86" fmla="*/ 4 w 732"/>
                <a:gd name="T87" fmla="*/ 80 h 386"/>
                <a:gd name="T88" fmla="*/ 0 w 732"/>
                <a:gd name="T89" fmla="*/ 74 h 386"/>
                <a:gd name="T90" fmla="*/ 46 w 732"/>
                <a:gd name="T91" fmla="*/ 68 h 386"/>
                <a:gd name="T92" fmla="*/ 130 w 732"/>
                <a:gd name="T93" fmla="*/ 36 h 386"/>
                <a:gd name="T94" fmla="*/ 168 w 732"/>
                <a:gd name="T95" fmla="*/ 22 h 386"/>
                <a:gd name="T96" fmla="*/ 228 w 732"/>
                <a:gd name="T97" fmla="*/ 20 h 386"/>
                <a:gd name="T98" fmla="*/ 298 w 732"/>
                <a:gd name="T99" fmla="*/ 26 h 386"/>
                <a:gd name="T100" fmla="*/ 380 w 732"/>
                <a:gd name="T101" fmla="*/ 16 h 386"/>
                <a:gd name="T102" fmla="*/ 462 w 732"/>
                <a:gd name="T103" fmla="*/ 4 h 386"/>
                <a:gd name="T104" fmla="*/ 542 w 732"/>
                <a:gd name="T105" fmla="*/ 0 h 386"/>
                <a:gd name="T106" fmla="*/ 622 w 732"/>
                <a:gd name="T107" fmla="*/ 8 h 386"/>
                <a:gd name="T108" fmla="*/ 670 w 732"/>
                <a:gd name="T109" fmla="*/ 26 h 386"/>
                <a:gd name="T110" fmla="*/ 714 w 732"/>
                <a:gd name="T111" fmla="*/ 2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386">
                  <a:moveTo>
                    <a:pt x="732" y="22"/>
                  </a:moveTo>
                  <a:lnTo>
                    <a:pt x="732" y="22"/>
                  </a:lnTo>
                  <a:lnTo>
                    <a:pt x="720" y="30"/>
                  </a:lnTo>
                  <a:lnTo>
                    <a:pt x="708" y="34"/>
                  </a:lnTo>
                  <a:lnTo>
                    <a:pt x="678" y="42"/>
                  </a:lnTo>
                  <a:lnTo>
                    <a:pt x="664" y="46"/>
                  </a:lnTo>
                  <a:lnTo>
                    <a:pt x="652" y="50"/>
                  </a:lnTo>
                  <a:lnTo>
                    <a:pt x="640" y="58"/>
                  </a:lnTo>
                  <a:lnTo>
                    <a:pt x="636" y="64"/>
                  </a:lnTo>
                  <a:lnTo>
                    <a:pt x="634" y="68"/>
                  </a:lnTo>
                  <a:lnTo>
                    <a:pt x="634" y="68"/>
                  </a:lnTo>
                  <a:lnTo>
                    <a:pt x="636" y="72"/>
                  </a:lnTo>
                  <a:lnTo>
                    <a:pt x="638" y="76"/>
                  </a:lnTo>
                  <a:lnTo>
                    <a:pt x="640" y="80"/>
                  </a:lnTo>
                  <a:lnTo>
                    <a:pt x="642" y="82"/>
                  </a:lnTo>
                  <a:lnTo>
                    <a:pt x="642" y="82"/>
                  </a:lnTo>
                  <a:lnTo>
                    <a:pt x="622" y="108"/>
                  </a:lnTo>
                  <a:lnTo>
                    <a:pt x="610" y="120"/>
                  </a:lnTo>
                  <a:lnTo>
                    <a:pt x="598" y="132"/>
                  </a:lnTo>
                  <a:lnTo>
                    <a:pt x="584" y="142"/>
                  </a:lnTo>
                  <a:lnTo>
                    <a:pt x="568" y="148"/>
                  </a:lnTo>
                  <a:lnTo>
                    <a:pt x="550" y="150"/>
                  </a:lnTo>
                  <a:lnTo>
                    <a:pt x="540" y="150"/>
                  </a:lnTo>
                  <a:lnTo>
                    <a:pt x="530" y="148"/>
                  </a:lnTo>
                  <a:lnTo>
                    <a:pt x="530" y="148"/>
                  </a:lnTo>
                  <a:lnTo>
                    <a:pt x="530" y="156"/>
                  </a:lnTo>
                  <a:lnTo>
                    <a:pt x="532" y="162"/>
                  </a:lnTo>
                  <a:lnTo>
                    <a:pt x="538" y="166"/>
                  </a:lnTo>
                  <a:lnTo>
                    <a:pt x="546" y="170"/>
                  </a:lnTo>
                  <a:lnTo>
                    <a:pt x="564" y="180"/>
                  </a:lnTo>
                  <a:lnTo>
                    <a:pt x="572" y="184"/>
                  </a:lnTo>
                  <a:lnTo>
                    <a:pt x="578" y="190"/>
                  </a:lnTo>
                  <a:lnTo>
                    <a:pt x="578" y="190"/>
                  </a:lnTo>
                  <a:lnTo>
                    <a:pt x="570" y="196"/>
                  </a:lnTo>
                  <a:lnTo>
                    <a:pt x="562" y="198"/>
                  </a:lnTo>
                  <a:lnTo>
                    <a:pt x="554" y="196"/>
                  </a:lnTo>
                  <a:lnTo>
                    <a:pt x="548" y="192"/>
                  </a:lnTo>
                  <a:lnTo>
                    <a:pt x="534" y="182"/>
                  </a:lnTo>
                  <a:lnTo>
                    <a:pt x="526" y="178"/>
                  </a:lnTo>
                  <a:lnTo>
                    <a:pt x="516" y="176"/>
                  </a:lnTo>
                  <a:lnTo>
                    <a:pt x="516" y="176"/>
                  </a:lnTo>
                  <a:lnTo>
                    <a:pt x="512" y="180"/>
                  </a:lnTo>
                  <a:lnTo>
                    <a:pt x="510" y="182"/>
                  </a:lnTo>
                  <a:lnTo>
                    <a:pt x="512" y="190"/>
                  </a:lnTo>
                  <a:lnTo>
                    <a:pt x="512" y="192"/>
                  </a:lnTo>
                  <a:lnTo>
                    <a:pt x="512" y="196"/>
                  </a:lnTo>
                  <a:lnTo>
                    <a:pt x="506" y="198"/>
                  </a:lnTo>
                  <a:lnTo>
                    <a:pt x="498" y="200"/>
                  </a:lnTo>
                  <a:lnTo>
                    <a:pt x="498" y="200"/>
                  </a:lnTo>
                  <a:lnTo>
                    <a:pt x="502" y="206"/>
                  </a:lnTo>
                  <a:lnTo>
                    <a:pt x="508" y="208"/>
                  </a:lnTo>
                  <a:lnTo>
                    <a:pt x="516" y="208"/>
                  </a:lnTo>
                  <a:lnTo>
                    <a:pt x="524" y="206"/>
                  </a:lnTo>
                  <a:lnTo>
                    <a:pt x="532" y="206"/>
                  </a:lnTo>
                  <a:lnTo>
                    <a:pt x="538" y="204"/>
                  </a:lnTo>
                  <a:lnTo>
                    <a:pt x="544" y="208"/>
                  </a:lnTo>
                  <a:lnTo>
                    <a:pt x="550" y="214"/>
                  </a:lnTo>
                  <a:lnTo>
                    <a:pt x="550" y="214"/>
                  </a:lnTo>
                  <a:lnTo>
                    <a:pt x="536" y="220"/>
                  </a:lnTo>
                  <a:lnTo>
                    <a:pt x="522" y="224"/>
                  </a:lnTo>
                  <a:lnTo>
                    <a:pt x="506" y="226"/>
                  </a:lnTo>
                  <a:lnTo>
                    <a:pt x="490" y="228"/>
                  </a:lnTo>
                  <a:lnTo>
                    <a:pt x="460" y="228"/>
                  </a:lnTo>
                  <a:lnTo>
                    <a:pt x="444" y="230"/>
                  </a:lnTo>
                  <a:lnTo>
                    <a:pt x="428" y="232"/>
                  </a:lnTo>
                  <a:lnTo>
                    <a:pt x="428" y="232"/>
                  </a:lnTo>
                  <a:lnTo>
                    <a:pt x="418" y="234"/>
                  </a:lnTo>
                  <a:lnTo>
                    <a:pt x="408" y="240"/>
                  </a:lnTo>
                  <a:lnTo>
                    <a:pt x="392" y="250"/>
                  </a:lnTo>
                  <a:lnTo>
                    <a:pt x="376" y="264"/>
                  </a:lnTo>
                  <a:lnTo>
                    <a:pt x="368" y="270"/>
                  </a:lnTo>
                  <a:lnTo>
                    <a:pt x="358" y="274"/>
                  </a:lnTo>
                  <a:lnTo>
                    <a:pt x="358" y="274"/>
                  </a:lnTo>
                  <a:lnTo>
                    <a:pt x="346" y="278"/>
                  </a:lnTo>
                  <a:lnTo>
                    <a:pt x="334" y="280"/>
                  </a:lnTo>
                  <a:lnTo>
                    <a:pt x="308" y="284"/>
                  </a:lnTo>
                  <a:lnTo>
                    <a:pt x="296" y="286"/>
                  </a:lnTo>
                  <a:lnTo>
                    <a:pt x="284" y="290"/>
                  </a:lnTo>
                  <a:lnTo>
                    <a:pt x="272" y="294"/>
                  </a:lnTo>
                  <a:lnTo>
                    <a:pt x="260" y="302"/>
                  </a:lnTo>
                  <a:lnTo>
                    <a:pt x="260" y="302"/>
                  </a:lnTo>
                  <a:lnTo>
                    <a:pt x="250" y="310"/>
                  </a:lnTo>
                  <a:lnTo>
                    <a:pt x="242" y="318"/>
                  </a:lnTo>
                  <a:lnTo>
                    <a:pt x="230" y="336"/>
                  </a:lnTo>
                  <a:lnTo>
                    <a:pt x="218" y="356"/>
                  </a:lnTo>
                  <a:lnTo>
                    <a:pt x="204" y="376"/>
                  </a:lnTo>
                  <a:lnTo>
                    <a:pt x="204" y="376"/>
                  </a:lnTo>
                  <a:lnTo>
                    <a:pt x="198" y="378"/>
                  </a:lnTo>
                  <a:lnTo>
                    <a:pt x="192" y="380"/>
                  </a:lnTo>
                  <a:lnTo>
                    <a:pt x="188" y="384"/>
                  </a:lnTo>
                  <a:lnTo>
                    <a:pt x="182" y="386"/>
                  </a:lnTo>
                  <a:lnTo>
                    <a:pt x="182" y="386"/>
                  </a:lnTo>
                  <a:lnTo>
                    <a:pt x="170" y="386"/>
                  </a:lnTo>
                  <a:lnTo>
                    <a:pt x="160" y="384"/>
                  </a:lnTo>
                  <a:lnTo>
                    <a:pt x="152" y="382"/>
                  </a:lnTo>
                  <a:lnTo>
                    <a:pt x="144" y="376"/>
                  </a:lnTo>
                  <a:lnTo>
                    <a:pt x="136" y="372"/>
                  </a:lnTo>
                  <a:lnTo>
                    <a:pt x="130" y="364"/>
                  </a:lnTo>
                  <a:lnTo>
                    <a:pt x="120" y="350"/>
                  </a:lnTo>
                  <a:lnTo>
                    <a:pt x="114" y="332"/>
                  </a:lnTo>
                  <a:lnTo>
                    <a:pt x="110" y="312"/>
                  </a:lnTo>
                  <a:lnTo>
                    <a:pt x="108" y="292"/>
                  </a:lnTo>
                  <a:lnTo>
                    <a:pt x="106" y="274"/>
                  </a:lnTo>
                  <a:lnTo>
                    <a:pt x="106" y="274"/>
                  </a:lnTo>
                  <a:lnTo>
                    <a:pt x="116" y="262"/>
                  </a:lnTo>
                  <a:lnTo>
                    <a:pt x="130" y="250"/>
                  </a:lnTo>
                  <a:lnTo>
                    <a:pt x="146" y="238"/>
                  </a:lnTo>
                  <a:lnTo>
                    <a:pt x="158" y="224"/>
                  </a:lnTo>
                  <a:lnTo>
                    <a:pt x="164" y="218"/>
                  </a:lnTo>
                  <a:lnTo>
                    <a:pt x="168" y="210"/>
                  </a:lnTo>
                  <a:lnTo>
                    <a:pt x="170" y="204"/>
                  </a:lnTo>
                  <a:lnTo>
                    <a:pt x="170" y="198"/>
                  </a:lnTo>
                  <a:lnTo>
                    <a:pt x="168" y="190"/>
                  </a:lnTo>
                  <a:lnTo>
                    <a:pt x="164" y="184"/>
                  </a:lnTo>
                  <a:lnTo>
                    <a:pt x="156" y="178"/>
                  </a:lnTo>
                  <a:lnTo>
                    <a:pt x="144" y="172"/>
                  </a:lnTo>
                  <a:lnTo>
                    <a:pt x="144" y="172"/>
                  </a:lnTo>
                  <a:lnTo>
                    <a:pt x="146" y="158"/>
                  </a:lnTo>
                  <a:lnTo>
                    <a:pt x="144" y="146"/>
                  </a:lnTo>
                  <a:lnTo>
                    <a:pt x="142" y="136"/>
                  </a:lnTo>
                  <a:lnTo>
                    <a:pt x="136" y="126"/>
                  </a:lnTo>
                  <a:lnTo>
                    <a:pt x="130" y="120"/>
                  </a:lnTo>
                  <a:lnTo>
                    <a:pt x="122" y="114"/>
                  </a:lnTo>
                  <a:lnTo>
                    <a:pt x="112" y="108"/>
                  </a:lnTo>
                  <a:lnTo>
                    <a:pt x="100" y="106"/>
                  </a:lnTo>
                  <a:lnTo>
                    <a:pt x="76" y="100"/>
                  </a:lnTo>
                  <a:lnTo>
                    <a:pt x="50" y="96"/>
                  </a:lnTo>
                  <a:lnTo>
                    <a:pt x="0" y="92"/>
                  </a:lnTo>
                  <a:lnTo>
                    <a:pt x="0" y="92"/>
                  </a:lnTo>
                  <a:lnTo>
                    <a:pt x="0" y="88"/>
                  </a:lnTo>
                  <a:lnTo>
                    <a:pt x="0" y="86"/>
                  </a:lnTo>
                  <a:lnTo>
                    <a:pt x="4" y="80"/>
                  </a:lnTo>
                  <a:lnTo>
                    <a:pt x="6" y="76"/>
                  </a:lnTo>
                  <a:lnTo>
                    <a:pt x="4" y="74"/>
                  </a:lnTo>
                  <a:lnTo>
                    <a:pt x="0" y="74"/>
                  </a:lnTo>
                  <a:lnTo>
                    <a:pt x="0" y="74"/>
                  </a:lnTo>
                  <a:lnTo>
                    <a:pt x="24" y="72"/>
                  </a:lnTo>
                  <a:lnTo>
                    <a:pt x="46" y="68"/>
                  </a:lnTo>
                  <a:lnTo>
                    <a:pt x="68" y="62"/>
                  </a:lnTo>
                  <a:lnTo>
                    <a:pt x="90" y="54"/>
                  </a:lnTo>
                  <a:lnTo>
                    <a:pt x="130" y="36"/>
                  </a:lnTo>
                  <a:lnTo>
                    <a:pt x="150" y="28"/>
                  </a:lnTo>
                  <a:lnTo>
                    <a:pt x="168" y="22"/>
                  </a:lnTo>
                  <a:lnTo>
                    <a:pt x="168" y="22"/>
                  </a:lnTo>
                  <a:lnTo>
                    <a:pt x="182" y="20"/>
                  </a:lnTo>
                  <a:lnTo>
                    <a:pt x="198" y="18"/>
                  </a:lnTo>
                  <a:lnTo>
                    <a:pt x="228" y="20"/>
                  </a:lnTo>
                  <a:lnTo>
                    <a:pt x="260" y="24"/>
                  </a:lnTo>
                  <a:lnTo>
                    <a:pt x="298" y="26"/>
                  </a:lnTo>
                  <a:lnTo>
                    <a:pt x="298" y="26"/>
                  </a:lnTo>
                  <a:lnTo>
                    <a:pt x="318" y="26"/>
                  </a:lnTo>
                  <a:lnTo>
                    <a:pt x="338" y="24"/>
                  </a:lnTo>
                  <a:lnTo>
                    <a:pt x="380" y="16"/>
                  </a:lnTo>
                  <a:lnTo>
                    <a:pt x="420" y="8"/>
                  </a:lnTo>
                  <a:lnTo>
                    <a:pt x="440" y="6"/>
                  </a:lnTo>
                  <a:lnTo>
                    <a:pt x="462" y="4"/>
                  </a:lnTo>
                  <a:lnTo>
                    <a:pt x="462" y="4"/>
                  </a:lnTo>
                  <a:lnTo>
                    <a:pt x="514" y="2"/>
                  </a:lnTo>
                  <a:lnTo>
                    <a:pt x="542" y="0"/>
                  </a:lnTo>
                  <a:lnTo>
                    <a:pt x="570" y="2"/>
                  </a:lnTo>
                  <a:lnTo>
                    <a:pt x="596" y="4"/>
                  </a:lnTo>
                  <a:lnTo>
                    <a:pt x="622" y="8"/>
                  </a:lnTo>
                  <a:lnTo>
                    <a:pt x="648" y="16"/>
                  </a:lnTo>
                  <a:lnTo>
                    <a:pt x="670" y="26"/>
                  </a:lnTo>
                  <a:lnTo>
                    <a:pt x="670" y="26"/>
                  </a:lnTo>
                  <a:lnTo>
                    <a:pt x="686" y="26"/>
                  </a:lnTo>
                  <a:lnTo>
                    <a:pt x="700" y="24"/>
                  </a:lnTo>
                  <a:lnTo>
                    <a:pt x="714" y="22"/>
                  </a:lnTo>
                  <a:lnTo>
                    <a:pt x="732" y="22"/>
                  </a:lnTo>
                  <a:lnTo>
                    <a:pt x="732" y="2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 name="Freeform 8"/>
            <p:cNvSpPr>
              <a:spLocks/>
            </p:cNvSpPr>
            <p:nvPr/>
          </p:nvSpPr>
          <p:spPr bwMode="auto">
            <a:xfrm>
              <a:off x="3793032" y="1337916"/>
              <a:ext cx="135194" cy="50698"/>
            </a:xfrm>
            <a:custGeom>
              <a:avLst/>
              <a:gdLst>
                <a:gd name="T0" fmla="*/ 80 w 80"/>
                <a:gd name="T1" fmla="*/ 8 h 30"/>
                <a:gd name="T2" fmla="*/ 80 w 80"/>
                <a:gd name="T3" fmla="*/ 8 h 30"/>
                <a:gd name="T4" fmla="*/ 74 w 80"/>
                <a:gd name="T5" fmla="*/ 16 h 30"/>
                <a:gd name="T6" fmla="*/ 66 w 80"/>
                <a:gd name="T7" fmla="*/ 22 h 30"/>
                <a:gd name="T8" fmla="*/ 56 w 80"/>
                <a:gd name="T9" fmla="*/ 26 h 30"/>
                <a:gd name="T10" fmla="*/ 46 w 80"/>
                <a:gd name="T11" fmla="*/ 30 h 30"/>
                <a:gd name="T12" fmla="*/ 34 w 80"/>
                <a:gd name="T13" fmla="*/ 30 h 30"/>
                <a:gd name="T14" fmla="*/ 24 w 80"/>
                <a:gd name="T15" fmla="*/ 30 h 30"/>
                <a:gd name="T16" fmla="*/ 12 w 80"/>
                <a:gd name="T17" fmla="*/ 26 h 30"/>
                <a:gd name="T18" fmla="*/ 0 w 80"/>
                <a:gd name="T19" fmla="*/ 22 h 30"/>
                <a:gd name="T20" fmla="*/ 0 w 80"/>
                <a:gd name="T21" fmla="*/ 22 h 30"/>
                <a:gd name="T22" fmla="*/ 18 w 80"/>
                <a:gd name="T23" fmla="*/ 12 h 30"/>
                <a:gd name="T24" fmla="*/ 28 w 80"/>
                <a:gd name="T25" fmla="*/ 6 h 30"/>
                <a:gd name="T26" fmla="*/ 38 w 80"/>
                <a:gd name="T27" fmla="*/ 2 h 30"/>
                <a:gd name="T28" fmla="*/ 50 w 80"/>
                <a:gd name="T29" fmla="*/ 0 h 30"/>
                <a:gd name="T30" fmla="*/ 60 w 80"/>
                <a:gd name="T31" fmla="*/ 0 h 30"/>
                <a:gd name="T32" fmla="*/ 70 w 80"/>
                <a:gd name="T33" fmla="*/ 2 h 30"/>
                <a:gd name="T34" fmla="*/ 80 w 80"/>
                <a:gd name="T35" fmla="*/ 8 h 30"/>
                <a:gd name="T36" fmla="*/ 80 w 80"/>
                <a:gd name="T37"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30">
                  <a:moveTo>
                    <a:pt x="80" y="8"/>
                  </a:moveTo>
                  <a:lnTo>
                    <a:pt x="80" y="8"/>
                  </a:lnTo>
                  <a:lnTo>
                    <a:pt x="74" y="16"/>
                  </a:lnTo>
                  <a:lnTo>
                    <a:pt x="66" y="22"/>
                  </a:lnTo>
                  <a:lnTo>
                    <a:pt x="56" y="26"/>
                  </a:lnTo>
                  <a:lnTo>
                    <a:pt x="46" y="30"/>
                  </a:lnTo>
                  <a:lnTo>
                    <a:pt x="34" y="30"/>
                  </a:lnTo>
                  <a:lnTo>
                    <a:pt x="24" y="30"/>
                  </a:lnTo>
                  <a:lnTo>
                    <a:pt x="12" y="26"/>
                  </a:lnTo>
                  <a:lnTo>
                    <a:pt x="0" y="22"/>
                  </a:lnTo>
                  <a:lnTo>
                    <a:pt x="0" y="22"/>
                  </a:lnTo>
                  <a:lnTo>
                    <a:pt x="18" y="12"/>
                  </a:lnTo>
                  <a:lnTo>
                    <a:pt x="28" y="6"/>
                  </a:lnTo>
                  <a:lnTo>
                    <a:pt x="38" y="2"/>
                  </a:lnTo>
                  <a:lnTo>
                    <a:pt x="50" y="0"/>
                  </a:lnTo>
                  <a:lnTo>
                    <a:pt x="60" y="0"/>
                  </a:lnTo>
                  <a:lnTo>
                    <a:pt x="70" y="2"/>
                  </a:lnTo>
                  <a:lnTo>
                    <a:pt x="80" y="8"/>
                  </a:lnTo>
                  <a:lnTo>
                    <a:pt x="80" y="8"/>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 name="Freeform 9"/>
            <p:cNvSpPr>
              <a:spLocks noEditPoints="1"/>
            </p:cNvSpPr>
            <p:nvPr/>
          </p:nvSpPr>
          <p:spPr bwMode="auto">
            <a:xfrm>
              <a:off x="5077370" y="1354815"/>
              <a:ext cx="5306347" cy="3934130"/>
            </a:xfrm>
            <a:custGeom>
              <a:avLst/>
              <a:gdLst>
                <a:gd name="T0" fmla="*/ 750 w 3140"/>
                <a:gd name="T1" fmla="*/ 404 h 2328"/>
                <a:gd name="T2" fmla="*/ 694 w 3140"/>
                <a:gd name="T3" fmla="*/ 330 h 2328"/>
                <a:gd name="T4" fmla="*/ 622 w 3140"/>
                <a:gd name="T5" fmla="*/ 402 h 2328"/>
                <a:gd name="T6" fmla="*/ 516 w 3140"/>
                <a:gd name="T7" fmla="*/ 286 h 2328"/>
                <a:gd name="T8" fmla="*/ 956 w 3140"/>
                <a:gd name="T9" fmla="*/ 232 h 2328"/>
                <a:gd name="T10" fmla="*/ 934 w 3140"/>
                <a:gd name="T11" fmla="*/ 262 h 2328"/>
                <a:gd name="T12" fmla="*/ 1064 w 3140"/>
                <a:gd name="T13" fmla="*/ 214 h 2328"/>
                <a:gd name="T14" fmla="*/ 1352 w 3140"/>
                <a:gd name="T15" fmla="*/ 190 h 2328"/>
                <a:gd name="T16" fmla="*/ 1432 w 3140"/>
                <a:gd name="T17" fmla="*/ 232 h 2328"/>
                <a:gd name="T18" fmla="*/ 1534 w 3140"/>
                <a:gd name="T19" fmla="*/ 86 h 2328"/>
                <a:gd name="T20" fmla="*/ 1500 w 3140"/>
                <a:gd name="T21" fmla="*/ 16 h 2328"/>
                <a:gd name="T22" fmla="*/ 1852 w 3140"/>
                <a:gd name="T23" fmla="*/ 76 h 2328"/>
                <a:gd name="T24" fmla="*/ 2168 w 3140"/>
                <a:gd name="T25" fmla="*/ 152 h 2328"/>
                <a:gd name="T26" fmla="*/ 2466 w 3140"/>
                <a:gd name="T27" fmla="*/ 158 h 2328"/>
                <a:gd name="T28" fmla="*/ 2850 w 3140"/>
                <a:gd name="T29" fmla="*/ 180 h 2328"/>
                <a:gd name="T30" fmla="*/ 3014 w 3140"/>
                <a:gd name="T31" fmla="*/ 252 h 2328"/>
                <a:gd name="T32" fmla="*/ 2986 w 3140"/>
                <a:gd name="T33" fmla="*/ 346 h 2328"/>
                <a:gd name="T34" fmla="*/ 2898 w 3140"/>
                <a:gd name="T35" fmla="*/ 474 h 2328"/>
                <a:gd name="T36" fmla="*/ 2782 w 3140"/>
                <a:gd name="T37" fmla="*/ 320 h 2328"/>
                <a:gd name="T38" fmla="*/ 2578 w 3140"/>
                <a:gd name="T39" fmla="*/ 400 h 2328"/>
                <a:gd name="T40" fmla="*/ 2706 w 3140"/>
                <a:gd name="T41" fmla="*/ 688 h 2328"/>
                <a:gd name="T42" fmla="*/ 2682 w 3140"/>
                <a:gd name="T43" fmla="*/ 868 h 2328"/>
                <a:gd name="T44" fmla="*/ 2512 w 3140"/>
                <a:gd name="T45" fmla="*/ 744 h 2328"/>
                <a:gd name="T46" fmla="*/ 2534 w 3140"/>
                <a:gd name="T47" fmla="*/ 886 h 2328"/>
                <a:gd name="T48" fmla="*/ 2484 w 3140"/>
                <a:gd name="T49" fmla="*/ 1134 h 2328"/>
                <a:gd name="T50" fmla="*/ 2430 w 3140"/>
                <a:gd name="T51" fmla="*/ 1318 h 2328"/>
                <a:gd name="T52" fmla="*/ 2330 w 3140"/>
                <a:gd name="T53" fmla="*/ 1386 h 2328"/>
                <a:gd name="T54" fmla="*/ 2344 w 3140"/>
                <a:gd name="T55" fmla="*/ 1574 h 2328"/>
                <a:gd name="T56" fmla="*/ 2166 w 3140"/>
                <a:gd name="T57" fmla="*/ 1266 h 2328"/>
                <a:gd name="T58" fmla="*/ 1982 w 3140"/>
                <a:gd name="T59" fmla="*/ 1162 h 2328"/>
                <a:gd name="T60" fmla="*/ 1798 w 3140"/>
                <a:gd name="T61" fmla="*/ 1388 h 2328"/>
                <a:gd name="T62" fmla="*/ 1668 w 3140"/>
                <a:gd name="T63" fmla="*/ 1160 h 2328"/>
                <a:gd name="T64" fmla="*/ 1406 w 3140"/>
                <a:gd name="T65" fmla="*/ 1050 h 2328"/>
                <a:gd name="T66" fmla="*/ 1284 w 3140"/>
                <a:gd name="T67" fmla="*/ 1076 h 2328"/>
                <a:gd name="T68" fmla="*/ 1442 w 3140"/>
                <a:gd name="T69" fmla="*/ 1116 h 2328"/>
                <a:gd name="T70" fmla="*/ 1084 w 3140"/>
                <a:gd name="T71" fmla="*/ 1162 h 2328"/>
                <a:gd name="T72" fmla="*/ 1034 w 3140"/>
                <a:gd name="T73" fmla="*/ 1150 h 2328"/>
                <a:gd name="T74" fmla="*/ 1308 w 3140"/>
                <a:gd name="T75" fmla="*/ 1402 h 2328"/>
                <a:gd name="T76" fmla="*/ 1112 w 3140"/>
                <a:gd name="T77" fmla="*/ 1884 h 2328"/>
                <a:gd name="T78" fmla="*/ 948 w 3140"/>
                <a:gd name="T79" fmla="*/ 2168 h 2328"/>
                <a:gd name="T80" fmla="*/ 636 w 3140"/>
                <a:gd name="T81" fmla="*/ 2210 h 2328"/>
                <a:gd name="T82" fmla="*/ 576 w 3140"/>
                <a:gd name="T83" fmla="*/ 1750 h 2328"/>
                <a:gd name="T84" fmla="*/ 438 w 3140"/>
                <a:gd name="T85" fmla="*/ 1508 h 2328"/>
                <a:gd name="T86" fmla="*/ 92 w 3140"/>
                <a:gd name="T87" fmla="*/ 1442 h 2328"/>
                <a:gd name="T88" fmla="*/ 22 w 3140"/>
                <a:gd name="T89" fmla="*/ 1242 h 2328"/>
                <a:gd name="T90" fmla="*/ 234 w 3140"/>
                <a:gd name="T91" fmla="*/ 850 h 2328"/>
                <a:gd name="T92" fmla="*/ 552 w 3140"/>
                <a:gd name="T93" fmla="*/ 904 h 2328"/>
                <a:gd name="T94" fmla="*/ 888 w 3140"/>
                <a:gd name="T95" fmla="*/ 950 h 2328"/>
                <a:gd name="T96" fmla="*/ 918 w 3140"/>
                <a:gd name="T97" fmla="*/ 830 h 2328"/>
                <a:gd name="T98" fmla="*/ 950 w 3140"/>
                <a:gd name="T99" fmla="*/ 722 h 2328"/>
                <a:gd name="T100" fmla="*/ 956 w 3140"/>
                <a:gd name="T101" fmla="*/ 644 h 2328"/>
                <a:gd name="T102" fmla="*/ 838 w 3140"/>
                <a:gd name="T103" fmla="*/ 740 h 2328"/>
                <a:gd name="T104" fmla="*/ 738 w 3140"/>
                <a:gd name="T105" fmla="*/ 788 h 2328"/>
                <a:gd name="T106" fmla="*/ 672 w 3140"/>
                <a:gd name="T107" fmla="*/ 754 h 2328"/>
                <a:gd name="T108" fmla="*/ 508 w 3140"/>
                <a:gd name="T109" fmla="*/ 664 h 2328"/>
                <a:gd name="T110" fmla="*/ 262 w 3140"/>
                <a:gd name="T111" fmla="*/ 828 h 2328"/>
                <a:gd name="T112" fmla="*/ 298 w 3140"/>
                <a:gd name="T113" fmla="*/ 692 h 2328"/>
                <a:gd name="T114" fmla="*/ 382 w 3140"/>
                <a:gd name="T115" fmla="*/ 546 h 2328"/>
                <a:gd name="T116" fmla="*/ 518 w 3140"/>
                <a:gd name="T117" fmla="*/ 430 h 2328"/>
                <a:gd name="T118" fmla="*/ 1224 w 3140"/>
                <a:gd name="T119" fmla="*/ 782 h 2328"/>
                <a:gd name="T120" fmla="*/ 1290 w 3140"/>
                <a:gd name="T121" fmla="*/ 712 h 2328"/>
                <a:gd name="T122" fmla="*/ 1204 w 3140"/>
                <a:gd name="T123" fmla="*/ 624 h 2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40" h="2328">
                  <a:moveTo>
                    <a:pt x="522" y="446"/>
                  </a:moveTo>
                  <a:lnTo>
                    <a:pt x="522" y="446"/>
                  </a:lnTo>
                  <a:lnTo>
                    <a:pt x="520" y="448"/>
                  </a:lnTo>
                  <a:lnTo>
                    <a:pt x="522" y="450"/>
                  </a:lnTo>
                  <a:lnTo>
                    <a:pt x="526" y="460"/>
                  </a:lnTo>
                  <a:lnTo>
                    <a:pt x="534" y="468"/>
                  </a:lnTo>
                  <a:lnTo>
                    <a:pt x="540" y="474"/>
                  </a:lnTo>
                  <a:lnTo>
                    <a:pt x="540" y="474"/>
                  </a:lnTo>
                  <a:lnTo>
                    <a:pt x="562" y="470"/>
                  </a:lnTo>
                  <a:lnTo>
                    <a:pt x="582" y="470"/>
                  </a:lnTo>
                  <a:lnTo>
                    <a:pt x="626" y="468"/>
                  </a:lnTo>
                  <a:lnTo>
                    <a:pt x="646" y="468"/>
                  </a:lnTo>
                  <a:lnTo>
                    <a:pt x="666" y="464"/>
                  </a:lnTo>
                  <a:lnTo>
                    <a:pt x="686" y="456"/>
                  </a:lnTo>
                  <a:lnTo>
                    <a:pt x="704" y="446"/>
                  </a:lnTo>
                  <a:lnTo>
                    <a:pt x="704" y="446"/>
                  </a:lnTo>
                  <a:lnTo>
                    <a:pt x="700" y="424"/>
                  </a:lnTo>
                  <a:lnTo>
                    <a:pt x="700" y="414"/>
                  </a:lnTo>
                  <a:lnTo>
                    <a:pt x="704" y="404"/>
                  </a:lnTo>
                  <a:lnTo>
                    <a:pt x="704" y="404"/>
                  </a:lnTo>
                  <a:lnTo>
                    <a:pt x="712" y="404"/>
                  </a:lnTo>
                  <a:lnTo>
                    <a:pt x="720" y="406"/>
                  </a:lnTo>
                  <a:lnTo>
                    <a:pt x="730" y="410"/>
                  </a:lnTo>
                  <a:lnTo>
                    <a:pt x="736" y="412"/>
                  </a:lnTo>
                  <a:lnTo>
                    <a:pt x="740" y="412"/>
                  </a:lnTo>
                  <a:lnTo>
                    <a:pt x="746" y="408"/>
                  </a:lnTo>
                  <a:lnTo>
                    <a:pt x="750" y="404"/>
                  </a:lnTo>
                  <a:lnTo>
                    <a:pt x="750" y="404"/>
                  </a:lnTo>
                  <a:lnTo>
                    <a:pt x="750" y="398"/>
                  </a:lnTo>
                  <a:lnTo>
                    <a:pt x="748" y="394"/>
                  </a:lnTo>
                  <a:lnTo>
                    <a:pt x="742" y="388"/>
                  </a:lnTo>
                  <a:lnTo>
                    <a:pt x="734" y="382"/>
                  </a:lnTo>
                  <a:lnTo>
                    <a:pt x="732" y="376"/>
                  </a:lnTo>
                  <a:lnTo>
                    <a:pt x="732" y="370"/>
                  </a:lnTo>
                  <a:lnTo>
                    <a:pt x="732" y="370"/>
                  </a:lnTo>
                  <a:lnTo>
                    <a:pt x="744" y="368"/>
                  </a:lnTo>
                  <a:lnTo>
                    <a:pt x="756" y="368"/>
                  </a:lnTo>
                  <a:lnTo>
                    <a:pt x="780" y="368"/>
                  </a:lnTo>
                  <a:lnTo>
                    <a:pt x="792" y="368"/>
                  </a:lnTo>
                  <a:lnTo>
                    <a:pt x="802" y="368"/>
                  </a:lnTo>
                  <a:lnTo>
                    <a:pt x="812" y="364"/>
                  </a:lnTo>
                  <a:lnTo>
                    <a:pt x="820" y="356"/>
                  </a:lnTo>
                  <a:lnTo>
                    <a:pt x="820" y="356"/>
                  </a:lnTo>
                  <a:lnTo>
                    <a:pt x="814" y="352"/>
                  </a:lnTo>
                  <a:lnTo>
                    <a:pt x="806" y="348"/>
                  </a:lnTo>
                  <a:lnTo>
                    <a:pt x="800" y="346"/>
                  </a:lnTo>
                  <a:lnTo>
                    <a:pt x="790" y="346"/>
                  </a:lnTo>
                  <a:lnTo>
                    <a:pt x="774" y="346"/>
                  </a:lnTo>
                  <a:lnTo>
                    <a:pt x="754" y="348"/>
                  </a:lnTo>
                  <a:lnTo>
                    <a:pt x="736" y="350"/>
                  </a:lnTo>
                  <a:lnTo>
                    <a:pt x="720" y="348"/>
                  </a:lnTo>
                  <a:lnTo>
                    <a:pt x="712" y="346"/>
                  </a:lnTo>
                  <a:lnTo>
                    <a:pt x="706" y="342"/>
                  </a:lnTo>
                  <a:lnTo>
                    <a:pt x="700" y="336"/>
                  </a:lnTo>
                  <a:lnTo>
                    <a:pt x="694" y="330"/>
                  </a:lnTo>
                  <a:lnTo>
                    <a:pt x="694" y="330"/>
                  </a:lnTo>
                  <a:lnTo>
                    <a:pt x="696" y="316"/>
                  </a:lnTo>
                  <a:lnTo>
                    <a:pt x="700" y="306"/>
                  </a:lnTo>
                  <a:lnTo>
                    <a:pt x="704" y="298"/>
                  </a:lnTo>
                  <a:lnTo>
                    <a:pt x="710" y="290"/>
                  </a:lnTo>
                  <a:lnTo>
                    <a:pt x="724" y="274"/>
                  </a:lnTo>
                  <a:lnTo>
                    <a:pt x="728" y="266"/>
                  </a:lnTo>
                  <a:lnTo>
                    <a:pt x="732" y="254"/>
                  </a:lnTo>
                  <a:lnTo>
                    <a:pt x="732" y="254"/>
                  </a:lnTo>
                  <a:lnTo>
                    <a:pt x="726" y="246"/>
                  </a:lnTo>
                  <a:lnTo>
                    <a:pt x="718" y="240"/>
                  </a:lnTo>
                  <a:lnTo>
                    <a:pt x="718" y="240"/>
                  </a:lnTo>
                  <a:lnTo>
                    <a:pt x="692" y="260"/>
                  </a:lnTo>
                  <a:lnTo>
                    <a:pt x="668" y="278"/>
                  </a:lnTo>
                  <a:lnTo>
                    <a:pt x="644" y="300"/>
                  </a:lnTo>
                  <a:lnTo>
                    <a:pt x="634" y="312"/>
                  </a:lnTo>
                  <a:lnTo>
                    <a:pt x="624" y="324"/>
                  </a:lnTo>
                  <a:lnTo>
                    <a:pt x="624" y="324"/>
                  </a:lnTo>
                  <a:lnTo>
                    <a:pt x="626" y="332"/>
                  </a:lnTo>
                  <a:lnTo>
                    <a:pt x="630" y="336"/>
                  </a:lnTo>
                  <a:lnTo>
                    <a:pt x="640" y="344"/>
                  </a:lnTo>
                  <a:lnTo>
                    <a:pt x="650" y="352"/>
                  </a:lnTo>
                  <a:lnTo>
                    <a:pt x="654" y="356"/>
                  </a:lnTo>
                  <a:lnTo>
                    <a:pt x="658" y="362"/>
                  </a:lnTo>
                  <a:lnTo>
                    <a:pt x="658" y="362"/>
                  </a:lnTo>
                  <a:lnTo>
                    <a:pt x="646" y="368"/>
                  </a:lnTo>
                  <a:lnTo>
                    <a:pt x="636" y="378"/>
                  </a:lnTo>
                  <a:lnTo>
                    <a:pt x="628" y="390"/>
                  </a:lnTo>
                  <a:lnTo>
                    <a:pt x="622" y="402"/>
                  </a:lnTo>
                  <a:lnTo>
                    <a:pt x="614" y="416"/>
                  </a:lnTo>
                  <a:lnTo>
                    <a:pt x="606" y="426"/>
                  </a:lnTo>
                  <a:lnTo>
                    <a:pt x="596" y="436"/>
                  </a:lnTo>
                  <a:lnTo>
                    <a:pt x="590" y="438"/>
                  </a:lnTo>
                  <a:lnTo>
                    <a:pt x="582" y="440"/>
                  </a:lnTo>
                  <a:lnTo>
                    <a:pt x="582" y="440"/>
                  </a:lnTo>
                  <a:lnTo>
                    <a:pt x="572" y="436"/>
                  </a:lnTo>
                  <a:lnTo>
                    <a:pt x="564" y="428"/>
                  </a:lnTo>
                  <a:lnTo>
                    <a:pt x="558" y="420"/>
                  </a:lnTo>
                  <a:lnTo>
                    <a:pt x="554" y="408"/>
                  </a:lnTo>
                  <a:lnTo>
                    <a:pt x="546" y="388"/>
                  </a:lnTo>
                  <a:lnTo>
                    <a:pt x="540" y="378"/>
                  </a:lnTo>
                  <a:lnTo>
                    <a:pt x="532" y="370"/>
                  </a:lnTo>
                  <a:lnTo>
                    <a:pt x="532" y="370"/>
                  </a:lnTo>
                  <a:lnTo>
                    <a:pt x="524" y="378"/>
                  </a:lnTo>
                  <a:lnTo>
                    <a:pt x="516" y="382"/>
                  </a:lnTo>
                  <a:lnTo>
                    <a:pt x="508" y="386"/>
                  </a:lnTo>
                  <a:lnTo>
                    <a:pt x="500" y="386"/>
                  </a:lnTo>
                  <a:lnTo>
                    <a:pt x="492" y="388"/>
                  </a:lnTo>
                  <a:lnTo>
                    <a:pt x="486" y="386"/>
                  </a:lnTo>
                  <a:lnTo>
                    <a:pt x="472" y="382"/>
                  </a:lnTo>
                  <a:lnTo>
                    <a:pt x="462" y="374"/>
                  </a:lnTo>
                  <a:lnTo>
                    <a:pt x="452" y="360"/>
                  </a:lnTo>
                  <a:lnTo>
                    <a:pt x="448" y="346"/>
                  </a:lnTo>
                  <a:lnTo>
                    <a:pt x="448" y="330"/>
                  </a:lnTo>
                  <a:lnTo>
                    <a:pt x="448" y="330"/>
                  </a:lnTo>
                  <a:lnTo>
                    <a:pt x="492" y="300"/>
                  </a:lnTo>
                  <a:lnTo>
                    <a:pt x="516" y="286"/>
                  </a:lnTo>
                  <a:lnTo>
                    <a:pt x="536" y="272"/>
                  </a:lnTo>
                  <a:lnTo>
                    <a:pt x="558" y="256"/>
                  </a:lnTo>
                  <a:lnTo>
                    <a:pt x="576" y="238"/>
                  </a:lnTo>
                  <a:lnTo>
                    <a:pt x="592" y="216"/>
                  </a:lnTo>
                  <a:lnTo>
                    <a:pt x="606" y="194"/>
                  </a:lnTo>
                  <a:lnTo>
                    <a:pt x="606" y="194"/>
                  </a:lnTo>
                  <a:lnTo>
                    <a:pt x="634" y="182"/>
                  </a:lnTo>
                  <a:lnTo>
                    <a:pt x="664" y="172"/>
                  </a:lnTo>
                  <a:lnTo>
                    <a:pt x="696" y="164"/>
                  </a:lnTo>
                  <a:lnTo>
                    <a:pt x="730" y="160"/>
                  </a:lnTo>
                  <a:lnTo>
                    <a:pt x="762" y="158"/>
                  </a:lnTo>
                  <a:lnTo>
                    <a:pt x="778" y="160"/>
                  </a:lnTo>
                  <a:lnTo>
                    <a:pt x="794" y="162"/>
                  </a:lnTo>
                  <a:lnTo>
                    <a:pt x="808" y="166"/>
                  </a:lnTo>
                  <a:lnTo>
                    <a:pt x="822" y="172"/>
                  </a:lnTo>
                  <a:lnTo>
                    <a:pt x="836" y="180"/>
                  </a:lnTo>
                  <a:lnTo>
                    <a:pt x="848" y="190"/>
                  </a:lnTo>
                  <a:lnTo>
                    <a:pt x="848" y="190"/>
                  </a:lnTo>
                  <a:lnTo>
                    <a:pt x="864" y="188"/>
                  </a:lnTo>
                  <a:lnTo>
                    <a:pt x="882" y="188"/>
                  </a:lnTo>
                  <a:lnTo>
                    <a:pt x="898" y="190"/>
                  </a:lnTo>
                  <a:lnTo>
                    <a:pt x="914" y="194"/>
                  </a:lnTo>
                  <a:lnTo>
                    <a:pt x="930" y="200"/>
                  </a:lnTo>
                  <a:lnTo>
                    <a:pt x="944" y="208"/>
                  </a:lnTo>
                  <a:lnTo>
                    <a:pt x="970" y="222"/>
                  </a:lnTo>
                  <a:lnTo>
                    <a:pt x="970" y="222"/>
                  </a:lnTo>
                  <a:lnTo>
                    <a:pt x="964" y="228"/>
                  </a:lnTo>
                  <a:lnTo>
                    <a:pt x="956" y="232"/>
                  </a:lnTo>
                  <a:lnTo>
                    <a:pt x="950" y="234"/>
                  </a:lnTo>
                  <a:lnTo>
                    <a:pt x="942" y="236"/>
                  </a:lnTo>
                  <a:lnTo>
                    <a:pt x="926" y="236"/>
                  </a:lnTo>
                  <a:lnTo>
                    <a:pt x="910" y="232"/>
                  </a:lnTo>
                  <a:lnTo>
                    <a:pt x="892" y="228"/>
                  </a:lnTo>
                  <a:lnTo>
                    <a:pt x="876" y="224"/>
                  </a:lnTo>
                  <a:lnTo>
                    <a:pt x="858" y="224"/>
                  </a:lnTo>
                  <a:lnTo>
                    <a:pt x="852" y="224"/>
                  </a:lnTo>
                  <a:lnTo>
                    <a:pt x="844" y="226"/>
                  </a:lnTo>
                  <a:lnTo>
                    <a:pt x="844" y="226"/>
                  </a:lnTo>
                  <a:lnTo>
                    <a:pt x="854" y="234"/>
                  </a:lnTo>
                  <a:lnTo>
                    <a:pt x="866" y="246"/>
                  </a:lnTo>
                  <a:lnTo>
                    <a:pt x="886" y="268"/>
                  </a:lnTo>
                  <a:lnTo>
                    <a:pt x="898" y="278"/>
                  </a:lnTo>
                  <a:lnTo>
                    <a:pt x="904" y="282"/>
                  </a:lnTo>
                  <a:lnTo>
                    <a:pt x="910" y="284"/>
                  </a:lnTo>
                  <a:lnTo>
                    <a:pt x="918" y="284"/>
                  </a:lnTo>
                  <a:lnTo>
                    <a:pt x="926" y="284"/>
                  </a:lnTo>
                  <a:lnTo>
                    <a:pt x="934" y="282"/>
                  </a:lnTo>
                  <a:lnTo>
                    <a:pt x="942" y="278"/>
                  </a:lnTo>
                  <a:lnTo>
                    <a:pt x="942" y="278"/>
                  </a:lnTo>
                  <a:lnTo>
                    <a:pt x="938" y="272"/>
                  </a:lnTo>
                  <a:lnTo>
                    <a:pt x="932" y="268"/>
                  </a:lnTo>
                  <a:lnTo>
                    <a:pt x="926" y="266"/>
                  </a:lnTo>
                  <a:lnTo>
                    <a:pt x="918" y="264"/>
                  </a:lnTo>
                  <a:lnTo>
                    <a:pt x="918" y="264"/>
                  </a:lnTo>
                  <a:lnTo>
                    <a:pt x="924" y="262"/>
                  </a:lnTo>
                  <a:lnTo>
                    <a:pt x="934" y="262"/>
                  </a:lnTo>
                  <a:lnTo>
                    <a:pt x="952" y="266"/>
                  </a:lnTo>
                  <a:lnTo>
                    <a:pt x="960" y="264"/>
                  </a:lnTo>
                  <a:lnTo>
                    <a:pt x="966" y="262"/>
                  </a:lnTo>
                  <a:lnTo>
                    <a:pt x="966" y="260"/>
                  </a:lnTo>
                  <a:lnTo>
                    <a:pt x="968" y="256"/>
                  </a:lnTo>
                  <a:lnTo>
                    <a:pt x="964" y="246"/>
                  </a:lnTo>
                  <a:lnTo>
                    <a:pt x="964" y="246"/>
                  </a:lnTo>
                  <a:lnTo>
                    <a:pt x="990" y="238"/>
                  </a:lnTo>
                  <a:lnTo>
                    <a:pt x="1004" y="236"/>
                  </a:lnTo>
                  <a:lnTo>
                    <a:pt x="1016" y="232"/>
                  </a:lnTo>
                  <a:lnTo>
                    <a:pt x="1016" y="232"/>
                  </a:lnTo>
                  <a:lnTo>
                    <a:pt x="1016" y="226"/>
                  </a:lnTo>
                  <a:lnTo>
                    <a:pt x="1014" y="222"/>
                  </a:lnTo>
                  <a:lnTo>
                    <a:pt x="1010" y="216"/>
                  </a:lnTo>
                  <a:lnTo>
                    <a:pt x="1006" y="208"/>
                  </a:lnTo>
                  <a:lnTo>
                    <a:pt x="1008" y="206"/>
                  </a:lnTo>
                  <a:lnTo>
                    <a:pt x="1012" y="204"/>
                  </a:lnTo>
                  <a:lnTo>
                    <a:pt x="1012" y="204"/>
                  </a:lnTo>
                  <a:lnTo>
                    <a:pt x="1022" y="202"/>
                  </a:lnTo>
                  <a:lnTo>
                    <a:pt x="1028" y="204"/>
                  </a:lnTo>
                  <a:lnTo>
                    <a:pt x="1030" y="208"/>
                  </a:lnTo>
                  <a:lnTo>
                    <a:pt x="1032" y="210"/>
                  </a:lnTo>
                  <a:lnTo>
                    <a:pt x="1034" y="220"/>
                  </a:lnTo>
                  <a:lnTo>
                    <a:pt x="1038" y="224"/>
                  </a:lnTo>
                  <a:lnTo>
                    <a:pt x="1044" y="226"/>
                  </a:lnTo>
                  <a:lnTo>
                    <a:pt x="1044" y="226"/>
                  </a:lnTo>
                  <a:lnTo>
                    <a:pt x="1054" y="220"/>
                  </a:lnTo>
                  <a:lnTo>
                    <a:pt x="1064" y="214"/>
                  </a:lnTo>
                  <a:lnTo>
                    <a:pt x="1086" y="206"/>
                  </a:lnTo>
                  <a:lnTo>
                    <a:pt x="1110" y="202"/>
                  </a:lnTo>
                  <a:lnTo>
                    <a:pt x="1134" y="200"/>
                  </a:lnTo>
                  <a:lnTo>
                    <a:pt x="1182" y="198"/>
                  </a:lnTo>
                  <a:lnTo>
                    <a:pt x="1206" y="196"/>
                  </a:lnTo>
                  <a:lnTo>
                    <a:pt x="1230" y="194"/>
                  </a:lnTo>
                  <a:lnTo>
                    <a:pt x="1230" y="194"/>
                  </a:lnTo>
                  <a:lnTo>
                    <a:pt x="1228" y="186"/>
                  </a:lnTo>
                  <a:lnTo>
                    <a:pt x="1226" y="182"/>
                  </a:lnTo>
                  <a:lnTo>
                    <a:pt x="1222" y="178"/>
                  </a:lnTo>
                  <a:lnTo>
                    <a:pt x="1216" y="178"/>
                  </a:lnTo>
                  <a:lnTo>
                    <a:pt x="1204" y="178"/>
                  </a:lnTo>
                  <a:lnTo>
                    <a:pt x="1196" y="178"/>
                  </a:lnTo>
                  <a:lnTo>
                    <a:pt x="1188" y="176"/>
                  </a:lnTo>
                  <a:lnTo>
                    <a:pt x="1188" y="176"/>
                  </a:lnTo>
                  <a:lnTo>
                    <a:pt x="1198" y="172"/>
                  </a:lnTo>
                  <a:lnTo>
                    <a:pt x="1206" y="170"/>
                  </a:lnTo>
                  <a:lnTo>
                    <a:pt x="1218" y="170"/>
                  </a:lnTo>
                  <a:lnTo>
                    <a:pt x="1228" y="172"/>
                  </a:lnTo>
                  <a:lnTo>
                    <a:pt x="1250" y="178"/>
                  </a:lnTo>
                  <a:lnTo>
                    <a:pt x="1274" y="184"/>
                  </a:lnTo>
                  <a:lnTo>
                    <a:pt x="1298" y="192"/>
                  </a:lnTo>
                  <a:lnTo>
                    <a:pt x="1320" y="198"/>
                  </a:lnTo>
                  <a:lnTo>
                    <a:pt x="1340" y="202"/>
                  </a:lnTo>
                  <a:lnTo>
                    <a:pt x="1348" y="200"/>
                  </a:lnTo>
                  <a:lnTo>
                    <a:pt x="1356" y="198"/>
                  </a:lnTo>
                  <a:lnTo>
                    <a:pt x="1356" y="198"/>
                  </a:lnTo>
                  <a:lnTo>
                    <a:pt x="1352" y="190"/>
                  </a:lnTo>
                  <a:lnTo>
                    <a:pt x="1346" y="184"/>
                  </a:lnTo>
                  <a:lnTo>
                    <a:pt x="1338" y="180"/>
                  </a:lnTo>
                  <a:lnTo>
                    <a:pt x="1330" y="176"/>
                  </a:lnTo>
                  <a:lnTo>
                    <a:pt x="1322" y="172"/>
                  </a:lnTo>
                  <a:lnTo>
                    <a:pt x="1314" y="166"/>
                  </a:lnTo>
                  <a:lnTo>
                    <a:pt x="1308" y="160"/>
                  </a:lnTo>
                  <a:lnTo>
                    <a:pt x="1304" y="152"/>
                  </a:lnTo>
                  <a:lnTo>
                    <a:pt x="1304" y="152"/>
                  </a:lnTo>
                  <a:lnTo>
                    <a:pt x="1312" y="140"/>
                  </a:lnTo>
                  <a:lnTo>
                    <a:pt x="1320" y="132"/>
                  </a:lnTo>
                  <a:lnTo>
                    <a:pt x="1328" y="128"/>
                  </a:lnTo>
                  <a:lnTo>
                    <a:pt x="1336" y="126"/>
                  </a:lnTo>
                  <a:lnTo>
                    <a:pt x="1344" y="126"/>
                  </a:lnTo>
                  <a:lnTo>
                    <a:pt x="1352" y="130"/>
                  </a:lnTo>
                  <a:lnTo>
                    <a:pt x="1358" y="134"/>
                  </a:lnTo>
                  <a:lnTo>
                    <a:pt x="1366" y="140"/>
                  </a:lnTo>
                  <a:lnTo>
                    <a:pt x="1382" y="156"/>
                  </a:lnTo>
                  <a:lnTo>
                    <a:pt x="1394" y="172"/>
                  </a:lnTo>
                  <a:lnTo>
                    <a:pt x="1416" y="204"/>
                  </a:lnTo>
                  <a:lnTo>
                    <a:pt x="1416" y="204"/>
                  </a:lnTo>
                  <a:lnTo>
                    <a:pt x="1414" y="214"/>
                  </a:lnTo>
                  <a:lnTo>
                    <a:pt x="1408" y="220"/>
                  </a:lnTo>
                  <a:lnTo>
                    <a:pt x="1402" y="228"/>
                  </a:lnTo>
                  <a:lnTo>
                    <a:pt x="1398" y="236"/>
                  </a:lnTo>
                  <a:lnTo>
                    <a:pt x="1398" y="236"/>
                  </a:lnTo>
                  <a:lnTo>
                    <a:pt x="1412" y="236"/>
                  </a:lnTo>
                  <a:lnTo>
                    <a:pt x="1424" y="234"/>
                  </a:lnTo>
                  <a:lnTo>
                    <a:pt x="1432" y="232"/>
                  </a:lnTo>
                  <a:lnTo>
                    <a:pt x="1438" y="228"/>
                  </a:lnTo>
                  <a:lnTo>
                    <a:pt x="1440" y="222"/>
                  </a:lnTo>
                  <a:lnTo>
                    <a:pt x="1442" y="216"/>
                  </a:lnTo>
                  <a:lnTo>
                    <a:pt x="1440" y="210"/>
                  </a:lnTo>
                  <a:lnTo>
                    <a:pt x="1438" y="202"/>
                  </a:lnTo>
                  <a:lnTo>
                    <a:pt x="1430" y="188"/>
                  </a:lnTo>
                  <a:lnTo>
                    <a:pt x="1418" y="172"/>
                  </a:lnTo>
                  <a:lnTo>
                    <a:pt x="1408" y="156"/>
                  </a:lnTo>
                  <a:lnTo>
                    <a:pt x="1398" y="142"/>
                  </a:lnTo>
                  <a:lnTo>
                    <a:pt x="1398" y="142"/>
                  </a:lnTo>
                  <a:lnTo>
                    <a:pt x="1408" y="144"/>
                  </a:lnTo>
                  <a:lnTo>
                    <a:pt x="1418" y="144"/>
                  </a:lnTo>
                  <a:lnTo>
                    <a:pt x="1428" y="144"/>
                  </a:lnTo>
                  <a:lnTo>
                    <a:pt x="1436" y="142"/>
                  </a:lnTo>
                  <a:lnTo>
                    <a:pt x="1452" y="134"/>
                  </a:lnTo>
                  <a:lnTo>
                    <a:pt x="1468" y="124"/>
                  </a:lnTo>
                  <a:lnTo>
                    <a:pt x="1482" y="114"/>
                  </a:lnTo>
                  <a:lnTo>
                    <a:pt x="1498" y="108"/>
                  </a:lnTo>
                  <a:lnTo>
                    <a:pt x="1508" y="104"/>
                  </a:lnTo>
                  <a:lnTo>
                    <a:pt x="1516" y="104"/>
                  </a:lnTo>
                  <a:lnTo>
                    <a:pt x="1526" y="104"/>
                  </a:lnTo>
                  <a:lnTo>
                    <a:pt x="1538" y="106"/>
                  </a:lnTo>
                  <a:lnTo>
                    <a:pt x="1538" y="106"/>
                  </a:lnTo>
                  <a:lnTo>
                    <a:pt x="1540" y="102"/>
                  </a:lnTo>
                  <a:lnTo>
                    <a:pt x="1542" y="100"/>
                  </a:lnTo>
                  <a:lnTo>
                    <a:pt x="1538" y="96"/>
                  </a:lnTo>
                  <a:lnTo>
                    <a:pt x="1534" y="90"/>
                  </a:lnTo>
                  <a:lnTo>
                    <a:pt x="1534" y="86"/>
                  </a:lnTo>
                  <a:lnTo>
                    <a:pt x="1534" y="82"/>
                  </a:lnTo>
                  <a:lnTo>
                    <a:pt x="1534" y="82"/>
                  </a:lnTo>
                  <a:lnTo>
                    <a:pt x="1554" y="76"/>
                  </a:lnTo>
                  <a:lnTo>
                    <a:pt x="1576" y="74"/>
                  </a:lnTo>
                  <a:lnTo>
                    <a:pt x="1620" y="72"/>
                  </a:lnTo>
                  <a:lnTo>
                    <a:pt x="1640" y="70"/>
                  </a:lnTo>
                  <a:lnTo>
                    <a:pt x="1660" y="66"/>
                  </a:lnTo>
                  <a:lnTo>
                    <a:pt x="1668" y="62"/>
                  </a:lnTo>
                  <a:lnTo>
                    <a:pt x="1676" y="58"/>
                  </a:lnTo>
                  <a:lnTo>
                    <a:pt x="1682" y="52"/>
                  </a:lnTo>
                  <a:lnTo>
                    <a:pt x="1686" y="44"/>
                  </a:lnTo>
                  <a:lnTo>
                    <a:pt x="1686" y="44"/>
                  </a:lnTo>
                  <a:lnTo>
                    <a:pt x="1680" y="42"/>
                  </a:lnTo>
                  <a:lnTo>
                    <a:pt x="1674" y="40"/>
                  </a:lnTo>
                  <a:lnTo>
                    <a:pt x="1666" y="40"/>
                  </a:lnTo>
                  <a:lnTo>
                    <a:pt x="1658" y="40"/>
                  </a:lnTo>
                  <a:lnTo>
                    <a:pt x="1642" y="44"/>
                  </a:lnTo>
                  <a:lnTo>
                    <a:pt x="1632" y="50"/>
                  </a:lnTo>
                  <a:lnTo>
                    <a:pt x="1632" y="50"/>
                  </a:lnTo>
                  <a:lnTo>
                    <a:pt x="1634" y="44"/>
                  </a:lnTo>
                  <a:lnTo>
                    <a:pt x="1634" y="40"/>
                  </a:lnTo>
                  <a:lnTo>
                    <a:pt x="1632" y="36"/>
                  </a:lnTo>
                  <a:lnTo>
                    <a:pt x="1636" y="30"/>
                  </a:lnTo>
                  <a:lnTo>
                    <a:pt x="1636" y="30"/>
                  </a:lnTo>
                  <a:lnTo>
                    <a:pt x="1598" y="30"/>
                  </a:lnTo>
                  <a:lnTo>
                    <a:pt x="1564" y="28"/>
                  </a:lnTo>
                  <a:lnTo>
                    <a:pt x="1500" y="16"/>
                  </a:lnTo>
                  <a:lnTo>
                    <a:pt x="1500" y="16"/>
                  </a:lnTo>
                  <a:lnTo>
                    <a:pt x="1506" y="8"/>
                  </a:lnTo>
                  <a:lnTo>
                    <a:pt x="1514" y="2"/>
                  </a:lnTo>
                  <a:lnTo>
                    <a:pt x="1522" y="0"/>
                  </a:lnTo>
                  <a:lnTo>
                    <a:pt x="1530" y="2"/>
                  </a:lnTo>
                  <a:lnTo>
                    <a:pt x="1550" y="8"/>
                  </a:lnTo>
                  <a:lnTo>
                    <a:pt x="1576" y="16"/>
                  </a:lnTo>
                  <a:lnTo>
                    <a:pt x="1576" y="16"/>
                  </a:lnTo>
                  <a:lnTo>
                    <a:pt x="1594" y="22"/>
                  </a:lnTo>
                  <a:lnTo>
                    <a:pt x="1614" y="24"/>
                  </a:lnTo>
                  <a:lnTo>
                    <a:pt x="1652" y="28"/>
                  </a:lnTo>
                  <a:lnTo>
                    <a:pt x="1668" y="30"/>
                  </a:lnTo>
                  <a:lnTo>
                    <a:pt x="1680" y="34"/>
                  </a:lnTo>
                  <a:lnTo>
                    <a:pt x="1688" y="38"/>
                  </a:lnTo>
                  <a:lnTo>
                    <a:pt x="1692" y="42"/>
                  </a:lnTo>
                  <a:lnTo>
                    <a:pt x="1692" y="44"/>
                  </a:lnTo>
                  <a:lnTo>
                    <a:pt x="1692" y="44"/>
                  </a:lnTo>
                  <a:lnTo>
                    <a:pt x="1702" y="44"/>
                  </a:lnTo>
                  <a:lnTo>
                    <a:pt x="1710" y="44"/>
                  </a:lnTo>
                  <a:lnTo>
                    <a:pt x="1724" y="50"/>
                  </a:lnTo>
                  <a:lnTo>
                    <a:pt x="1736" y="56"/>
                  </a:lnTo>
                  <a:lnTo>
                    <a:pt x="1748" y="64"/>
                  </a:lnTo>
                  <a:lnTo>
                    <a:pt x="1748" y="64"/>
                  </a:lnTo>
                  <a:lnTo>
                    <a:pt x="1780" y="60"/>
                  </a:lnTo>
                  <a:lnTo>
                    <a:pt x="1798" y="60"/>
                  </a:lnTo>
                  <a:lnTo>
                    <a:pt x="1814" y="60"/>
                  </a:lnTo>
                  <a:lnTo>
                    <a:pt x="1830" y="62"/>
                  </a:lnTo>
                  <a:lnTo>
                    <a:pt x="1842" y="68"/>
                  </a:lnTo>
                  <a:lnTo>
                    <a:pt x="1852" y="76"/>
                  </a:lnTo>
                  <a:lnTo>
                    <a:pt x="1856" y="80"/>
                  </a:lnTo>
                  <a:lnTo>
                    <a:pt x="1860" y="86"/>
                  </a:lnTo>
                  <a:lnTo>
                    <a:pt x="1860" y="86"/>
                  </a:lnTo>
                  <a:lnTo>
                    <a:pt x="1846" y="90"/>
                  </a:lnTo>
                  <a:lnTo>
                    <a:pt x="1834" y="98"/>
                  </a:lnTo>
                  <a:lnTo>
                    <a:pt x="1824" y="104"/>
                  </a:lnTo>
                  <a:lnTo>
                    <a:pt x="1812" y="110"/>
                  </a:lnTo>
                  <a:lnTo>
                    <a:pt x="1812" y="110"/>
                  </a:lnTo>
                  <a:lnTo>
                    <a:pt x="1818" y="114"/>
                  </a:lnTo>
                  <a:lnTo>
                    <a:pt x="1824" y="114"/>
                  </a:lnTo>
                  <a:lnTo>
                    <a:pt x="1836" y="116"/>
                  </a:lnTo>
                  <a:lnTo>
                    <a:pt x="1850" y="114"/>
                  </a:lnTo>
                  <a:lnTo>
                    <a:pt x="1864" y="110"/>
                  </a:lnTo>
                  <a:lnTo>
                    <a:pt x="1878" y="108"/>
                  </a:lnTo>
                  <a:lnTo>
                    <a:pt x="1894" y="108"/>
                  </a:lnTo>
                  <a:lnTo>
                    <a:pt x="1908" y="112"/>
                  </a:lnTo>
                  <a:lnTo>
                    <a:pt x="1914" y="114"/>
                  </a:lnTo>
                  <a:lnTo>
                    <a:pt x="1920" y="120"/>
                  </a:lnTo>
                  <a:lnTo>
                    <a:pt x="1920" y="120"/>
                  </a:lnTo>
                  <a:lnTo>
                    <a:pt x="1986" y="116"/>
                  </a:lnTo>
                  <a:lnTo>
                    <a:pt x="2022" y="116"/>
                  </a:lnTo>
                  <a:lnTo>
                    <a:pt x="2058" y="118"/>
                  </a:lnTo>
                  <a:lnTo>
                    <a:pt x="2094" y="122"/>
                  </a:lnTo>
                  <a:lnTo>
                    <a:pt x="2110" y="126"/>
                  </a:lnTo>
                  <a:lnTo>
                    <a:pt x="2126" y="130"/>
                  </a:lnTo>
                  <a:lnTo>
                    <a:pt x="2142" y="136"/>
                  </a:lnTo>
                  <a:lnTo>
                    <a:pt x="2156" y="142"/>
                  </a:lnTo>
                  <a:lnTo>
                    <a:pt x="2168" y="152"/>
                  </a:lnTo>
                  <a:lnTo>
                    <a:pt x="2180" y="162"/>
                  </a:lnTo>
                  <a:lnTo>
                    <a:pt x="2180" y="162"/>
                  </a:lnTo>
                  <a:lnTo>
                    <a:pt x="2186" y="158"/>
                  </a:lnTo>
                  <a:lnTo>
                    <a:pt x="2192" y="154"/>
                  </a:lnTo>
                  <a:lnTo>
                    <a:pt x="2206" y="150"/>
                  </a:lnTo>
                  <a:lnTo>
                    <a:pt x="2220" y="150"/>
                  </a:lnTo>
                  <a:lnTo>
                    <a:pt x="2234" y="152"/>
                  </a:lnTo>
                  <a:lnTo>
                    <a:pt x="2248" y="154"/>
                  </a:lnTo>
                  <a:lnTo>
                    <a:pt x="2262" y="154"/>
                  </a:lnTo>
                  <a:lnTo>
                    <a:pt x="2276" y="152"/>
                  </a:lnTo>
                  <a:lnTo>
                    <a:pt x="2288" y="148"/>
                  </a:lnTo>
                  <a:lnTo>
                    <a:pt x="2288" y="148"/>
                  </a:lnTo>
                  <a:lnTo>
                    <a:pt x="2292" y="144"/>
                  </a:lnTo>
                  <a:lnTo>
                    <a:pt x="2292" y="142"/>
                  </a:lnTo>
                  <a:lnTo>
                    <a:pt x="2288" y="136"/>
                  </a:lnTo>
                  <a:lnTo>
                    <a:pt x="2284" y="132"/>
                  </a:lnTo>
                  <a:lnTo>
                    <a:pt x="2284" y="130"/>
                  </a:lnTo>
                  <a:lnTo>
                    <a:pt x="2288" y="128"/>
                  </a:lnTo>
                  <a:lnTo>
                    <a:pt x="2288" y="128"/>
                  </a:lnTo>
                  <a:lnTo>
                    <a:pt x="2310" y="124"/>
                  </a:lnTo>
                  <a:lnTo>
                    <a:pt x="2330" y="124"/>
                  </a:lnTo>
                  <a:lnTo>
                    <a:pt x="2350" y="126"/>
                  </a:lnTo>
                  <a:lnTo>
                    <a:pt x="2370" y="132"/>
                  </a:lnTo>
                  <a:lnTo>
                    <a:pt x="2410" y="144"/>
                  </a:lnTo>
                  <a:lnTo>
                    <a:pt x="2430" y="152"/>
                  </a:lnTo>
                  <a:lnTo>
                    <a:pt x="2450" y="156"/>
                  </a:lnTo>
                  <a:lnTo>
                    <a:pt x="2450" y="156"/>
                  </a:lnTo>
                  <a:lnTo>
                    <a:pt x="2466" y="158"/>
                  </a:lnTo>
                  <a:lnTo>
                    <a:pt x="2480" y="160"/>
                  </a:lnTo>
                  <a:lnTo>
                    <a:pt x="2512" y="158"/>
                  </a:lnTo>
                  <a:lnTo>
                    <a:pt x="2542" y="156"/>
                  </a:lnTo>
                  <a:lnTo>
                    <a:pt x="2558" y="156"/>
                  </a:lnTo>
                  <a:lnTo>
                    <a:pt x="2572" y="156"/>
                  </a:lnTo>
                  <a:lnTo>
                    <a:pt x="2572" y="156"/>
                  </a:lnTo>
                  <a:lnTo>
                    <a:pt x="2588" y="162"/>
                  </a:lnTo>
                  <a:lnTo>
                    <a:pt x="2602" y="168"/>
                  </a:lnTo>
                  <a:lnTo>
                    <a:pt x="2618" y="176"/>
                  </a:lnTo>
                  <a:lnTo>
                    <a:pt x="2632" y="180"/>
                  </a:lnTo>
                  <a:lnTo>
                    <a:pt x="2632" y="180"/>
                  </a:lnTo>
                  <a:lnTo>
                    <a:pt x="2650" y="182"/>
                  </a:lnTo>
                  <a:lnTo>
                    <a:pt x="2670" y="180"/>
                  </a:lnTo>
                  <a:lnTo>
                    <a:pt x="2706" y="178"/>
                  </a:lnTo>
                  <a:lnTo>
                    <a:pt x="2726" y="178"/>
                  </a:lnTo>
                  <a:lnTo>
                    <a:pt x="2744" y="180"/>
                  </a:lnTo>
                  <a:lnTo>
                    <a:pt x="2760" y="186"/>
                  </a:lnTo>
                  <a:lnTo>
                    <a:pt x="2778" y="194"/>
                  </a:lnTo>
                  <a:lnTo>
                    <a:pt x="2778" y="194"/>
                  </a:lnTo>
                  <a:lnTo>
                    <a:pt x="2780" y="190"/>
                  </a:lnTo>
                  <a:lnTo>
                    <a:pt x="2782" y="186"/>
                  </a:lnTo>
                  <a:lnTo>
                    <a:pt x="2778" y="184"/>
                  </a:lnTo>
                  <a:lnTo>
                    <a:pt x="2776" y="180"/>
                  </a:lnTo>
                  <a:lnTo>
                    <a:pt x="2770" y="176"/>
                  </a:lnTo>
                  <a:lnTo>
                    <a:pt x="2770" y="172"/>
                  </a:lnTo>
                  <a:lnTo>
                    <a:pt x="2772" y="170"/>
                  </a:lnTo>
                  <a:lnTo>
                    <a:pt x="2772" y="170"/>
                  </a:lnTo>
                  <a:lnTo>
                    <a:pt x="2850" y="180"/>
                  </a:lnTo>
                  <a:lnTo>
                    <a:pt x="2888" y="186"/>
                  </a:lnTo>
                  <a:lnTo>
                    <a:pt x="2924" y="192"/>
                  </a:lnTo>
                  <a:lnTo>
                    <a:pt x="2960" y="202"/>
                  </a:lnTo>
                  <a:lnTo>
                    <a:pt x="2994" y="212"/>
                  </a:lnTo>
                  <a:lnTo>
                    <a:pt x="3026" y="222"/>
                  </a:lnTo>
                  <a:lnTo>
                    <a:pt x="3056" y="236"/>
                  </a:lnTo>
                  <a:lnTo>
                    <a:pt x="3056" y="236"/>
                  </a:lnTo>
                  <a:lnTo>
                    <a:pt x="3072" y="232"/>
                  </a:lnTo>
                  <a:lnTo>
                    <a:pt x="3084" y="226"/>
                  </a:lnTo>
                  <a:lnTo>
                    <a:pt x="3084" y="226"/>
                  </a:lnTo>
                  <a:lnTo>
                    <a:pt x="3094" y="228"/>
                  </a:lnTo>
                  <a:lnTo>
                    <a:pt x="3102" y="232"/>
                  </a:lnTo>
                  <a:lnTo>
                    <a:pt x="3114" y="242"/>
                  </a:lnTo>
                  <a:lnTo>
                    <a:pt x="3126" y="252"/>
                  </a:lnTo>
                  <a:lnTo>
                    <a:pt x="3132" y="256"/>
                  </a:lnTo>
                  <a:lnTo>
                    <a:pt x="3140" y="260"/>
                  </a:lnTo>
                  <a:lnTo>
                    <a:pt x="3140" y="260"/>
                  </a:lnTo>
                  <a:lnTo>
                    <a:pt x="3124" y="264"/>
                  </a:lnTo>
                  <a:lnTo>
                    <a:pt x="3108" y="266"/>
                  </a:lnTo>
                  <a:lnTo>
                    <a:pt x="3094" y="262"/>
                  </a:lnTo>
                  <a:lnTo>
                    <a:pt x="3080" y="258"/>
                  </a:lnTo>
                  <a:lnTo>
                    <a:pt x="3048" y="246"/>
                  </a:lnTo>
                  <a:lnTo>
                    <a:pt x="3032" y="242"/>
                  </a:lnTo>
                  <a:lnTo>
                    <a:pt x="3014" y="240"/>
                  </a:lnTo>
                  <a:lnTo>
                    <a:pt x="3014" y="240"/>
                  </a:lnTo>
                  <a:lnTo>
                    <a:pt x="3012" y="244"/>
                  </a:lnTo>
                  <a:lnTo>
                    <a:pt x="3012" y="246"/>
                  </a:lnTo>
                  <a:lnTo>
                    <a:pt x="3014" y="252"/>
                  </a:lnTo>
                  <a:lnTo>
                    <a:pt x="3018" y="256"/>
                  </a:lnTo>
                  <a:lnTo>
                    <a:pt x="3024" y="260"/>
                  </a:lnTo>
                  <a:lnTo>
                    <a:pt x="3024" y="260"/>
                  </a:lnTo>
                  <a:lnTo>
                    <a:pt x="3020" y="262"/>
                  </a:lnTo>
                  <a:lnTo>
                    <a:pt x="3016" y="264"/>
                  </a:lnTo>
                  <a:lnTo>
                    <a:pt x="3006" y="260"/>
                  </a:lnTo>
                  <a:lnTo>
                    <a:pt x="2996" y="258"/>
                  </a:lnTo>
                  <a:lnTo>
                    <a:pt x="2990" y="260"/>
                  </a:lnTo>
                  <a:lnTo>
                    <a:pt x="2986" y="264"/>
                  </a:lnTo>
                  <a:lnTo>
                    <a:pt x="2986" y="264"/>
                  </a:lnTo>
                  <a:lnTo>
                    <a:pt x="2996" y="272"/>
                  </a:lnTo>
                  <a:lnTo>
                    <a:pt x="3008" y="278"/>
                  </a:lnTo>
                  <a:lnTo>
                    <a:pt x="3032" y="286"/>
                  </a:lnTo>
                  <a:lnTo>
                    <a:pt x="3044" y="290"/>
                  </a:lnTo>
                  <a:lnTo>
                    <a:pt x="3056" y="296"/>
                  </a:lnTo>
                  <a:lnTo>
                    <a:pt x="3068" y="302"/>
                  </a:lnTo>
                  <a:lnTo>
                    <a:pt x="3076" y="310"/>
                  </a:lnTo>
                  <a:lnTo>
                    <a:pt x="3076" y="310"/>
                  </a:lnTo>
                  <a:lnTo>
                    <a:pt x="3062" y="310"/>
                  </a:lnTo>
                  <a:lnTo>
                    <a:pt x="3050" y="310"/>
                  </a:lnTo>
                  <a:lnTo>
                    <a:pt x="3038" y="314"/>
                  </a:lnTo>
                  <a:lnTo>
                    <a:pt x="3028" y="318"/>
                  </a:lnTo>
                  <a:lnTo>
                    <a:pt x="3018" y="326"/>
                  </a:lnTo>
                  <a:lnTo>
                    <a:pt x="3010" y="334"/>
                  </a:lnTo>
                  <a:lnTo>
                    <a:pt x="3002" y="342"/>
                  </a:lnTo>
                  <a:lnTo>
                    <a:pt x="2996" y="352"/>
                  </a:lnTo>
                  <a:lnTo>
                    <a:pt x="2996" y="352"/>
                  </a:lnTo>
                  <a:lnTo>
                    <a:pt x="2986" y="346"/>
                  </a:lnTo>
                  <a:lnTo>
                    <a:pt x="2974" y="342"/>
                  </a:lnTo>
                  <a:lnTo>
                    <a:pt x="2962" y="342"/>
                  </a:lnTo>
                  <a:lnTo>
                    <a:pt x="2950" y="346"/>
                  </a:lnTo>
                  <a:lnTo>
                    <a:pt x="2926" y="356"/>
                  </a:lnTo>
                  <a:lnTo>
                    <a:pt x="2902" y="366"/>
                  </a:lnTo>
                  <a:lnTo>
                    <a:pt x="2902" y="366"/>
                  </a:lnTo>
                  <a:lnTo>
                    <a:pt x="2912" y="380"/>
                  </a:lnTo>
                  <a:lnTo>
                    <a:pt x="2922" y="390"/>
                  </a:lnTo>
                  <a:lnTo>
                    <a:pt x="2946" y="410"/>
                  </a:lnTo>
                  <a:lnTo>
                    <a:pt x="2956" y="420"/>
                  </a:lnTo>
                  <a:lnTo>
                    <a:pt x="2968" y="430"/>
                  </a:lnTo>
                  <a:lnTo>
                    <a:pt x="2976" y="444"/>
                  </a:lnTo>
                  <a:lnTo>
                    <a:pt x="2982" y="460"/>
                  </a:lnTo>
                  <a:lnTo>
                    <a:pt x="2982" y="460"/>
                  </a:lnTo>
                  <a:lnTo>
                    <a:pt x="2976" y="466"/>
                  </a:lnTo>
                  <a:lnTo>
                    <a:pt x="2972" y="472"/>
                  </a:lnTo>
                  <a:lnTo>
                    <a:pt x="2970" y="480"/>
                  </a:lnTo>
                  <a:lnTo>
                    <a:pt x="2972" y="488"/>
                  </a:lnTo>
                  <a:lnTo>
                    <a:pt x="2976" y="506"/>
                  </a:lnTo>
                  <a:lnTo>
                    <a:pt x="2982" y="524"/>
                  </a:lnTo>
                  <a:lnTo>
                    <a:pt x="2982" y="524"/>
                  </a:lnTo>
                  <a:lnTo>
                    <a:pt x="2970" y="524"/>
                  </a:lnTo>
                  <a:lnTo>
                    <a:pt x="2960" y="520"/>
                  </a:lnTo>
                  <a:lnTo>
                    <a:pt x="2948" y="514"/>
                  </a:lnTo>
                  <a:lnTo>
                    <a:pt x="2938" y="508"/>
                  </a:lnTo>
                  <a:lnTo>
                    <a:pt x="2918" y="492"/>
                  </a:lnTo>
                  <a:lnTo>
                    <a:pt x="2898" y="474"/>
                  </a:lnTo>
                  <a:lnTo>
                    <a:pt x="2898" y="474"/>
                  </a:lnTo>
                  <a:lnTo>
                    <a:pt x="2886" y="458"/>
                  </a:lnTo>
                  <a:lnTo>
                    <a:pt x="2874" y="442"/>
                  </a:lnTo>
                  <a:lnTo>
                    <a:pt x="2864" y="426"/>
                  </a:lnTo>
                  <a:lnTo>
                    <a:pt x="2852" y="412"/>
                  </a:lnTo>
                  <a:lnTo>
                    <a:pt x="2852" y="412"/>
                  </a:lnTo>
                  <a:lnTo>
                    <a:pt x="2864" y="384"/>
                  </a:lnTo>
                  <a:lnTo>
                    <a:pt x="2870" y="368"/>
                  </a:lnTo>
                  <a:lnTo>
                    <a:pt x="2874" y="354"/>
                  </a:lnTo>
                  <a:lnTo>
                    <a:pt x="2874" y="338"/>
                  </a:lnTo>
                  <a:lnTo>
                    <a:pt x="2872" y="326"/>
                  </a:lnTo>
                  <a:lnTo>
                    <a:pt x="2870" y="320"/>
                  </a:lnTo>
                  <a:lnTo>
                    <a:pt x="2864" y="314"/>
                  </a:lnTo>
                  <a:lnTo>
                    <a:pt x="2860" y="310"/>
                  </a:lnTo>
                  <a:lnTo>
                    <a:pt x="2852" y="306"/>
                  </a:lnTo>
                  <a:lnTo>
                    <a:pt x="2852" y="306"/>
                  </a:lnTo>
                  <a:lnTo>
                    <a:pt x="2846" y="308"/>
                  </a:lnTo>
                  <a:lnTo>
                    <a:pt x="2842" y="312"/>
                  </a:lnTo>
                  <a:lnTo>
                    <a:pt x="2840" y="316"/>
                  </a:lnTo>
                  <a:lnTo>
                    <a:pt x="2840" y="320"/>
                  </a:lnTo>
                  <a:lnTo>
                    <a:pt x="2840" y="328"/>
                  </a:lnTo>
                  <a:lnTo>
                    <a:pt x="2840" y="334"/>
                  </a:lnTo>
                  <a:lnTo>
                    <a:pt x="2838" y="338"/>
                  </a:lnTo>
                  <a:lnTo>
                    <a:pt x="2838" y="338"/>
                  </a:lnTo>
                  <a:lnTo>
                    <a:pt x="2830" y="336"/>
                  </a:lnTo>
                  <a:lnTo>
                    <a:pt x="2822" y="334"/>
                  </a:lnTo>
                  <a:lnTo>
                    <a:pt x="2808" y="326"/>
                  </a:lnTo>
                  <a:lnTo>
                    <a:pt x="2792" y="322"/>
                  </a:lnTo>
                  <a:lnTo>
                    <a:pt x="2782" y="320"/>
                  </a:lnTo>
                  <a:lnTo>
                    <a:pt x="2772" y="320"/>
                  </a:lnTo>
                  <a:lnTo>
                    <a:pt x="2772" y="320"/>
                  </a:lnTo>
                  <a:lnTo>
                    <a:pt x="2768" y="324"/>
                  </a:lnTo>
                  <a:lnTo>
                    <a:pt x="2764" y="328"/>
                  </a:lnTo>
                  <a:lnTo>
                    <a:pt x="2760" y="334"/>
                  </a:lnTo>
                  <a:lnTo>
                    <a:pt x="2760" y="342"/>
                  </a:lnTo>
                  <a:lnTo>
                    <a:pt x="2760" y="358"/>
                  </a:lnTo>
                  <a:lnTo>
                    <a:pt x="2764" y="370"/>
                  </a:lnTo>
                  <a:lnTo>
                    <a:pt x="2764" y="370"/>
                  </a:lnTo>
                  <a:lnTo>
                    <a:pt x="2754" y="374"/>
                  </a:lnTo>
                  <a:lnTo>
                    <a:pt x="2746" y="374"/>
                  </a:lnTo>
                  <a:lnTo>
                    <a:pt x="2738" y="374"/>
                  </a:lnTo>
                  <a:lnTo>
                    <a:pt x="2730" y="372"/>
                  </a:lnTo>
                  <a:lnTo>
                    <a:pt x="2716" y="368"/>
                  </a:lnTo>
                  <a:lnTo>
                    <a:pt x="2702" y="362"/>
                  </a:lnTo>
                  <a:lnTo>
                    <a:pt x="2702" y="362"/>
                  </a:lnTo>
                  <a:lnTo>
                    <a:pt x="2690" y="366"/>
                  </a:lnTo>
                  <a:lnTo>
                    <a:pt x="2680" y="368"/>
                  </a:lnTo>
                  <a:lnTo>
                    <a:pt x="2668" y="370"/>
                  </a:lnTo>
                  <a:lnTo>
                    <a:pt x="2656" y="368"/>
                  </a:lnTo>
                  <a:lnTo>
                    <a:pt x="2634" y="366"/>
                  </a:lnTo>
                  <a:lnTo>
                    <a:pt x="2624" y="366"/>
                  </a:lnTo>
                  <a:lnTo>
                    <a:pt x="2614" y="366"/>
                  </a:lnTo>
                  <a:lnTo>
                    <a:pt x="2614" y="366"/>
                  </a:lnTo>
                  <a:lnTo>
                    <a:pt x="2600" y="372"/>
                  </a:lnTo>
                  <a:lnTo>
                    <a:pt x="2590" y="380"/>
                  </a:lnTo>
                  <a:lnTo>
                    <a:pt x="2582" y="388"/>
                  </a:lnTo>
                  <a:lnTo>
                    <a:pt x="2578" y="400"/>
                  </a:lnTo>
                  <a:lnTo>
                    <a:pt x="2568" y="424"/>
                  </a:lnTo>
                  <a:lnTo>
                    <a:pt x="2562" y="438"/>
                  </a:lnTo>
                  <a:lnTo>
                    <a:pt x="2554" y="450"/>
                  </a:lnTo>
                  <a:lnTo>
                    <a:pt x="2554" y="450"/>
                  </a:lnTo>
                  <a:lnTo>
                    <a:pt x="2560" y="456"/>
                  </a:lnTo>
                  <a:lnTo>
                    <a:pt x="2570" y="464"/>
                  </a:lnTo>
                  <a:lnTo>
                    <a:pt x="2580" y="468"/>
                  </a:lnTo>
                  <a:lnTo>
                    <a:pt x="2590" y="472"/>
                  </a:lnTo>
                  <a:lnTo>
                    <a:pt x="2602" y="476"/>
                  </a:lnTo>
                  <a:lnTo>
                    <a:pt x="2612" y="476"/>
                  </a:lnTo>
                  <a:lnTo>
                    <a:pt x="2624" y="474"/>
                  </a:lnTo>
                  <a:lnTo>
                    <a:pt x="2632" y="468"/>
                  </a:lnTo>
                  <a:lnTo>
                    <a:pt x="2632" y="468"/>
                  </a:lnTo>
                  <a:lnTo>
                    <a:pt x="2648" y="476"/>
                  </a:lnTo>
                  <a:lnTo>
                    <a:pt x="2662" y="484"/>
                  </a:lnTo>
                  <a:lnTo>
                    <a:pt x="2676" y="494"/>
                  </a:lnTo>
                  <a:lnTo>
                    <a:pt x="2688" y="508"/>
                  </a:lnTo>
                  <a:lnTo>
                    <a:pt x="2698" y="522"/>
                  </a:lnTo>
                  <a:lnTo>
                    <a:pt x="2708" y="536"/>
                  </a:lnTo>
                  <a:lnTo>
                    <a:pt x="2716" y="552"/>
                  </a:lnTo>
                  <a:lnTo>
                    <a:pt x="2722" y="570"/>
                  </a:lnTo>
                  <a:lnTo>
                    <a:pt x="2726" y="586"/>
                  </a:lnTo>
                  <a:lnTo>
                    <a:pt x="2728" y="604"/>
                  </a:lnTo>
                  <a:lnTo>
                    <a:pt x="2730" y="622"/>
                  </a:lnTo>
                  <a:lnTo>
                    <a:pt x="2728" y="640"/>
                  </a:lnTo>
                  <a:lnTo>
                    <a:pt x="2722" y="656"/>
                  </a:lnTo>
                  <a:lnTo>
                    <a:pt x="2716" y="672"/>
                  </a:lnTo>
                  <a:lnTo>
                    <a:pt x="2706" y="688"/>
                  </a:lnTo>
                  <a:lnTo>
                    <a:pt x="2694" y="702"/>
                  </a:lnTo>
                  <a:lnTo>
                    <a:pt x="2694" y="702"/>
                  </a:lnTo>
                  <a:lnTo>
                    <a:pt x="2678" y="698"/>
                  </a:lnTo>
                  <a:lnTo>
                    <a:pt x="2666" y="692"/>
                  </a:lnTo>
                  <a:lnTo>
                    <a:pt x="2666" y="692"/>
                  </a:lnTo>
                  <a:lnTo>
                    <a:pt x="2656" y="704"/>
                  </a:lnTo>
                  <a:lnTo>
                    <a:pt x="2648" y="718"/>
                  </a:lnTo>
                  <a:lnTo>
                    <a:pt x="2646" y="726"/>
                  </a:lnTo>
                  <a:lnTo>
                    <a:pt x="2644" y="734"/>
                  </a:lnTo>
                  <a:lnTo>
                    <a:pt x="2646" y="740"/>
                  </a:lnTo>
                  <a:lnTo>
                    <a:pt x="2652" y="748"/>
                  </a:lnTo>
                  <a:lnTo>
                    <a:pt x="2652" y="748"/>
                  </a:lnTo>
                  <a:lnTo>
                    <a:pt x="2646" y="754"/>
                  </a:lnTo>
                  <a:lnTo>
                    <a:pt x="2638" y="760"/>
                  </a:lnTo>
                  <a:lnTo>
                    <a:pt x="2624" y="766"/>
                  </a:lnTo>
                  <a:lnTo>
                    <a:pt x="2624" y="766"/>
                  </a:lnTo>
                  <a:lnTo>
                    <a:pt x="2632" y="780"/>
                  </a:lnTo>
                  <a:lnTo>
                    <a:pt x="2644" y="790"/>
                  </a:lnTo>
                  <a:lnTo>
                    <a:pt x="2670" y="808"/>
                  </a:lnTo>
                  <a:lnTo>
                    <a:pt x="2682" y="816"/>
                  </a:lnTo>
                  <a:lnTo>
                    <a:pt x="2692" y="828"/>
                  </a:lnTo>
                  <a:lnTo>
                    <a:pt x="2696" y="834"/>
                  </a:lnTo>
                  <a:lnTo>
                    <a:pt x="2700" y="842"/>
                  </a:lnTo>
                  <a:lnTo>
                    <a:pt x="2702" y="850"/>
                  </a:lnTo>
                  <a:lnTo>
                    <a:pt x="2702" y="860"/>
                  </a:lnTo>
                  <a:lnTo>
                    <a:pt x="2702" y="860"/>
                  </a:lnTo>
                  <a:lnTo>
                    <a:pt x="2692" y="864"/>
                  </a:lnTo>
                  <a:lnTo>
                    <a:pt x="2682" y="868"/>
                  </a:lnTo>
                  <a:lnTo>
                    <a:pt x="2674" y="872"/>
                  </a:lnTo>
                  <a:lnTo>
                    <a:pt x="2666" y="878"/>
                  </a:lnTo>
                  <a:lnTo>
                    <a:pt x="2666" y="878"/>
                  </a:lnTo>
                  <a:lnTo>
                    <a:pt x="2658" y="868"/>
                  </a:lnTo>
                  <a:lnTo>
                    <a:pt x="2652" y="856"/>
                  </a:lnTo>
                  <a:lnTo>
                    <a:pt x="2640" y="832"/>
                  </a:lnTo>
                  <a:lnTo>
                    <a:pt x="2634" y="820"/>
                  </a:lnTo>
                  <a:lnTo>
                    <a:pt x="2624" y="812"/>
                  </a:lnTo>
                  <a:lnTo>
                    <a:pt x="2618" y="808"/>
                  </a:lnTo>
                  <a:lnTo>
                    <a:pt x="2612" y="806"/>
                  </a:lnTo>
                  <a:lnTo>
                    <a:pt x="2604" y="804"/>
                  </a:lnTo>
                  <a:lnTo>
                    <a:pt x="2596" y="804"/>
                  </a:lnTo>
                  <a:lnTo>
                    <a:pt x="2596" y="804"/>
                  </a:lnTo>
                  <a:lnTo>
                    <a:pt x="2594" y="790"/>
                  </a:lnTo>
                  <a:lnTo>
                    <a:pt x="2590" y="780"/>
                  </a:lnTo>
                  <a:lnTo>
                    <a:pt x="2580" y="770"/>
                  </a:lnTo>
                  <a:lnTo>
                    <a:pt x="2568" y="762"/>
                  </a:lnTo>
                  <a:lnTo>
                    <a:pt x="2568" y="762"/>
                  </a:lnTo>
                  <a:lnTo>
                    <a:pt x="2558" y="764"/>
                  </a:lnTo>
                  <a:lnTo>
                    <a:pt x="2548" y="770"/>
                  </a:lnTo>
                  <a:lnTo>
                    <a:pt x="2534" y="780"/>
                  </a:lnTo>
                  <a:lnTo>
                    <a:pt x="2534" y="780"/>
                  </a:lnTo>
                  <a:lnTo>
                    <a:pt x="2530" y="778"/>
                  </a:lnTo>
                  <a:lnTo>
                    <a:pt x="2526" y="774"/>
                  </a:lnTo>
                  <a:lnTo>
                    <a:pt x="2522" y="764"/>
                  </a:lnTo>
                  <a:lnTo>
                    <a:pt x="2520" y="750"/>
                  </a:lnTo>
                  <a:lnTo>
                    <a:pt x="2516" y="746"/>
                  </a:lnTo>
                  <a:lnTo>
                    <a:pt x="2512" y="744"/>
                  </a:lnTo>
                  <a:lnTo>
                    <a:pt x="2512" y="744"/>
                  </a:lnTo>
                  <a:lnTo>
                    <a:pt x="2504" y="742"/>
                  </a:lnTo>
                  <a:lnTo>
                    <a:pt x="2498" y="746"/>
                  </a:lnTo>
                  <a:lnTo>
                    <a:pt x="2492" y="752"/>
                  </a:lnTo>
                  <a:lnTo>
                    <a:pt x="2486" y="758"/>
                  </a:lnTo>
                  <a:lnTo>
                    <a:pt x="2480" y="766"/>
                  </a:lnTo>
                  <a:lnTo>
                    <a:pt x="2472" y="774"/>
                  </a:lnTo>
                  <a:lnTo>
                    <a:pt x="2466" y="778"/>
                  </a:lnTo>
                  <a:lnTo>
                    <a:pt x="2456" y="780"/>
                  </a:lnTo>
                  <a:lnTo>
                    <a:pt x="2456" y="780"/>
                  </a:lnTo>
                  <a:lnTo>
                    <a:pt x="2466" y="796"/>
                  </a:lnTo>
                  <a:lnTo>
                    <a:pt x="2476" y="806"/>
                  </a:lnTo>
                  <a:lnTo>
                    <a:pt x="2486" y="812"/>
                  </a:lnTo>
                  <a:lnTo>
                    <a:pt x="2498" y="814"/>
                  </a:lnTo>
                  <a:lnTo>
                    <a:pt x="2526" y="814"/>
                  </a:lnTo>
                  <a:lnTo>
                    <a:pt x="2542" y="816"/>
                  </a:lnTo>
                  <a:lnTo>
                    <a:pt x="2558" y="818"/>
                  </a:lnTo>
                  <a:lnTo>
                    <a:pt x="2558" y="818"/>
                  </a:lnTo>
                  <a:lnTo>
                    <a:pt x="2552" y="824"/>
                  </a:lnTo>
                  <a:lnTo>
                    <a:pt x="2546" y="828"/>
                  </a:lnTo>
                  <a:lnTo>
                    <a:pt x="2534" y="838"/>
                  </a:lnTo>
                  <a:lnTo>
                    <a:pt x="2528" y="842"/>
                  </a:lnTo>
                  <a:lnTo>
                    <a:pt x="2522" y="848"/>
                  </a:lnTo>
                  <a:lnTo>
                    <a:pt x="2518" y="856"/>
                  </a:lnTo>
                  <a:lnTo>
                    <a:pt x="2516" y="864"/>
                  </a:lnTo>
                  <a:lnTo>
                    <a:pt x="2516" y="864"/>
                  </a:lnTo>
                  <a:lnTo>
                    <a:pt x="2526" y="876"/>
                  </a:lnTo>
                  <a:lnTo>
                    <a:pt x="2534" y="886"/>
                  </a:lnTo>
                  <a:lnTo>
                    <a:pt x="2550" y="910"/>
                  </a:lnTo>
                  <a:lnTo>
                    <a:pt x="2568" y="932"/>
                  </a:lnTo>
                  <a:lnTo>
                    <a:pt x="2580" y="940"/>
                  </a:lnTo>
                  <a:lnTo>
                    <a:pt x="2590" y="948"/>
                  </a:lnTo>
                  <a:lnTo>
                    <a:pt x="2590" y="948"/>
                  </a:lnTo>
                  <a:lnTo>
                    <a:pt x="2592" y="952"/>
                  </a:lnTo>
                  <a:lnTo>
                    <a:pt x="2590" y="956"/>
                  </a:lnTo>
                  <a:lnTo>
                    <a:pt x="2586" y="958"/>
                  </a:lnTo>
                  <a:lnTo>
                    <a:pt x="2582" y="960"/>
                  </a:lnTo>
                  <a:lnTo>
                    <a:pt x="2576" y="962"/>
                  </a:lnTo>
                  <a:lnTo>
                    <a:pt x="2576" y="962"/>
                  </a:lnTo>
                  <a:lnTo>
                    <a:pt x="2578" y="966"/>
                  </a:lnTo>
                  <a:lnTo>
                    <a:pt x="2580" y="970"/>
                  </a:lnTo>
                  <a:lnTo>
                    <a:pt x="2588" y="972"/>
                  </a:lnTo>
                  <a:lnTo>
                    <a:pt x="2598" y="974"/>
                  </a:lnTo>
                  <a:lnTo>
                    <a:pt x="2602" y="974"/>
                  </a:lnTo>
                  <a:lnTo>
                    <a:pt x="2604" y="976"/>
                  </a:lnTo>
                  <a:lnTo>
                    <a:pt x="2604" y="976"/>
                  </a:lnTo>
                  <a:lnTo>
                    <a:pt x="2594" y="1022"/>
                  </a:lnTo>
                  <a:lnTo>
                    <a:pt x="2584" y="1062"/>
                  </a:lnTo>
                  <a:lnTo>
                    <a:pt x="2578" y="1078"/>
                  </a:lnTo>
                  <a:lnTo>
                    <a:pt x="2572" y="1092"/>
                  </a:lnTo>
                  <a:lnTo>
                    <a:pt x="2562" y="1106"/>
                  </a:lnTo>
                  <a:lnTo>
                    <a:pt x="2548" y="1116"/>
                  </a:lnTo>
                  <a:lnTo>
                    <a:pt x="2548" y="1116"/>
                  </a:lnTo>
                  <a:lnTo>
                    <a:pt x="2534" y="1124"/>
                  </a:lnTo>
                  <a:lnTo>
                    <a:pt x="2518" y="1128"/>
                  </a:lnTo>
                  <a:lnTo>
                    <a:pt x="2484" y="1134"/>
                  </a:lnTo>
                  <a:lnTo>
                    <a:pt x="2466" y="1138"/>
                  </a:lnTo>
                  <a:lnTo>
                    <a:pt x="2452" y="1146"/>
                  </a:lnTo>
                  <a:lnTo>
                    <a:pt x="2444" y="1150"/>
                  </a:lnTo>
                  <a:lnTo>
                    <a:pt x="2438" y="1156"/>
                  </a:lnTo>
                  <a:lnTo>
                    <a:pt x="2432" y="1164"/>
                  </a:lnTo>
                  <a:lnTo>
                    <a:pt x="2428" y="1172"/>
                  </a:lnTo>
                  <a:lnTo>
                    <a:pt x="2428" y="1172"/>
                  </a:lnTo>
                  <a:lnTo>
                    <a:pt x="2424" y="1170"/>
                  </a:lnTo>
                  <a:lnTo>
                    <a:pt x="2420" y="1166"/>
                  </a:lnTo>
                  <a:lnTo>
                    <a:pt x="2416" y="1158"/>
                  </a:lnTo>
                  <a:lnTo>
                    <a:pt x="2412" y="1150"/>
                  </a:lnTo>
                  <a:lnTo>
                    <a:pt x="2408" y="1146"/>
                  </a:lnTo>
                  <a:lnTo>
                    <a:pt x="2404" y="1144"/>
                  </a:lnTo>
                  <a:lnTo>
                    <a:pt x="2404" y="1144"/>
                  </a:lnTo>
                  <a:lnTo>
                    <a:pt x="2380" y="1154"/>
                  </a:lnTo>
                  <a:lnTo>
                    <a:pt x="2364" y="1164"/>
                  </a:lnTo>
                  <a:lnTo>
                    <a:pt x="2358" y="1168"/>
                  </a:lnTo>
                  <a:lnTo>
                    <a:pt x="2354" y="1174"/>
                  </a:lnTo>
                  <a:lnTo>
                    <a:pt x="2352" y="1180"/>
                  </a:lnTo>
                  <a:lnTo>
                    <a:pt x="2350" y="1186"/>
                  </a:lnTo>
                  <a:lnTo>
                    <a:pt x="2352" y="1198"/>
                  </a:lnTo>
                  <a:lnTo>
                    <a:pt x="2358" y="1210"/>
                  </a:lnTo>
                  <a:lnTo>
                    <a:pt x="2366" y="1224"/>
                  </a:lnTo>
                  <a:lnTo>
                    <a:pt x="2378" y="1238"/>
                  </a:lnTo>
                  <a:lnTo>
                    <a:pt x="2402" y="1268"/>
                  </a:lnTo>
                  <a:lnTo>
                    <a:pt x="2412" y="1284"/>
                  </a:lnTo>
                  <a:lnTo>
                    <a:pt x="2422" y="1300"/>
                  </a:lnTo>
                  <a:lnTo>
                    <a:pt x="2430" y="1318"/>
                  </a:lnTo>
                  <a:lnTo>
                    <a:pt x="2432" y="1336"/>
                  </a:lnTo>
                  <a:lnTo>
                    <a:pt x="2432" y="1344"/>
                  </a:lnTo>
                  <a:lnTo>
                    <a:pt x="2430" y="1354"/>
                  </a:lnTo>
                  <a:lnTo>
                    <a:pt x="2428" y="1364"/>
                  </a:lnTo>
                  <a:lnTo>
                    <a:pt x="2424" y="1372"/>
                  </a:lnTo>
                  <a:lnTo>
                    <a:pt x="2424" y="1372"/>
                  </a:lnTo>
                  <a:lnTo>
                    <a:pt x="2412" y="1376"/>
                  </a:lnTo>
                  <a:lnTo>
                    <a:pt x="2402" y="1380"/>
                  </a:lnTo>
                  <a:lnTo>
                    <a:pt x="2394" y="1384"/>
                  </a:lnTo>
                  <a:lnTo>
                    <a:pt x="2388" y="1392"/>
                  </a:lnTo>
                  <a:lnTo>
                    <a:pt x="2376" y="1406"/>
                  </a:lnTo>
                  <a:lnTo>
                    <a:pt x="2362" y="1420"/>
                  </a:lnTo>
                  <a:lnTo>
                    <a:pt x="2362" y="1420"/>
                  </a:lnTo>
                  <a:lnTo>
                    <a:pt x="2356" y="1416"/>
                  </a:lnTo>
                  <a:lnTo>
                    <a:pt x="2354" y="1412"/>
                  </a:lnTo>
                  <a:lnTo>
                    <a:pt x="2354" y="1408"/>
                  </a:lnTo>
                  <a:lnTo>
                    <a:pt x="2354" y="1402"/>
                  </a:lnTo>
                  <a:lnTo>
                    <a:pt x="2358" y="1392"/>
                  </a:lnTo>
                  <a:lnTo>
                    <a:pt x="2356" y="1386"/>
                  </a:lnTo>
                  <a:lnTo>
                    <a:pt x="2354" y="1382"/>
                  </a:lnTo>
                  <a:lnTo>
                    <a:pt x="2354" y="1382"/>
                  </a:lnTo>
                  <a:lnTo>
                    <a:pt x="2352" y="1380"/>
                  </a:lnTo>
                  <a:lnTo>
                    <a:pt x="2350" y="1378"/>
                  </a:lnTo>
                  <a:lnTo>
                    <a:pt x="2344" y="1382"/>
                  </a:lnTo>
                  <a:lnTo>
                    <a:pt x="2338" y="1386"/>
                  </a:lnTo>
                  <a:lnTo>
                    <a:pt x="2334" y="1388"/>
                  </a:lnTo>
                  <a:lnTo>
                    <a:pt x="2330" y="1386"/>
                  </a:lnTo>
                  <a:lnTo>
                    <a:pt x="2330" y="1386"/>
                  </a:lnTo>
                  <a:lnTo>
                    <a:pt x="2324" y="1374"/>
                  </a:lnTo>
                  <a:lnTo>
                    <a:pt x="2316" y="1364"/>
                  </a:lnTo>
                  <a:lnTo>
                    <a:pt x="2308" y="1354"/>
                  </a:lnTo>
                  <a:lnTo>
                    <a:pt x="2298" y="1346"/>
                  </a:lnTo>
                  <a:lnTo>
                    <a:pt x="2278" y="1332"/>
                  </a:lnTo>
                  <a:lnTo>
                    <a:pt x="2256" y="1316"/>
                  </a:lnTo>
                  <a:lnTo>
                    <a:pt x="2256" y="1316"/>
                  </a:lnTo>
                  <a:lnTo>
                    <a:pt x="2250" y="1324"/>
                  </a:lnTo>
                  <a:lnTo>
                    <a:pt x="2248" y="1332"/>
                  </a:lnTo>
                  <a:lnTo>
                    <a:pt x="2248" y="1340"/>
                  </a:lnTo>
                  <a:lnTo>
                    <a:pt x="2248" y="1352"/>
                  </a:lnTo>
                  <a:lnTo>
                    <a:pt x="2248" y="1372"/>
                  </a:lnTo>
                  <a:lnTo>
                    <a:pt x="2246" y="1382"/>
                  </a:lnTo>
                  <a:lnTo>
                    <a:pt x="2242" y="1392"/>
                  </a:lnTo>
                  <a:lnTo>
                    <a:pt x="2242" y="1392"/>
                  </a:lnTo>
                  <a:lnTo>
                    <a:pt x="2246" y="1404"/>
                  </a:lnTo>
                  <a:lnTo>
                    <a:pt x="2252" y="1416"/>
                  </a:lnTo>
                  <a:lnTo>
                    <a:pt x="2258" y="1428"/>
                  </a:lnTo>
                  <a:lnTo>
                    <a:pt x="2266" y="1438"/>
                  </a:lnTo>
                  <a:lnTo>
                    <a:pt x="2282" y="1458"/>
                  </a:lnTo>
                  <a:lnTo>
                    <a:pt x="2300" y="1476"/>
                  </a:lnTo>
                  <a:lnTo>
                    <a:pt x="2316" y="1494"/>
                  </a:lnTo>
                  <a:lnTo>
                    <a:pt x="2324" y="1504"/>
                  </a:lnTo>
                  <a:lnTo>
                    <a:pt x="2330" y="1516"/>
                  </a:lnTo>
                  <a:lnTo>
                    <a:pt x="2336" y="1528"/>
                  </a:lnTo>
                  <a:lnTo>
                    <a:pt x="2340" y="1542"/>
                  </a:lnTo>
                  <a:lnTo>
                    <a:pt x="2342" y="1556"/>
                  </a:lnTo>
                  <a:lnTo>
                    <a:pt x="2344" y="1574"/>
                  </a:lnTo>
                  <a:lnTo>
                    <a:pt x="2344" y="1574"/>
                  </a:lnTo>
                  <a:lnTo>
                    <a:pt x="2330" y="1570"/>
                  </a:lnTo>
                  <a:lnTo>
                    <a:pt x="2318" y="1566"/>
                  </a:lnTo>
                  <a:lnTo>
                    <a:pt x="2308" y="1558"/>
                  </a:lnTo>
                  <a:lnTo>
                    <a:pt x="2300" y="1550"/>
                  </a:lnTo>
                  <a:lnTo>
                    <a:pt x="2294" y="1540"/>
                  </a:lnTo>
                  <a:lnTo>
                    <a:pt x="2288" y="1530"/>
                  </a:lnTo>
                  <a:lnTo>
                    <a:pt x="2278" y="1506"/>
                  </a:lnTo>
                  <a:lnTo>
                    <a:pt x="2270" y="1480"/>
                  </a:lnTo>
                  <a:lnTo>
                    <a:pt x="2260" y="1458"/>
                  </a:lnTo>
                  <a:lnTo>
                    <a:pt x="2252" y="1448"/>
                  </a:lnTo>
                  <a:lnTo>
                    <a:pt x="2244" y="1440"/>
                  </a:lnTo>
                  <a:lnTo>
                    <a:pt x="2234" y="1434"/>
                  </a:lnTo>
                  <a:lnTo>
                    <a:pt x="2222" y="1428"/>
                  </a:lnTo>
                  <a:lnTo>
                    <a:pt x="2222" y="1428"/>
                  </a:lnTo>
                  <a:lnTo>
                    <a:pt x="2228" y="1404"/>
                  </a:lnTo>
                  <a:lnTo>
                    <a:pt x="2230" y="1380"/>
                  </a:lnTo>
                  <a:lnTo>
                    <a:pt x="2228" y="1356"/>
                  </a:lnTo>
                  <a:lnTo>
                    <a:pt x="2224" y="1332"/>
                  </a:lnTo>
                  <a:lnTo>
                    <a:pt x="2218" y="1310"/>
                  </a:lnTo>
                  <a:lnTo>
                    <a:pt x="2210" y="1288"/>
                  </a:lnTo>
                  <a:lnTo>
                    <a:pt x="2200" y="1268"/>
                  </a:lnTo>
                  <a:lnTo>
                    <a:pt x="2190" y="1246"/>
                  </a:lnTo>
                  <a:lnTo>
                    <a:pt x="2190" y="1246"/>
                  </a:lnTo>
                  <a:lnTo>
                    <a:pt x="2184" y="1248"/>
                  </a:lnTo>
                  <a:lnTo>
                    <a:pt x="2178" y="1250"/>
                  </a:lnTo>
                  <a:lnTo>
                    <a:pt x="2170" y="1260"/>
                  </a:lnTo>
                  <a:lnTo>
                    <a:pt x="2166" y="1266"/>
                  </a:lnTo>
                  <a:lnTo>
                    <a:pt x="2162" y="1268"/>
                  </a:lnTo>
                  <a:lnTo>
                    <a:pt x="2158" y="1268"/>
                  </a:lnTo>
                  <a:lnTo>
                    <a:pt x="2152" y="1266"/>
                  </a:lnTo>
                  <a:lnTo>
                    <a:pt x="2152" y="1266"/>
                  </a:lnTo>
                  <a:lnTo>
                    <a:pt x="2146" y="1256"/>
                  </a:lnTo>
                  <a:lnTo>
                    <a:pt x="2140" y="1242"/>
                  </a:lnTo>
                  <a:lnTo>
                    <a:pt x="2132" y="1212"/>
                  </a:lnTo>
                  <a:lnTo>
                    <a:pt x="2126" y="1198"/>
                  </a:lnTo>
                  <a:lnTo>
                    <a:pt x="2116" y="1186"/>
                  </a:lnTo>
                  <a:lnTo>
                    <a:pt x="2110" y="1180"/>
                  </a:lnTo>
                  <a:lnTo>
                    <a:pt x="2104" y="1176"/>
                  </a:lnTo>
                  <a:lnTo>
                    <a:pt x="2096" y="1174"/>
                  </a:lnTo>
                  <a:lnTo>
                    <a:pt x="2088" y="1172"/>
                  </a:lnTo>
                  <a:lnTo>
                    <a:pt x="2088" y="1172"/>
                  </a:lnTo>
                  <a:lnTo>
                    <a:pt x="2084" y="1158"/>
                  </a:lnTo>
                  <a:lnTo>
                    <a:pt x="2078" y="1146"/>
                  </a:lnTo>
                  <a:lnTo>
                    <a:pt x="2070" y="1134"/>
                  </a:lnTo>
                  <a:lnTo>
                    <a:pt x="2060" y="1126"/>
                  </a:lnTo>
                  <a:lnTo>
                    <a:pt x="2060" y="1126"/>
                  </a:lnTo>
                  <a:lnTo>
                    <a:pt x="2052" y="1130"/>
                  </a:lnTo>
                  <a:lnTo>
                    <a:pt x="2042" y="1134"/>
                  </a:lnTo>
                  <a:lnTo>
                    <a:pt x="2024" y="1138"/>
                  </a:lnTo>
                  <a:lnTo>
                    <a:pt x="2002" y="1142"/>
                  </a:lnTo>
                  <a:lnTo>
                    <a:pt x="1994" y="1146"/>
                  </a:lnTo>
                  <a:lnTo>
                    <a:pt x="1986" y="1150"/>
                  </a:lnTo>
                  <a:lnTo>
                    <a:pt x="1986" y="1150"/>
                  </a:lnTo>
                  <a:lnTo>
                    <a:pt x="1982" y="1158"/>
                  </a:lnTo>
                  <a:lnTo>
                    <a:pt x="1982" y="1162"/>
                  </a:lnTo>
                  <a:lnTo>
                    <a:pt x="1984" y="1168"/>
                  </a:lnTo>
                  <a:lnTo>
                    <a:pt x="1986" y="1176"/>
                  </a:lnTo>
                  <a:lnTo>
                    <a:pt x="1986" y="1176"/>
                  </a:lnTo>
                  <a:lnTo>
                    <a:pt x="1966" y="1186"/>
                  </a:lnTo>
                  <a:lnTo>
                    <a:pt x="1950" y="1198"/>
                  </a:lnTo>
                  <a:lnTo>
                    <a:pt x="1934" y="1212"/>
                  </a:lnTo>
                  <a:lnTo>
                    <a:pt x="1920" y="1228"/>
                  </a:lnTo>
                  <a:lnTo>
                    <a:pt x="1894" y="1256"/>
                  </a:lnTo>
                  <a:lnTo>
                    <a:pt x="1880" y="1272"/>
                  </a:lnTo>
                  <a:lnTo>
                    <a:pt x="1864" y="1284"/>
                  </a:lnTo>
                  <a:lnTo>
                    <a:pt x="1864" y="1284"/>
                  </a:lnTo>
                  <a:lnTo>
                    <a:pt x="1868" y="1304"/>
                  </a:lnTo>
                  <a:lnTo>
                    <a:pt x="1870" y="1324"/>
                  </a:lnTo>
                  <a:lnTo>
                    <a:pt x="1868" y="1346"/>
                  </a:lnTo>
                  <a:lnTo>
                    <a:pt x="1864" y="1368"/>
                  </a:lnTo>
                  <a:lnTo>
                    <a:pt x="1858" y="1388"/>
                  </a:lnTo>
                  <a:lnTo>
                    <a:pt x="1848" y="1404"/>
                  </a:lnTo>
                  <a:lnTo>
                    <a:pt x="1844" y="1412"/>
                  </a:lnTo>
                  <a:lnTo>
                    <a:pt x="1836" y="1420"/>
                  </a:lnTo>
                  <a:lnTo>
                    <a:pt x="1830" y="1424"/>
                  </a:lnTo>
                  <a:lnTo>
                    <a:pt x="1822" y="1428"/>
                  </a:lnTo>
                  <a:lnTo>
                    <a:pt x="1822" y="1428"/>
                  </a:lnTo>
                  <a:lnTo>
                    <a:pt x="1820" y="1424"/>
                  </a:lnTo>
                  <a:lnTo>
                    <a:pt x="1814" y="1422"/>
                  </a:lnTo>
                  <a:lnTo>
                    <a:pt x="1804" y="1420"/>
                  </a:lnTo>
                  <a:lnTo>
                    <a:pt x="1804" y="1420"/>
                  </a:lnTo>
                  <a:lnTo>
                    <a:pt x="1802" y="1404"/>
                  </a:lnTo>
                  <a:lnTo>
                    <a:pt x="1798" y="1388"/>
                  </a:lnTo>
                  <a:lnTo>
                    <a:pt x="1794" y="1372"/>
                  </a:lnTo>
                  <a:lnTo>
                    <a:pt x="1788" y="1358"/>
                  </a:lnTo>
                  <a:lnTo>
                    <a:pt x="1774" y="1330"/>
                  </a:lnTo>
                  <a:lnTo>
                    <a:pt x="1758" y="1304"/>
                  </a:lnTo>
                  <a:lnTo>
                    <a:pt x="1744" y="1276"/>
                  </a:lnTo>
                  <a:lnTo>
                    <a:pt x="1730" y="1250"/>
                  </a:lnTo>
                  <a:lnTo>
                    <a:pt x="1724" y="1236"/>
                  </a:lnTo>
                  <a:lnTo>
                    <a:pt x="1720" y="1220"/>
                  </a:lnTo>
                  <a:lnTo>
                    <a:pt x="1716" y="1206"/>
                  </a:lnTo>
                  <a:lnTo>
                    <a:pt x="1714" y="1190"/>
                  </a:lnTo>
                  <a:lnTo>
                    <a:pt x="1714" y="1190"/>
                  </a:lnTo>
                  <a:lnTo>
                    <a:pt x="1716" y="1176"/>
                  </a:lnTo>
                  <a:lnTo>
                    <a:pt x="1718" y="1160"/>
                  </a:lnTo>
                  <a:lnTo>
                    <a:pt x="1718" y="1154"/>
                  </a:lnTo>
                  <a:lnTo>
                    <a:pt x="1716" y="1146"/>
                  </a:lnTo>
                  <a:lnTo>
                    <a:pt x="1712" y="1140"/>
                  </a:lnTo>
                  <a:lnTo>
                    <a:pt x="1706" y="1136"/>
                  </a:lnTo>
                  <a:lnTo>
                    <a:pt x="1706" y="1136"/>
                  </a:lnTo>
                  <a:lnTo>
                    <a:pt x="1700" y="1138"/>
                  </a:lnTo>
                  <a:lnTo>
                    <a:pt x="1698" y="1140"/>
                  </a:lnTo>
                  <a:lnTo>
                    <a:pt x="1698" y="1148"/>
                  </a:lnTo>
                  <a:lnTo>
                    <a:pt x="1698" y="1156"/>
                  </a:lnTo>
                  <a:lnTo>
                    <a:pt x="1696" y="1160"/>
                  </a:lnTo>
                  <a:lnTo>
                    <a:pt x="1692" y="1164"/>
                  </a:lnTo>
                  <a:lnTo>
                    <a:pt x="1692" y="1164"/>
                  </a:lnTo>
                  <a:lnTo>
                    <a:pt x="1682" y="1164"/>
                  </a:lnTo>
                  <a:lnTo>
                    <a:pt x="1674" y="1162"/>
                  </a:lnTo>
                  <a:lnTo>
                    <a:pt x="1668" y="1160"/>
                  </a:lnTo>
                  <a:lnTo>
                    <a:pt x="1662" y="1158"/>
                  </a:lnTo>
                  <a:lnTo>
                    <a:pt x="1652" y="1150"/>
                  </a:lnTo>
                  <a:lnTo>
                    <a:pt x="1644" y="1140"/>
                  </a:lnTo>
                  <a:lnTo>
                    <a:pt x="1644" y="1140"/>
                  </a:lnTo>
                  <a:lnTo>
                    <a:pt x="1646" y="1136"/>
                  </a:lnTo>
                  <a:lnTo>
                    <a:pt x="1648" y="1136"/>
                  </a:lnTo>
                  <a:lnTo>
                    <a:pt x="1656" y="1134"/>
                  </a:lnTo>
                  <a:lnTo>
                    <a:pt x="1662" y="1132"/>
                  </a:lnTo>
                  <a:lnTo>
                    <a:pt x="1664" y="1130"/>
                  </a:lnTo>
                  <a:lnTo>
                    <a:pt x="1664" y="1126"/>
                  </a:lnTo>
                  <a:lnTo>
                    <a:pt x="1664" y="1126"/>
                  </a:lnTo>
                  <a:lnTo>
                    <a:pt x="1652" y="1122"/>
                  </a:lnTo>
                  <a:lnTo>
                    <a:pt x="1642" y="1116"/>
                  </a:lnTo>
                  <a:lnTo>
                    <a:pt x="1630" y="1110"/>
                  </a:lnTo>
                  <a:lnTo>
                    <a:pt x="1620" y="1100"/>
                  </a:lnTo>
                  <a:lnTo>
                    <a:pt x="1598" y="1082"/>
                  </a:lnTo>
                  <a:lnTo>
                    <a:pt x="1588" y="1072"/>
                  </a:lnTo>
                  <a:lnTo>
                    <a:pt x="1576" y="1066"/>
                  </a:lnTo>
                  <a:lnTo>
                    <a:pt x="1576" y="1066"/>
                  </a:lnTo>
                  <a:lnTo>
                    <a:pt x="1552" y="1070"/>
                  </a:lnTo>
                  <a:lnTo>
                    <a:pt x="1526" y="1072"/>
                  </a:lnTo>
                  <a:lnTo>
                    <a:pt x="1500" y="1074"/>
                  </a:lnTo>
                  <a:lnTo>
                    <a:pt x="1472" y="1072"/>
                  </a:lnTo>
                  <a:lnTo>
                    <a:pt x="1448" y="1068"/>
                  </a:lnTo>
                  <a:lnTo>
                    <a:pt x="1436" y="1066"/>
                  </a:lnTo>
                  <a:lnTo>
                    <a:pt x="1426" y="1062"/>
                  </a:lnTo>
                  <a:lnTo>
                    <a:pt x="1416" y="1056"/>
                  </a:lnTo>
                  <a:lnTo>
                    <a:pt x="1406" y="1050"/>
                  </a:lnTo>
                  <a:lnTo>
                    <a:pt x="1400" y="1042"/>
                  </a:lnTo>
                  <a:lnTo>
                    <a:pt x="1394" y="1032"/>
                  </a:lnTo>
                  <a:lnTo>
                    <a:pt x="1394" y="1032"/>
                  </a:lnTo>
                  <a:lnTo>
                    <a:pt x="1380" y="1038"/>
                  </a:lnTo>
                  <a:lnTo>
                    <a:pt x="1368" y="1040"/>
                  </a:lnTo>
                  <a:lnTo>
                    <a:pt x="1358" y="1040"/>
                  </a:lnTo>
                  <a:lnTo>
                    <a:pt x="1346" y="1040"/>
                  </a:lnTo>
                  <a:lnTo>
                    <a:pt x="1338" y="1036"/>
                  </a:lnTo>
                  <a:lnTo>
                    <a:pt x="1328" y="1032"/>
                  </a:lnTo>
                  <a:lnTo>
                    <a:pt x="1312" y="1020"/>
                  </a:lnTo>
                  <a:lnTo>
                    <a:pt x="1298" y="1006"/>
                  </a:lnTo>
                  <a:lnTo>
                    <a:pt x="1284" y="990"/>
                  </a:lnTo>
                  <a:lnTo>
                    <a:pt x="1268" y="974"/>
                  </a:lnTo>
                  <a:lnTo>
                    <a:pt x="1254" y="962"/>
                  </a:lnTo>
                  <a:lnTo>
                    <a:pt x="1254" y="962"/>
                  </a:lnTo>
                  <a:lnTo>
                    <a:pt x="1246" y="968"/>
                  </a:lnTo>
                  <a:lnTo>
                    <a:pt x="1242" y="974"/>
                  </a:lnTo>
                  <a:lnTo>
                    <a:pt x="1238" y="982"/>
                  </a:lnTo>
                  <a:lnTo>
                    <a:pt x="1238" y="988"/>
                  </a:lnTo>
                  <a:lnTo>
                    <a:pt x="1238" y="994"/>
                  </a:lnTo>
                  <a:lnTo>
                    <a:pt x="1240" y="1002"/>
                  </a:lnTo>
                  <a:lnTo>
                    <a:pt x="1248" y="1016"/>
                  </a:lnTo>
                  <a:lnTo>
                    <a:pt x="1266" y="1044"/>
                  </a:lnTo>
                  <a:lnTo>
                    <a:pt x="1274" y="1060"/>
                  </a:lnTo>
                  <a:lnTo>
                    <a:pt x="1276" y="1066"/>
                  </a:lnTo>
                  <a:lnTo>
                    <a:pt x="1276" y="1074"/>
                  </a:lnTo>
                  <a:lnTo>
                    <a:pt x="1276" y="1074"/>
                  </a:lnTo>
                  <a:lnTo>
                    <a:pt x="1284" y="1076"/>
                  </a:lnTo>
                  <a:lnTo>
                    <a:pt x="1288" y="1074"/>
                  </a:lnTo>
                  <a:lnTo>
                    <a:pt x="1290" y="1072"/>
                  </a:lnTo>
                  <a:lnTo>
                    <a:pt x="1292" y="1070"/>
                  </a:lnTo>
                  <a:lnTo>
                    <a:pt x="1296" y="1062"/>
                  </a:lnTo>
                  <a:lnTo>
                    <a:pt x="1300" y="1060"/>
                  </a:lnTo>
                  <a:lnTo>
                    <a:pt x="1304" y="1060"/>
                  </a:lnTo>
                  <a:lnTo>
                    <a:pt x="1304" y="1060"/>
                  </a:lnTo>
                  <a:lnTo>
                    <a:pt x="1306" y="1070"/>
                  </a:lnTo>
                  <a:lnTo>
                    <a:pt x="1308" y="1078"/>
                  </a:lnTo>
                  <a:lnTo>
                    <a:pt x="1310" y="1084"/>
                  </a:lnTo>
                  <a:lnTo>
                    <a:pt x="1316" y="1088"/>
                  </a:lnTo>
                  <a:lnTo>
                    <a:pt x="1322" y="1092"/>
                  </a:lnTo>
                  <a:lnTo>
                    <a:pt x="1328" y="1094"/>
                  </a:lnTo>
                  <a:lnTo>
                    <a:pt x="1334" y="1094"/>
                  </a:lnTo>
                  <a:lnTo>
                    <a:pt x="1342" y="1094"/>
                  </a:lnTo>
                  <a:lnTo>
                    <a:pt x="1358" y="1088"/>
                  </a:lnTo>
                  <a:lnTo>
                    <a:pt x="1372" y="1078"/>
                  </a:lnTo>
                  <a:lnTo>
                    <a:pt x="1378" y="1072"/>
                  </a:lnTo>
                  <a:lnTo>
                    <a:pt x="1382" y="1066"/>
                  </a:lnTo>
                  <a:lnTo>
                    <a:pt x="1386" y="1060"/>
                  </a:lnTo>
                  <a:lnTo>
                    <a:pt x="1388" y="1052"/>
                  </a:lnTo>
                  <a:lnTo>
                    <a:pt x="1388" y="1052"/>
                  </a:lnTo>
                  <a:lnTo>
                    <a:pt x="1390" y="1058"/>
                  </a:lnTo>
                  <a:lnTo>
                    <a:pt x="1390" y="1066"/>
                  </a:lnTo>
                  <a:lnTo>
                    <a:pt x="1396" y="1078"/>
                  </a:lnTo>
                  <a:lnTo>
                    <a:pt x="1406" y="1088"/>
                  </a:lnTo>
                  <a:lnTo>
                    <a:pt x="1416" y="1098"/>
                  </a:lnTo>
                  <a:lnTo>
                    <a:pt x="1442" y="1116"/>
                  </a:lnTo>
                  <a:lnTo>
                    <a:pt x="1454" y="1124"/>
                  </a:lnTo>
                  <a:lnTo>
                    <a:pt x="1464" y="1136"/>
                  </a:lnTo>
                  <a:lnTo>
                    <a:pt x="1464" y="1136"/>
                  </a:lnTo>
                  <a:lnTo>
                    <a:pt x="1444" y="1164"/>
                  </a:lnTo>
                  <a:lnTo>
                    <a:pt x="1424" y="1192"/>
                  </a:lnTo>
                  <a:lnTo>
                    <a:pt x="1404" y="1218"/>
                  </a:lnTo>
                  <a:lnTo>
                    <a:pt x="1392" y="1232"/>
                  </a:lnTo>
                  <a:lnTo>
                    <a:pt x="1380" y="1242"/>
                  </a:lnTo>
                  <a:lnTo>
                    <a:pt x="1380" y="1242"/>
                  </a:lnTo>
                  <a:lnTo>
                    <a:pt x="1352" y="1252"/>
                  </a:lnTo>
                  <a:lnTo>
                    <a:pt x="1328" y="1266"/>
                  </a:lnTo>
                  <a:lnTo>
                    <a:pt x="1282" y="1294"/>
                  </a:lnTo>
                  <a:lnTo>
                    <a:pt x="1258" y="1308"/>
                  </a:lnTo>
                  <a:lnTo>
                    <a:pt x="1234" y="1320"/>
                  </a:lnTo>
                  <a:lnTo>
                    <a:pt x="1206" y="1330"/>
                  </a:lnTo>
                  <a:lnTo>
                    <a:pt x="1190" y="1332"/>
                  </a:lnTo>
                  <a:lnTo>
                    <a:pt x="1174" y="1336"/>
                  </a:lnTo>
                  <a:lnTo>
                    <a:pt x="1174" y="1336"/>
                  </a:lnTo>
                  <a:lnTo>
                    <a:pt x="1166" y="1318"/>
                  </a:lnTo>
                  <a:lnTo>
                    <a:pt x="1158" y="1298"/>
                  </a:lnTo>
                  <a:lnTo>
                    <a:pt x="1154" y="1276"/>
                  </a:lnTo>
                  <a:lnTo>
                    <a:pt x="1152" y="1252"/>
                  </a:lnTo>
                  <a:lnTo>
                    <a:pt x="1152" y="1252"/>
                  </a:lnTo>
                  <a:lnTo>
                    <a:pt x="1140" y="1236"/>
                  </a:lnTo>
                  <a:lnTo>
                    <a:pt x="1128" y="1222"/>
                  </a:lnTo>
                  <a:lnTo>
                    <a:pt x="1104" y="1194"/>
                  </a:lnTo>
                  <a:lnTo>
                    <a:pt x="1094" y="1178"/>
                  </a:lnTo>
                  <a:lnTo>
                    <a:pt x="1084" y="1162"/>
                  </a:lnTo>
                  <a:lnTo>
                    <a:pt x="1076" y="1142"/>
                  </a:lnTo>
                  <a:lnTo>
                    <a:pt x="1072" y="1122"/>
                  </a:lnTo>
                  <a:lnTo>
                    <a:pt x="1072" y="1122"/>
                  </a:lnTo>
                  <a:lnTo>
                    <a:pt x="1048" y="1090"/>
                  </a:lnTo>
                  <a:lnTo>
                    <a:pt x="1024" y="1060"/>
                  </a:lnTo>
                  <a:lnTo>
                    <a:pt x="1012" y="1044"/>
                  </a:lnTo>
                  <a:lnTo>
                    <a:pt x="1002" y="1026"/>
                  </a:lnTo>
                  <a:lnTo>
                    <a:pt x="994" y="1008"/>
                  </a:lnTo>
                  <a:lnTo>
                    <a:pt x="988" y="986"/>
                  </a:lnTo>
                  <a:lnTo>
                    <a:pt x="988" y="986"/>
                  </a:lnTo>
                  <a:lnTo>
                    <a:pt x="984" y="986"/>
                  </a:lnTo>
                  <a:lnTo>
                    <a:pt x="982" y="988"/>
                  </a:lnTo>
                  <a:lnTo>
                    <a:pt x="978" y="996"/>
                  </a:lnTo>
                  <a:lnTo>
                    <a:pt x="978" y="1014"/>
                  </a:lnTo>
                  <a:lnTo>
                    <a:pt x="978" y="1014"/>
                  </a:lnTo>
                  <a:lnTo>
                    <a:pt x="972" y="1010"/>
                  </a:lnTo>
                  <a:lnTo>
                    <a:pt x="968" y="1006"/>
                  </a:lnTo>
                  <a:lnTo>
                    <a:pt x="960" y="996"/>
                  </a:lnTo>
                  <a:lnTo>
                    <a:pt x="952" y="984"/>
                  </a:lnTo>
                  <a:lnTo>
                    <a:pt x="948" y="980"/>
                  </a:lnTo>
                  <a:lnTo>
                    <a:pt x="942" y="976"/>
                  </a:lnTo>
                  <a:lnTo>
                    <a:pt x="942" y="976"/>
                  </a:lnTo>
                  <a:lnTo>
                    <a:pt x="948" y="998"/>
                  </a:lnTo>
                  <a:lnTo>
                    <a:pt x="958" y="1018"/>
                  </a:lnTo>
                  <a:lnTo>
                    <a:pt x="980" y="1064"/>
                  </a:lnTo>
                  <a:lnTo>
                    <a:pt x="1008" y="1108"/>
                  </a:lnTo>
                  <a:lnTo>
                    <a:pt x="1034" y="1150"/>
                  </a:lnTo>
                  <a:lnTo>
                    <a:pt x="1034" y="1150"/>
                  </a:lnTo>
                  <a:lnTo>
                    <a:pt x="1036" y="1168"/>
                  </a:lnTo>
                  <a:lnTo>
                    <a:pt x="1040" y="1186"/>
                  </a:lnTo>
                  <a:lnTo>
                    <a:pt x="1046" y="1202"/>
                  </a:lnTo>
                  <a:lnTo>
                    <a:pt x="1054" y="1218"/>
                  </a:lnTo>
                  <a:lnTo>
                    <a:pt x="1062" y="1232"/>
                  </a:lnTo>
                  <a:lnTo>
                    <a:pt x="1070" y="1244"/>
                  </a:lnTo>
                  <a:lnTo>
                    <a:pt x="1090" y="1268"/>
                  </a:lnTo>
                  <a:lnTo>
                    <a:pt x="1112" y="1290"/>
                  </a:lnTo>
                  <a:lnTo>
                    <a:pt x="1132" y="1314"/>
                  </a:lnTo>
                  <a:lnTo>
                    <a:pt x="1142" y="1326"/>
                  </a:lnTo>
                  <a:lnTo>
                    <a:pt x="1150" y="1338"/>
                  </a:lnTo>
                  <a:lnTo>
                    <a:pt x="1158" y="1352"/>
                  </a:lnTo>
                  <a:lnTo>
                    <a:pt x="1166" y="1368"/>
                  </a:lnTo>
                  <a:lnTo>
                    <a:pt x="1166" y="1368"/>
                  </a:lnTo>
                  <a:lnTo>
                    <a:pt x="1172" y="1374"/>
                  </a:lnTo>
                  <a:lnTo>
                    <a:pt x="1178" y="1378"/>
                  </a:lnTo>
                  <a:lnTo>
                    <a:pt x="1186" y="1382"/>
                  </a:lnTo>
                  <a:lnTo>
                    <a:pt x="1194" y="1384"/>
                  </a:lnTo>
                  <a:lnTo>
                    <a:pt x="1214" y="1384"/>
                  </a:lnTo>
                  <a:lnTo>
                    <a:pt x="1234" y="1380"/>
                  </a:lnTo>
                  <a:lnTo>
                    <a:pt x="1254" y="1376"/>
                  </a:lnTo>
                  <a:lnTo>
                    <a:pt x="1274" y="1368"/>
                  </a:lnTo>
                  <a:lnTo>
                    <a:pt x="1304" y="1354"/>
                  </a:lnTo>
                  <a:lnTo>
                    <a:pt x="1304" y="1354"/>
                  </a:lnTo>
                  <a:lnTo>
                    <a:pt x="1308" y="1366"/>
                  </a:lnTo>
                  <a:lnTo>
                    <a:pt x="1310" y="1380"/>
                  </a:lnTo>
                  <a:lnTo>
                    <a:pt x="1310" y="1392"/>
                  </a:lnTo>
                  <a:lnTo>
                    <a:pt x="1308" y="1402"/>
                  </a:lnTo>
                  <a:lnTo>
                    <a:pt x="1304" y="1414"/>
                  </a:lnTo>
                  <a:lnTo>
                    <a:pt x="1300" y="1424"/>
                  </a:lnTo>
                  <a:lnTo>
                    <a:pt x="1288" y="1446"/>
                  </a:lnTo>
                  <a:lnTo>
                    <a:pt x="1262" y="1488"/>
                  </a:lnTo>
                  <a:lnTo>
                    <a:pt x="1252" y="1508"/>
                  </a:lnTo>
                  <a:lnTo>
                    <a:pt x="1248" y="1520"/>
                  </a:lnTo>
                  <a:lnTo>
                    <a:pt x="1244" y="1532"/>
                  </a:lnTo>
                  <a:lnTo>
                    <a:pt x="1244" y="1532"/>
                  </a:lnTo>
                  <a:lnTo>
                    <a:pt x="1210" y="1556"/>
                  </a:lnTo>
                  <a:lnTo>
                    <a:pt x="1176" y="1586"/>
                  </a:lnTo>
                  <a:lnTo>
                    <a:pt x="1158" y="1602"/>
                  </a:lnTo>
                  <a:lnTo>
                    <a:pt x="1142" y="1618"/>
                  </a:lnTo>
                  <a:lnTo>
                    <a:pt x="1126" y="1636"/>
                  </a:lnTo>
                  <a:lnTo>
                    <a:pt x="1112" y="1656"/>
                  </a:lnTo>
                  <a:lnTo>
                    <a:pt x="1100" y="1676"/>
                  </a:lnTo>
                  <a:lnTo>
                    <a:pt x="1090" y="1696"/>
                  </a:lnTo>
                  <a:lnTo>
                    <a:pt x="1084" y="1716"/>
                  </a:lnTo>
                  <a:lnTo>
                    <a:pt x="1082" y="1738"/>
                  </a:lnTo>
                  <a:lnTo>
                    <a:pt x="1082" y="1762"/>
                  </a:lnTo>
                  <a:lnTo>
                    <a:pt x="1086" y="1786"/>
                  </a:lnTo>
                  <a:lnTo>
                    <a:pt x="1096" y="1810"/>
                  </a:lnTo>
                  <a:lnTo>
                    <a:pt x="1110" y="1834"/>
                  </a:lnTo>
                  <a:lnTo>
                    <a:pt x="1110" y="1834"/>
                  </a:lnTo>
                  <a:lnTo>
                    <a:pt x="1106" y="1844"/>
                  </a:lnTo>
                  <a:lnTo>
                    <a:pt x="1104" y="1852"/>
                  </a:lnTo>
                  <a:lnTo>
                    <a:pt x="1104" y="1862"/>
                  </a:lnTo>
                  <a:lnTo>
                    <a:pt x="1106" y="1870"/>
                  </a:lnTo>
                  <a:lnTo>
                    <a:pt x="1112" y="1884"/>
                  </a:lnTo>
                  <a:lnTo>
                    <a:pt x="1114" y="1892"/>
                  </a:lnTo>
                  <a:lnTo>
                    <a:pt x="1114" y="1900"/>
                  </a:lnTo>
                  <a:lnTo>
                    <a:pt x="1114" y="1900"/>
                  </a:lnTo>
                  <a:lnTo>
                    <a:pt x="1112" y="1912"/>
                  </a:lnTo>
                  <a:lnTo>
                    <a:pt x="1106" y="1922"/>
                  </a:lnTo>
                  <a:lnTo>
                    <a:pt x="1100" y="1932"/>
                  </a:lnTo>
                  <a:lnTo>
                    <a:pt x="1094" y="1940"/>
                  </a:lnTo>
                  <a:lnTo>
                    <a:pt x="1076" y="1956"/>
                  </a:lnTo>
                  <a:lnTo>
                    <a:pt x="1054" y="1970"/>
                  </a:lnTo>
                  <a:lnTo>
                    <a:pt x="1034" y="1984"/>
                  </a:lnTo>
                  <a:lnTo>
                    <a:pt x="1014" y="1998"/>
                  </a:lnTo>
                  <a:lnTo>
                    <a:pt x="1006" y="2008"/>
                  </a:lnTo>
                  <a:lnTo>
                    <a:pt x="998" y="2016"/>
                  </a:lnTo>
                  <a:lnTo>
                    <a:pt x="992" y="2028"/>
                  </a:lnTo>
                  <a:lnTo>
                    <a:pt x="988" y="2038"/>
                  </a:lnTo>
                  <a:lnTo>
                    <a:pt x="988" y="2038"/>
                  </a:lnTo>
                  <a:lnTo>
                    <a:pt x="998" y="2052"/>
                  </a:lnTo>
                  <a:lnTo>
                    <a:pt x="1004" y="2064"/>
                  </a:lnTo>
                  <a:lnTo>
                    <a:pt x="1006" y="2074"/>
                  </a:lnTo>
                  <a:lnTo>
                    <a:pt x="1006" y="2084"/>
                  </a:lnTo>
                  <a:lnTo>
                    <a:pt x="1004" y="2092"/>
                  </a:lnTo>
                  <a:lnTo>
                    <a:pt x="998" y="2100"/>
                  </a:lnTo>
                  <a:lnTo>
                    <a:pt x="984" y="2116"/>
                  </a:lnTo>
                  <a:lnTo>
                    <a:pt x="968" y="2130"/>
                  </a:lnTo>
                  <a:lnTo>
                    <a:pt x="960" y="2138"/>
                  </a:lnTo>
                  <a:lnTo>
                    <a:pt x="954" y="2146"/>
                  </a:lnTo>
                  <a:lnTo>
                    <a:pt x="950" y="2156"/>
                  </a:lnTo>
                  <a:lnTo>
                    <a:pt x="948" y="2168"/>
                  </a:lnTo>
                  <a:lnTo>
                    <a:pt x="948" y="2180"/>
                  </a:lnTo>
                  <a:lnTo>
                    <a:pt x="950" y="2192"/>
                  </a:lnTo>
                  <a:lnTo>
                    <a:pt x="950" y="2192"/>
                  </a:lnTo>
                  <a:lnTo>
                    <a:pt x="932" y="2210"/>
                  </a:lnTo>
                  <a:lnTo>
                    <a:pt x="914" y="2228"/>
                  </a:lnTo>
                  <a:lnTo>
                    <a:pt x="882" y="2266"/>
                  </a:lnTo>
                  <a:lnTo>
                    <a:pt x="864" y="2284"/>
                  </a:lnTo>
                  <a:lnTo>
                    <a:pt x="846" y="2302"/>
                  </a:lnTo>
                  <a:lnTo>
                    <a:pt x="826" y="2316"/>
                  </a:lnTo>
                  <a:lnTo>
                    <a:pt x="802" y="2328"/>
                  </a:lnTo>
                  <a:lnTo>
                    <a:pt x="802" y="2328"/>
                  </a:lnTo>
                  <a:lnTo>
                    <a:pt x="792" y="2324"/>
                  </a:lnTo>
                  <a:lnTo>
                    <a:pt x="782" y="2322"/>
                  </a:lnTo>
                  <a:lnTo>
                    <a:pt x="762" y="2322"/>
                  </a:lnTo>
                  <a:lnTo>
                    <a:pt x="716" y="2326"/>
                  </a:lnTo>
                  <a:lnTo>
                    <a:pt x="698" y="2326"/>
                  </a:lnTo>
                  <a:lnTo>
                    <a:pt x="690" y="2324"/>
                  </a:lnTo>
                  <a:lnTo>
                    <a:pt x="684" y="2320"/>
                  </a:lnTo>
                  <a:lnTo>
                    <a:pt x="680" y="2314"/>
                  </a:lnTo>
                  <a:lnTo>
                    <a:pt x="678" y="2306"/>
                  </a:lnTo>
                  <a:lnTo>
                    <a:pt x="678" y="2296"/>
                  </a:lnTo>
                  <a:lnTo>
                    <a:pt x="680" y="2282"/>
                  </a:lnTo>
                  <a:lnTo>
                    <a:pt x="680" y="2282"/>
                  </a:lnTo>
                  <a:lnTo>
                    <a:pt x="678" y="2270"/>
                  </a:lnTo>
                  <a:lnTo>
                    <a:pt x="672" y="2258"/>
                  </a:lnTo>
                  <a:lnTo>
                    <a:pt x="664" y="2246"/>
                  </a:lnTo>
                  <a:lnTo>
                    <a:pt x="656" y="2236"/>
                  </a:lnTo>
                  <a:lnTo>
                    <a:pt x="636" y="2210"/>
                  </a:lnTo>
                  <a:lnTo>
                    <a:pt x="626" y="2198"/>
                  </a:lnTo>
                  <a:lnTo>
                    <a:pt x="620" y="2184"/>
                  </a:lnTo>
                  <a:lnTo>
                    <a:pt x="620" y="2184"/>
                  </a:lnTo>
                  <a:lnTo>
                    <a:pt x="618" y="2170"/>
                  </a:lnTo>
                  <a:lnTo>
                    <a:pt x="616" y="2156"/>
                  </a:lnTo>
                  <a:lnTo>
                    <a:pt x="616" y="2140"/>
                  </a:lnTo>
                  <a:lnTo>
                    <a:pt x="616" y="2122"/>
                  </a:lnTo>
                  <a:lnTo>
                    <a:pt x="616" y="2122"/>
                  </a:lnTo>
                  <a:lnTo>
                    <a:pt x="610" y="2098"/>
                  </a:lnTo>
                  <a:lnTo>
                    <a:pt x="602" y="2076"/>
                  </a:lnTo>
                  <a:lnTo>
                    <a:pt x="592" y="2054"/>
                  </a:lnTo>
                  <a:lnTo>
                    <a:pt x="580" y="2034"/>
                  </a:lnTo>
                  <a:lnTo>
                    <a:pt x="570" y="2014"/>
                  </a:lnTo>
                  <a:lnTo>
                    <a:pt x="562" y="1994"/>
                  </a:lnTo>
                  <a:lnTo>
                    <a:pt x="556" y="1972"/>
                  </a:lnTo>
                  <a:lnTo>
                    <a:pt x="554" y="1950"/>
                  </a:lnTo>
                  <a:lnTo>
                    <a:pt x="554" y="1950"/>
                  </a:lnTo>
                  <a:lnTo>
                    <a:pt x="556" y="1936"/>
                  </a:lnTo>
                  <a:lnTo>
                    <a:pt x="560" y="1922"/>
                  </a:lnTo>
                  <a:lnTo>
                    <a:pt x="564" y="1908"/>
                  </a:lnTo>
                  <a:lnTo>
                    <a:pt x="570" y="1894"/>
                  </a:lnTo>
                  <a:lnTo>
                    <a:pt x="584" y="1870"/>
                  </a:lnTo>
                  <a:lnTo>
                    <a:pt x="596" y="1844"/>
                  </a:lnTo>
                  <a:lnTo>
                    <a:pt x="596" y="1844"/>
                  </a:lnTo>
                  <a:lnTo>
                    <a:pt x="592" y="1824"/>
                  </a:lnTo>
                  <a:lnTo>
                    <a:pt x="586" y="1806"/>
                  </a:lnTo>
                  <a:lnTo>
                    <a:pt x="580" y="1770"/>
                  </a:lnTo>
                  <a:lnTo>
                    <a:pt x="576" y="1750"/>
                  </a:lnTo>
                  <a:lnTo>
                    <a:pt x="572" y="1732"/>
                  </a:lnTo>
                  <a:lnTo>
                    <a:pt x="564" y="1714"/>
                  </a:lnTo>
                  <a:lnTo>
                    <a:pt x="554" y="1694"/>
                  </a:lnTo>
                  <a:lnTo>
                    <a:pt x="554" y="1694"/>
                  </a:lnTo>
                  <a:lnTo>
                    <a:pt x="548" y="1684"/>
                  </a:lnTo>
                  <a:lnTo>
                    <a:pt x="540" y="1674"/>
                  </a:lnTo>
                  <a:lnTo>
                    <a:pt x="524" y="1658"/>
                  </a:lnTo>
                  <a:lnTo>
                    <a:pt x="510" y="1644"/>
                  </a:lnTo>
                  <a:lnTo>
                    <a:pt x="506" y="1638"/>
                  </a:lnTo>
                  <a:lnTo>
                    <a:pt x="504" y="1628"/>
                  </a:lnTo>
                  <a:lnTo>
                    <a:pt x="504" y="1628"/>
                  </a:lnTo>
                  <a:lnTo>
                    <a:pt x="504" y="1612"/>
                  </a:lnTo>
                  <a:lnTo>
                    <a:pt x="506" y="1594"/>
                  </a:lnTo>
                  <a:lnTo>
                    <a:pt x="512" y="1574"/>
                  </a:lnTo>
                  <a:lnTo>
                    <a:pt x="514" y="1554"/>
                  </a:lnTo>
                  <a:lnTo>
                    <a:pt x="516" y="1536"/>
                  </a:lnTo>
                  <a:lnTo>
                    <a:pt x="514" y="1528"/>
                  </a:lnTo>
                  <a:lnTo>
                    <a:pt x="512" y="1522"/>
                  </a:lnTo>
                  <a:lnTo>
                    <a:pt x="506" y="1516"/>
                  </a:lnTo>
                  <a:lnTo>
                    <a:pt x="500" y="1510"/>
                  </a:lnTo>
                  <a:lnTo>
                    <a:pt x="492" y="1506"/>
                  </a:lnTo>
                  <a:lnTo>
                    <a:pt x="480" y="1504"/>
                  </a:lnTo>
                  <a:lnTo>
                    <a:pt x="480" y="1504"/>
                  </a:lnTo>
                  <a:lnTo>
                    <a:pt x="470" y="1502"/>
                  </a:lnTo>
                  <a:lnTo>
                    <a:pt x="460" y="1504"/>
                  </a:lnTo>
                  <a:lnTo>
                    <a:pt x="450" y="1508"/>
                  </a:lnTo>
                  <a:lnTo>
                    <a:pt x="438" y="1508"/>
                  </a:lnTo>
                  <a:lnTo>
                    <a:pt x="438" y="1508"/>
                  </a:lnTo>
                  <a:lnTo>
                    <a:pt x="434" y="1494"/>
                  </a:lnTo>
                  <a:lnTo>
                    <a:pt x="430" y="1482"/>
                  </a:lnTo>
                  <a:lnTo>
                    <a:pt x="424" y="1474"/>
                  </a:lnTo>
                  <a:lnTo>
                    <a:pt x="416" y="1470"/>
                  </a:lnTo>
                  <a:lnTo>
                    <a:pt x="406" y="1466"/>
                  </a:lnTo>
                  <a:lnTo>
                    <a:pt x="396" y="1464"/>
                  </a:lnTo>
                  <a:lnTo>
                    <a:pt x="386" y="1466"/>
                  </a:lnTo>
                  <a:lnTo>
                    <a:pt x="374" y="1468"/>
                  </a:lnTo>
                  <a:lnTo>
                    <a:pt x="350" y="1474"/>
                  </a:lnTo>
                  <a:lnTo>
                    <a:pt x="328" y="1482"/>
                  </a:lnTo>
                  <a:lnTo>
                    <a:pt x="304" y="1492"/>
                  </a:lnTo>
                  <a:lnTo>
                    <a:pt x="284" y="1498"/>
                  </a:lnTo>
                  <a:lnTo>
                    <a:pt x="284" y="1498"/>
                  </a:lnTo>
                  <a:lnTo>
                    <a:pt x="270" y="1492"/>
                  </a:lnTo>
                  <a:lnTo>
                    <a:pt x="256" y="1490"/>
                  </a:lnTo>
                  <a:lnTo>
                    <a:pt x="244" y="1490"/>
                  </a:lnTo>
                  <a:lnTo>
                    <a:pt x="232" y="1494"/>
                  </a:lnTo>
                  <a:lnTo>
                    <a:pt x="210" y="1504"/>
                  </a:lnTo>
                  <a:lnTo>
                    <a:pt x="198" y="1506"/>
                  </a:lnTo>
                  <a:lnTo>
                    <a:pt x="186" y="1508"/>
                  </a:lnTo>
                  <a:lnTo>
                    <a:pt x="186" y="1508"/>
                  </a:lnTo>
                  <a:lnTo>
                    <a:pt x="170" y="1506"/>
                  </a:lnTo>
                  <a:lnTo>
                    <a:pt x="154" y="1502"/>
                  </a:lnTo>
                  <a:lnTo>
                    <a:pt x="142" y="1496"/>
                  </a:lnTo>
                  <a:lnTo>
                    <a:pt x="130" y="1488"/>
                  </a:lnTo>
                  <a:lnTo>
                    <a:pt x="118" y="1478"/>
                  </a:lnTo>
                  <a:lnTo>
                    <a:pt x="108" y="1468"/>
                  </a:lnTo>
                  <a:lnTo>
                    <a:pt x="92" y="1442"/>
                  </a:lnTo>
                  <a:lnTo>
                    <a:pt x="74" y="1416"/>
                  </a:lnTo>
                  <a:lnTo>
                    <a:pt x="58" y="1390"/>
                  </a:lnTo>
                  <a:lnTo>
                    <a:pt x="48" y="1378"/>
                  </a:lnTo>
                  <a:lnTo>
                    <a:pt x="38" y="1368"/>
                  </a:lnTo>
                  <a:lnTo>
                    <a:pt x="26" y="1358"/>
                  </a:lnTo>
                  <a:lnTo>
                    <a:pt x="14" y="1350"/>
                  </a:lnTo>
                  <a:lnTo>
                    <a:pt x="14" y="1350"/>
                  </a:lnTo>
                  <a:lnTo>
                    <a:pt x="20" y="1346"/>
                  </a:lnTo>
                  <a:lnTo>
                    <a:pt x="22" y="1342"/>
                  </a:lnTo>
                  <a:lnTo>
                    <a:pt x="20" y="1342"/>
                  </a:lnTo>
                  <a:lnTo>
                    <a:pt x="16" y="1340"/>
                  </a:lnTo>
                  <a:lnTo>
                    <a:pt x="12" y="1338"/>
                  </a:lnTo>
                  <a:lnTo>
                    <a:pt x="8" y="1336"/>
                  </a:lnTo>
                  <a:lnTo>
                    <a:pt x="6" y="1332"/>
                  </a:lnTo>
                  <a:lnTo>
                    <a:pt x="4" y="1326"/>
                  </a:lnTo>
                  <a:lnTo>
                    <a:pt x="4" y="1326"/>
                  </a:lnTo>
                  <a:lnTo>
                    <a:pt x="18" y="1326"/>
                  </a:lnTo>
                  <a:lnTo>
                    <a:pt x="18" y="1326"/>
                  </a:lnTo>
                  <a:lnTo>
                    <a:pt x="16" y="1322"/>
                  </a:lnTo>
                  <a:lnTo>
                    <a:pt x="14" y="1318"/>
                  </a:lnTo>
                  <a:lnTo>
                    <a:pt x="14" y="1310"/>
                  </a:lnTo>
                  <a:lnTo>
                    <a:pt x="10" y="1300"/>
                  </a:lnTo>
                  <a:lnTo>
                    <a:pt x="6" y="1294"/>
                  </a:lnTo>
                  <a:lnTo>
                    <a:pt x="0" y="1288"/>
                  </a:lnTo>
                  <a:lnTo>
                    <a:pt x="0" y="1288"/>
                  </a:lnTo>
                  <a:lnTo>
                    <a:pt x="10" y="1276"/>
                  </a:lnTo>
                  <a:lnTo>
                    <a:pt x="18" y="1260"/>
                  </a:lnTo>
                  <a:lnTo>
                    <a:pt x="22" y="1242"/>
                  </a:lnTo>
                  <a:lnTo>
                    <a:pt x="26" y="1224"/>
                  </a:lnTo>
                  <a:lnTo>
                    <a:pt x="26" y="1206"/>
                  </a:lnTo>
                  <a:lnTo>
                    <a:pt x="22" y="1188"/>
                  </a:lnTo>
                  <a:lnTo>
                    <a:pt x="18" y="1170"/>
                  </a:lnTo>
                  <a:lnTo>
                    <a:pt x="10" y="1154"/>
                  </a:lnTo>
                  <a:lnTo>
                    <a:pt x="10" y="1154"/>
                  </a:lnTo>
                  <a:lnTo>
                    <a:pt x="24" y="1126"/>
                  </a:lnTo>
                  <a:lnTo>
                    <a:pt x="38" y="1100"/>
                  </a:lnTo>
                  <a:lnTo>
                    <a:pt x="52" y="1074"/>
                  </a:lnTo>
                  <a:lnTo>
                    <a:pt x="70" y="1050"/>
                  </a:lnTo>
                  <a:lnTo>
                    <a:pt x="88" y="1028"/>
                  </a:lnTo>
                  <a:lnTo>
                    <a:pt x="108" y="1008"/>
                  </a:lnTo>
                  <a:lnTo>
                    <a:pt x="130" y="988"/>
                  </a:lnTo>
                  <a:lnTo>
                    <a:pt x="154" y="972"/>
                  </a:lnTo>
                  <a:lnTo>
                    <a:pt x="154" y="972"/>
                  </a:lnTo>
                  <a:lnTo>
                    <a:pt x="154" y="958"/>
                  </a:lnTo>
                  <a:lnTo>
                    <a:pt x="154" y="948"/>
                  </a:lnTo>
                  <a:lnTo>
                    <a:pt x="156" y="938"/>
                  </a:lnTo>
                  <a:lnTo>
                    <a:pt x="160" y="928"/>
                  </a:lnTo>
                  <a:lnTo>
                    <a:pt x="166" y="920"/>
                  </a:lnTo>
                  <a:lnTo>
                    <a:pt x="172" y="914"/>
                  </a:lnTo>
                  <a:lnTo>
                    <a:pt x="184" y="902"/>
                  </a:lnTo>
                  <a:lnTo>
                    <a:pt x="200" y="892"/>
                  </a:lnTo>
                  <a:lnTo>
                    <a:pt x="214" y="880"/>
                  </a:lnTo>
                  <a:lnTo>
                    <a:pt x="224" y="868"/>
                  </a:lnTo>
                  <a:lnTo>
                    <a:pt x="230" y="860"/>
                  </a:lnTo>
                  <a:lnTo>
                    <a:pt x="234" y="850"/>
                  </a:lnTo>
                  <a:lnTo>
                    <a:pt x="234" y="850"/>
                  </a:lnTo>
                  <a:lnTo>
                    <a:pt x="244" y="858"/>
                  </a:lnTo>
                  <a:lnTo>
                    <a:pt x="254" y="864"/>
                  </a:lnTo>
                  <a:lnTo>
                    <a:pt x="264" y="868"/>
                  </a:lnTo>
                  <a:lnTo>
                    <a:pt x="274" y="868"/>
                  </a:lnTo>
                  <a:lnTo>
                    <a:pt x="284" y="868"/>
                  </a:lnTo>
                  <a:lnTo>
                    <a:pt x="292" y="866"/>
                  </a:lnTo>
                  <a:lnTo>
                    <a:pt x="312" y="860"/>
                  </a:lnTo>
                  <a:lnTo>
                    <a:pt x="354" y="840"/>
                  </a:lnTo>
                  <a:lnTo>
                    <a:pt x="376" y="832"/>
                  </a:lnTo>
                  <a:lnTo>
                    <a:pt x="388" y="830"/>
                  </a:lnTo>
                  <a:lnTo>
                    <a:pt x="400" y="828"/>
                  </a:lnTo>
                  <a:lnTo>
                    <a:pt x="400" y="828"/>
                  </a:lnTo>
                  <a:lnTo>
                    <a:pt x="436" y="828"/>
                  </a:lnTo>
                  <a:lnTo>
                    <a:pt x="466" y="828"/>
                  </a:lnTo>
                  <a:lnTo>
                    <a:pt x="496" y="828"/>
                  </a:lnTo>
                  <a:lnTo>
                    <a:pt x="512" y="826"/>
                  </a:lnTo>
                  <a:lnTo>
                    <a:pt x="526" y="822"/>
                  </a:lnTo>
                  <a:lnTo>
                    <a:pt x="526" y="822"/>
                  </a:lnTo>
                  <a:lnTo>
                    <a:pt x="530" y="836"/>
                  </a:lnTo>
                  <a:lnTo>
                    <a:pt x="532" y="850"/>
                  </a:lnTo>
                  <a:lnTo>
                    <a:pt x="534" y="856"/>
                  </a:lnTo>
                  <a:lnTo>
                    <a:pt x="532" y="864"/>
                  </a:lnTo>
                  <a:lnTo>
                    <a:pt x="530" y="870"/>
                  </a:lnTo>
                  <a:lnTo>
                    <a:pt x="526" y="878"/>
                  </a:lnTo>
                  <a:lnTo>
                    <a:pt x="526" y="878"/>
                  </a:lnTo>
                  <a:lnTo>
                    <a:pt x="532" y="890"/>
                  </a:lnTo>
                  <a:lnTo>
                    <a:pt x="542" y="896"/>
                  </a:lnTo>
                  <a:lnTo>
                    <a:pt x="552" y="904"/>
                  </a:lnTo>
                  <a:lnTo>
                    <a:pt x="564" y="908"/>
                  </a:lnTo>
                  <a:lnTo>
                    <a:pt x="588" y="914"/>
                  </a:lnTo>
                  <a:lnTo>
                    <a:pt x="616" y="920"/>
                  </a:lnTo>
                  <a:lnTo>
                    <a:pt x="616" y="920"/>
                  </a:lnTo>
                  <a:lnTo>
                    <a:pt x="616" y="928"/>
                  </a:lnTo>
                  <a:lnTo>
                    <a:pt x="618" y="932"/>
                  </a:lnTo>
                  <a:lnTo>
                    <a:pt x="626" y="942"/>
                  </a:lnTo>
                  <a:lnTo>
                    <a:pt x="634" y="946"/>
                  </a:lnTo>
                  <a:lnTo>
                    <a:pt x="646" y="950"/>
                  </a:lnTo>
                  <a:lnTo>
                    <a:pt x="670" y="958"/>
                  </a:lnTo>
                  <a:lnTo>
                    <a:pt x="680" y="962"/>
                  </a:lnTo>
                  <a:lnTo>
                    <a:pt x="690" y="968"/>
                  </a:lnTo>
                  <a:lnTo>
                    <a:pt x="690" y="968"/>
                  </a:lnTo>
                  <a:lnTo>
                    <a:pt x="698" y="964"/>
                  </a:lnTo>
                  <a:lnTo>
                    <a:pt x="704" y="958"/>
                  </a:lnTo>
                  <a:lnTo>
                    <a:pt x="708" y="950"/>
                  </a:lnTo>
                  <a:lnTo>
                    <a:pt x="710" y="944"/>
                  </a:lnTo>
                  <a:lnTo>
                    <a:pt x="712" y="928"/>
                  </a:lnTo>
                  <a:lnTo>
                    <a:pt x="714" y="920"/>
                  </a:lnTo>
                  <a:lnTo>
                    <a:pt x="718" y="912"/>
                  </a:lnTo>
                  <a:lnTo>
                    <a:pt x="718" y="912"/>
                  </a:lnTo>
                  <a:lnTo>
                    <a:pt x="742" y="916"/>
                  </a:lnTo>
                  <a:lnTo>
                    <a:pt x="768" y="922"/>
                  </a:lnTo>
                  <a:lnTo>
                    <a:pt x="814" y="940"/>
                  </a:lnTo>
                  <a:lnTo>
                    <a:pt x="838" y="946"/>
                  </a:lnTo>
                  <a:lnTo>
                    <a:pt x="862" y="950"/>
                  </a:lnTo>
                  <a:lnTo>
                    <a:pt x="874" y="952"/>
                  </a:lnTo>
                  <a:lnTo>
                    <a:pt x="888" y="950"/>
                  </a:lnTo>
                  <a:lnTo>
                    <a:pt x="900" y="948"/>
                  </a:lnTo>
                  <a:lnTo>
                    <a:pt x="914" y="944"/>
                  </a:lnTo>
                  <a:lnTo>
                    <a:pt x="914" y="944"/>
                  </a:lnTo>
                  <a:lnTo>
                    <a:pt x="920" y="948"/>
                  </a:lnTo>
                  <a:lnTo>
                    <a:pt x="928" y="950"/>
                  </a:lnTo>
                  <a:lnTo>
                    <a:pt x="942" y="950"/>
                  </a:lnTo>
                  <a:lnTo>
                    <a:pt x="956" y="950"/>
                  </a:lnTo>
                  <a:lnTo>
                    <a:pt x="970" y="954"/>
                  </a:lnTo>
                  <a:lnTo>
                    <a:pt x="970" y="954"/>
                  </a:lnTo>
                  <a:lnTo>
                    <a:pt x="982" y="922"/>
                  </a:lnTo>
                  <a:lnTo>
                    <a:pt x="988" y="906"/>
                  </a:lnTo>
                  <a:lnTo>
                    <a:pt x="992" y="888"/>
                  </a:lnTo>
                  <a:lnTo>
                    <a:pt x="994" y="872"/>
                  </a:lnTo>
                  <a:lnTo>
                    <a:pt x="996" y="858"/>
                  </a:lnTo>
                  <a:lnTo>
                    <a:pt x="994" y="842"/>
                  </a:lnTo>
                  <a:lnTo>
                    <a:pt x="992" y="828"/>
                  </a:lnTo>
                  <a:lnTo>
                    <a:pt x="992" y="828"/>
                  </a:lnTo>
                  <a:lnTo>
                    <a:pt x="984" y="826"/>
                  </a:lnTo>
                  <a:lnTo>
                    <a:pt x="976" y="828"/>
                  </a:lnTo>
                  <a:lnTo>
                    <a:pt x="964" y="832"/>
                  </a:lnTo>
                  <a:lnTo>
                    <a:pt x="954" y="838"/>
                  </a:lnTo>
                  <a:lnTo>
                    <a:pt x="948" y="840"/>
                  </a:lnTo>
                  <a:lnTo>
                    <a:pt x="942" y="842"/>
                  </a:lnTo>
                  <a:lnTo>
                    <a:pt x="942" y="842"/>
                  </a:lnTo>
                  <a:lnTo>
                    <a:pt x="936" y="842"/>
                  </a:lnTo>
                  <a:lnTo>
                    <a:pt x="930" y="840"/>
                  </a:lnTo>
                  <a:lnTo>
                    <a:pt x="924" y="836"/>
                  </a:lnTo>
                  <a:lnTo>
                    <a:pt x="918" y="830"/>
                  </a:lnTo>
                  <a:lnTo>
                    <a:pt x="914" y="828"/>
                  </a:lnTo>
                  <a:lnTo>
                    <a:pt x="908" y="828"/>
                  </a:lnTo>
                  <a:lnTo>
                    <a:pt x="908" y="828"/>
                  </a:lnTo>
                  <a:lnTo>
                    <a:pt x="898" y="832"/>
                  </a:lnTo>
                  <a:lnTo>
                    <a:pt x="888" y="836"/>
                  </a:lnTo>
                  <a:lnTo>
                    <a:pt x="880" y="836"/>
                  </a:lnTo>
                  <a:lnTo>
                    <a:pt x="872" y="836"/>
                  </a:lnTo>
                  <a:lnTo>
                    <a:pt x="864" y="834"/>
                  </a:lnTo>
                  <a:lnTo>
                    <a:pt x="858" y="830"/>
                  </a:lnTo>
                  <a:lnTo>
                    <a:pt x="846" y="820"/>
                  </a:lnTo>
                  <a:lnTo>
                    <a:pt x="836" y="806"/>
                  </a:lnTo>
                  <a:lnTo>
                    <a:pt x="826" y="792"/>
                  </a:lnTo>
                  <a:lnTo>
                    <a:pt x="810" y="762"/>
                  </a:lnTo>
                  <a:lnTo>
                    <a:pt x="810" y="762"/>
                  </a:lnTo>
                  <a:lnTo>
                    <a:pt x="828" y="760"/>
                  </a:lnTo>
                  <a:lnTo>
                    <a:pt x="844" y="758"/>
                  </a:lnTo>
                  <a:lnTo>
                    <a:pt x="850" y="756"/>
                  </a:lnTo>
                  <a:lnTo>
                    <a:pt x="856" y="752"/>
                  </a:lnTo>
                  <a:lnTo>
                    <a:pt x="862" y="746"/>
                  </a:lnTo>
                  <a:lnTo>
                    <a:pt x="866" y="740"/>
                  </a:lnTo>
                  <a:lnTo>
                    <a:pt x="866" y="740"/>
                  </a:lnTo>
                  <a:lnTo>
                    <a:pt x="884" y="738"/>
                  </a:lnTo>
                  <a:lnTo>
                    <a:pt x="900" y="736"/>
                  </a:lnTo>
                  <a:lnTo>
                    <a:pt x="914" y="730"/>
                  </a:lnTo>
                  <a:lnTo>
                    <a:pt x="928" y="720"/>
                  </a:lnTo>
                  <a:lnTo>
                    <a:pt x="928" y="720"/>
                  </a:lnTo>
                  <a:lnTo>
                    <a:pt x="938" y="720"/>
                  </a:lnTo>
                  <a:lnTo>
                    <a:pt x="950" y="722"/>
                  </a:lnTo>
                  <a:lnTo>
                    <a:pt x="972" y="728"/>
                  </a:lnTo>
                  <a:lnTo>
                    <a:pt x="1014" y="742"/>
                  </a:lnTo>
                  <a:lnTo>
                    <a:pt x="1034" y="746"/>
                  </a:lnTo>
                  <a:lnTo>
                    <a:pt x="1042" y="746"/>
                  </a:lnTo>
                  <a:lnTo>
                    <a:pt x="1052" y="746"/>
                  </a:lnTo>
                  <a:lnTo>
                    <a:pt x="1060" y="742"/>
                  </a:lnTo>
                  <a:lnTo>
                    <a:pt x="1068" y="738"/>
                  </a:lnTo>
                  <a:lnTo>
                    <a:pt x="1074" y="730"/>
                  </a:lnTo>
                  <a:lnTo>
                    <a:pt x="1082" y="720"/>
                  </a:lnTo>
                  <a:lnTo>
                    <a:pt x="1082" y="720"/>
                  </a:lnTo>
                  <a:lnTo>
                    <a:pt x="1074" y="708"/>
                  </a:lnTo>
                  <a:lnTo>
                    <a:pt x="1066" y="700"/>
                  </a:lnTo>
                  <a:lnTo>
                    <a:pt x="1056" y="692"/>
                  </a:lnTo>
                  <a:lnTo>
                    <a:pt x="1046" y="684"/>
                  </a:lnTo>
                  <a:lnTo>
                    <a:pt x="1022" y="672"/>
                  </a:lnTo>
                  <a:lnTo>
                    <a:pt x="998" y="660"/>
                  </a:lnTo>
                  <a:lnTo>
                    <a:pt x="998" y="660"/>
                  </a:lnTo>
                  <a:lnTo>
                    <a:pt x="1006" y="644"/>
                  </a:lnTo>
                  <a:lnTo>
                    <a:pt x="1010" y="630"/>
                  </a:lnTo>
                  <a:lnTo>
                    <a:pt x="1012" y="616"/>
                  </a:lnTo>
                  <a:lnTo>
                    <a:pt x="1016" y="604"/>
                  </a:lnTo>
                  <a:lnTo>
                    <a:pt x="1016" y="604"/>
                  </a:lnTo>
                  <a:lnTo>
                    <a:pt x="998" y="610"/>
                  </a:lnTo>
                  <a:lnTo>
                    <a:pt x="980" y="616"/>
                  </a:lnTo>
                  <a:lnTo>
                    <a:pt x="946" y="632"/>
                  </a:lnTo>
                  <a:lnTo>
                    <a:pt x="946" y="632"/>
                  </a:lnTo>
                  <a:lnTo>
                    <a:pt x="950" y="638"/>
                  </a:lnTo>
                  <a:lnTo>
                    <a:pt x="956" y="644"/>
                  </a:lnTo>
                  <a:lnTo>
                    <a:pt x="964" y="646"/>
                  </a:lnTo>
                  <a:lnTo>
                    <a:pt x="974" y="646"/>
                  </a:lnTo>
                  <a:lnTo>
                    <a:pt x="974" y="646"/>
                  </a:lnTo>
                  <a:lnTo>
                    <a:pt x="964" y="654"/>
                  </a:lnTo>
                  <a:lnTo>
                    <a:pt x="952" y="660"/>
                  </a:lnTo>
                  <a:lnTo>
                    <a:pt x="946" y="662"/>
                  </a:lnTo>
                  <a:lnTo>
                    <a:pt x="940" y="662"/>
                  </a:lnTo>
                  <a:lnTo>
                    <a:pt x="934" y="662"/>
                  </a:lnTo>
                  <a:lnTo>
                    <a:pt x="928" y="660"/>
                  </a:lnTo>
                  <a:lnTo>
                    <a:pt x="928" y="660"/>
                  </a:lnTo>
                  <a:lnTo>
                    <a:pt x="920" y="638"/>
                  </a:lnTo>
                  <a:lnTo>
                    <a:pt x="916" y="630"/>
                  </a:lnTo>
                  <a:lnTo>
                    <a:pt x="904" y="618"/>
                  </a:lnTo>
                  <a:lnTo>
                    <a:pt x="904" y="618"/>
                  </a:lnTo>
                  <a:lnTo>
                    <a:pt x="896" y="620"/>
                  </a:lnTo>
                  <a:lnTo>
                    <a:pt x="888" y="624"/>
                  </a:lnTo>
                  <a:lnTo>
                    <a:pt x="872" y="636"/>
                  </a:lnTo>
                  <a:lnTo>
                    <a:pt x="858" y="650"/>
                  </a:lnTo>
                  <a:lnTo>
                    <a:pt x="848" y="668"/>
                  </a:lnTo>
                  <a:lnTo>
                    <a:pt x="840" y="686"/>
                  </a:lnTo>
                  <a:lnTo>
                    <a:pt x="838" y="696"/>
                  </a:lnTo>
                  <a:lnTo>
                    <a:pt x="838" y="704"/>
                  </a:lnTo>
                  <a:lnTo>
                    <a:pt x="838" y="712"/>
                  </a:lnTo>
                  <a:lnTo>
                    <a:pt x="842" y="720"/>
                  </a:lnTo>
                  <a:lnTo>
                    <a:pt x="846" y="728"/>
                  </a:lnTo>
                  <a:lnTo>
                    <a:pt x="852" y="734"/>
                  </a:lnTo>
                  <a:lnTo>
                    <a:pt x="852" y="734"/>
                  </a:lnTo>
                  <a:lnTo>
                    <a:pt x="838" y="740"/>
                  </a:lnTo>
                  <a:lnTo>
                    <a:pt x="822" y="744"/>
                  </a:lnTo>
                  <a:lnTo>
                    <a:pt x="792" y="746"/>
                  </a:lnTo>
                  <a:lnTo>
                    <a:pt x="778" y="746"/>
                  </a:lnTo>
                  <a:lnTo>
                    <a:pt x="766" y="750"/>
                  </a:lnTo>
                  <a:lnTo>
                    <a:pt x="752" y="754"/>
                  </a:lnTo>
                  <a:lnTo>
                    <a:pt x="742" y="762"/>
                  </a:lnTo>
                  <a:lnTo>
                    <a:pt x="742" y="762"/>
                  </a:lnTo>
                  <a:lnTo>
                    <a:pt x="764" y="804"/>
                  </a:lnTo>
                  <a:lnTo>
                    <a:pt x="764" y="804"/>
                  </a:lnTo>
                  <a:lnTo>
                    <a:pt x="760" y="810"/>
                  </a:lnTo>
                  <a:lnTo>
                    <a:pt x="756" y="818"/>
                  </a:lnTo>
                  <a:lnTo>
                    <a:pt x="750" y="832"/>
                  </a:lnTo>
                  <a:lnTo>
                    <a:pt x="750" y="832"/>
                  </a:lnTo>
                  <a:lnTo>
                    <a:pt x="746" y="830"/>
                  </a:lnTo>
                  <a:lnTo>
                    <a:pt x="740" y="828"/>
                  </a:lnTo>
                  <a:lnTo>
                    <a:pt x="734" y="820"/>
                  </a:lnTo>
                  <a:lnTo>
                    <a:pt x="730" y="812"/>
                  </a:lnTo>
                  <a:lnTo>
                    <a:pt x="722" y="804"/>
                  </a:lnTo>
                  <a:lnTo>
                    <a:pt x="722" y="804"/>
                  </a:lnTo>
                  <a:lnTo>
                    <a:pt x="724" y="802"/>
                  </a:lnTo>
                  <a:lnTo>
                    <a:pt x="726" y="800"/>
                  </a:lnTo>
                  <a:lnTo>
                    <a:pt x="734" y="800"/>
                  </a:lnTo>
                  <a:lnTo>
                    <a:pt x="742" y="798"/>
                  </a:lnTo>
                  <a:lnTo>
                    <a:pt x="744" y="798"/>
                  </a:lnTo>
                  <a:lnTo>
                    <a:pt x="746" y="794"/>
                  </a:lnTo>
                  <a:lnTo>
                    <a:pt x="746" y="794"/>
                  </a:lnTo>
                  <a:lnTo>
                    <a:pt x="742" y="790"/>
                  </a:lnTo>
                  <a:lnTo>
                    <a:pt x="738" y="788"/>
                  </a:lnTo>
                  <a:lnTo>
                    <a:pt x="724" y="784"/>
                  </a:lnTo>
                  <a:lnTo>
                    <a:pt x="710" y="780"/>
                  </a:lnTo>
                  <a:lnTo>
                    <a:pt x="704" y="780"/>
                  </a:lnTo>
                  <a:lnTo>
                    <a:pt x="700" y="776"/>
                  </a:lnTo>
                  <a:lnTo>
                    <a:pt x="700" y="776"/>
                  </a:lnTo>
                  <a:lnTo>
                    <a:pt x="698" y="762"/>
                  </a:lnTo>
                  <a:lnTo>
                    <a:pt x="694" y="748"/>
                  </a:lnTo>
                  <a:lnTo>
                    <a:pt x="690" y="736"/>
                  </a:lnTo>
                  <a:lnTo>
                    <a:pt x="684" y="726"/>
                  </a:lnTo>
                  <a:lnTo>
                    <a:pt x="676" y="718"/>
                  </a:lnTo>
                  <a:lnTo>
                    <a:pt x="668" y="710"/>
                  </a:lnTo>
                  <a:lnTo>
                    <a:pt x="650" y="696"/>
                  </a:lnTo>
                  <a:lnTo>
                    <a:pt x="608" y="672"/>
                  </a:lnTo>
                  <a:lnTo>
                    <a:pt x="590" y="658"/>
                  </a:lnTo>
                  <a:lnTo>
                    <a:pt x="580" y="650"/>
                  </a:lnTo>
                  <a:lnTo>
                    <a:pt x="574" y="642"/>
                  </a:lnTo>
                  <a:lnTo>
                    <a:pt x="574" y="642"/>
                  </a:lnTo>
                  <a:lnTo>
                    <a:pt x="564" y="646"/>
                  </a:lnTo>
                  <a:lnTo>
                    <a:pt x="554" y="650"/>
                  </a:lnTo>
                  <a:lnTo>
                    <a:pt x="554" y="650"/>
                  </a:lnTo>
                  <a:lnTo>
                    <a:pt x="564" y="670"/>
                  </a:lnTo>
                  <a:lnTo>
                    <a:pt x="574" y="686"/>
                  </a:lnTo>
                  <a:lnTo>
                    <a:pt x="588" y="700"/>
                  </a:lnTo>
                  <a:lnTo>
                    <a:pt x="602" y="712"/>
                  </a:lnTo>
                  <a:lnTo>
                    <a:pt x="618" y="724"/>
                  </a:lnTo>
                  <a:lnTo>
                    <a:pt x="634" y="734"/>
                  </a:lnTo>
                  <a:lnTo>
                    <a:pt x="672" y="754"/>
                  </a:lnTo>
                  <a:lnTo>
                    <a:pt x="672" y="754"/>
                  </a:lnTo>
                  <a:lnTo>
                    <a:pt x="668" y="756"/>
                  </a:lnTo>
                  <a:lnTo>
                    <a:pt x="666" y="758"/>
                  </a:lnTo>
                  <a:lnTo>
                    <a:pt x="658" y="756"/>
                  </a:lnTo>
                  <a:lnTo>
                    <a:pt x="648" y="752"/>
                  </a:lnTo>
                  <a:lnTo>
                    <a:pt x="644" y="752"/>
                  </a:lnTo>
                  <a:lnTo>
                    <a:pt x="638" y="754"/>
                  </a:lnTo>
                  <a:lnTo>
                    <a:pt x="638" y="754"/>
                  </a:lnTo>
                  <a:lnTo>
                    <a:pt x="638" y="758"/>
                  </a:lnTo>
                  <a:lnTo>
                    <a:pt x="638" y="764"/>
                  </a:lnTo>
                  <a:lnTo>
                    <a:pt x="640" y="776"/>
                  </a:lnTo>
                  <a:lnTo>
                    <a:pt x="640" y="784"/>
                  </a:lnTo>
                  <a:lnTo>
                    <a:pt x="640" y="790"/>
                  </a:lnTo>
                  <a:lnTo>
                    <a:pt x="636" y="794"/>
                  </a:lnTo>
                  <a:lnTo>
                    <a:pt x="630" y="800"/>
                  </a:lnTo>
                  <a:lnTo>
                    <a:pt x="630" y="800"/>
                  </a:lnTo>
                  <a:lnTo>
                    <a:pt x="628" y="788"/>
                  </a:lnTo>
                  <a:lnTo>
                    <a:pt x="626" y="776"/>
                  </a:lnTo>
                  <a:lnTo>
                    <a:pt x="622" y="764"/>
                  </a:lnTo>
                  <a:lnTo>
                    <a:pt x="614" y="754"/>
                  </a:lnTo>
                  <a:lnTo>
                    <a:pt x="606" y="746"/>
                  </a:lnTo>
                  <a:lnTo>
                    <a:pt x="594" y="740"/>
                  </a:lnTo>
                  <a:lnTo>
                    <a:pt x="580" y="736"/>
                  </a:lnTo>
                  <a:lnTo>
                    <a:pt x="564" y="734"/>
                  </a:lnTo>
                  <a:lnTo>
                    <a:pt x="564" y="734"/>
                  </a:lnTo>
                  <a:lnTo>
                    <a:pt x="550" y="716"/>
                  </a:lnTo>
                  <a:lnTo>
                    <a:pt x="536" y="700"/>
                  </a:lnTo>
                  <a:lnTo>
                    <a:pt x="522" y="682"/>
                  </a:lnTo>
                  <a:lnTo>
                    <a:pt x="508" y="664"/>
                  </a:lnTo>
                  <a:lnTo>
                    <a:pt x="508" y="664"/>
                  </a:lnTo>
                  <a:lnTo>
                    <a:pt x="496" y="674"/>
                  </a:lnTo>
                  <a:lnTo>
                    <a:pt x="484" y="680"/>
                  </a:lnTo>
                  <a:lnTo>
                    <a:pt x="470" y="684"/>
                  </a:lnTo>
                  <a:lnTo>
                    <a:pt x="456" y="686"/>
                  </a:lnTo>
                  <a:lnTo>
                    <a:pt x="426" y="692"/>
                  </a:lnTo>
                  <a:lnTo>
                    <a:pt x="396" y="698"/>
                  </a:lnTo>
                  <a:lnTo>
                    <a:pt x="396" y="698"/>
                  </a:lnTo>
                  <a:lnTo>
                    <a:pt x="396" y="704"/>
                  </a:lnTo>
                  <a:lnTo>
                    <a:pt x="398" y="710"/>
                  </a:lnTo>
                  <a:lnTo>
                    <a:pt x="400" y="714"/>
                  </a:lnTo>
                  <a:lnTo>
                    <a:pt x="400" y="720"/>
                  </a:lnTo>
                  <a:lnTo>
                    <a:pt x="400" y="720"/>
                  </a:lnTo>
                  <a:lnTo>
                    <a:pt x="388" y="722"/>
                  </a:lnTo>
                  <a:lnTo>
                    <a:pt x="376" y="728"/>
                  </a:lnTo>
                  <a:lnTo>
                    <a:pt x="368" y="734"/>
                  </a:lnTo>
                  <a:lnTo>
                    <a:pt x="360" y="742"/>
                  </a:lnTo>
                  <a:lnTo>
                    <a:pt x="354" y="750"/>
                  </a:lnTo>
                  <a:lnTo>
                    <a:pt x="348" y="760"/>
                  </a:lnTo>
                  <a:lnTo>
                    <a:pt x="338" y="780"/>
                  </a:lnTo>
                  <a:lnTo>
                    <a:pt x="326" y="800"/>
                  </a:lnTo>
                  <a:lnTo>
                    <a:pt x="320" y="808"/>
                  </a:lnTo>
                  <a:lnTo>
                    <a:pt x="312" y="816"/>
                  </a:lnTo>
                  <a:lnTo>
                    <a:pt x="302" y="822"/>
                  </a:lnTo>
                  <a:lnTo>
                    <a:pt x="290" y="826"/>
                  </a:lnTo>
                  <a:lnTo>
                    <a:pt x="278" y="828"/>
                  </a:lnTo>
                  <a:lnTo>
                    <a:pt x="262" y="828"/>
                  </a:lnTo>
                  <a:lnTo>
                    <a:pt x="262" y="828"/>
                  </a:lnTo>
                  <a:lnTo>
                    <a:pt x="256" y="828"/>
                  </a:lnTo>
                  <a:lnTo>
                    <a:pt x="252" y="828"/>
                  </a:lnTo>
                  <a:lnTo>
                    <a:pt x="248" y="834"/>
                  </a:lnTo>
                  <a:lnTo>
                    <a:pt x="246" y="840"/>
                  </a:lnTo>
                  <a:lnTo>
                    <a:pt x="242" y="846"/>
                  </a:lnTo>
                  <a:lnTo>
                    <a:pt x="242" y="846"/>
                  </a:lnTo>
                  <a:lnTo>
                    <a:pt x="232" y="836"/>
                  </a:lnTo>
                  <a:lnTo>
                    <a:pt x="220" y="826"/>
                  </a:lnTo>
                  <a:lnTo>
                    <a:pt x="212" y="822"/>
                  </a:lnTo>
                  <a:lnTo>
                    <a:pt x="204" y="818"/>
                  </a:lnTo>
                  <a:lnTo>
                    <a:pt x="194" y="818"/>
                  </a:lnTo>
                  <a:lnTo>
                    <a:pt x="182" y="818"/>
                  </a:lnTo>
                  <a:lnTo>
                    <a:pt x="182" y="818"/>
                  </a:lnTo>
                  <a:lnTo>
                    <a:pt x="180" y="804"/>
                  </a:lnTo>
                  <a:lnTo>
                    <a:pt x="180" y="790"/>
                  </a:lnTo>
                  <a:lnTo>
                    <a:pt x="180" y="772"/>
                  </a:lnTo>
                  <a:lnTo>
                    <a:pt x="184" y="756"/>
                  </a:lnTo>
                  <a:lnTo>
                    <a:pt x="190" y="720"/>
                  </a:lnTo>
                  <a:lnTo>
                    <a:pt x="192" y="704"/>
                  </a:lnTo>
                  <a:lnTo>
                    <a:pt x="192" y="688"/>
                  </a:lnTo>
                  <a:lnTo>
                    <a:pt x="192" y="688"/>
                  </a:lnTo>
                  <a:lnTo>
                    <a:pt x="206" y="684"/>
                  </a:lnTo>
                  <a:lnTo>
                    <a:pt x="220" y="684"/>
                  </a:lnTo>
                  <a:lnTo>
                    <a:pt x="236" y="686"/>
                  </a:lnTo>
                  <a:lnTo>
                    <a:pt x="250" y="688"/>
                  </a:lnTo>
                  <a:lnTo>
                    <a:pt x="266" y="692"/>
                  </a:lnTo>
                  <a:lnTo>
                    <a:pt x="282" y="694"/>
                  </a:lnTo>
                  <a:lnTo>
                    <a:pt x="298" y="692"/>
                  </a:lnTo>
                  <a:lnTo>
                    <a:pt x="312" y="688"/>
                  </a:lnTo>
                  <a:lnTo>
                    <a:pt x="312" y="688"/>
                  </a:lnTo>
                  <a:lnTo>
                    <a:pt x="318" y="680"/>
                  </a:lnTo>
                  <a:lnTo>
                    <a:pt x="322" y="672"/>
                  </a:lnTo>
                  <a:lnTo>
                    <a:pt x="324" y="662"/>
                  </a:lnTo>
                  <a:lnTo>
                    <a:pt x="326" y="652"/>
                  </a:lnTo>
                  <a:lnTo>
                    <a:pt x="326" y="640"/>
                  </a:lnTo>
                  <a:lnTo>
                    <a:pt x="324" y="630"/>
                  </a:lnTo>
                  <a:lnTo>
                    <a:pt x="322" y="622"/>
                  </a:lnTo>
                  <a:lnTo>
                    <a:pt x="318" y="614"/>
                  </a:lnTo>
                  <a:lnTo>
                    <a:pt x="318" y="614"/>
                  </a:lnTo>
                  <a:lnTo>
                    <a:pt x="314" y="608"/>
                  </a:lnTo>
                  <a:lnTo>
                    <a:pt x="308" y="606"/>
                  </a:lnTo>
                  <a:lnTo>
                    <a:pt x="294" y="600"/>
                  </a:lnTo>
                  <a:lnTo>
                    <a:pt x="288" y="598"/>
                  </a:lnTo>
                  <a:lnTo>
                    <a:pt x="282" y="596"/>
                  </a:lnTo>
                  <a:lnTo>
                    <a:pt x="278" y="592"/>
                  </a:lnTo>
                  <a:lnTo>
                    <a:pt x="276" y="586"/>
                  </a:lnTo>
                  <a:lnTo>
                    <a:pt x="276" y="586"/>
                  </a:lnTo>
                  <a:lnTo>
                    <a:pt x="282" y="582"/>
                  </a:lnTo>
                  <a:lnTo>
                    <a:pt x="290" y="580"/>
                  </a:lnTo>
                  <a:lnTo>
                    <a:pt x="298" y="582"/>
                  </a:lnTo>
                  <a:lnTo>
                    <a:pt x="304" y="586"/>
                  </a:lnTo>
                  <a:lnTo>
                    <a:pt x="304" y="586"/>
                  </a:lnTo>
                  <a:lnTo>
                    <a:pt x="324" y="578"/>
                  </a:lnTo>
                  <a:lnTo>
                    <a:pt x="344" y="568"/>
                  </a:lnTo>
                  <a:lnTo>
                    <a:pt x="364" y="558"/>
                  </a:lnTo>
                  <a:lnTo>
                    <a:pt x="382" y="546"/>
                  </a:lnTo>
                  <a:lnTo>
                    <a:pt x="402" y="532"/>
                  </a:lnTo>
                  <a:lnTo>
                    <a:pt x="418" y="518"/>
                  </a:lnTo>
                  <a:lnTo>
                    <a:pt x="452" y="488"/>
                  </a:lnTo>
                  <a:lnTo>
                    <a:pt x="452" y="488"/>
                  </a:lnTo>
                  <a:lnTo>
                    <a:pt x="470" y="484"/>
                  </a:lnTo>
                  <a:lnTo>
                    <a:pt x="478" y="482"/>
                  </a:lnTo>
                  <a:lnTo>
                    <a:pt x="490" y="482"/>
                  </a:lnTo>
                  <a:lnTo>
                    <a:pt x="490" y="482"/>
                  </a:lnTo>
                  <a:lnTo>
                    <a:pt x="494" y="482"/>
                  </a:lnTo>
                  <a:lnTo>
                    <a:pt x="496" y="480"/>
                  </a:lnTo>
                  <a:lnTo>
                    <a:pt x="500" y="474"/>
                  </a:lnTo>
                  <a:lnTo>
                    <a:pt x="504" y="468"/>
                  </a:lnTo>
                  <a:lnTo>
                    <a:pt x="508" y="464"/>
                  </a:lnTo>
                  <a:lnTo>
                    <a:pt x="508" y="464"/>
                  </a:lnTo>
                  <a:lnTo>
                    <a:pt x="502" y="456"/>
                  </a:lnTo>
                  <a:lnTo>
                    <a:pt x="498" y="448"/>
                  </a:lnTo>
                  <a:lnTo>
                    <a:pt x="496" y="440"/>
                  </a:lnTo>
                  <a:lnTo>
                    <a:pt x="496" y="432"/>
                  </a:lnTo>
                  <a:lnTo>
                    <a:pt x="500" y="422"/>
                  </a:lnTo>
                  <a:lnTo>
                    <a:pt x="504" y="414"/>
                  </a:lnTo>
                  <a:lnTo>
                    <a:pt x="510" y="408"/>
                  </a:lnTo>
                  <a:lnTo>
                    <a:pt x="518" y="404"/>
                  </a:lnTo>
                  <a:lnTo>
                    <a:pt x="518" y="404"/>
                  </a:lnTo>
                  <a:lnTo>
                    <a:pt x="522" y="408"/>
                  </a:lnTo>
                  <a:lnTo>
                    <a:pt x="522" y="412"/>
                  </a:lnTo>
                  <a:lnTo>
                    <a:pt x="522" y="416"/>
                  </a:lnTo>
                  <a:lnTo>
                    <a:pt x="522" y="420"/>
                  </a:lnTo>
                  <a:lnTo>
                    <a:pt x="518" y="430"/>
                  </a:lnTo>
                  <a:lnTo>
                    <a:pt x="518" y="436"/>
                  </a:lnTo>
                  <a:lnTo>
                    <a:pt x="518" y="440"/>
                  </a:lnTo>
                  <a:lnTo>
                    <a:pt x="518" y="440"/>
                  </a:lnTo>
                  <a:lnTo>
                    <a:pt x="524" y="442"/>
                  </a:lnTo>
                  <a:lnTo>
                    <a:pt x="530" y="440"/>
                  </a:lnTo>
                  <a:lnTo>
                    <a:pt x="540" y="434"/>
                  </a:lnTo>
                  <a:lnTo>
                    <a:pt x="548" y="430"/>
                  </a:lnTo>
                  <a:lnTo>
                    <a:pt x="554" y="430"/>
                  </a:lnTo>
                  <a:lnTo>
                    <a:pt x="560" y="432"/>
                  </a:lnTo>
                  <a:lnTo>
                    <a:pt x="560" y="432"/>
                  </a:lnTo>
                  <a:lnTo>
                    <a:pt x="558" y="442"/>
                  </a:lnTo>
                  <a:lnTo>
                    <a:pt x="554" y="448"/>
                  </a:lnTo>
                  <a:lnTo>
                    <a:pt x="550" y="452"/>
                  </a:lnTo>
                  <a:lnTo>
                    <a:pt x="544" y="452"/>
                  </a:lnTo>
                  <a:lnTo>
                    <a:pt x="538" y="452"/>
                  </a:lnTo>
                  <a:lnTo>
                    <a:pt x="532" y="450"/>
                  </a:lnTo>
                  <a:lnTo>
                    <a:pt x="522" y="446"/>
                  </a:lnTo>
                  <a:lnTo>
                    <a:pt x="522" y="446"/>
                  </a:lnTo>
                  <a:close/>
                  <a:moveTo>
                    <a:pt x="1160" y="664"/>
                  </a:moveTo>
                  <a:lnTo>
                    <a:pt x="1160" y="664"/>
                  </a:lnTo>
                  <a:lnTo>
                    <a:pt x="1170" y="682"/>
                  </a:lnTo>
                  <a:lnTo>
                    <a:pt x="1182" y="696"/>
                  </a:lnTo>
                  <a:lnTo>
                    <a:pt x="1206" y="726"/>
                  </a:lnTo>
                  <a:lnTo>
                    <a:pt x="1216" y="742"/>
                  </a:lnTo>
                  <a:lnTo>
                    <a:pt x="1220" y="752"/>
                  </a:lnTo>
                  <a:lnTo>
                    <a:pt x="1222" y="760"/>
                  </a:lnTo>
                  <a:lnTo>
                    <a:pt x="1224" y="772"/>
                  </a:lnTo>
                  <a:lnTo>
                    <a:pt x="1224" y="782"/>
                  </a:lnTo>
                  <a:lnTo>
                    <a:pt x="1224" y="796"/>
                  </a:lnTo>
                  <a:lnTo>
                    <a:pt x="1222" y="808"/>
                  </a:lnTo>
                  <a:lnTo>
                    <a:pt x="1222" y="808"/>
                  </a:lnTo>
                  <a:lnTo>
                    <a:pt x="1238" y="818"/>
                  </a:lnTo>
                  <a:lnTo>
                    <a:pt x="1254" y="826"/>
                  </a:lnTo>
                  <a:lnTo>
                    <a:pt x="1272" y="834"/>
                  </a:lnTo>
                  <a:lnTo>
                    <a:pt x="1290" y="842"/>
                  </a:lnTo>
                  <a:lnTo>
                    <a:pt x="1290" y="842"/>
                  </a:lnTo>
                  <a:lnTo>
                    <a:pt x="1296" y="836"/>
                  </a:lnTo>
                  <a:lnTo>
                    <a:pt x="1302" y="834"/>
                  </a:lnTo>
                  <a:lnTo>
                    <a:pt x="1308" y="830"/>
                  </a:lnTo>
                  <a:lnTo>
                    <a:pt x="1314" y="828"/>
                  </a:lnTo>
                  <a:lnTo>
                    <a:pt x="1314" y="828"/>
                  </a:lnTo>
                  <a:lnTo>
                    <a:pt x="1316" y="812"/>
                  </a:lnTo>
                  <a:lnTo>
                    <a:pt x="1314" y="800"/>
                  </a:lnTo>
                  <a:lnTo>
                    <a:pt x="1312" y="790"/>
                  </a:lnTo>
                  <a:lnTo>
                    <a:pt x="1306" y="782"/>
                  </a:lnTo>
                  <a:lnTo>
                    <a:pt x="1296" y="766"/>
                  </a:lnTo>
                  <a:lnTo>
                    <a:pt x="1290" y="758"/>
                  </a:lnTo>
                  <a:lnTo>
                    <a:pt x="1286" y="748"/>
                  </a:lnTo>
                  <a:lnTo>
                    <a:pt x="1286" y="748"/>
                  </a:lnTo>
                  <a:lnTo>
                    <a:pt x="1300" y="752"/>
                  </a:lnTo>
                  <a:lnTo>
                    <a:pt x="1314" y="748"/>
                  </a:lnTo>
                  <a:lnTo>
                    <a:pt x="1314" y="748"/>
                  </a:lnTo>
                  <a:lnTo>
                    <a:pt x="1312" y="736"/>
                  </a:lnTo>
                  <a:lnTo>
                    <a:pt x="1306" y="726"/>
                  </a:lnTo>
                  <a:lnTo>
                    <a:pt x="1300" y="718"/>
                  </a:lnTo>
                  <a:lnTo>
                    <a:pt x="1290" y="712"/>
                  </a:lnTo>
                  <a:lnTo>
                    <a:pt x="1290" y="712"/>
                  </a:lnTo>
                  <a:lnTo>
                    <a:pt x="1284" y="714"/>
                  </a:lnTo>
                  <a:lnTo>
                    <a:pt x="1276" y="714"/>
                  </a:lnTo>
                  <a:lnTo>
                    <a:pt x="1268" y="710"/>
                  </a:lnTo>
                  <a:lnTo>
                    <a:pt x="1258" y="704"/>
                  </a:lnTo>
                  <a:lnTo>
                    <a:pt x="1248" y="696"/>
                  </a:lnTo>
                  <a:lnTo>
                    <a:pt x="1240" y="688"/>
                  </a:lnTo>
                  <a:lnTo>
                    <a:pt x="1234" y="678"/>
                  </a:lnTo>
                  <a:lnTo>
                    <a:pt x="1230" y="670"/>
                  </a:lnTo>
                  <a:lnTo>
                    <a:pt x="1230" y="670"/>
                  </a:lnTo>
                  <a:lnTo>
                    <a:pt x="1234" y="664"/>
                  </a:lnTo>
                  <a:lnTo>
                    <a:pt x="1238" y="660"/>
                  </a:lnTo>
                  <a:lnTo>
                    <a:pt x="1244" y="656"/>
                  </a:lnTo>
                  <a:lnTo>
                    <a:pt x="1250" y="652"/>
                  </a:lnTo>
                  <a:lnTo>
                    <a:pt x="1256" y="652"/>
                  </a:lnTo>
                  <a:lnTo>
                    <a:pt x="1262" y="650"/>
                  </a:lnTo>
                  <a:lnTo>
                    <a:pt x="1270" y="652"/>
                  </a:lnTo>
                  <a:lnTo>
                    <a:pt x="1276" y="656"/>
                  </a:lnTo>
                  <a:lnTo>
                    <a:pt x="1276" y="656"/>
                  </a:lnTo>
                  <a:lnTo>
                    <a:pt x="1276" y="644"/>
                  </a:lnTo>
                  <a:lnTo>
                    <a:pt x="1272" y="636"/>
                  </a:lnTo>
                  <a:lnTo>
                    <a:pt x="1268" y="628"/>
                  </a:lnTo>
                  <a:lnTo>
                    <a:pt x="1260" y="624"/>
                  </a:lnTo>
                  <a:lnTo>
                    <a:pt x="1252" y="620"/>
                  </a:lnTo>
                  <a:lnTo>
                    <a:pt x="1244" y="618"/>
                  </a:lnTo>
                  <a:lnTo>
                    <a:pt x="1234" y="618"/>
                  </a:lnTo>
                  <a:lnTo>
                    <a:pt x="1224" y="618"/>
                  </a:lnTo>
                  <a:lnTo>
                    <a:pt x="1204" y="624"/>
                  </a:lnTo>
                  <a:lnTo>
                    <a:pt x="1186" y="636"/>
                  </a:lnTo>
                  <a:lnTo>
                    <a:pt x="1178" y="642"/>
                  </a:lnTo>
                  <a:lnTo>
                    <a:pt x="1170" y="648"/>
                  </a:lnTo>
                  <a:lnTo>
                    <a:pt x="1164" y="656"/>
                  </a:lnTo>
                  <a:lnTo>
                    <a:pt x="1160" y="664"/>
                  </a:lnTo>
                  <a:lnTo>
                    <a:pt x="1160" y="66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 name="Freeform 10"/>
            <p:cNvSpPr>
              <a:spLocks/>
            </p:cNvSpPr>
            <p:nvPr/>
          </p:nvSpPr>
          <p:spPr bwMode="auto">
            <a:xfrm>
              <a:off x="5976408" y="1368334"/>
              <a:ext cx="337984" cy="125054"/>
            </a:xfrm>
            <a:custGeom>
              <a:avLst/>
              <a:gdLst>
                <a:gd name="T0" fmla="*/ 74 w 200"/>
                <a:gd name="T1" fmla="*/ 42 h 74"/>
                <a:gd name="T2" fmla="*/ 68 w 200"/>
                <a:gd name="T3" fmla="*/ 38 h 74"/>
                <a:gd name="T4" fmla="*/ 56 w 200"/>
                <a:gd name="T5" fmla="*/ 38 h 74"/>
                <a:gd name="T6" fmla="*/ 50 w 200"/>
                <a:gd name="T7" fmla="*/ 32 h 74"/>
                <a:gd name="T8" fmla="*/ 46 w 200"/>
                <a:gd name="T9" fmla="*/ 38 h 74"/>
                <a:gd name="T10" fmla="*/ 34 w 200"/>
                <a:gd name="T11" fmla="*/ 40 h 74"/>
                <a:gd name="T12" fmla="*/ 10 w 200"/>
                <a:gd name="T13" fmla="*/ 30 h 74"/>
                <a:gd name="T14" fmla="*/ 0 w 200"/>
                <a:gd name="T15" fmla="*/ 22 h 74"/>
                <a:gd name="T16" fmla="*/ 8 w 200"/>
                <a:gd name="T17" fmla="*/ 14 h 74"/>
                <a:gd name="T18" fmla="*/ 18 w 200"/>
                <a:gd name="T19" fmla="*/ 12 h 74"/>
                <a:gd name="T20" fmla="*/ 46 w 200"/>
                <a:gd name="T21" fmla="*/ 16 h 74"/>
                <a:gd name="T22" fmla="*/ 74 w 200"/>
                <a:gd name="T23" fmla="*/ 18 h 74"/>
                <a:gd name="T24" fmla="*/ 84 w 200"/>
                <a:gd name="T25" fmla="*/ 16 h 74"/>
                <a:gd name="T26" fmla="*/ 92 w 200"/>
                <a:gd name="T27" fmla="*/ 8 h 74"/>
                <a:gd name="T28" fmla="*/ 98 w 200"/>
                <a:gd name="T29" fmla="*/ 8 h 74"/>
                <a:gd name="T30" fmla="*/ 102 w 200"/>
                <a:gd name="T31" fmla="*/ 12 h 74"/>
                <a:gd name="T32" fmla="*/ 104 w 200"/>
                <a:gd name="T33" fmla="*/ 22 h 74"/>
                <a:gd name="T34" fmla="*/ 106 w 200"/>
                <a:gd name="T35" fmla="*/ 28 h 74"/>
                <a:gd name="T36" fmla="*/ 110 w 200"/>
                <a:gd name="T37" fmla="*/ 20 h 74"/>
                <a:gd name="T38" fmla="*/ 120 w 200"/>
                <a:gd name="T39" fmla="*/ 6 h 74"/>
                <a:gd name="T40" fmla="*/ 126 w 200"/>
                <a:gd name="T41" fmla="*/ 0 h 74"/>
                <a:gd name="T42" fmla="*/ 138 w 200"/>
                <a:gd name="T43" fmla="*/ 8 h 74"/>
                <a:gd name="T44" fmla="*/ 158 w 200"/>
                <a:gd name="T45" fmla="*/ 10 h 74"/>
                <a:gd name="T46" fmla="*/ 200 w 200"/>
                <a:gd name="T47" fmla="*/ 8 h 74"/>
                <a:gd name="T48" fmla="*/ 196 w 200"/>
                <a:gd name="T49" fmla="*/ 18 h 74"/>
                <a:gd name="T50" fmla="*/ 180 w 200"/>
                <a:gd name="T51" fmla="*/ 26 h 74"/>
                <a:gd name="T52" fmla="*/ 146 w 200"/>
                <a:gd name="T53" fmla="*/ 24 h 74"/>
                <a:gd name="T54" fmla="*/ 126 w 200"/>
                <a:gd name="T55" fmla="*/ 18 h 74"/>
                <a:gd name="T56" fmla="*/ 134 w 200"/>
                <a:gd name="T57" fmla="*/ 30 h 74"/>
                <a:gd name="T58" fmla="*/ 148 w 200"/>
                <a:gd name="T59" fmla="*/ 38 h 74"/>
                <a:gd name="T60" fmla="*/ 176 w 200"/>
                <a:gd name="T61" fmla="*/ 50 h 74"/>
                <a:gd name="T62" fmla="*/ 172 w 200"/>
                <a:gd name="T63" fmla="*/ 56 h 74"/>
                <a:gd name="T64" fmla="*/ 162 w 200"/>
                <a:gd name="T65" fmla="*/ 56 h 74"/>
                <a:gd name="T66" fmla="*/ 152 w 200"/>
                <a:gd name="T67" fmla="*/ 52 h 74"/>
                <a:gd name="T68" fmla="*/ 138 w 200"/>
                <a:gd name="T69" fmla="*/ 52 h 74"/>
                <a:gd name="T70" fmla="*/ 130 w 200"/>
                <a:gd name="T71" fmla="*/ 56 h 74"/>
                <a:gd name="T72" fmla="*/ 134 w 200"/>
                <a:gd name="T73" fmla="*/ 46 h 74"/>
                <a:gd name="T74" fmla="*/ 130 w 200"/>
                <a:gd name="T75" fmla="*/ 38 h 74"/>
                <a:gd name="T76" fmla="*/ 122 w 200"/>
                <a:gd name="T77" fmla="*/ 34 h 74"/>
                <a:gd name="T78" fmla="*/ 112 w 200"/>
                <a:gd name="T79" fmla="*/ 32 h 74"/>
                <a:gd name="T80" fmla="*/ 104 w 200"/>
                <a:gd name="T81" fmla="*/ 42 h 74"/>
                <a:gd name="T82" fmla="*/ 86 w 200"/>
                <a:gd name="T83" fmla="*/ 62 h 74"/>
                <a:gd name="T84" fmla="*/ 78 w 200"/>
                <a:gd name="T85" fmla="*/ 74 h 74"/>
                <a:gd name="T86" fmla="*/ 56 w 200"/>
                <a:gd name="T87" fmla="*/ 62 h 74"/>
                <a:gd name="T88" fmla="*/ 40 w 200"/>
                <a:gd name="T89" fmla="*/ 52 h 74"/>
                <a:gd name="T90" fmla="*/ 36 w 200"/>
                <a:gd name="T91" fmla="*/ 46 h 74"/>
                <a:gd name="T92" fmla="*/ 58 w 200"/>
                <a:gd name="T93" fmla="*/ 46 h 74"/>
                <a:gd name="T94" fmla="*/ 74 w 200"/>
                <a:gd name="T95" fmla="*/ 4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74">
                  <a:moveTo>
                    <a:pt x="74" y="42"/>
                  </a:moveTo>
                  <a:lnTo>
                    <a:pt x="74" y="42"/>
                  </a:lnTo>
                  <a:lnTo>
                    <a:pt x="72" y="40"/>
                  </a:lnTo>
                  <a:lnTo>
                    <a:pt x="68" y="38"/>
                  </a:lnTo>
                  <a:lnTo>
                    <a:pt x="62" y="38"/>
                  </a:lnTo>
                  <a:lnTo>
                    <a:pt x="56" y="38"/>
                  </a:lnTo>
                  <a:lnTo>
                    <a:pt x="54" y="36"/>
                  </a:lnTo>
                  <a:lnTo>
                    <a:pt x="50" y="32"/>
                  </a:lnTo>
                  <a:lnTo>
                    <a:pt x="50" y="32"/>
                  </a:lnTo>
                  <a:lnTo>
                    <a:pt x="46" y="38"/>
                  </a:lnTo>
                  <a:lnTo>
                    <a:pt x="40" y="40"/>
                  </a:lnTo>
                  <a:lnTo>
                    <a:pt x="34" y="40"/>
                  </a:lnTo>
                  <a:lnTo>
                    <a:pt x="26" y="38"/>
                  </a:lnTo>
                  <a:lnTo>
                    <a:pt x="10" y="30"/>
                  </a:lnTo>
                  <a:lnTo>
                    <a:pt x="0" y="22"/>
                  </a:lnTo>
                  <a:lnTo>
                    <a:pt x="0" y="22"/>
                  </a:lnTo>
                  <a:lnTo>
                    <a:pt x="4" y="18"/>
                  </a:lnTo>
                  <a:lnTo>
                    <a:pt x="8" y="14"/>
                  </a:lnTo>
                  <a:lnTo>
                    <a:pt x="12" y="12"/>
                  </a:lnTo>
                  <a:lnTo>
                    <a:pt x="18" y="12"/>
                  </a:lnTo>
                  <a:lnTo>
                    <a:pt x="32" y="12"/>
                  </a:lnTo>
                  <a:lnTo>
                    <a:pt x="46" y="16"/>
                  </a:lnTo>
                  <a:lnTo>
                    <a:pt x="60" y="18"/>
                  </a:lnTo>
                  <a:lnTo>
                    <a:pt x="74" y="18"/>
                  </a:lnTo>
                  <a:lnTo>
                    <a:pt x="80" y="18"/>
                  </a:lnTo>
                  <a:lnTo>
                    <a:pt x="84" y="16"/>
                  </a:lnTo>
                  <a:lnTo>
                    <a:pt x="90" y="14"/>
                  </a:lnTo>
                  <a:lnTo>
                    <a:pt x="92" y="8"/>
                  </a:lnTo>
                  <a:lnTo>
                    <a:pt x="92" y="8"/>
                  </a:lnTo>
                  <a:lnTo>
                    <a:pt x="98" y="8"/>
                  </a:lnTo>
                  <a:lnTo>
                    <a:pt x="100" y="10"/>
                  </a:lnTo>
                  <a:lnTo>
                    <a:pt x="102" y="12"/>
                  </a:lnTo>
                  <a:lnTo>
                    <a:pt x="102" y="16"/>
                  </a:lnTo>
                  <a:lnTo>
                    <a:pt x="104" y="22"/>
                  </a:lnTo>
                  <a:lnTo>
                    <a:pt x="104" y="26"/>
                  </a:lnTo>
                  <a:lnTo>
                    <a:pt x="106" y="28"/>
                  </a:lnTo>
                  <a:lnTo>
                    <a:pt x="106" y="28"/>
                  </a:lnTo>
                  <a:lnTo>
                    <a:pt x="110" y="20"/>
                  </a:lnTo>
                  <a:lnTo>
                    <a:pt x="116" y="12"/>
                  </a:lnTo>
                  <a:lnTo>
                    <a:pt x="120" y="6"/>
                  </a:lnTo>
                  <a:lnTo>
                    <a:pt x="126" y="0"/>
                  </a:lnTo>
                  <a:lnTo>
                    <a:pt x="126" y="0"/>
                  </a:lnTo>
                  <a:lnTo>
                    <a:pt x="130" y="4"/>
                  </a:lnTo>
                  <a:lnTo>
                    <a:pt x="138" y="8"/>
                  </a:lnTo>
                  <a:lnTo>
                    <a:pt x="148" y="8"/>
                  </a:lnTo>
                  <a:lnTo>
                    <a:pt x="158" y="10"/>
                  </a:lnTo>
                  <a:lnTo>
                    <a:pt x="178" y="8"/>
                  </a:lnTo>
                  <a:lnTo>
                    <a:pt x="200" y="8"/>
                  </a:lnTo>
                  <a:lnTo>
                    <a:pt x="200" y="8"/>
                  </a:lnTo>
                  <a:lnTo>
                    <a:pt x="196" y="18"/>
                  </a:lnTo>
                  <a:lnTo>
                    <a:pt x="188" y="24"/>
                  </a:lnTo>
                  <a:lnTo>
                    <a:pt x="180" y="26"/>
                  </a:lnTo>
                  <a:lnTo>
                    <a:pt x="168" y="26"/>
                  </a:lnTo>
                  <a:lnTo>
                    <a:pt x="146" y="24"/>
                  </a:lnTo>
                  <a:lnTo>
                    <a:pt x="126" y="18"/>
                  </a:lnTo>
                  <a:lnTo>
                    <a:pt x="126" y="18"/>
                  </a:lnTo>
                  <a:lnTo>
                    <a:pt x="128" y="24"/>
                  </a:lnTo>
                  <a:lnTo>
                    <a:pt x="134" y="30"/>
                  </a:lnTo>
                  <a:lnTo>
                    <a:pt x="140" y="34"/>
                  </a:lnTo>
                  <a:lnTo>
                    <a:pt x="148" y="38"/>
                  </a:lnTo>
                  <a:lnTo>
                    <a:pt x="162" y="44"/>
                  </a:lnTo>
                  <a:lnTo>
                    <a:pt x="176" y="50"/>
                  </a:lnTo>
                  <a:lnTo>
                    <a:pt x="176" y="50"/>
                  </a:lnTo>
                  <a:lnTo>
                    <a:pt x="172" y="56"/>
                  </a:lnTo>
                  <a:lnTo>
                    <a:pt x="168" y="56"/>
                  </a:lnTo>
                  <a:lnTo>
                    <a:pt x="162" y="56"/>
                  </a:lnTo>
                  <a:lnTo>
                    <a:pt x="158" y="54"/>
                  </a:lnTo>
                  <a:lnTo>
                    <a:pt x="152" y="52"/>
                  </a:lnTo>
                  <a:lnTo>
                    <a:pt x="146" y="52"/>
                  </a:lnTo>
                  <a:lnTo>
                    <a:pt x="138" y="52"/>
                  </a:lnTo>
                  <a:lnTo>
                    <a:pt x="130" y="56"/>
                  </a:lnTo>
                  <a:lnTo>
                    <a:pt x="130" y="56"/>
                  </a:lnTo>
                  <a:lnTo>
                    <a:pt x="132" y="52"/>
                  </a:lnTo>
                  <a:lnTo>
                    <a:pt x="134" y="46"/>
                  </a:lnTo>
                  <a:lnTo>
                    <a:pt x="134" y="42"/>
                  </a:lnTo>
                  <a:lnTo>
                    <a:pt x="130" y="38"/>
                  </a:lnTo>
                  <a:lnTo>
                    <a:pt x="128" y="36"/>
                  </a:lnTo>
                  <a:lnTo>
                    <a:pt x="122" y="34"/>
                  </a:lnTo>
                  <a:lnTo>
                    <a:pt x="118" y="32"/>
                  </a:lnTo>
                  <a:lnTo>
                    <a:pt x="112" y="32"/>
                  </a:lnTo>
                  <a:lnTo>
                    <a:pt x="112" y="32"/>
                  </a:lnTo>
                  <a:lnTo>
                    <a:pt x="104" y="42"/>
                  </a:lnTo>
                  <a:lnTo>
                    <a:pt x="94" y="52"/>
                  </a:lnTo>
                  <a:lnTo>
                    <a:pt x="86" y="62"/>
                  </a:lnTo>
                  <a:lnTo>
                    <a:pt x="78" y="74"/>
                  </a:lnTo>
                  <a:lnTo>
                    <a:pt x="78" y="74"/>
                  </a:lnTo>
                  <a:lnTo>
                    <a:pt x="68" y="68"/>
                  </a:lnTo>
                  <a:lnTo>
                    <a:pt x="56" y="62"/>
                  </a:lnTo>
                  <a:lnTo>
                    <a:pt x="44" y="56"/>
                  </a:lnTo>
                  <a:lnTo>
                    <a:pt x="40" y="52"/>
                  </a:lnTo>
                  <a:lnTo>
                    <a:pt x="36" y="46"/>
                  </a:lnTo>
                  <a:lnTo>
                    <a:pt x="36" y="46"/>
                  </a:lnTo>
                  <a:lnTo>
                    <a:pt x="48" y="46"/>
                  </a:lnTo>
                  <a:lnTo>
                    <a:pt x="58" y="46"/>
                  </a:lnTo>
                  <a:lnTo>
                    <a:pt x="74" y="42"/>
                  </a:lnTo>
                  <a:lnTo>
                    <a:pt x="74" y="4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 name="Freeform 11"/>
            <p:cNvSpPr>
              <a:spLocks/>
            </p:cNvSpPr>
            <p:nvPr/>
          </p:nvSpPr>
          <p:spPr bwMode="auto">
            <a:xfrm>
              <a:off x="3708536" y="1459590"/>
              <a:ext cx="267007" cy="54077"/>
            </a:xfrm>
            <a:custGeom>
              <a:avLst/>
              <a:gdLst>
                <a:gd name="T0" fmla="*/ 158 w 158"/>
                <a:gd name="T1" fmla="*/ 16 h 32"/>
                <a:gd name="T2" fmla="*/ 158 w 158"/>
                <a:gd name="T3" fmla="*/ 16 h 32"/>
                <a:gd name="T4" fmla="*/ 152 w 158"/>
                <a:gd name="T5" fmla="*/ 22 h 32"/>
                <a:gd name="T6" fmla="*/ 144 w 158"/>
                <a:gd name="T7" fmla="*/ 26 h 32"/>
                <a:gd name="T8" fmla="*/ 136 w 158"/>
                <a:gd name="T9" fmla="*/ 28 h 32"/>
                <a:gd name="T10" fmla="*/ 128 w 158"/>
                <a:gd name="T11" fmla="*/ 30 h 32"/>
                <a:gd name="T12" fmla="*/ 110 w 158"/>
                <a:gd name="T13" fmla="*/ 32 h 32"/>
                <a:gd name="T14" fmla="*/ 88 w 158"/>
                <a:gd name="T15" fmla="*/ 30 h 32"/>
                <a:gd name="T16" fmla="*/ 44 w 158"/>
                <a:gd name="T17" fmla="*/ 26 h 32"/>
                <a:gd name="T18" fmla="*/ 22 w 158"/>
                <a:gd name="T19" fmla="*/ 24 h 32"/>
                <a:gd name="T20" fmla="*/ 0 w 158"/>
                <a:gd name="T21" fmla="*/ 24 h 32"/>
                <a:gd name="T22" fmla="*/ 0 w 158"/>
                <a:gd name="T23" fmla="*/ 24 h 32"/>
                <a:gd name="T24" fmla="*/ 4 w 158"/>
                <a:gd name="T25" fmla="*/ 12 h 32"/>
                <a:gd name="T26" fmla="*/ 10 w 158"/>
                <a:gd name="T27" fmla="*/ 4 h 32"/>
                <a:gd name="T28" fmla="*/ 18 w 158"/>
                <a:gd name="T29" fmla="*/ 0 h 32"/>
                <a:gd name="T30" fmla="*/ 30 w 158"/>
                <a:gd name="T31" fmla="*/ 0 h 32"/>
                <a:gd name="T32" fmla="*/ 40 w 158"/>
                <a:gd name="T33" fmla="*/ 0 h 32"/>
                <a:gd name="T34" fmla="*/ 50 w 158"/>
                <a:gd name="T35" fmla="*/ 4 h 32"/>
                <a:gd name="T36" fmla="*/ 60 w 158"/>
                <a:gd name="T37" fmla="*/ 10 h 32"/>
                <a:gd name="T38" fmla="*/ 70 w 158"/>
                <a:gd name="T39" fmla="*/ 16 h 32"/>
                <a:gd name="T40" fmla="*/ 70 w 158"/>
                <a:gd name="T41" fmla="*/ 16 h 32"/>
                <a:gd name="T42" fmla="*/ 90 w 158"/>
                <a:gd name="T43" fmla="*/ 12 h 32"/>
                <a:gd name="T44" fmla="*/ 114 w 158"/>
                <a:gd name="T45" fmla="*/ 10 h 32"/>
                <a:gd name="T46" fmla="*/ 138 w 158"/>
                <a:gd name="T47" fmla="*/ 12 h 32"/>
                <a:gd name="T48" fmla="*/ 148 w 158"/>
                <a:gd name="T49" fmla="*/ 12 h 32"/>
                <a:gd name="T50" fmla="*/ 158 w 158"/>
                <a:gd name="T51" fmla="*/ 16 h 32"/>
                <a:gd name="T52" fmla="*/ 158 w 158"/>
                <a:gd name="T5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32">
                  <a:moveTo>
                    <a:pt x="158" y="16"/>
                  </a:moveTo>
                  <a:lnTo>
                    <a:pt x="158" y="16"/>
                  </a:lnTo>
                  <a:lnTo>
                    <a:pt x="152" y="22"/>
                  </a:lnTo>
                  <a:lnTo>
                    <a:pt x="144" y="26"/>
                  </a:lnTo>
                  <a:lnTo>
                    <a:pt x="136" y="28"/>
                  </a:lnTo>
                  <a:lnTo>
                    <a:pt x="128" y="30"/>
                  </a:lnTo>
                  <a:lnTo>
                    <a:pt x="110" y="32"/>
                  </a:lnTo>
                  <a:lnTo>
                    <a:pt x="88" y="30"/>
                  </a:lnTo>
                  <a:lnTo>
                    <a:pt x="44" y="26"/>
                  </a:lnTo>
                  <a:lnTo>
                    <a:pt x="22" y="24"/>
                  </a:lnTo>
                  <a:lnTo>
                    <a:pt x="0" y="24"/>
                  </a:lnTo>
                  <a:lnTo>
                    <a:pt x="0" y="24"/>
                  </a:lnTo>
                  <a:lnTo>
                    <a:pt x="4" y="12"/>
                  </a:lnTo>
                  <a:lnTo>
                    <a:pt x="10" y="4"/>
                  </a:lnTo>
                  <a:lnTo>
                    <a:pt x="18" y="0"/>
                  </a:lnTo>
                  <a:lnTo>
                    <a:pt x="30" y="0"/>
                  </a:lnTo>
                  <a:lnTo>
                    <a:pt x="40" y="0"/>
                  </a:lnTo>
                  <a:lnTo>
                    <a:pt x="50" y="4"/>
                  </a:lnTo>
                  <a:lnTo>
                    <a:pt x="60" y="10"/>
                  </a:lnTo>
                  <a:lnTo>
                    <a:pt x="70" y="16"/>
                  </a:lnTo>
                  <a:lnTo>
                    <a:pt x="70" y="16"/>
                  </a:lnTo>
                  <a:lnTo>
                    <a:pt x="90" y="12"/>
                  </a:lnTo>
                  <a:lnTo>
                    <a:pt x="114" y="10"/>
                  </a:lnTo>
                  <a:lnTo>
                    <a:pt x="138" y="12"/>
                  </a:lnTo>
                  <a:lnTo>
                    <a:pt x="148" y="12"/>
                  </a:lnTo>
                  <a:lnTo>
                    <a:pt x="158" y="16"/>
                  </a:lnTo>
                  <a:lnTo>
                    <a:pt x="158" y="1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 name="Freeform 12"/>
            <p:cNvSpPr>
              <a:spLocks/>
            </p:cNvSpPr>
            <p:nvPr/>
          </p:nvSpPr>
          <p:spPr bwMode="auto">
            <a:xfrm>
              <a:off x="6953181" y="1473109"/>
              <a:ext cx="290666" cy="162232"/>
            </a:xfrm>
            <a:custGeom>
              <a:avLst/>
              <a:gdLst>
                <a:gd name="T0" fmla="*/ 172 w 172"/>
                <a:gd name="T1" fmla="*/ 2 h 96"/>
                <a:gd name="T2" fmla="*/ 172 w 172"/>
                <a:gd name="T3" fmla="*/ 2 h 96"/>
                <a:gd name="T4" fmla="*/ 154 w 172"/>
                <a:gd name="T5" fmla="*/ 10 h 96"/>
                <a:gd name="T6" fmla="*/ 136 w 172"/>
                <a:gd name="T7" fmla="*/ 14 h 96"/>
                <a:gd name="T8" fmla="*/ 98 w 172"/>
                <a:gd name="T9" fmla="*/ 24 h 96"/>
                <a:gd name="T10" fmla="*/ 80 w 172"/>
                <a:gd name="T11" fmla="*/ 30 h 96"/>
                <a:gd name="T12" fmla="*/ 66 w 172"/>
                <a:gd name="T13" fmla="*/ 40 h 96"/>
                <a:gd name="T14" fmla="*/ 58 w 172"/>
                <a:gd name="T15" fmla="*/ 46 h 96"/>
                <a:gd name="T16" fmla="*/ 54 w 172"/>
                <a:gd name="T17" fmla="*/ 52 h 96"/>
                <a:gd name="T18" fmla="*/ 50 w 172"/>
                <a:gd name="T19" fmla="*/ 60 h 96"/>
                <a:gd name="T20" fmla="*/ 46 w 172"/>
                <a:gd name="T21" fmla="*/ 68 h 96"/>
                <a:gd name="T22" fmla="*/ 46 w 172"/>
                <a:gd name="T23" fmla="*/ 68 h 96"/>
                <a:gd name="T24" fmla="*/ 46 w 172"/>
                <a:gd name="T25" fmla="*/ 74 h 96"/>
                <a:gd name="T26" fmla="*/ 46 w 172"/>
                <a:gd name="T27" fmla="*/ 78 h 96"/>
                <a:gd name="T28" fmla="*/ 48 w 172"/>
                <a:gd name="T29" fmla="*/ 82 h 96"/>
                <a:gd name="T30" fmla="*/ 50 w 172"/>
                <a:gd name="T31" fmla="*/ 84 h 96"/>
                <a:gd name="T32" fmla="*/ 58 w 172"/>
                <a:gd name="T33" fmla="*/ 88 h 96"/>
                <a:gd name="T34" fmla="*/ 64 w 172"/>
                <a:gd name="T35" fmla="*/ 92 h 96"/>
                <a:gd name="T36" fmla="*/ 64 w 172"/>
                <a:gd name="T37" fmla="*/ 92 h 96"/>
                <a:gd name="T38" fmla="*/ 56 w 172"/>
                <a:gd name="T39" fmla="*/ 96 h 96"/>
                <a:gd name="T40" fmla="*/ 48 w 172"/>
                <a:gd name="T41" fmla="*/ 96 h 96"/>
                <a:gd name="T42" fmla="*/ 40 w 172"/>
                <a:gd name="T43" fmla="*/ 94 h 96"/>
                <a:gd name="T44" fmla="*/ 32 w 172"/>
                <a:gd name="T45" fmla="*/ 92 h 96"/>
                <a:gd name="T46" fmla="*/ 16 w 172"/>
                <a:gd name="T47" fmla="*/ 84 h 96"/>
                <a:gd name="T48" fmla="*/ 8 w 172"/>
                <a:gd name="T49" fmla="*/ 82 h 96"/>
                <a:gd name="T50" fmla="*/ 0 w 172"/>
                <a:gd name="T51" fmla="*/ 82 h 96"/>
                <a:gd name="T52" fmla="*/ 0 w 172"/>
                <a:gd name="T53" fmla="*/ 82 h 96"/>
                <a:gd name="T54" fmla="*/ 0 w 172"/>
                <a:gd name="T55" fmla="*/ 70 h 96"/>
                <a:gd name="T56" fmla="*/ 4 w 172"/>
                <a:gd name="T57" fmla="*/ 60 h 96"/>
                <a:gd name="T58" fmla="*/ 10 w 172"/>
                <a:gd name="T59" fmla="*/ 52 h 96"/>
                <a:gd name="T60" fmla="*/ 18 w 172"/>
                <a:gd name="T61" fmla="*/ 42 h 96"/>
                <a:gd name="T62" fmla="*/ 26 w 172"/>
                <a:gd name="T63" fmla="*/ 34 h 96"/>
                <a:gd name="T64" fmla="*/ 36 w 172"/>
                <a:gd name="T65" fmla="*/ 28 h 96"/>
                <a:gd name="T66" fmla="*/ 48 w 172"/>
                <a:gd name="T67" fmla="*/ 22 h 96"/>
                <a:gd name="T68" fmla="*/ 60 w 172"/>
                <a:gd name="T69" fmla="*/ 16 h 96"/>
                <a:gd name="T70" fmla="*/ 86 w 172"/>
                <a:gd name="T71" fmla="*/ 8 h 96"/>
                <a:gd name="T72" fmla="*/ 116 w 172"/>
                <a:gd name="T73" fmla="*/ 2 h 96"/>
                <a:gd name="T74" fmla="*/ 144 w 172"/>
                <a:gd name="T75" fmla="*/ 0 h 96"/>
                <a:gd name="T76" fmla="*/ 172 w 172"/>
                <a:gd name="T77" fmla="*/ 2 h 96"/>
                <a:gd name="T78" fmla="*/ 172 w 172"/>
                <a:gd name="T79"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96">
                  <a:moveTo>
                    <a:pt x="172" y="2"/>
                  </a:moveTo>
                  <a:lnTo>
                    <a:pt x="172" y="2"/>
                  </a:lnTo>
                  <a:lnTo>
                    <a:pt x="154" y="10"/>
                  </a:lnTo>
                  <a:lnTo>
                    <a:pt x="136" y="14"/>
                  </a:lnTo>
                  <a:lnTo>
                    <a:pt x="98" y="24"/>
                  </a:lnTo>
                  <a:lnTo>
                    <a:pt x="80" y="30"/>
                  </a:lnTo>
                  <a:lnTo>
                    <a:pt x="66" y="40"/>
                  </a:lnTo>
                  <a:lnTo>
                    <a:pt x="58" y="46"/>
                  </a:lnTo>
                  <a:lnTo>
                    <a:pt x="54" y="52"/>
                  </a:lnTo>
                  <a:lnTo>
                    <a:pt x="50" y="60"/>
                  </a:lnTo>
                  <a:lnTo>
                    <a:pt x="46" y="68"/>
                  </a:lnTo>
                  <a:lnTo>
                    <a:pt x="46" y="68"/>
                  </a:lnTo>
                  <a:lnTo>
                    <a:pt x="46" y="74"/>
                  </a:lnTo>
                  <a:lnTo>
                    <a:pt x="46" y="78"/>
                  </a:lnTo>
                  <a:lnTo>
                    <a:pt x="48" y="82"/>
                  </a:lnTo>
                  <a:lnTo>
                    <a:pt x="50" y="84"/>
                  </a:lnTo>
                  <a:lnTo>
                    <a:pt x="58" y="88"/>
                  </a:lnTo>
                  <a:lnTo>
                    <a:pt x="64" y="92"/>
                  </a:lnTo>
                  <a:lnTo>
                    <a:pt x="64" y="92"/>
                  </a:lnTo>
                  <a:lnTo>
                    <a:pt x="56" y="96"/>
                  </a:lnTo>
                  <a:lnTo>
                    <a:pt x="48" y="96"/>
                  </a:lnTo>
                  <a:lnTo>
                    <a:pt x="40" y="94"/>
                  </a:lnTo>
                  <a:lnTo>
                    <a:pt x="32" y="92"/>
                  </a:lnTo>
                  <a:lnTo>
                    <a:pt x="16" y="84"/>
                  </a:lnTo>
                  <a:lnTo>
                    <a:pt x="8" y="82"/>
                  </a:lnTo>
                  <a:lnTo>
                    <a:pt x="0" y="82"/>
                  </a:lnTo>
                  <a:lnTo>
                    <a:pt x="0" y="82"/>
                  </a:lnTo>
                  <a:lnTo>
                    <a:pt x="0" y="70"/>
                  </a:lnTo>
                  <a:lnTo>
                    <a:pt x="4" y="60"/>
                  </a:lnTo>
                  <a:lnTo>
                    <a:pt x="10" y="52"/>
                  </a:lnTo>
                  <a:lnTo>
                    <a:pt x="18" y="42"/>
                  </a:lnTo>
                  <a:lnTo>
                    <a:pt x="26" y="34"/>
                  </a:lnTo>
                  <a:lnTo>
                    <a:pt x="36" y="28"/>
                  </a:lnTo>
                  <a:lnTo>
                    <a:pt x="48" y="22"/>
                  </a:lnTo>
                  <a:lnTo>
                    <a:pt x="60" y="16"/>
                  </a:lnTo>
                  <a:lnTo>
                    <a:pt x="86" y="8"/>
                  </a:lnTo>
                  <a:lnTo>
                    <a:pt x="116" y="2"/>
                  </a:lnTo>
                  <a:lnTo>
                    <a:pt x="144" y="0"/>
                  </a:lnTo>
                  <a:lnTo>
                    <a:pt x="172" y="2"/>
                  </a:lnTo>
                  <a:lnTo>
                    <a:pt x="172" y="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 name="Freeform 13"/>
            <p:cNvSpPr>
              <a:spLocks/>
            </p:cNvSpPr>
            <p:nvPr/>
          </p:nvSpPr>
          <p:spPr bwMode="auto">
            <a:xfrm>
              <a:off x="2850057" y="1513667"/>
              <a:ext cx="267007" cy="84496"/>
            </a:xfrm>
            <a:custGeom>
              <a:avLst/>
              <a:gdLst>
                <a:gd name="T0" fmla="*/ 0 w 158"/>
                <a:gd name="T1" fmla="*/ 44 h 50"/>
                <a:gd name="T2" fmla="*/ 0 w 158"/>
                <a:gd name="T3" fmla="*/ 44 h 50"/>
                <a:gd name="T4" fmla="*/ 34 w 158"/>
                <a:gd name="T5" fmla="*/ 22 h 50"/>
                <a:gd name="T6" fmla="*/ 52 w 158"/>
                <a:gd name="T7" fmla="*/ 14 h 50"/>
                <a:gd name="T8" fmla="*/ 72 w 158"/>
                <a:gd name="T9" fmla="*/ 6 h 50"/>
                <a:gd name="T10" fmla="*/ 92 w 158"/>
                <a:gd name="T11" fmla="*/ 0 h 50"/>
                <a:gd name="T12" fmla="*/ 114 w 158"/>
                <a:gd name="T13" fmla="*/ 0 h 50"/>
                <a:gd name="T14" fmla="*/ 124 w 158"/>
                <a:gd name="T15" fmla="*/ 0 h 50"/>
                <a:gd name="T16" fmla="*/ 136 w 158"/>
                <a:gd name="T17" fmla="*/ 2 h 50"/>
                <a:gd name="T18" fmla="*/ 146 w 158"/>
                <a:gd name="T19" fmla="*/ 6 h 50"/>
                <a:gd name="T20" fmla="*/ 158 w 158"/>
                <a:gd name="T21" fmla="*/ 12 h 50"/>
                <a:gd name="T22" fmla="*/ 158 w 158"/>
                <a:gd name="T23" fmla="*/ 12 h 50"/>
                <a:gd name="T24" fmla="*/ 136 w 158"/>
                <a:gd name="T25" fmla="*/ 14 h 50"/>
                <a:gd name="T26" fmla="*/ 114 w 158"/>
                <a:gd name="T27" fmla="*/ 20 h 50"/>
                <a:gd name="T28" fmla="*/ 72 w 158"/>
                <a:gd name="T29" fmla="*/ 38 h 50"/>
                <a:gd name="T30" fmla="*/ 52 w 158"/>
                <a:gd name="T31" fmla="*/ 46 h 50"/>
                <a:gd name="T32" fmla="*/ 34 w 158"/>
                <a:gd name="T33" fmla="*/ 50 h 50"/>
                <a:gd name="T34" fmla="*/ 24 w 158"/>
                <a:gd name="T35" fmla="*/ 50 h 50"/>
                <a:gd name="T36" fmla="*/ 16 w 158"/>
                <a:gd name="T37" fmla="*/ 50 h 50"/>
                <a:gd name="T38" fmla="*/ 8 w 158"/>
                <a:gd name="T39" fmla="*/ 48 h 50"/>
                <a:gd name="T40" fmla="*/ 0 w 158"/>
                <a:gd name="T41" fmla="*/ 44 h 50"/>
                <a:gd name="T42" fmla="*/ 0 w 158"/>
                <a:gd name="T43"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50">
                  <a:moveTo>
                    <a:pt x="0" y="44"/>
                  </a:moveTo>
                  <a:lnTo>
                    <a:pt x="0" y="44"/>
                  </a:lnTo>
                  <a:lnTo>
                    <a:pt x="34" y="22"/>
                  </a:lnTo>
                  <a:lnTo>
                    <a:pt x="52" y="14"/>
                  </a:lnTo>
                  <a:lnTo>
                    <a:pt x="72" y="6"/>
                  </a:lnTo>
                  <a:lnTo>
                    <a:pt x="92" y="0"/>
                  </a:lnTo>
                  <a:lnTo>
                    <a:pt x="114" y="0"/>
                  </a:lnTo>
                  <a:lnTo>
                    <a:pt x="124" y="0"/>
                  </a:lnTo>
                  <a:lnTo>
                    <a:pt x="136" y="2"/>
                  </a:lnTo>
                  <a:lnTo>
                    <a:pt x="146" y="6"/>
                  </a:lnTo>
                  <a:lnTo>
                    <a:pt x="158" y="12"/>
                  </a:lnTo>
                  <a:lnTo>
                    <a:pt x="158" y="12"/>
                  </a:lnTo>
                  <a:lnTo>
                    <a:pt x="136" y="14"/>
                  </a:lnTo>
                  <a:lnTo>
                    <a:pt x="114" y="20"/>
                  </a:lnTo>
                  <a:lnTo>
                    <a:pt x="72" y="38"/>
                  </a:lnTo>
                  <a:lnTo>
                    <a:pt x="52" y="46"/>
                  </a:lnTo>
                  <a:lnTo>
                    <a:pt x="34" y="50"/>
                  </a:lnTo>
                  <a:lnTo>
                    <a:pt x="24" y="50"/>
                  </a:lnTo>
                  <a:lnTo>
                    <a:pt x="16" y="50"/>
                  </a:lnTo>
                  <a:lnTo>
                    <a:pt x="8" y="48"/>
                  </a:lnTo>
                  <a:lnTo>
                    <a:pt x="0" y="44"/>
                  </a:lnTo>
                  <a:lnTo>
                    <a:pt x="0" y="4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 name="Freeform 14"/>
            <p:cNvSpPr>
              <a:spLocks/>
            </p:cNvSpPr>
            <p:nvPr/>
          </p:nvSpPr>
          <p:spPr bwMode="auto">
            <a:xfrm>
              <a:off x="3394211" y="1523807"/>
              <a:ext cx="141953" cy="67597"/>
            </a:xfrm>
            <a:custGeom>
              <a:avLst/>
              <a:gdLst>
                <a:gd name="T0" fmla="*/ 84 w 84"/>
                <a:gd name="T1" fmla="*/ 0 h 40"/>
                <a:gd name="T2" fmla="*/ 84 w 84"/>
                <a:gd name="T3" fmla="*/ 0 h 40"/>
                <a:gd name="T4" fmla="*/ 78 w 84"/>
                <a:gd name="T5" fmla="*/ 14 h 40"/>
                <a:gd name="T6" fmla="*/ 70 w 84"/>
                <a:gd name="T7" fmla="*/ 24 h 40"/>
                <a:gd name="T8" fmla="*/ 60 w 84"/>
                <a:gd name="T9" fmla="*/ 32 h 40"/>
                <a:gd name="T10" fmla="*/ 48 w 84"/>
                <a:gd name="T11" fmla="*/ 38 h 40"/>
                <a:gd name="T12" fmla="*/ 36 w 84"/>
                <a:gd name="T13" fmla="*/ 40 h 40"/>
                <a:gd name="T14" fmla="*/ 22 w 84"/>
                <a:gd name="T15" fmla="*/ 38 h 40"/>
                <a:gd name="T16" fmla="*/ 10 w 84"/>
                <a:gd name="T17" fmla="*/ 32 h 40"/>
                <a:gd name="T18" fmla="*/ 0 w 84"/>
                <a:gd name="T19" fmla="*/ 24 h 40"/>
                <a:gd name="T20" fmla="*/ 0 w 84"/>
                <a:gd name="T21" fmla="*/ 24 h 40"/>
                <a:gd name="T22" fmla="*/ 10 w 84"/>
                <a:gd name="T23" fmla="*/ 24 h 40"/>
                <a:gd name="T24" fmla="*/ 20 w 84"/>
                <a:gd name="T25" fmla="*/ 22 h 40"/>
                <a:gd name="T26" fmla="*/ 38 w 84"/>
                <a:gd name="T27" fmla="*/ 14 h 40"/>
                <a:gd name="T28" fmla="*/ 58 w 84"/>
                <a:gd name="T29" fmla="*/ 6 h 40"/>
                <a:gd name="T30" fmla="*/ 70 w 84"/>
                <a:gd name="T31" fmla="*/ 2 h 40"/>
                <a:gd name="T32" fmla="*/ 84 w 84"/>
                <a:gd name="T33" fmla="*/ 0 h 40"/>
                <a:gd name="T34" fmla="*/ 84 w 84"/>
                <a:gd name="T3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40">
                  <a:moveTo>
                    <a:pt x="84" y="0"/>
                  </a:moveTo>
                  <a:lnTo>
                    <a:pt x="84" y="0"/>
                  </a:lnTo>
                  <a:lnTo>
                    <a:pt x="78" y="14"/>
                  </a:lnTo>
                  <a:lnTo>
                    <a:pt x="70" y="24"/>
                  </a:lnTo>
                  <a:lnTo>
                    <a:pt x="60" y="32"/>
                  </a:lnTo>
                  <a:lnTo>
                    <a:pt x="48" y="38"/>
                  </a:lnTo>
                  <a:lnTo>
                    <a:pt x="36" y="40"/>
                  </a:lnTo>
                  <a:lnTo>
                    <a:pt x="22" y="38"/>
                  </a:lnTo>
                  <a:lnTo>
                    <a:pt x="10" y="32"/>
                  </a:lnTo>
                  <a:lnTo>
                    <a:pt x="0" y="24"/>
                  </a:lnTo>
                  <a:lnTo>
                    <a:pt x="0" y="24"/>
                  </a:lnTo>
                  <a:lnTo>
                    <a:pt x="10" y="24"/>
                  </a:lnTo>
                  <a:lnTo>
                    <a:pt x="20" y="22"/>
                  </a:lnTo>
                  <a:lnTo>
                    <a:pt x="38" y="14"/>
                  </a:lnTo>
                  <a:lnTo>
                    <a:pt x="58" y="6"/>
                  </a:lnTo>
                  <a:lnTo>
                    <a:pt x="70" y="2"/>
                  </a:lnTo>
                  <a:lnTo>
                    <a:pt x="84" y="0"/>
                  </a:lnTo>
                  <a:lnTo>
                    <a:pt x="8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5" name="Freeform 15"/>
            <p:cNvSpPr>
              <a:spLocks/>
            </p:cNvSpPr>
            <p:nvPr/>
          </p:nvSpPr>
          <p:spPr bwMode="auto">
            <a:xfrm>
              <a:off x="3556443" y="1527186"/>
              <a:ext cx="111535" cy="43938"/>
            </a:xfrm>
            <a:custGeom>
              <a:avLst/>
              <a:gdLst>
                <a:gd name="T0" fmla="*/ 66 w 66"/>
                <a:gd name="T1" fmla="*/ 4 h 26"/>
                <a:gd name="T2" fmla="*/ 66 w 66"/>
                <a:gd name="T3" fmla="*/ 4 h 26"/>
                <a:gd name="T4" fmla="*/ 62 w 66"/>
                <a:gd name="T5" fmla="*/ 10 h 26"/>
                <a:gd name="T6" fmla="*/ 54 w 66"/>
                <a:gd name="T7" fmla="*/ 14 h 26"/>
                <a:gd name="T8" fmla="*/ 46 w 66"/>
                <a:gd name="T9" fmla="*/ 16 h 26"/>
                <a:gd name="T10" fmla="*/ 36 w 66"/>
                <a:gd name="T11" fmla="*/ 18 h 26"/>
                <a:gd name="T12" fmla="*/ 18 w 66"/>
                <a:gd name="T13" fmla="*/ 20 h 26"/>
                <a:gd name="T14" fmla="*/ 8 w 66"/>
                <a:gd name="T15" fmla="*/ 22 h 26"/>
                <a:gd name="T16" fmla="*/ 2 w 66"/>
                <a:gd name="T17" fmla="*/ 26 h 26"/>
                <a:gd name="T18" fmla="*/ 2 w 66"/>
                <a:gd name="T19" fmla="*/ 26 h 26"/>
                <a:gd name="T20" fmla="*/ 0 w 66"/>
                <a:gd name="T21" fmla="*/ 22 h 26"/>
                <a:gd name="T22" fmla="*/ 0 w 66"/>
                <a:gd name="T23" fmla="*/ 20 h 26"/>
                <a:gd name="T24" fmla="*/ 4 w 66"/>
                <a:gd name="T25" fmla="*/ 12 h 26"/>
                <a:gd name="T26" fmla="*/ 12 w 66"/>
                <a:gd name="T27" fmla="*/ 6 h 26"/>
                <a:gd name="T28" fmla="*/ 22 w 66"/>
                <a:gd name="T29" fmla="*/ 2 h 26"/>
                <a:gd name="T30" fmla="*/ 34 w 66"/>
                <a:gd name="T31" fmla="*/ 0 h 26"/>
                <a:gd name="T32" fmla="*/ 46 w 66"/>
                <a:gd name="T33" fmla="*/ 0 h 26"/>
                <a:gd name="T34" fmla="*/ 56 w 66"/>
                <a:gd name="T35" fmla="*/ 0 h 26"/>
                <a:gd name="T36" fmla="*/ 66 w 66"/>
                <a:gd name="T37" fmla="*/ 4 h 26"/>
                <a:gd name="T38" fmla="*/ 66 w 66"/>
                <a:gd name="T3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26">
                  <a:moveTo>
                    <a:pt x="66" y="4"/>
                  </a:moveTo>
                  <a:lnTo>
                    <a:pt x="66" y="4"/>
                  </a:lnTo>
                  <a:lnTo>
                    <a:pt x="62" y="10"/>
                  </a:lnTo>
                  <a:lnTo>
                    <a:pt x="54" y="14"/>
                  </a:lnTo>
                  <a:lnTo>
                    <a:pt x="46" y="16"/>
                  </a:lnTo>
                  <a:lnTo>
                    <a:pt x="36" y="18"/>
                  </a:lnTo>
                  <a:lnTo>
                    <a:pt x="18" y="20"/>
                  </a:lnTo>
                  <a:lnTo>
                    <a:pt x="8" y="22"/>
                  </a:lnTo>
                  <a:lnTo>
                    <a:pt x="2" y="26"/>
                  </a:lnTo>
                  <a:lnTo>
                    <a:pt x="2" y="26"/>
                  </a:lnTo>
                  <a:lnTo>
                    <a:pt x="0" y="22"/>
                  </a:lnTo>
                  <a:lnTo>
                    <a:pt x="0" y="20"/>
                  </a:lnTo>
                  <a:lnTo>
                    <a:pt x="4" y="12"/>
                  </a:lnTo>
                  <a:lnTo>
                    <a:pt x="12" y="6"/>
                  </a:lnTo>
                  <a:lnTo>
                    <a:pt x="22" y="2"/>
                  </a:lnTo>
                  <a:lnTo>
                    <a:pt x="34" y="0"/>
                  </a:lnTo>
                  <a:lnTo>
                    <a:pt x="46" y="0"/>
                  </a:lnTo>
                  <a:lnTo>
                    <a:pt x="56" y="0"/>
                  </a:lnTo>
                  <a:lnTo>
                    <a:pt x="66" y="4"/>
                  </a:lnTo>
                  <a:lnTo>
                    <a:pt x="66"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6" name="Freeform 16"/>
            <p:cNvSpPr>
              <a:spLocks/>
            </p:cNvSpPr>
            <p:nvPr/>
          </p:nvSpPr>
          <p:spPr bwMode="auto">
            <a:xfrm>
              <a:off x="3654458" y="1533945"/>
              <a:ext cx="510356" cy="351503"/>
            </a:xfrm>
            <a:custGeom>
              <a:avLst/>
              <a:gdLst>
                <a:gd name="T0" fmla="*/ 74 w 302"/>
                <a:gd name="T1" fmla="*/ 2 h 208"/>
                <a:gd name="T2" fmla="*/ 68 w 302"/>
                <a:gd name="T3" fmla="*/ 12 h 208"/>
                <a:gd name="T4" fmla="*/ 54 w 302"/>
                <a:gd name="T5" fmla="*/ 32 h 208"/>
                <a:gd name="T6" fmla="*/ 80 w 302"/>
                <a:gd name="T7" fmla="*/ 18 h 208"/>
                <a:gd name="T8" fmla="*/ 126 w 302"/>
                <a:gd name="T9" fmla="*/ 8 h 208"/>
                <a:gd name="T10" fmla="*/ 158 w 302"/>
                <a:gd name="T11" fmla="*/ 20 h 208"/>
                <a:gd name="T12" fmla="*/ 172 w 302"/>
                <a:gd name="T13" fmla="*/ 32 h 208"/>
                <a:gd name="T14" fmla="*/ 192 w 302"/>
                <a:gd name="T15" fmla="*/ 24 h 208"/>
                <a:gd name="T16" fmla="*/ 202 w 302"/>
                <a:gd name="T17" fmla="*/ 32 h 208"/>
                <a:gd name="T18" fmla="*/ 226 w 302"/>
                <a:gd name="T19" fmla="*/ 50 h 208"/>
                <a:gd name="T20" fmla="*/ 264 w 302"/>
                <a:gd name="T21" fmla="*/ 64 h 208"/>
                <a:gd name="T22" fmla="*/ 262 w 302"/>
                <a:gd name="T23" fmla="*/ 86 h 208"/>
                <a:gd name="T24" fmla="*/ 278 w 302"/>
                <a:gd name="T25" fmla="*/ 106 h 208"/>
                <a:gd name="T26" fmla="*/ 302 w 302"/>
                <a:gd name="T27" fmla="*/ 120 h 208"/>
                <a:gd name="T28" fmla="*/ 284 w 302"/>
                <a:gd name="T29" fmla="*/ 148 h 208"/>
                <a:gd name="T30" fmla="*/ 266 w 302"/>
                <a:gd name="T31" fmla="*/ 142 h 208"/>
                <a:gd name="T32" fmla="*/ 238 w 302"/>
                <a:gd name="T33" fmla="*/ 132 h 208"/>
                <a:gd name="T34" fmla="*/ 222 w 302"/>
                <a:gd name="T35" fmla="*/ 140 h 208"/>
                <a:gd name="T36" fmla="*/ 236 w 302"/>
                <a:gd name="T37" fmla="*/ 172 h 208"/>
                <a:gd name="T38" fmla="*/ 228 w 302"/>
                <a:gd name="T39" fmla="*/ 190 h 208"/>
                <a:gd name="T40" fmla="*/ 200 w 302"/>
                <a:gd name="T41" fmla="*/ 178 h 208"/>
                <a:gd name="T42" fmla="*/ 180 w 302"/>
                <a:gd name="T43" fmla="*/ 182 h 208"/>
                <a:gd name="T44" fmla="*/ 192 w 302"/>
                <a:gd name="T45" fmla="*/ 192 h 208"/>
                <a:gd name="T46" fmla="*/ 208 w 302"/>
                <a:gd name="T47" fmla="*/ 200 h 208"/>
                <a:gd name="T48" fmla="*/ 190 w 302"/>
                <a:gd name="T49" fmla="*/ 208 h 208"/>
                <a:gd name="T50" fmla="*/ 158 w 302"/>
                <a:gd name="T51" fmla="*/ 198 h 208"/>
                <a:gd name="T52" fmla="*/ 130 w 302"/>
                <a:gd name="T53" fmla="*/ 168 h 208"/>
                <a:gd name="T54" fmla="*/ 114 w 302"/>
                <a:gd name="T55" fmla="*/ 158 h 208"/>
                <a:gd name="T56" fmla="*/ 74 w 302"/>
                <a:gd name="T57" fmla="*/ 166 h 208"/>
                <a:gd name="T58" fmla="*/ 60 w 302"/>
                <a:gd name="T59" fmla="*/ 162 h 208"/>
                <a:gd name="T60" fmla="*/ 84 w 302"/>
                <a:gd name="T61" fmla="*/ 152 h 208"/>
                <a:gd name="T62" fmla="*/ 126 w 302"/>
                <a:gd name="T63" fmla="*/ 148 h 208"/>
                <a:gd name="T64" fmla="*/ 150 w 302"/>
                <a:gd name="T65" fmla="*/ 136 h 208"/>
                <a:gd name="T66" fmla="*/ 158 w 302"/>
                <a:gd name="T67" fmla="*/ 126 h 208"/>
                <a:gd name="T68" fmla="*/ 196 w 302"/>
                <a:gd name="T69" fmla="*/ 132 h 208"/>
                <a:gd name="T70" fmla="*/ 208 w 302"/>
                <a:gd name="T71" fmla="*/ 126 h 208"/>
                <a:gd name="T72" fmla="*/ 172 w 302"/>
                <a:gd name="T73" fmla="*/ 88 h 208"/>
                <a:gd name="T74" fmla="*/ 134 w 302"/>
                <a:gd name="T75" fmla="*/ 50 h 208"/>
                <a:gd name="T76" fmla="*/ 104 w 302"/>
                <a:gd name="T77" fmla="*/ 60 h 208"/>
                <a:gd name="T78" fmla="*/ 32 w 302"/>
                <a:gd name="T79" fmla="*/ 56 h 208"/>
                <a:gd name="T80" fmla="*/ 4 w 302"/>
                <a:gd name="T81" fmla="*/ 40 h 208"/>
                <a:gd name="T82" fmla="*/ 26 w 302"/>
                <a:gd name="T83" fmla="*/ 16 h 208"/>
                <a:gd name="T84" fmla="*/ 68 w 302"/>
                <a:gd name="T8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208">
                  <a:moveTo>
                    <a:pt x="68" y="0"/>
                  </a:moveTo>
                  <a:lnTo>
                    <a:pt x="68" y="0"/>
                  </a:lnTo>
                  <a:lnTo>
                    <a:pt x="74" y="2"/>
                  </a:lnTo>
                  <a:lnTo>
                    <a:pt x="76" y="4"/>
                  </a:lnTo>
                  <a:lnTo>
                    <a:pt x="74" y="8"/>
                  </a:lnTo>
                  <a:lnTo>
                    <a:pt x="68" y="12"/>
                  </a:lnTo>
                  <a:lnTo>
                    <a:pt x="58" y="20"/>
                  </a:lnTo>
                  <a:lnTo>
                    <a:pt x="56" y="26"/>
                  </a:lnTo>
                  <a:lnTo>
                    <a:pt x="54" y="32"/>
                  </a:lnTo>
                  <a:lnTo>
                    <a:pt x="54" y="32"/>
                  </a:lnTo>
                  <a:lnTo>
                    <a:pt x="66" y="26"/>
                  </a:lnTo>
                  <a:lnTo>
                    <a:pt x="80" y="18"/>
                  </a:lnTo>
                  <a:lnTo>
                    <a:pt x="94" y="14"/>
                  </a:lnTo>
                  <a:lnTo>
                    <a:pt x="110" y="10"/>
                  </a:lnTo>
                  <a:lnTo>
                    <a:pt x="126" y="8"/>
                  </a:lnTo>
                  <a:lnTo>
                    <a:pt x="142" y="12"/>
                  </a:lnTo>
                  <a:lnTo>
                    <a:pt x="150" y="16"/>
                  </a:lnTo>
                  <a:lnTo>
                    <a:pt x="158" y="20"/>
                  </a:lnTo>
                  <a:lnTo>
                    <a:pt x="164" y="24"/>
                  </a:lnTo>
                  <a:lnTo>
                    <a:pt x="172" y="32"/>
                  </a:lnTo>
                  <a:lnTo>
                    <a:pt x="172" y="32"/>
                  </a:lnTo>
                  <a:lnTo>
                    <a:pt x="180" y="30"/>
                  </a:lnTo>
                  <a:lnTo>
                    <a:pt x="186" y="28"/>
                  </a:lnTo>
                  <a:lnTo>
                    <a:pt x="192" y="24"/>
                  </a:lnTo>
                  <a:lnTo>
                    <a:pt x="200" y="22"/>
                  </a:lnTo>
                  <a:lnTo>
                    <a:pt x="200" y="22"/>
                  </a:lnTo>
                  <a:lnTo>
                    <a:pt x="202" y="32"/>
                  </a:lnTo>
                  <a:lnTo>
                    <a:pt x="208" y="40"/>
                  </a:lnTo>
                  <a:lnTo>
                    <a:pt x="216" y="46"/>
                  </a:lnTo>
                  <a:lnTo>
                    <a:pt x="226" y="50"/>
                  </a:lnTo>
                  <a:lnTo>
                    <a:pt x="246" y="56"/>
                  </a:lnTo>
                  <a:lnTo>
                    <a:pt x="256" y="60"/>
                  </a:lnTo>
                  <a:lnTo>
                    <a:pt x="264" y="64"/>
                  </a:lnTo>
                  <a:lnTo>
                    <a:pt x="264" y="64"/>
                  </a:lnTo>
                  <a:lnTo>
                    <a:pt x="260" y="76"/>
                  </a:lnTo>
                  <a:lnTo>
                    <a:pt x="262" y="86"/>
                  </a:lnTo>
                  <a:lnTo>
                    <a:pt x="264" y="94"/>
                  </a:lnTo>
                  <a:lnTo>
                    <a:pt x="270" y="100"/>
                  </a:lnTo>
                  <a:lnTo>
                    <a:pt x="278" y="106"/>
                  </a:lnTo>
                  <a:lnTo>
                    <a:pt x="286" y="112"/>
                  </a:lnTo>
                  <a:lnTo>
                    <a:pt x="302" y="120"/>
                  </a:lnTo>
                  <a:lnTo>
                    <a:pt x="302" y="120"/>
                  </a:lnTo>
                  <a:lnTo>
                    <a:pt x="300" y="130"/>
                  </a:lnTo>
                  <a:lnTo>
                    <a:pt x="294" y="136"/>
                  </a:lnTo>
                  <a:lnTo>
                    <a:pt x="284" y="148"/>
                  </a:lnTo>
                  <a:lnTo>
                    <a:pt x="284" y="148"/>
                  </a:lnTo>
                  <a:lnTo>
                    <a:pt x="274" y="146"/>
                  </a:lnTo>
                  <a:lnTo>
                    <a:pt x="266" y="142"/>
                  </a:lnTo>
                  <a:lnTo>
                    <a:pt x="252" y="136"/>
                  </a:lnTo>
                  <a:lnTo>
                    <a:pt x="244" y="132"/>
                  </a:lnTo>
                  <a:lnTo>
                    <a:pt x="238" y="132"/>
                  </a:lnTo>
                  <a:lnTo>
                    <a:pt x="230" y="134"/>
                  </a:lnTo>
                  <a:lnTo>
                    <a:pt x="222" y="140"/>
                  </a:lnTo>
                  <a:lnTo>
                    <a:pt x="222" y="140"/>
                  </a:lnTo>
                  <a:lnTo>
                    <a:pt x="230" y="152"/>
                  </a:lnTo>
                  <a:lnTo>
                    <a:pt x="234" y="164"/>
                  </a:lnTo>
                  <a:lnTo>
                    <a:pt x="236" y="172"/>
                  </a:lnTo>
                  <a:lnTo>
                    <a:pt x="234" y="178"/>
                  </a:lnTo>
                  <a:lnTo>
                    <a:pt x="232" y="184"/>
                  </a:lnTo>
                  <a:lnTo>
                    <a:pt x="228" y="190"/>
                  </a:lnTo>
                  <a:lnTo>
                    <a:pt x="228" y="190"/>
                  </a:lnTo>
                  <a:lnTo>
                    <a:pt x="206" y="180"/>
                  </a:lnTo>
                  <a:lnTo>
                    <a:pt x="200" y="178"/>
                  </a:lnTo>
                  <a:lnTo>
                    <a:pt x="194" y="176"/>
                  </a:lnTo>
                  <a:lnTo>
                    <a:pt x="186" y="178"/>
                  </a:lnTo>
                  <a:lnTo>
                    <a:pt x="180" y="182"/>
                  </a:lnTo>
                  <a:lnTo>
                    <a:pt x="180" y="182"/>
                  </a:lnTo>
                  <a:lnTo>
                    <a:pt x="186" y="188"/>
                  </a:lnTo>
                  <a:lnTo>
                    <a:pt x="192" y="192"/>
                  </a:lnTo>
                  <a:lnTo>
                    <a:pt x="200" y="196"/>
                  </a:lnTo>
                  <a:lnTo>
                    <a:pt x="208" y="200"/>
                  </a:lnTo>
                  <a:lnTo>
                    <a:pt x="208" y="200"/>
                  </a:lnTo>
                  <a:lnTo>
                    <a:pt x="202" y="204"/>
                  </a:lnTo>
                  <a:lnTo>
                    <a:pt x="196" y="206"/>
                  </a:lnTo>
                  <a:lnTo>
                    <a:pt x="190" y="208"/>
                  </a:lnTo>
                  <a:lnTo>
                    <a:pt x="184" y="208"/>
                  </a:lnTo>
                  <a:lnTo>
                    <a:pt x="170" y="204"/>
                  </a:lnTo>
                  <a:lnTo>
                    <a:pt x="158" y="198"/>
                  </a:lnTo>
                  <a:lnTo>
                    <a:pt x="148" y="190"/>
                  </a:lnTo>
                  <a:lnTo>
                    <a:pt x="138" y="180"/>
                  </a:lnTo>
                  <a:lnTo>
                    <a:pt x="130" y="168"/>
                  </a:lnTo>
                  <a:lnTo>
                    <a:pt x="124" y="158"/>
                  </a:lnTo>
                  <a:lnTo>
                    <a:pt x="124" y="158"/>
                  </a:lnTo>
                  <a:lnTo>
                    <a:pt x="114" y="158"/>
                  </a:lnTo>
                  <a:lnTo>
                    <a:pt x="106" y="158"/>
                  </a:lnTo>
                  <a:lnTo>
                    <a:pt x="90" y="162"/>
                  </a:lnTo>
                  <a:lnTo>
                    <a:pt x="74" y="166"/>
                  </a:lnTo>
                  <a:lnTo>
                    <a:pt x="68" y="166"/>
                  </a:lnTo>
                  <a:lnTo>
                    <a:pt x="60" y="162"/>
                  </a:lnTo>
                  <a:lnTo>
                    <a:pt x="60" y="162"/>
                  </a:lnTo>
                  <a:lnTo>
                    <a:pt x="64" y="158"/>
                  </a:lnTo>
                  <a:lnTo>
                    <a:pt x="70" y="156"/>
                  </a:lnTo>
                  <a:lnTo>
                    <a:pt x="84" y="152"/>
                  </a:lnTo>
                  <a:lnTo>
                    <a:pt x="98" y="150"/>
                  </a:lnTo>
                  <a:lnTo>
                    <a:pt x="112" y="148"/>
                  </a:lnTo>
                  <a:lnTo>
                    <a:pt x="126" y="148"/>
                  </a:lnTo>
                  <a:lnTo>
                    <a:pt x="138" y="144"/>
                  </a:lnTo>
                  <a:lnTo>
                    <a:pt x="144" y="140"/>
                  </a:lnTo>
                  <a:lnTo>
                    <a:pt x="150" y="136"/>
                  </a:lnTo>
                  <a:lnTo>
                    <a:pt x="154" y="132"/>
                  </a:lnTo>
                  <a:lnTo>
                    <a:pt x="158" y="126"/>
                  </a:lnTo>
                  <a:lnTo>
                    <a:pt x="158" y="126"/>
                  </a:lnTo>
                  <a:lnTo>
                    <a:pt x="170" y="130"/>
                  </a:lnTo>
                  <a:lnTo>
                    <a:pt x="184" y="132"/>
                  </a:lnTo>
                  <a:lnTo>
                    <a:pt x="196" y="132"/>
                  </a:lnTo>
                  <a:lnTo>
                    <a:pt x="202" y="128"/>
                  </a:lnTo>
                  <a:lnTo>
                    <a:pt x="208" y="126"/>
                  </a:lnTo>
                  <a:lnTo>
                    <a:pt x="208" y="126"/>
                  </a:lnTo>
                  <a:lnTo>
                    <a:pt x="198" y="118"/>
                  </a:lnTo>
                  <a:lnTo>
                    <a:pt x="188" y="108"/>
                  </a:lnTo>
                  <a:lnTo>
                    <a:pt x="172" y="88"/>
                  </a:lnTo>
                  <a:lnTo>
                    <a:pt x="156" y="66"/>
                  </a:lnTo>
                  <a:lnTo>
                    <a:pt x="146" y="58"/>
                  </a:lnTo>
                  <a:lnTo>
                    <a:pt x="134" y="50"/>
                  </a:lnTo>
                  <a:lnTo>
                    <a:pt x="134" y="50"/>
                  </a:lnTo>
                  <a:lnTo>
                    <a:pt x="120" y="56"/>
                  </a:lnTo>
                  <a:lnTo>
                    <a:pt x="104" y="60"/>
                  </a:lnTo>
                  <a:lnTo>
                    <a:pt x="86" y="62"/>
                  </a:lnTo>
                  <a:lnTo>
                    <a:pt x="68" y="60"/>
                  </a:lnTo>
                  <a:lnTo>
                    <a:pt x="32" y="56"/>
                  </a:lnTo>
                  <a:lnTo>
                    <a:pt x="0" y="50"/>
                  </a:lnTo>
                  <a:lnTo>
                    <a:pt x="0" y="50"/>
                  </a:lnTo>
                  <a:lnTo>
                    <a:pt x="4" y="40"/>
                  </a:lnTo>
                  <a:lnTo>
                    <a:pt x="10" y="30"/>
                  </a:lnTo>
                  <a:lnTo>
                    <a:pt x="16" y="22"/>
                  </a:lnTo>
                  <a:lnTo>
                    <a:pt x="26" y="16"/>
                  </a:lnTo>
                  <a:lnTo>
                    <a:pt x="34" y="10"/>
                  </a:lnTo>
                  <a:lnTo>
                    <a:pt x="46" y="6"/>
                  </a:lnTo>
                  <a:lnTo>
                    <a:pt x="68" y="0"/>
                  </a:lnTo>
                  <a:lnTo>
                    <a:pt x="6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7" name="Freeform 17"/>
            <p:cNvSpPr>
              <a:spLocks/>
            </p:cNvSpPr>
            <p:nvPr/>
          </p:nvSpPr>
          <p:spPr bwMode="auto">
            <a:xfrm>
              <a:off x="2961591" y="1547465"/>
              <a:ext cx="368401" cy="138573"/>
            </a:xfrm>
            <a:custGeom>
              <a:avLst/>
              <a:gdLst>
                <a:gd name="T0" fmla="*/ 152 w 218"/>
                <a:gd name="T1" fmla="*/ 0 h 82"/>
                <a:gd name="T2" fmla="*/ 158 w 218"/>
                <a:gd name="T3" fmla="*/ 6 h 82"/>
                <a:gd name="T4" fmla="*/ 160 w 218"/>
                <a:gd name="T5" fmla="*/ 18 h 82"/>
                <a:gd name="T6" fmla="*/ 162 w 218"/>
                <a:gd name="T7" fmla="*/ 24 h 82"/>
                <a:gd name="T8" fmla="*/ 170 w 218"/>
                <a:gd name="T9" fmla="*/ 22 h 82"/>
                <a:gd name="T10" fmla="*/ 182 w 218"/>
                <a:gd name="T11" fmla="*/ 10 h 82"/>
                <a:gd name="T12" fmla="*/ 192 w 218"/>
                <a:gd name="T13" fmla="*/ 2 h 82"/>
                <a:gd name="T14" fmla="*/ 208 w 218"/>
                <a:gd name="T15" fmla="*/ 0 h 82"/>
                <a:gd name="T16" fmla="*/ 206 w 218"/>
                <a:gd name="T17" fmla="*/ 10 h 82"/>
                <a:gd name="T18" fmla="*/ 198 w 218"/>
                <a:gd name="T19" fmla="*/ 28 h 82"/>
                <a:gd name="T20" fmla="*/ 190 w 218"/>
                <a:gd name="T21" fmla="*/ 34 h 82"/>
                <a:gd name="T22" fmla="*/ 194 w 218"/>
                <a:gd name="T23" fmla="*/ 40 h 82"/>
                <a:gd name="T24" fmla="*/ 210 w 218"/>
                <a:gd name="T25" fmla="*/ 48 h 82"/>
                <a:gd name="T26" fmla="*/ 218 w 218"/>
                <a:gd name="T27" fmla="*/ 52 h 82"/>
                <a:gd name="T28" fmla="*/ 200 w 218"/>
                <a:gd name="T29" fmla="*/ 64 h 82"/>
                <a:gd name="T30" fmla="*/ 178 w 218"/>
                <a:gd name="T31" fmla="*/ 72 h 82"/>
                <a:gd name="T32" fmla="*/ 154 w 218"/>
                <a:gd name="T33" fmla="*/ 72 h 82"/>
                <a:gd name="T34" fmla="*/ 130 w 218"/>
                <a:gd name="T35" fmla="*/ 66 h 82"/>
                <a:gd name="T36" fmla="*/ 114 w 218"/>
                <a:gd name="T37" fmla="*/ 74 h 82"/>
                <a:gd name="T38" fmla="*/ 82 w 218"/>
                <a:gd name="T39" fmla="*/ 82 h 82"/>
                <a:gd name="T40" fmla="*/ 46 w 218"/>
                <a:gd name="T41" fmla="*/ 80 h 82"/>
                <a:gd name="T42" fmla="*/ 14 w 218"/>
                <a:gd name="T43" fmla="*/ 68 h 82"/>
                <a:gd name="T44" fmla="*/ 0 w 218"/>
                <a:gd name="T45" fmla="*/ 62 h 82"/>
                <a:gd name="T46" fmla="*/ 12 w 218"/>
                <a:gd name="T47" fmla="*/ 56 h 82"/>
                <a:gd name="T48" fmla="*/ 50 w 218"/>
                <a:gd name="T49" fmla="*/ 56 h 82"/>
                <a:gd name="T50" fmla="*/ 64 w 218"/>
                <a:gd name="T51" fmla="*/ 52 h 82"/>
                <a:gd name="T52" fmla="*/ 62 w 218"/>
                <a:gd name="T53" fmla="*/ 46 h 82"/>
                <a:gd name="T54" fmla="*/ 52 w 218"/>
                <a:gd name="T55" fmla="*/ 42 h 82"/>
                <a:gd name="T56" fmla="*/ 28 w 218"/>
                <a:gd name="T57" fmla="*/ 42 h 82"/>
                <a:gd name="T58" fmla="*/ 14 w 218"/>
                <a:gd name="T59" fmla="*/ 42 h 82"/>
                <a:gd name="T60" fmla="*/ 10 w 218"/>
                <a:gd name="T61" fmla="*/ 40 h 82"/>
                <a:gd name="T62" fmla="*/ 30 w 218"/>
                <a:gd name="T63" fmla="*/ 36 h 82"/>
                <a:gd name="T64" fmla="*/ 36 w 218"/>
                <a:gd name="T65" fmla="*/ 34 h 82"/>
                <a:gd name="T66" fmla="*/ 34 w 218"/>
                <a:gd name="T67" fmla="*/ 28 h 82"/>
                <a:gd name="T68" fmla="*/ 22 w 218"/>
                <a:gd name="T69" fmla="*/ 24 h 82"/>
                <a:gd name="T70" fmla="*/ 14 w 218"/>
                <a:gd name="T71" fmla="*/ 24 h 82"/>
                <a:gd name="T72" fmla="*/ 28 w 218"/>
                <a:gd name="T73" fmla="*/ 12 h 82"/>
                <a:gd name="T74" fmla="*/ 44 w 218"/>
                <a:gd name="T75" fmla="*/ 4 h 82"/>
                <a:gd name="T76" fmla="*/ 84 w 218"/>
                <a:gd name="T77" fmla="*/ 6 h 82"/>
                <a:gd name="T78" fmla="*/ 124 w 218"/>
                <a:gd name="T79" fmla="*/ 10 h 82"/>
                <a:gd name="T80" fmla="*/ 146 w 218"/>
                <a:gd name="T81" fmla="*/ 4 h 82"/>
                <a:gd name="T82" fmla="*/ 152 w 218"/>
                <a:gd name="T8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8" h="82">
                  <a:moveTo>
                    <a:pt x="152" y="0"/>
                  </a:moveTo>
                  <a:lnTo>
                    <a:pt x="152" y="0"/>
                  </a:lnTo>
                  <a:lnTo>
                    <a:pt x="156" y="4"/>
                  </a:lnTo>
                  <a:lnTo>
                    <a:pt x="158" y="6"/>
                  </a:lnTo>
                  <a:lnTo>
                    <a:pt x="160" y="12"/>
                  </a:lnTo>
                  <a:lnTo>
                    <a:pt x="160" y="18"/>
                  </a:lnTo>
                  <a:lnTo>
                    <a:pt x="160" y="20"/>
                  </a:lnTo>
                  <a:lnTo>
                    <a:pt x="162" y="24"/>
                  </a:lnTo>
                  <a:lnTo>
                    <a:pt x="162" y="24"/>
                  </a:lnTo>
                  <a:lnTo>
                    <a:pt x="170" y="22"/>
                  </a:lnTo>
                  <a:lnTo>
                    <a:pt x="174" y="20"/>
                  </a:lnTo>
                  <a:lnTo>
                    <a:pt x="182" y="10"/>
                  </a:lnTo>
                  <a:lnTo>
                    <a:pt x="188" y="6"/>
                  </a:lnTo>
                  <a:lnTo>
                    <a:pt x="192" y="2"/>
                  </a:lnTo>
                  <a:lnTo>
                    <a:pt x="200" y="0"/>
                  </a:lnTo>
                  <a:lnTo>
                    <a:pt x="208" y="0"/>
                  </a:lnTo>
                  <a:lnTo>
                    <a:pt x="208" y="0"/>
                  </a:lnTo>
                  <a:lnTo>
                    <a:pt x="206" y="10"/>
                  </a:lnTo>
                  <a:lnTo>
                    <a:pt x="202" y="20"/>
                  </a:lnTo>
                  <a:lnTo>
                    <a:pt x="198" y="28"/>
                  </a:lnTo>
                  <a:lnTo>
                    <a:pt x="190" y="34"/>
                  </a:lnTo>
                  <a:lnTo>
                    <a:pt x="190" y="34"/>
                  </a:lnTo>
                  <a:lnTo>
                    <a:pt x="192" y="38"/>
                  </a:lnTo>
                  <a:lnTo>
                    <a:pt x="194" y="40"/>
                  </a:lnTo>
                  <a:lnTo>
                    <a:pt x="202" y="44"/>
                  </a:lnTo>
                  <a:lnTo>
                    <a:pt x="210" y="48"/>
                  </a:lnTo>
                  <a:lnTo>
                    <a:pt x="218" y="52"/>
                  </a:lnTo>
                  <a:lnTo>
                    <a:pt x="218" y="52"/>
                  </a:lnTo>
                  <a:lnTo>
                    <a:pt x="210" y="58"/>
                  </a:lnTo>
                  <a:lnTo>
                    <a:pt x="200" y="64"/>
                  </a:lnTo>
                  <a:lnTo>
                    <a:pt x="190" y="68"/>
                  </a:lnTo>
                  <a:lnTo>
                    <a:pt x="178" y="72"/>
                  </a:lnTo>
                  <a:lnTo>
                    <a:pt x="166" y="74"/>
                  </a:lnTo>
                  <a:lnTo>
                    <a:pt x="154" y="72"/>
                  </a:lnTo>
                  <a:lnTo>
                    <a:pt x="142" y="70"/>
                  </a:lnTo>
                  <a:lnTo>
                    <a:pt x="130" y="66"/>
                  </a:lnTo>
                  <a:lnTo>
                    <a:pt x="130" y="66"/>
                  </a:lnTo>
                  <a:lnTo>
                    <a:pt x="114" y="74"/>
                  </a:lnTo>
                  <a:lnTo>
                    <a:pt x="98" y="80"/>
                  </a:lnTo>
                  <a:lnTo>
                    <a:pt x="82" y="82"/>
                  </a:lnTo>
                  <a:lnTo>
                    <a:pt x="64" y="82"/>
                  </a:lnTo>
                  <a:lnTo>
                    <a:pt x="46" y="80"/>
                  </a:lnTo>
                  <a:lnTo>
                    <a:pt x="30" y="74"/>
                  </a:lnTo>
                  <a:lnTo>
                    <a:pt x="14" y="68"/>
                  </a:lnTo>
                  <a:lnTo>
                    <a:pt x="0" y="62"/>
                  </a:lnTo>
                  <a:lnTo>
                    <a:pt x="0" y="62"/>
                  </a:lnTo>
                  <a:lnTo>
                    <a:pt x="4" y="58"/>
                  </a:lnTo>
                  <a:lnTo>
                    <a:pt x="12" y="56"/>
                  </a:lnTo>
                  <a:lnTo>
                    <a:pt x="32" y="56"/>
                  </a:lnTo>
                  <a:lnTo>
                    <a:pt x="50" y="56"/>
                  </a:lnTo>
                  <a:lnTo>
                    <a:pt x="58" y="56"/>
                  </a:lnTo>
                  <a:lnTo>
                    <a:pt x="64" y="52"/>
                  </a:lnTo>
                  <a:lnTo>
                    <a:pt x="64" y="52"/>
                  </a:lnTo>
                  <a:lnTo>
                    <a:pt x="62" y="46"/>
                  </a:lnTo>
                  <a:lnTo>
                    <a:pt x="58" y="44"/>
                  </a:lnTo>
                  <a:lnTo>
                    <a:pt x="52" y="42"/>
                  </a:lnTo>
                  <a:lnTo>
                    <a:pt x="44" y="42"/>
                  </a:lnTo>
                  <a:lnTo>
                    <a:pt x="28" y="42"/>
                  </a:lnTo>
                  <a:lnTo>
                    <a:pt x="14" y="42"/>
                  </a:lnTo>
                  <a:lnTo>
                    <a:pt x="14" y="42"/>
                  </a:lnTo>
                  <a:lnTo>
                    <a:pt x="10" y="40"/>
                  </a:lnTo>
                  <a:lnTo>
                    <a:pt x="10" y="40"/>
                  </a:lnTo>
                  <a:lnTo>
                    <a:pt x="18" y="38"/>
                  </a:lnTo>
                  <a:lnTo>
                    <a:pt x="30" y="36"/>
                  </a:lnTo>
                  <a:lnTo>
                    <a:pt x="34" y="36"/>
                  </a:lnTo>
                  <a:lnTo>
                    <a:pt x="36" y="34"/>
                  </a:lnTo>
                  <a:lnTo>
                    <a:pt x="36" y="34"/>
                  </a:lnTo>
                  <a:lnTo>
                    <a:pt x="34" y="28"/>
                  </a:lnTo>
                  <a:lnTo>
                    <a:pt x="28" y="24"/>
                  </a:lnTo>
                  <a:lnTo>
                    <a:pt x="22" y="24"/>
                  </a:lnTo>
                  <a:lnTo>
                    <a:pt x="14" y="24"/>
                  </a:lnTo>
                  <a:lnTo>
                    <a:pt x="14" y="24"/>
                  </a:lnTo>
                  <a:lnTo>
                    <a:pt x="20" y="16"/>
                  </a:lnTo>
                  <a:lnTo>
                    <a:pt x="28" y="12"/>
                  </a:lnTo>
                  <a:lnTo>
                    <a:pt x="36" y="8"/>
                  </a:lnTo>
                  <a:lnTo>
                    <a:pt x="44" y="4"/>
                  </a:lnTo>
                  <a:lnTo>
                    <a:pt x="64" y="4"/>
                  </a:lnTo>
                  <a:lnTo>
                    <a:pt x="84" y="6"/>
                  </a:lnTo>
                  <a:lnTo>
                    <a:pt x="104" y="8"/>
                  </a:lnTo>
                  <a:lnTo>
                    <a:pt x="124" y="10"/>
                  </a:lnTo>
                  <a:lnTo>
                    <a:pt x="140" y="8"/>
                  </a:lnTo>
                  <a:lnTo>
                    <a:pt x="146" y="4"/>
                  </a:lnTo>
                  <a:lnTo>
                    <a:pt x="152" y="0"/>
                  </a:lnTo>
                  <a:lnTo>
                    <a:pt x="15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8" name="Freeform 18"/>
            <p:cNvSpPr>
              <a:spLocks noEditPoints="1"/>
            </p:cNvSpPr>
            <p:nvPr/>
          </p:nvSpPr>
          <p:spPr bwMode="auto">
            <a:xfrm>
              <a:off x="1315611" y="1594783"/>
              <a:ext cx="3173669" cy="4339711"/>
            </a:xfrm>
            <a:custGeom>
              <a:avLst/>
              <a:gdLst>
                <a:gd name="T0" fmla="*/ 1346 w 1878"/>
                <a:gd name="T1" fmla="*/ 48 h 2568"/>
                <a:gd name="T2" fmla="*/ 1438 w 1878"/>
                <a:gd name="T3" fmla="*/ 38 h 2568"/>
                <a:gd name="T4" fmla="*/ 1300 w 1878"/>
                <a:gd name="T5" fmla="*/ 120 h 2568"/>
                <a:gd name="T6" fmla="*/ 1184 w 1878"/>
                <a:gd name="T7" fmla="*/ 170 h 2568"/>
                <a:gd name="T8" fmla="*/ 1232 w 1878"/>
                <a:gd name="T9" fmla="*/ 376 h 2568"/>
                <a:gd name="T10" fmla="*/ 1364 w 1878"/>
                <a:gd name="T11" fmla="*/ 274 h 2568"/>
                <a:gd name="T12" fmla="*/ 1514 w 1878"/>
                <a:gd name="T13" fmla="*/ 202 h 2568"/>
                <a:gd name="T14" fmla="*/ 1616 w 1878"/>
                <a:gd name="T15" fmla="*/ 312 h 2568"/>
                <a:gd name="T16" fmla="*/ 1608 w 1878"/>
                <a:gd name="T17" fmla="*/ 386 h 2568"/>
                <a:gd name="T18" fmla="*/ 1464 w 1878"/>
                <a:gd name="T19" fmla="*/ 428 h 2568"/>
                <a:gd name="T20" fmla="*/ 1498 w 1878"/>
                <a:gd name="T21" fmla="*/ 510 h 2568"/>
                <a:gd name="T22" fmla="*/ 1328 w 1878"/>
                <a:gd name="T23" fmla="*/ 546 h 2568"/>
                <a:gd name="T24" fmla="*/ 1178 w 1878"/>
                <a:gd name="T25" fmla="*/ 662 h 2568"/>
                <a:gd name="T26" fmla="*/ 1050 w 1878"/>
                <a:gd name="T27" fmla="*/ 904 h 2568"/>
                <a:gd name="T28" fmla="*/ 978 w 1878"/>
                <a:gd name="T29" fmla="*/ 830 h 2568"/>
                <a:gd name="T30" fmla="*/ 828 w 1878"/>
                <a:gd name="T31" fmla="*/ 826 h 2568"/>
                <a:gd name="T32" fmla="*/ 722 w 1878"/>
                <a:gd name="T33" fmla="*/ 1054 h 2568"/>
                <a:gd name="T34" fmla="*/ 888 w 1878"/>
                <a:gd name="T35" fmla="*/ 1042 h 2568"/>
                <a:gd name="T36" fmla="*/ 944 w 1878"/>
                <a:gd name="T37" fmla="*/ 1246 h 2568"/>
                <a:gd name="T38" fmla="*/ 1142 w 1878"/>
                <a:gd name="T39" fmla="*/ 1216 h 2568"/>
                <a:gd name="T40" fmla="*/ 1178 w 1878"/>
                <a:gd name="T41" fmla="*/ 1230 h 2568"/>
                <a:gd name="T42" fmla="*/ 1430 w 1878"/>
                <a:gd name="T43" fmla="*/ 1318 h 2568"/>
                <a:gd name="T44" fmla="*/ 1574 w 1878"/>
                <a:gd name="T45" fmla="*/ 1444 h 2568"/>
                <a:gd name="T46" fmla="*/ 1608 w 1878"/>
                <a:gd name="T47" fmla="*/ 1470 h 2568"/>
                <a:gd name="T48" fmla="*/ 1686 w 1878"/>
                <a:gd name="T49" fmla="*/ 1500 h 2568"/>
                <a:gd name="T50" fmla="*/ 1872 w 1878"/>
                <a:gd name="T51" fmla="*/ 1576 h 2568"/>
                <a:gd name="T52" fmla="*/ 1778 w 1878"/>
                <a:gd name="T53" fmla="*/ 1912 h 2568"/>
                <a:gd name="T54" fmla="*/ 1620 w 1878"/>
                <a:gd name="T55" fmla="*/ 2108 h 2568"/>
                <a:gd name="T56" fmla="*/ 1532 w 1878"/>
                <a:gd name="T57" fmla="*/ 2246 h 2568"/>
                <a:gd name="T58" fmla="*/ 1438 w 1878"/>
                <a:gd name="T59" fmla="*/ 2328 h 2568"/>
                <a:gd name="T60" fmla="*/ 1406 w 1878"/>
                <a:gd name="T61" fmla="*/ 2424 h 2568"/>
                <a:gd name="T62" fmla="*/ 1416 w 1878"/>
                <a:gd name="T63" fmla="*/ 2566 h 2568"/>
                <a:gd name="T64" fmla="*/ 1294 w 1878"/>
                <a:gd name="T65" fmla="*/ 2426 h 2568"/>
                <a:gd name="T66" fmla="*/ 1220 w 1878"/>
                <a:gd name="T67" fmla="*/ 1976 h 2568"/>
                <a:gd name="T68" fmla="*/ 1044 w 1878"/>
                <a:gd name="T69" fmla="*/ 1672 h 2568"/>
                <a:gd name="T70" fmla="*/ 1008 w 1878"/>
                <a:gd name="T71" fmla="*/ 1446 h 2568"/>
                <a:gd name="T72" fmla="*/ 1022 w 1878"/>
                <a:gd name="T73" fmla="*/ 1272 h 2568"/>
                <a:gd name="T74" fmla="*/ 840 w 1878"/>
                <a:gd name="T75" fmla="*/ 1178 h 2568"/>
                <a:gd name="T76" fmla="*/ 544 w 1878"/>
                <a:gd name="T77" fmla="*/ 1030 h 2568"/>
                <a:gd name="T78" fmla="*/ 462 w 1878"/>
                <a:gd name="T79" fmla="*/ 812 h 2568"/>
                <a:gd name="T80" fmla="*/ 472 w 1878"/>
                <a:gd name="T81" fmla="*/ 964 h 2568"/>
                <a:gd name="T82" fmla="*/ 400 w 1878"/>
                <a:gd name="T83" fmla="*/ 812 h 2568"/>
                <a:gd name="T84" fmla="*/ 354 w 1878"/>
                <a:gd name="T85" fmla="*/ 654 h 2568"/>
                <a:gd name="T86" fmla="*/ 456 w 1878"/>
                <a:gd name="T87" fmla="*/ 452 h 2568"/>
                <a:gd name="T88" fmla="*/ 470 w 1878"/>
                <a:gd name="T89" fmla="*/ 390 h 2568"/>
                <a:gd name="T90" fmla="*/ 474 w 1878"/>
                <a:gd name="T91" fmla="*/ 308 h 2568"/>
                <a:gd name="T92" fmla="*/ 242 w 1878"/>
                <a:gd name="T93" fmla="*/ 212 h 2568"/>
                <a:gd name="T94" fmla="*/ 102 w 1878"/>
                <a:gd name="T95" fmla="*/ 232 h 2568"/>
                <a:gd name="T96" fmla="*/ 102 w 1878"/>
                <a:gd name="T97" fmla="*/ 166 h 2568"/>
                <a:gd name="T98" fmla="*/ 154 w 1878"/>
                <a:gd name="T99" fmla="*/ 106 h 2568"/>
                <a:gd name="T100" fmla="*/ 376 w 1878"/>
                <a:gd name="T101" fmla="*/ 22 h 2568"/>
                <a:gd name="T102" fmla="*/ 828 w 1878"/>
                <a:gd name="T103" fmla="*/ 24 h 2568"/>
                <a:gd name="T104" fmla="*/ 1030 w 1878"/>
                <a:gd name="T105" fmla="*/ 68 h 2568"/>
                <a:gd name="T106" fmla="*/ 1210 w 1878"/>
                <a:gd name="T107" fmla="*/ 78 h 2568"/>
                <a:gd name="T108" fmla="*/ 1306 w 1878"/>
                <a:gd name="T109" fmla="*/ 4 h 2568"/>
                <a:gd name="T110" fmla="*/ 1002 w 1878"/>
                <a:gd name="T111" fmla="*/ 468 h 2568"/>
                <a:gd name="T112" fmla="*/ 1010 w 1878"/>
                <a:gd name="T113" fmla="*/ 574 h 2568"/>
                <a:gd name="T114" fmla="*/ 1112 w 1878"/>
                <a:gd name="T115" fmla="*/ 522 h 2568"/>
                <a:gd name="T116" fmla="*/ 1176 w 1878"/>
                <a:gd name="T117" fmla="*/ 500 h 2568"/>
                <a:gd name="T118" fmla="*/ 1234 w 1878"/>
                <a:gd name="T119" fmla="*/ 532 h 2568"/>
                <a:gd name="T120" fmla="*/ 1136 w 1878"/>
                <a:gd name="T121" fmla="*/ 558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78" h="2568">
                  <a:moveTo>
                    <a:pt x="1322" y="0"/>
                  </a:moveTo>
                  <a:lnTo>
                    <a:pt x="1322" y="0"/>
                  </a:lnTo>
                  <a:lnTo>
                    <a:pt x="1326" y="6"/>
                  </a:lnTo>
                  <a:lnTo>
                    <a:pt x="1326" y="10"/>
                  </a:lnTo>
                  <a:lnTo>
                    <a:pt x="1324" y="14"/>
                  </a:lnTo>
                  <a:lnTo>
                    <a:pt x="1322" y="20"/>
                  </a:lnTo>
                  <a:lnTo>
                    <a:pt x="1320" y="24"/>
                  </a:lnTo>
                  <a:lnTo>
                    <a:pt x="1318" y="28"/>
                  </a:lnTo>
                  <a:lnTo>
                    <a:pt x="1318" y="34"/>
                  </a:lnTo>
                  <a:lnTo>
                    <a:pt x="1322" y="38"/>
                  </a:lnTo>
                  <a:lnTo>
                    <a:pt x="1322" y="38"/>
                  </a:lnTo>
                  <a:lnTo>
                    <a:pt x="1324" y="44"/>
                  </a:lnTo>
                  <a:lnTo>
                    <a:pt x="1326" y="46"/>
                  </a:lnTo>
                  <a:lnTo>
                    <a:pt x="1330" y="46"/>
                  </a:lnTo>
                  <a:lnTo>
                    <a:pt x="1334" y="46"/>
                  </a:lnTo>
                  <a:lnTo>
                    <a:pt x="1340" y="44"/>
                  </a:lnTo>
                  <a:lnTo>
                    <a:pt x="1344" y="44"/>
                  </a:lnTo>
                  <a:lnTo>
                    <a:pt x="1346" y="48"/>
                  </a:lnTo>
                  <a:lnTo>
                    <a:pt x="1346" y="48"/>
                  </a:lnTo>
                  <a:lnTo>
                    <a:pt x="1352" y="48"/>
                  </a:lnTo>
                  <a:lnTo>
                    <a:pt x="1354" y="50"/>
                  </a:lnTo>
                  <a:lnTo>
                    <a:pt x="1352" y="52"/>
                  </a:lnTo>
                  <a:lnTo>
                    <a:pt x="1350" y="56"/>
                  </a:lnTo>
                  <a:lnTo>
                    <a:pt x="1342" y="66"/>
                  </a:lnTo>
                  <a:lnTo>
                    <a:pt x="1340" y="70"/>
                  </a:lnTo>
                  <a:lnTo>
                    <a:pt x="1342" y="76"/>
                  </a:lnTo>
                  <a:lnTo>
                    <a:pt x="1342" y="76"/>
                  </a:lnTo>
                  <a:lnTo>
                    <a:pt x="1348" y="76"/>
                  </a:lnTo>
                  <a:lnTo>
                    <a:pt x="1356" y="76"/>
                  </a:lnTo>
                  <a:lnTo>
                    <a:pt x="1362" y="76"/>
                  </a:lnTo>
                  <a:lnTo>
                    <a:pt x="1368" y="72"/>
                  </a:lnTo>
                  <a:lnTo>
                    <a:pt x="1380" y="64"/>
                  </a:lnTo>
                  <a:lnTo>
                    <a:pt x="1390" y="54"/>
                  </a:lnTo>
                  <a:lnTo>
                    <a:pt x="1402" y="46"/>
                  </a:lnTo>
                  <a:lnTo>
                    <a:pt x="1416" y="38"/>
                  </a:lnTo>
                  <a:lnTo>
                    <a:pt x="1422" y="38"/>
                  </a:lnTo>
                  <a:lnTo>
                    <a:pt x="1430" y="38"/>
                  </a:lnTo>
                  <a:lnTo>
                    <a:pt x="1438" y="38"/>
                  </a:lnTo>
                  <a:lnTo>
                    <a:pt x="1448" y="42"/>
                  </a:lnTo>
                  <a:lnTo>
                    <a:pt x="1448" y="42"/>
                  </a:lnTo>
                  <a:lnTo>
                    <a:pt x="1446" y="52"/>
                  </a:lnTo>
                  <a:lnTo>
                    <a:pt x="1440" y="62"/>
                  </a:lnTo>
                  <a:lnTo>
                    <a:pt x="1434" y="70"/>
                  </a:lnTo>
                  <a:lnTo>
                    <a:pt x="1426" y="76"/>
                  </a:lnTo>
                  <a:lnTo>
                    <a:pt x="1416" y="82"/>
                  </a:lnTo>
                  <a:lnTo>
                    <a:pt x="1406" y="88"/>
                  </a:lnTo>
                  <a:lnTo>
                    <a:pt x="1382" y="94"/>
                  </a:lnTo>
                  <a:lnTo>
                    <a:pt x="1356" y="98"/>
                  </a:lnTo>
                  <a:lnTo>
                    <a:pt x="1332" y="100"/>
                  </a:lnTo>
                  <a:lnTo>
                    <a:pt x="1310" y="100"/>
                  </a:lnTo>
                  <a:lnTo>
                    <a:pt x="1290" y="98"/>
                  </a:lnTo>
                  <a:lnTo>
                    <a:pt x="1290" y="98"/>
                  </a:lnTo>
                  <a:lnTo>
                    <a:pt x="1286" y="102"/>
                  </a:lnTo>
                  <a:lnTo>
                    <a:pt x="1286" y="106"/>
                  </a:lnTo>
                  <a:lnTo>
                    <a:pt x="1290" y="110"/>
                  </a:lnTo>
                  <a:lnTo>
                    <a:pt x="1294" y="114"/>
                  </a:lnTo>
                  <a:lnTo>
                    <a:pt x="1300" y="120"/>
                  </a:lnTo>
                  <a:lnTo>
                    <a:pt x="1302" y="124"/>
                  </a:lnTo>
                  <a:lnTo>
                    <a:pt x="1300" y="126"/>
                  </a:lnTo>
                  <a:lnTo>
                    <a:pt x="1300" y="126"/>
                  </a:lnTo>
                  <a:lnTo>
                    <a:pt x="1282" y="132"/>
                  </a:lnTo>
                  <a:lnTo>
                    <a:pt x="1264" y="138"/>
                  </a:lnTo>
                  <a:lnTo>
                    <a:pt x="1256" y="140"/>
                  </a:lnTo>
                  <a:lnTo>
                    <a:pt x="1246" y="140"/>
                  </a:lnTo>
                  <a:lnTo>
                    <a:pt x="1238" y="138"/>
                  </a:lnTo>
                  <a:lnTo>
                    <a:pt x="1230" y="136"/>
                  </a:lnTo>
                  <a:lnTo>
                    <a:pt x="1230" y="136"/>
                  </a:lnTo>
                  <a:lnTo>
                    <a:pt x="1224" y="138"/>
                  </a:lnTo>
                  <a:lnTo>
                    <a:pt x="1222" y="140"/>
                  </a:lnTo>
                  <a:lnTo>
                    <a:pt x="1222" y="142"/>
                  </a:lnTo>
                  <a:lnTo>
                    <a:pt x="1222" y="146"/>
                  </a:lnTo>
                  <a:lnTo>
                    <a:pt x="1222" y="154"/>
                  </a:lnTo>
                  <a:lnTo>
                    <a:pt x="1222" y="156"/>
                  </a:lnTo>
                  <a:lnTo>
                    <a:pt x="1220" y="160"/>
                  </a:lnTo>
                  <a:lnTo>
                    <a:pt x="1220" y="160"/>
                  </a:lnTo>
                  <a:lnTo>
                    <a:pt x="1184" y="170"/>
                  </a:lnTo>
                  <a:lnTo>
                    <a:pt x="1168" y="178"/>
                  </a:lnTo>
                  <a:lnTo>
                    <a:pt x="1152" y="186"/>
                  </a:lnTo>
                  <a:lnTo>
                    <a:pt x="1138" y="196"/>
                  </a:lnTo>
                  <a:lnTo>
                    <a:pt x="1126" y="208"/>
                  </a:lnTo>
                  <a:lnTo>
                    <a:pt x="1114" y="220"/>
                  </a:lnTo>
                  <a:lnTo>
                    <a:pt x="1104" y="234"/>
                  </a:lnTo>
                  <a:lnTo>
                    <a:pt x="1104" y="234"/>
                  </a:lnTo>
                  <a:lnTo>
                    <a:pt x="1114" y="250"/>
                  </a:lnTo>
                  <a:lnTo>
                    <a:pt x="1128" y="264"/>
                  </a:lnTo>
                  <a:lnTo>
                    <a:pt x="1144" y="274"/>
                  </a:lnTo>
                  <a:lnTo>
                    <a:pt x="1162" y="284"/>
                  </a:lnTo>
                  <a:lnTo>
                    <a:pt x="1182" y="292"/>
                  </a:lnTo>
                  <a:lnTo>
                    <a:pt x="1202" y="298"/>
                  </a:lnTo>
                  <a:lnTo>
                    <a:pt x="1244" y="312"/>
                  </a:lnTo>
                  <a:lnTo>
                    <a:pt x="1244" y="312"/>
                  </a:lnTo>
                  <a:lnTo>
                    <a:pt x="1224" y="360"/>
                  </a:lnTo>
                  <a:lnTo>
                    <a:pt x="1224" y="360"/>
                  </a:lnTo>
                  <a:lnTo>
                    <a:pt x="1228" y="366"/>
                  </a:lnTo>
                  <a:lnTo>
                    <a:pt x="1232" y="376"/>
                  </a:lnTo>
                  <a:lnTo>
                    <a:pt x="1236" y="382"/>
                  </a:lnTo>
                  <a:lnTo>
                    <a:pt x="1240" y="386"/>
                  </a:lnTo>
                  <a:lnTo>
                    <a:pt x="1244" y="388"/>
                  </a:lnTo>
                  <a:lnTo>
                    <a:pt x="1244" y="388"/>
                  </a:lnTo>
                  <a:lnTo>
                    <a:pt x="1254" y="386"/>
                  </a:lnTo>
                  <a:lnTo>
                    <a:pt x="1264" y="380"/>
                  </a:lnTo>
                  <a:lnTo>
                    <a:pt x="1270" y="374"/>
                  </a:lnTo>
                  <a:lnTo>
                    <a:pt x="1276" y="366"/>
                  </a:lnTo>
                  <a:lnTo>
                    <a:pt x="1280" y="358"/>
                  </a:lnTo>
                  <a:lnTo>
                    <a:pt x="1284" y="348"/>
                  </a:lnTo>
                  <a:lnTo>
                    <a:pt x="1290" y="326"/>
                  </a:lnTo>
                  <a:lnTo>
                    <a:pt x="1290" y="326"/>
                  </a:lnTo>
                  <a:lnTo>
                    <a:pt x="1302" y="320"/>
                  </a:lnTo>
                  <a:lnTo>
                    <a:pt x="1316" y="312"/>
                  </a:lnTo>
                  <a:lnTo>
                    <a:pt x="1330" y="304"/>
                  </a:lnTo>
                  <a:lnTo>
                    <a:pt x="1344" y="296"/>
                  </a:lnTo>
                  <a:lnTo>
                    <a:pt x="1356" y="286"/>
                  </a:lnTo>
                  <a:lnTo>
                    <a:pt x="1360" y="280"/>
                  </a:lnTo>
                  <a:lnTo>
                    <a:pt x="1364" y="274"/>
                  </a:lnTo>
                  <a:lnTo>
                    <a:pt x="1366" y="268"/>
                  </a:lnTo>
                  <a:lnTo>
                    <a:pt x="1368" y="260"/>
                  </a:lnTo>
                  <a:lnTo>
                    <a:pt x="1366" y="252"/>
                  </a:lnTo>
                  <a:lnTo>
                    <a:pt x="1364" y="242"/>
                  </a:lnTo>
                  <a:lnTo>
                    <a:pt x="1364" y="242"/>
                  </a:lnTo>
                  <a:lnTo>
                    <a:pt x="1374" y="224"/>
                  </a:lnTo>
                  <a:lnTo>
                    <a:pt x="1388" y="206"/>
                  </a:lnTo>
                  <a:lnTo>
                    <a:pt x="1406" y="190"/>
                  </a:lnTo>
                  <a:lnTo>
                    <a:pt x="1414" y="182"/>
                  </a:lnTo>
                  <a:lnTo>
                    <a:pt x="1424" y="178"/>
                  </a:lnTo>
                  <a:lnTo>
                    <a:pt x="1434" y="174"/>
                  </a:lnTo>
                  <a:lnTo>
                    <a:pt x="1444" y="170"/>
                  </a:lnTo>
                  <a:lnTo>
                    <a:pt x="1456" y="170"/>
                  </a:lnTo>
                  <a:lnTo>
                    <a:pt x="1468" y="172"/>
                  </a:lnTo>
                  <a:lnTo>
                    <a:pt x="1478" y="174"/>
                  </a:lnTo>
                  <a:lnTo>
                    <a:pt x="1490" y="180"/>
                  </a:lnTo>
                  <a:lnTo>
                    <a:pt x="1502" y="190"/>
                  </a:lnTo>
                  <a:lnTo>
                    <a:pt x="1514" y="202"/>
                  </a:lnTo>
                  <a:lnTo>
                    <a:pt x="1514" y="202"/>
                  </a:lnTo>
                  <a:lnTo>
                    <a:pt x="1508" y="218"/>
                  </a:lnTo>
                  <a:lnTo>
                    <a:pt x="1508" y="224"/>
                  </a:lnTo>
                  <a:lnTo>
                    <a:pt x="1508" y="230"/>
                  </a:lnTo>
                  <a:lnTo>
                    <a:pt x="1510" y="236"/>
                  </a:lnTo>
                  <a:lnTo>
                    <a:pt x="1512" y="242"/>
                  </a:lnTo>
                  <a:lnTo>
                    <a:pt x="1522" y="252"/>
                  </a:lnTo>
                  <a:lnTo>
                    <a:pt x="1522" y="252"/>
                  </a:lnTo>
                  <a:lnTo>
                    <a:pt x="1540" y="244"/>
                  </a:lnTo>
                  <a:lnTo>
                    <a:pt x="1558" y="234"/>
                  </a:lnTo>
                  <a:lnTo>
                    <a:pt x="1574" y="222"/>
                  </a:lnTo>
                  <a:lnTo>
                    <a:pt x="1588" y="210"/>
                  </a:lnTo>
                  <a:lnTo>
                    <a:pt x="1588" y="210"/>
                  </a:lnTo>
                  <a:lnTo>
                    <a:pt x="1594" y="224"/>
                  </a:lnTo>
                  <a:lnTo>
                    <a:pt x="1596" y="238"/>
                  </a:lnTo>
                  <a:lnTo>
                    <a:pt x="1598" y="264"/>
                  </a:lnTo>
                  <a:lnTo>
                    <a:pt x="1598" y="276"/>
                  </a:lnTo>
                  <a:lnTo>
                    <a:pt x="1600" y="290"/>
                  </a:lnTo>
                  <a:lnTo>
                    <a:pt x="1606" y="302"/>
                  </a:lnTo>
                  <a:lnTo>
                    <a:pt x="1616" y="312"/>
                  </a:lnTo>
                  <a:lnTo>
                    <a:pt x="1616" y="312"/>
                  </a:lnTo>
                  <a:lnTo>
                    <a:pt x="1612" y="318"/>
                  </a:lnTo>
                  <a:lnTo>
                    <a:pt x="1606" y="322"/>
                  </a:lnTo>
                  <a:lnTo>
                    <a:pt x="1600" y="326"/>
                  </a:lnTo>
                  <a:lnTo>
                    <a:pt x="1598" y="328"/>
                  </a:lnTo>
                  <a:lnTo>
                    <a:pt x="1598" y="332"/>
                  </a:lnTo>
                  <a:lnTo>
                    <a:pt x="1598" y="332"/>
                  </a:lnTo>
                  <a:lnTo>
                    <a:pt x="1604" y="332"/>
                  </a:lnTo>
                  <a:lnTo>
                    <a:pt x="1612" y="332"/>
                  </a:lnTo>
                  <a:lnTo>
                    <a:pt x="1630" y="328"/>
                  </a:lnTo>
                  <a:lnTo>
                    <a:pt x="1640" y="328"/>
                  </a:lnTo>
                  <a:lnTo>
                    <a:pt x="1650" y="330"/>
                  </a:lnTo>
                  <a:lnTo>
                    <a:pt x="1656" y="334"/>
                  </a:lnTo>
                  <a:lnTo>
                    <a:pt x="1662" y="340"/>
                  </a:lnTo>
                  <a:lnTo>
                    <a:pt x="1662" y="340"/>
                  </a:lnTo>
                  <a:lnTo>
                    <a:pt x="1652" y="356"/>
                  </a:lnTo>
                  <a:lnTo>
                    <a:pt x="1640" y="370"/>
                  </a:lnTo>
                  <a:lnTo>
                    <a:pt x="1626" y="380"/>
                  </a:lnTo>
                  <a:lnTo>
                    <a:pt x="1608" y="386"/>
                  </a:lnTo>
                  <a:lnTo>
                    <a:pt x="1590" y="392"/>
                  </a:lnTo>
                  <a:lnTo>
                    <a:pt x="1572" y="396"/>
                  </a:lnTo>
                  <a:lnTo>
                    <a:pt x="1530" y="402"/>
                  </a:lnTo>
                  <a:lnTo>
                    <a:pt x="1488" y="406"/>
                  </a:lnTo>
                  <a:lnTo>
                    <a:pt x="1466" y="410"/>
                  </a:lnTo>
                  <a:lnTo>
                    <a:pt x="1446" y="412"/>
                  </a:lnTo>
                  <a:lnTo>
                    <a:pt x="1428" y="418"/>
                  </a:lnTo>
                  <a:lnTo>
                    <a:pt x="1412" y="426"/>
                  </a:lnTo>
                  <a:lnTo>
                    <a:pt x="1396" y="436"/>
                  </a:lnTo>
                  <a:lnTo>
                    <a:pt x="1384" y="448"/>
                  </a:lnTo>
                  <a:lnTo>
                    <a:pt x="1384" y="448"/>
                  </a:lnTo>
                  <a:lnTo>
                    <a:pt x="1388" y="450"/>
                  </a:lnTo>
                  <a:lnTo>
                    <a:pt x="1392" y="452"/>
                  </a:lnTo>
                  <a:lnTo>
                    <a:pt x="1402" y="450"/>
                  </a:lnTo>
                  <a:lnTo>
                    <a:pt x="1412" y="446"/>
                  </a:lnTo>
                  <a:lnTo>
                    <a:pt x="1422" y="440"/>
                  </a:lnTo>
                  <a:lnTo>
                    <a:pt x="1436" y="434"/>
                  </a:lnTo>
                  <a:lnTo>
                    <a:pt x="1448" y="430"/>
                  </a:lnTo>
                  <a:lnTo>
                    <a:pt x="1464" y="428"/>
                  </a:lnTo>
                  <a:lnTo>
                    <a:pt x="1472" y="428"/>
                  </a:lnTo>
                  <a:lnTo>
                    <a:pt x="1480" y="430"/>
                  </a:lnTo>
                  <a:lnTo>
                    <a:pt x="1480" y="430"/>
                  </a:lnTo>
                  <a:lnTo>
                    <a:pt x="1478" y="436"/>
                  </a:lnTo>
                  <a:lnTo>
                    <a:pt x="1476" y="440"/>
                  </a:lnTo>
                  <a:lnTo>
                    <a:pt x="1468" y="450"/>
                  </a:lnTo>
                  <a:lnTo>
                    <a:pt x="1460" y="458"/>
                  </a:lnTo>
                  <a:lnTo>
                    <a:pt x="1452" y="466"/>
                  </a:lnTo>
                  <a:lnTo>
                    <a:pt x="1452" y="466"/>
                  </a:lnTo>
                  <a:lnTo>
                    <a:pt x="1456" y="476"/>
                  </a:lnTo>
                  <a:lnTo>
                    <a:pt x="1462" y="484"/>
                  </a:lnTo>
                  <a:lnTo>
                    <a:pt x="1470" y="492"/>
                  </a:lnTo>
                  <a:lnTo>
                    <a:pt x="1478" y="496"/>
                  </a:lnTo>
                  <a:lnTo>
                    <a:pt x="1488" y="498"/>
                  </a:lnTo>
                  <a:lnTo>
                    <a:pt x="1498" y="498"/>
                  </a:lnTo>
                  <a:lnTo>
                    <a:pt x="1510" y="498"/>
                  </a:lnTo>
                  <a:lnTo>
                    <a:pt x="1522" y="494"/>
                  </a:lnTo>
                  <a:lnTo>
                    <a:pt x="1522" y="494"/>
                  </a:lnTo>
                  <a:lnTo>
                    <a:pt x="1498" y="510"/>
                  </a:lnTo>
                  <a:lnTo>
                    <a:pt x="1470" y="522"/>
                  </a:lnTo>
                  <a:lnTo>
                    <a:pt x="1442" y="532"/>
                  </a:lnTo>
                  <a:lnTo>
                    <a:pt x="1428" y="534"/>
                  </a:lnTo>
                  <a:lnTo>
                    <a:pt x="1416" y="536"/>
                  </a:lnTo>
                  <a:lnTo>
                    <a:pt x="1416" y="536"/>
                  </a:lnTo>
                  <a:lnTo>
                    <a:pt x="1420" y="530"/>
                  </a:lnTo>
                  <a:lnTo>
                    <a:pt x="1424" y="526"/>
                  </a:lnTo>
                  <a:lnTo>
                    <a:pt x="1436" y="520"/>
                  </a:lnTo>
                  <a:lnTo>
                    <a:pt x="1462" y="508"/>
                  </a:lnTo>
                  <a:lnTo>
                    <a:pt x="1462" y="508"/>
                  </a:lnTo>
                  <a:lnTo>
                    <a:pt x="1454" y="506"/>
                  </a:lnTo>
                  <a:lnTo>
                    <a:pt x="1446" y="504"/>
                  </a:lnTo>
                  <a:lnTo>
                    <a:pt x="1438" y="504"/>
                  </a:lnTo>
                  <a:lnTo>
                    <a:pt x="1428" y="504"/>
                  </a:lnTo>
                  <a:lnTo>
                    <a:pt x="1412" y="508"/>
                  </a:lnTo>
                  <a:lnTo>
                    <a:pt x="1394" y="516"/>
                  </a:lnTo>
                  <a:lnTo>
                    <a:pt x="1360" y="534"/>
                  </a:lnTo>
                  <a:lnTo>
                    <a:pt x="1344" y="542"/>
                  </a:lnTo>
                  <a:lnTo>
                    <a:pt x="1328" y="546"/>
                  </a:lnTo>
                  <a:lnTo>
                    <a:pt x="1328" y="546"/>
                  </a:lnTo>
                  <a:lnTo>
                    <a:pt x="1328" y="554"/>
                  </a:lnTo>
                  <a:lnTo>
                    <a:pt x="1324" y="560"/>
                  </a:lnTo>
                  <a:lnTo>
                    <a:pt x="1322" y="566"/>
                  </a:lnTo>
                  <a:lnTo>
                    <a:pt x="1322" y="574"/>
                  </a:lnTo>
                  <a:lnTo>
                    <a:pt x="1322" y="574"/>
                  </a:lnTo>
                  <a:lnTo>
                    <a:pt x="1284" y="588"/>
                  </a:lnTo>
                  <a:lnTo>
                    <a:pt x="1264" y="596"/>
                  </a:lnTo>
                  <a:lnTo>
                    <a:pt x="1248" y="606"/>
                  </a:lnTo>
                  <a:lnTo>
                    <a:pt x="1230" y="616"/>
                  </a:lnTo>
                  <a:lnTo>
                    <a:pt x="1216" y="628"/>
                  </a:lnTo>
                  <a:lnTo>
                    <a:pt x="1206" y="644"/>
                  </a:lnTo>
                  <a:lnTo>
                    <a:pt x="1196" y="662"/>
                  </a:lnTo>
                  <a:lnTo>
                    <a:pt x="1196" y="662"/>
                  </a:lnTo>
                  <a:lnTo>
                    <a:pt x="1190" y="654"/>
                  </a:lnTo>
                  <a:lnTo>
                    <a:pt x="1186" y="652"/>
                  </a:lnTo>
                  <a:lnTo>
                    <a:pt x="1184" y="652"/>
                  </a:lnTo>
                  <a:lnTo>
                    <a:pt x="1180" y="654"/>
                  </a:lnTo>
                  <a:lnTo>
                    <a:pt x="1178" y="662"/>
                  </a:lnTo>
                  <a:lnTo>
                    <a:pt x="1174" y="682"/>
                  </a:lnTo>
                  <a:lnTo>
                    <a:pt x="1174" y="700"/>
                  </a:lnTo>
                  <a:lnTo>
                    <a:pt x="1174" y="700"/>
                  </a:lnTo>
                  <a:lnTo>
                    <a:pt x="1168" y="708"/>
                  </a:lnTo>
                  <a:lnTo>
                    <a:pt x="1160" y="718"/>
                  </a:lnTo>
                  <a:lnTo>
                    <a:pt x="1144" y="732"/>
                  </a:lnTo>
                  <a:lnTo>
                    <a:pt x="1126" y="744"/>
                  </a:lnTo>
                  <a:lnTo>
                    <a:pt x="1108" y="754"/>
                  </a:lnTo>
                  <a:lnTo>
                    <a:pt x="1088" y="766"/>
                  </a:lnTo>
                  <a:lnTo>
                    <a:pt x="1070" y="778"/>
                  </a:lnTo>
                  <a:lnTo>
                    <a:pt x="1054" y="794"/>
                  </a:lnTo>
                  <a:lnTo>
                    <a:pt x="1048" y="802"/>
                  </a:lnTo>
                  <a:lnTo>
                    <a:pt x="1042" y="812"/>
                  </a:lnTo>
                  <a:lnTo>
                    <a:pt x="1042" y="812"/>
                  </a:lnTo>
                  <a:lnTo>
                    <a:pt x="1042" y="828"/>
                  </a:lnTo>
                  <a:lnTo>
                    <a:pt x="1044" y="844"/>
                  </a:lnTo>
                  <a:lnTo>
                    <a:pt x="1050" y="876"/>
                  </a:lnTo>
                  <a:lnTo>
                    <a:pt x="1050" y="890"/>
                  </a:lnTo>
                  <a:lnTo>
                    <a:pt x="1050" y="904"/>
                  </a:lnTo>
                  <a:lnTo>
                    <a:pt x="1046" y="916"/>
                  </a:lnTo>
                  <a:lnTo>
                    <a:pt x="1038" y="928"/>
                  </a:lnTo>
                  <a:lnTo>
                    <a:pt x="1038" y="928"/>
                  </a:lnTo>
                  <a:lnTo>
                    <a:pt x="1030" y="924"/>
                  </a:lnTo>
                  <a:lnTo>
                    <a:pt x="1024" y="920"/>
                  </a:lnTo>
                  <a:lnTo>
                    <a:pt x="1020" y="916"/>
                  </a:lnTo>
                  <a:lnTo>
                    <a:pt x="1016" y="908"/>
                  </a:lnTo>
                  <a:lnTo>
                    <a:pt x="1014" y="894"/>
                  </a:lnTo>
                  <a:lnTo>
                    <a:pt x="1014" y="878"/>
                  </a:lnTo>
                  <a:lnTo>
                    <a:pt x="1014" y="862"/>
                  </a:lnTo>
                  <a:lnTo>
                    <a:pt x="1012" y="848"/>
                  </a:lnTo>
                  <a:lnTo>
                    <a:pt x="1010" y="840"/>
                  </a:lnTo>
                  <a:lnTo>
                    <a:pt x="1008" y="834"/>
                  </a:lnTo>
                  <a:lnTo>
                    <a:pt x="1002" y="830"/>
                  </a:lnTo>
                  <a:lnTo>
                    <a:pt x="996" y="826"/>
                  </a:lnTo>
                  <a:lnTo>
                    <a:pt x="996" y="826"/>
                  </a:lnTo>
                  <a:lnTo>
                    <a:pt x="992" y="826"/>
                  </a:lnTo>
                  <a:lnTo>
                    <a:pt x="984" y="828"/>
                  </a:lnTo>
                  <a:lnTo>
                    <a:pt x="978" y="830"/>
                  </a:lnTo>
                  <a:lnTo>
                    <a:pt x="968" y="830"/>
                  </a:lnTo>
                  <a:lnTo>
                    <a:pt x="968" y="830"/>
                  </a:lnTo>
                  <a:lnTo>
                    <a:pt x="956" y="828"/>
                  </a:lnTo>
                  <a:lnTo>
                    <a:pt x="944" y="824"/>
                  </a:lnTo>
                  <a:lnTo>
                    <a:pt x="932" y="820"/>
                  </a:lnTo>
                  <a:lnTo>
                    <a:pt x="922" y="816"/>
                  </a:lnTo>
                  <a:lnTo>
                    <a:pt x="910" y="816"/>
                  </a:lnTo>
                  <a:lnTo>
                    <a:pt x="906" y="818"/>
                  </a:lnTo>
                  <a:lnTo>
                    <a:pt x="900" y="820"/>
                  </a:lnTo>
                  <a:lnTo>
                    <a:pt x="896" y="824"/>
                  </a:lnTo>
                  <a:lnTo>
                    <a:pt x="892" y="828"/>
                  </a:lnTo>
                  <a:lnTo>
                    <a:pt x="884" y="844"/>
                  </a:lnTo>
                  <a:lnTo>
                    <a:pt x="884" y="844"/>
                  </a:lnTo>
                  <a:lnTo>
                    <a:pt x="874" y="844"/>
                  </a:lnTo>
                  <a:lnTo>
                    <a:pt x="866" y="840"/>
                  </a:lnTo>
                  <a:lnTo>
                    <a:pt x="854" y="834"/>
                  </a:lnTo>
                  <a:lnTo>
                    <a:pt x="842" y="828"/>
                  </a:lnTo>
                  <a:lnTo>
                    <a:pt x="836" y="826"/>
                  </a:lnTo>
                  <a:lnTo>
                    <a:pt x="828" y="826"/>
                  </a:lnTo>
                  <a:lnTo>
                    <a:pt x="828" y="826"/>
                  </a:lnTo>
                  <a:lnTo>
                    <a:pt x="820" y="826"/>
                  </a:lnTo>
                  <a:lnTo>
                    <a:pt x="808" y="830"/>
                  </a:lnTo>
                  <a:lnTo>
                    <a:pt x="782" y="840"/>
                  </a:lnTo>
                  <a:lnTo>
                    <a:pt x="754" y="852"/>
                  </a:lnTo>
                  <a:lnTo>
                    <a:pt x="744" y="860"/>
                  </a:lnTo>
                  <a:lnTo>
                    <a:pt x="736" y="868"/>
                  </a:lnTo>
                  <a:lnTo>
                    <a:pt x="736" y="868"/>
                  </a:lnTo>
                  <a:lnTo>
                    <a:pt x="732" y="874"/>
                  </a:lnTo>
                  <a:lnTo>
                    <a:pt x="726" y="888"/>
                  </a:lnTo>
                  <a:lnTo>
                    <a:pt x="714" y="922"/>
                  </a:lnTo>
                  <a:lnTo>
                    <a:pt x="702" y="958"/>
                  </a:lnTo>
                  <a:lnTo>
                    <a:pt x="698" y="980"/>
                  </a:lnTo>
                  <a:lnTo>
                    <a:pt x="698" y="980"/>
                  </a:lnTo>
                  <a:lnTo>
                    <a:pt x="698" y="998"/>
                  </a:lnTo>
                  <a:lnTo>
                    <a:pt x="702" y="1014"/>
                  </a:lnTo>
                  <a:lnTo>
                    <a:pt x="706" y="1030"/>
                  </a:lnTo>
                  <a:lnTo>
                    <a:pt x="714" y="1042"/>
                  </a:lnTo>
                  <a:lnTo>
                    <a:pt x="722" y="1054"/>
                  </a:lnTo>
                  <a:lnTo>
                    <a:pt x="732" y="1062"/>
                  </a:lnTo>
                  <a:lnTo>
                    <a:pt x="744" y="1070"/>
                  </a:lnTo>
                  <a:lnTo>
                    <a:pt x="754" y="1074"/>
                  </a:lnTo>
                  <a:lnTo>
                    <a:pt x="766" y="1076"/>
                  </a:lnTo>
                  <a:lnTo>
                    <a:pt x="780" y="1074"/>
                  </a:lnTo>
                  <a:lnTo>
                    <a:pt x="792" y="1072"/>
                  </a:lnTo>
                  <a:lnTo>
                    <a:pt x="802" y="1066"/>
                  </a:lnTo>
                  <a:lnTo>
                    <a:pt x="814" y="1058"/>
                  </a:lnTo>
                  <a:lnTo>
                    <a:pt x="824" y="1046"/>
                  </a:lnTo>
                  <a:lnTo>
                    <a:pt x="832" y="1034"/>
                  </a:lnTo>
                  <a:lnTo>
                    <a:pt x="838" y="1016"/>
                  </a:lnTo>
                  <a:lnTo>
                    <a:pt x="838" y="1016"/>
                  </a:lnTo>
                  <a:lnTo>
                    <a:pt x="868" y="1008"/>
                  </a:lnTo>
                  <a:lnTo>
                    <a:pt x="884" y="1008"/>
                  </a:lnTo>
                  <a:lnTo>
                    <a:pt x="890" y="1008"/>
                  </a:lnTo>
                  <a:lnTo>
                    <a:pt x="898" y="1012"/>
                  </a:lnTo>
                  <a:lnTo>
                    <a:pt x="898" y="1012"/>
                  </a:lnTo>
                  <a:lnTo>
                    <a:pt x="894" y="1028"/>
                  </a:lnTo>
                  <a:lnTo>
                    <a:pt x="888" y="1042"/>
                  </a:lnTo>
                  <a:lnTo>
                    <a:pt x="874" y="1072"/>
                  </a:lnTo>
                  <a:lnTo>
                    <a:pt x="866" y="1086"/>
                  </a:lnTo>
                  <a:lnTo>
                    <a:pt x="860" y="1100"/>
                  </a:lnTo>
                  <a:lnTo>
                    <a:pt x="858" y="1114"/>
                  </a:lnTo>
                  <a:lnTo>
                    <a:pt x="856" y="1128"/>
                  </a:lnTo>
                  <a:lnTo>
                    <a:pt x="856" y="1128"/>
                  </a:lnTo>
                  <a:lnTo>
                    <a:pt x="864" y="1130"/>
                  </a:lnTo>
                  <a:lnTo>
                    <a:pt x="874" y="1128"/>
                  </a:lnTo>
                  <a:lnTo>
                    <a:pt x="898" y="1126"/>
                  </a:lnTo>
                  <a:lnTo>
                    <a:pt x="922" y="1124"/>
                  </a:lnTo>
                  <a:lnTo>
                    <a:pt x="934" y="1126"/>
                  </a:lnTo>
                  <a:lnTo>
                    <a:pt x="946" y="1128"/>
                  </a:lnTo>
                  <a:lnTo>
                    <a:pt x="946" y="1128"/>
                  </a:lnTo>
                  <a:lnTo>
                    <a:pt x="946" y="1148"/>
                  </a:lnTo>
                  <a:lnTo>
                    <a:pt x="944" y="1170"/>
                  </a:lnTo>
                  <a:lnTo>
                    <a:pt x="940" y="1194"/>
                  </a:lnTo>
                  <a:lnTo>
                    <a:pt x="940" y="1216"/>
                  </a:lnTo>
                  <a:lnTo>
                    <a:pt x="942" y="1236"/>
                  </a:lnTo>
                  <a:lnTo>
                    <a:pt x="944" y="1246"/>
                  </a:lnTo>
                  <a:lnTo>
                    <a:pt x="946" y="1254"/>
                  </a:lnTo>
                  <a:lnTo>
                    <a:pt x="952" y="1262"/>
                  </a:lnTo>
                  <a:lnTo>
                    <a:pt x="958" y="1268"/>
                  </a:lnTo>
                  <a:lnTo>
                    <a:pt x="968" y="1274"/>
                  </a:lnTo>
                  <a:lnTo>
                    <a:pt x="978" y="1278"/>
                  </a:lnTo>
                  <a:lnTo>
                    <a:pt x="978" y="1278"/>
                  </a:lnTo>
                  <a:lnTo>
                    <a:pt x="988" y="1272"/>
                  </a:lnTo>
                  <a:lnTo>
                    <a:pt x="1000" y="1268"/>
                  </a:lnTo>
                  <a:lnTo>
                    <a:pt x="1012" y="1266"/>
                  </a:lnTo>
                  <a:lnTo>
                    <a:pt x="1024" y="1264"/>
                  </a:lnTo>
                  <a:lnTo>
                    <a:pt x="1036" y="1266"/>
                  </a:lnTo>
                  <a:lnTo>
                    <a:pt x="1046" y="1270"/>
                  </a:lnTo>
                  <a:lnTo>
                    <a:pt x="1056" y="1276"/>
                  </a:lnTo>
                  <a:lnTo>
                    <a:pt x="1062" y="1286"/>
                  </a:lnTo>
                  <a:lnTo>
                    <a:pt x="1062" y="1286"/>
                  </a:lnTo>
                  <a:lnTo>
                    <a:pt x="1088" y="1262"/>
                  </a:lnTo>
                  <a:lnTo>
                    <a:pt x="1112" y="1238"/>
                  </a:lnTo>
                  <a:lnTo>
                    <a:pt x="1126" y="1226"/>
                  </a:lnTo>
                  <a:lnTo>
                    <a:pt x="1142" y="1216"/>
                  </a:lnTo>
                  <a:lnTo>
                    <a:pt x="1158" y="1208"/>
                  </a:lnTo>
                  <a:lnTo>
                    <a:pt x="1178" y="1202"/>
                  </a:lnTo>
                  <a:lnTo>
                    <a:pt x="1178" y="1202"/>
                  </a:lnTo>
                  <a:lnTo>
                    <a:pt x="1174" y="1210"/>
                  </a:lnTo>
                  <a:lnTo>
                    <a:pt x="1168" y="1218"/>
                  </a:lnTo>
                  <a:lnTo>
                    <a:pt x="1166" y="1228"/>
                  </a:lnTo>
                  <a:lnTo>
                    <a:pt x="1162" y="1238"/>
                  </a:lnTo>
                  <a:lnTo>
                    <a:pt x="1162" y="1248"/>
                  </a:lnTo>
                  <a:lnTo>
                    <a:pt x="1162" y="1256"/>
                  </a:lnTo>
                  <a:lnTo>
                    <a:pt x="1164" y="1266"/>
                  </a:lnTo>
                  <a:lnTo>
                    <a:pt x="1168" y="1272"/>
                  </a:lnTo>
                  <a:lnTo>
                    <a:pt x="1168" y="1272"/>
                  </a:lnTo>
                  <a:lnTo>
                    <a:pt x="1176" y="1268"/>
                  </a:lnTo>
                  <a:lnTo>
                    <a:pt x="1180" y="1264"/>
                  </a:lnTo>
                  <a:lnTo>
                    <a:pt x="1182" y="1260"/>
                  </a:lnTo>
                  <a:lnTo>
                    <a:pt x="1184" y="1256"/>
                  </a:lnTo>
                  <a:lnTo>
                    <a:pt x="1182" y="1244"/>
                  </a:lnTo>
                  <a:lnTo>
                    <a:pt x="1178" y="1230"/>
                  </a:lnTo>
                  <a:lnTo>
                    <a:pt x="1178" y="1230"/>
                  </a:lnTo>
                  <a:lnTo>
                    <a:pt x="1186" y="1228"/>
                  </a:lnTo>
                  <a:lnTo>
                    <a:pt x="1192" y="1222"/>
                  </a:lnTo>
                  <a:lnTo>
                    <a:pt x="1200" y="1216"/>
                  </a:lnTo>
                  <a:lnTo>
                    <a:pt x="1206" y="1212"/>
                  </a:lnTo>
                  <a:lnTo>
                    <a:pt x="1206" y="1212"/>
                  </a:lnTo>
                  <a:lnTo>
                    <a:pt x="1218" y="1220"/>
                  </a:lnTo>
                  <a:lnTo>
                    <a:pt x="1230" y="1226"/>
                  </a:lnTo>
                  <a:lnTo>
                    <a:pt x="1254" y="1236"/>
                  </a:lnTo>
                  <a:lnTo>
                    <a:pt x="1282" y="1244"/>
                  </a:lnTo>
                  <a:lnTo>
                    <a:pt x="1308" y="1248"/>
                  </a:lnTo>
                  <a:lnTo>
                    <a:pt x="1336" y="1254"/>
                  </a:lnTo>
                  <a:lnTo>
                    <a:pt x="1362" y="1262"/>
                  </a:lnTo>
                  <a:lnTo>
                    <a:pt x="1374" y="1268"/>
                  </a:lnTo>
                  <a:lnTo>
                    <a:pt x="1386" y="1274"/>
                  </a:lnTo>
                  <a:lnTo>
                    <a:pt x="1396" y="1282"/>
                  </a:lnTo>
                  <a:lnTo>
                    <a:pt x="1406" y="1292"/>
                  </a:lnTo>
                  <a:lnTo>
                    <a:pt x="1406" y="1292"/>
                  </a:lnTo>
                  <a:lnTo>
                    <a:pt x="1422" y="1310"/>
                  </a:lnTo>
                  <a:lnTo>
                    <a:pt x="1430" y="1318"/>
                  </a:lnTo>
                  <a:lnTo>
                    <a:pt x="1436" y="1326"/>
                  </a:lnTo>
                  <a:lnTo>
                    <a:pt x="1446" y="1330"/>
                  </a:lnTo>
                  <a:lnTo>
                    <a:pt x="1456" y="1334"/>
                  </a:lnTo>
                  <a:lnTo>
                    <a:pt x="1472" y="1338"/>
                  </a:lnTo>
                  <a:lnTo>
                    <a:pt x="1490" y="1338"/>
                  </a:lnTo>
                  <a:lnTo>
                    <a:pt x="1490" y="1338"/>
                  </a:lnTo>
                  <a:lnTo>
                    <a:pt x="1502" y="1338"/>
                  </a:lnTo>
                  <a:lnTo>
                    <a:pt x="1512" y="1342"/>
                  </a:lnTo>
                  <a:lnTo>
                    <a:pt x="1520" y="1346"/>
                  </a:lnTo>
                  <a:lnTo>
                    <a:pt x="1528" y="1352"/>
                  </a:lnTo>
                  <a:lnTo>
                    <a:pt x="1542" y="1364"/>
                  </a:lnTo>
                  <a:lnTo>
                    <a:pt x="1560" y="1380"/>
                  </a:lnTo>
                  <a:lnTo>
                    <a:pt x="1560" y="1380"/>
                  </a:lnTo>
                  <a:lnTo>
                    <a:pt x="1562" y="1396"/>
                  </a:lnTo>
                  <a:lnTo>
                    <a:pt x="1566" y="1410"/>
                  </a:lnTo>
                  <a:lnTo>
                    <a:pt x="1572" y="1424"/>
                  </a:lnTo>
                  <a:lnTo>
                    <a:pt x="1578" y="1436"/>
                  </a:lnTo>
                  <a:lnTo>
                    <a:pt x="1578" y="1436"/>
                  </a:lnTo>
                  <a:lnTo>
                    <a:pt x="1574" y="1444"/>
                  </a:lnTo>
                  <a:lnTo>
                    <a:pt x="1568" y="1450"/>
                  </a:lnTo>
                  <a:lnTo>
                    <a:pt x="1554" y="1462"/>
                  </a:lnTo>
                  <a:lnTo>
                    <a:pt x="1542" y="1476"/>
                  </a:lnTo>
                  <a:lnTo>
                    <a:pt x="1536" y="1482"/>
                  </a:lnTo>
                  <a:lnTo>
                    <a:pt x="1532" y="1492"/>
                  </a:lnTo>
                  <a:lnTo>
                    <a:pt x="1532" y="1492"/>
                  </a:lnTo>
                  <a:lnTo>
                    <a:pt x="1538" y="1494"/>
                  </a:lnTo>
                  <a:lnTo>
                    <a:pt x="1542" y="1494"/>
                  </a:lnTo>
                  <a:lnTo>
                    <a:pt x="1550" y="1490"/>
                  </a:lnTo>
                  <a:lnTo>
                    <a:pt x="1558" y="1482"/>
                  </a:lnTo>
                  <a:lnTo>
                    <a:pt x="1566" y="1474"/>
                  </a:lnTo>
                  <a:lnTo>
                    <a:pt x="1574" y="1466"/>
                  </a:lnTo>
                  <a:lnTo>
                    <a:pt x="1584" y="1460"/>
                  </a:lnTo>
                  <a:lnTo>
                    <a:pt x="1588" y="1460"/>
                  </a:lnTo>
                  <a:lnTo>
                    <a:pt x="1594" y="1460"/>
                  </a:lnTo>
                  <a:lnTo>
                    <a:pt x="1600" y="1460"/>
                  </a:lnTo>
                  <a:lnTo>
                    <a:pt x="1606" y="1464"/>
                  </a:lnTo>
                  <a:lnTo>
                    <a:pt x="1606" y="1464"/>
                  </a:lnTo>
                  <a:lnTo>
                    <a:pt x="1608" y="1470"/>
                  </a:lnTo>
                  <a:lnTo>
                    <a:pt x="1608" y="1476"/>
                  </a:lnTo>
                  <a:lnTo>
                    <a:pt x="1606" y="1480"/>
                  </a:lnTo>
                  <a:lnTo>
                    <a:pt x="1604" y="1486"/>
                  </a:lnTo>
                  <a:lnTo>
                    <a:pt x="1598" y="1490"/>
                  </a:lnTo>
                  <a:lnTo>
                    <a:pt x="1592" y="1492"/>
                  </a:lnTo>
                  <a:lnTo>
                    <a:pt x="1586" y="1496"/>
                  </a:lnTo>
                  <a:lnTo>
                    <a:pt x="1578" y="1496"/>
                  </a:lnTo>
                  <a:lnTo>
                    <a:pt x="1578" y="1496"/>
                  </a:lnTo>
                  <a:lnTo>
                    <a:pt x="1588" y="1502"/>
                  </a:lnTo>
                  <a:lnTo>
                    <a:pt x="1596" y="1504"/>
                  </a:lnTo>
                  <a:lnTo>
                    <a:pt x="1602" y="1502"/>
                  </a:lnTo>
                  <a:lnTo>
                    <a:pt x="1610" y="1498"/>
                  </a:lnTo>
                  <a:lnTo>
                    <a:pt x="1624" y="1486"/>
                  </a:lnTo>
                  <a:lnTo>
                    <a:pt x="1632" y="1482"/>
                  </a:lnTo>
                  <a:lnTo>
                    <a:pt x="1640" y="1478"/>
                  </a:lnTo>
                  <a:lnTo>
                    <a:pt x="1640" y="1478"/>
                  </a:lnTo>
                  <a:lnTo>
                    <a:pt x="1652" y="1482"/>
                  </a:lnTo>
                  <a:lnTo>
                    <a:pt x="1664" y="1488"/>
                  </a:lnTo>
                  <a:lnTo>
                    <a:pt x="1686" y="1500"/>
                  </a:lnTo>
                  <a:lnTo>
                    <a:pt x="1686" y="1500"/>
                  </a:lnTo>
                  <a:lnTo>
                    <a:pt x="1686" y="1508"/>
                  </a:lnTo>
                  <a:lnTo>
                    <a:pt x="1682" y="1512"/>
                  </a:lnTo>
                  <a:lnTo>
                    <a:pt x="1680" y="1516"/>
                  </a:lnTo>
                  <a:lnTo>
                    <a:pt x="1682" y="1524"/>
                  </a:lnTo>
                  <a:lnTo>
                    <a:pt x="1682" y="1524"/>
                  </a:lnTo>
                  <a:lnTo>
                    <a:pt x="1690" y="1522"/>
                  </a:lnTo>
                  <a:lnTo>
                    <a:pt x="1702" y="1520"/>
                  </a:lnTo>
                  <a:lnTo>
                    <a:pt x="1728" y="1518"/>
                  </a:lnTo>
                  <a:lnTo>
                    <a:pt x="1758" y="1520"/>
                  </a:lnTo>
                  <a:lnTo>
                    <a:pt x="1788" y="1524"/>
                  </a:lnTo>
                  <a:lnTo>
                    <a:pt x="1788" y="1524"/>
                  </a:lnTo>
                  <a:lnTo>
                    <a:pt x="1794" y="1536"/>
                  </a:lnTo>
                  <a:lnTo>
                    <a:pt x="1802" y="1544"/>
                  </a:lnTo>
                  <a:lnTo>
                    <a:pt x="1810" y="1552"/>
                  </a:lnTo>
                  <a:lnTo>
                    <a:pt x="1822" y="1558"/>
                  </a:lnTo>
                  <a:lnTo>
                    <a:pt x="1832" y="1564"/>
                  </a:lnTo>
                  <a:lnTo>
                    <a:pt x="1846" y="1568"/>
                  </a:lnTo>
                  <a:lnTo>
                    <a:pt x="1872" y="1576"/>
                  </a:lnTo>
                  <a:lnTo>
                    <a:pt x="1872" y="1576"/>
                  </a:lnTo>
                  <a:lnTo>
                    <a:pt x="1876" y="1588"/>
                  </a:lnTo>
                  <a:lnTo>
                    <a:pt x="1878" y="1602"/>
                  </a:lnTo>
                  <a:lnTo>
                    <a:pt x="1878" y="1614"/>
                  </a:lnTo>
                  <a:lnTo>
                    <a:pt x="1876" y="1624"/>
                  </a:lnTo>
                  <a:lnTo>
                    <a:pt x="1874" y="1636"/>
                  </a:lnTo>
                  <a:lnTo>
                    <a:pt x="1870" y="1646"/>
                  </a:lnTo>
                  <a:lnTo>
                    <a:pt x="1858" y="1666"/>
                  </a:lnTo>
                  <a:lnTo>
                    <a:pt x="1844" y="1686"/>
                  </a:lnTo>
                  <a:lnTo>
                    <a:pt x="1830" y="1704"/>
                  </a:lnTo>
                  <a:lnTo>
                    <a:pt x="1814" y="1722"/>
                  </a:lnTo>
                  <a:lnTo>
                    <a:pt x="1802" y="1738"/>
                  </a:lnTo>
                  <a:lnTo>
                    <a:pt x="1802" y="1738"/>
                  </a:lnTo>
                  <a:lnTo>
                    <a:pt x="1804" y="1770"/>
                  </a:lnTo>
                  <a:lnTo>
                    <a:pt x="1804" y="1800"/>
                  </a:lnTo>
                  <a:lnTo>
                    <a:pt x="1802" y="1832"/>
                  </a:lnTo>
                  <a:lnTo>
                    <a:pt x="1796" y="1860"/>
                  </a:lnTo>
                  <a:lnTo>
                    <a:pt x="1788" y="1888"/>
                  </a:lnTo>
                  <a:lnTo>
                    <a:pt x="1778" y="1912"/>
                  </a:lnTo>
                  <a:lnTo>
                    <a:pt x="1772" y="1922"/>
                  </a:lnTo>
                  <a:lnTo>
                    <a:pt x="1764" y="1932"/>
                  </a:lnTo>
                  <a:lnTo>
                    <a:pt x="1756" y="1940"/>
                  </a:lnTo>
                  <a:lnTo>
                    <a:pt x="1746" y="1948"/>
                  </a:lnTo>
                  <a:lnTo>
                    <a:pt x="1746" y="1948"/>
                  </a:lnTo>
                  <a:lnTo>
                    <a:pt x="1730" y="1946"/>
                  </a:lnTo>
                  <a:lnTo>
                    <a:pt x="1714" y="1950"/>
                  </a:lnTo>
                  <a:lnTo>
                    <a:pt x="1700" y="1954"/>
                  </a:lnTo>
                  <a:lnTo>
                    <a:pt x="1686" y="1962"/>
                  </a:lnTo>
                  <a:lnTo>
                    <a:pt x="1672" y="1970"/>
                  </a:lnTo>
                  <a:lnTo>
                    <a:pt x="1660" y="1980"/>
                  </a:lnTo>
                  <a:lnTo>
                    <a:pt x="1640" y="2000"/>
                  </a:lnTo>
                  <a:lnTo>
                    <a:pt x="1640" y="2000"/>
                  </a:lnTo>
                  <a:lnTo>
                    <a:pt x="1642" y="2014"/>
                  </a:lnTo>
                  <a:lnTo>
                    <a:pt x="1642" y="2028"/>
                  </a:lnTo>
                  <a:lnTo>
                    <a:pt x="1642" y="2042"/>
                  </a:lnTo>
                  <a:lnTo>
                    <a:pt x="1640" y="2056"/>
                  </a:lnTo>
                  <a:lnTo>
                    <a:pt x="1632" y="2082"/>
                  </a:lnTo>
                  <a:lnTo>
                    <a:pt x="1620" y="2108"/>
                  </a:lnTo>
                  <a:lnTo>
                    <a:pt x="1606" y="2134"/>
                  </a:lnTo>
                  <a:lnTo>
                    <a:pt x="1590" y="2156"/>
                  </a:lnTo>
                  <a:lnTo>
                    <a:pt x="1572" y="2178"/>
                  </a:lnTo>
                  <a:lnTo>
                    <a:pt x="1556" y="2196"/>
                  </a:lnTo>
                  <a:lnTo>
                    <a:pt x="1556" y="2196"/>
                  </a:lnTo>
                  <a:lnTo>
                    <a:pt x="1546" y="2194"/>
                  </a:lnTo>
                  <a:lnTo>
                    <a:pt x="1538" y="2194"/>
                  </a:lnTo>
                  <a:lnTo>
                    <a:pt x="1524" y="2188"/>
                  </a:lnTo>
                  <a:lnTo>
                    <a:pt x="1510" y="2182"/>
                  </a:lnTo>
                  <a:lnTo>
                    <a:pt x="1500" y="2180"/>
                  </a:lnTo>
                  <a:lnTo>
                    <a:pt x="1490" y="2182"/>
                  </a:lnTo>
                  <a:lnTo>
                    <a:pt x="1490" y="2182"/>
                  </a:lnTo>
                  <a:lnTo>
                    <a:pt x="1496" y="2188"/>
                  </a:lnTo>
                  <a:lnTo>
                    <a:pt x="1502" y="2196"/>
                  </a:lnTo>
                  <a:lnTo>
                    <a:pt x="1516" y="2210"/>
                  </a:lnTo>
                  <a:lnTo>
                    <a:pt x="1522" y="2218"/>
                  </a:lnTo>
                  <a:lnTo>
                    <a:pt x="1526" y="2226"/>
                  </a:lnTo>
                  <a:lnTo>
                    <a:pt x="1530" y="2234"/>
                  </a:lnTo>
                  <a:lnTo>
                    <a:pt x="1532" y="2246"/>
                  </a:lnTo>
                  <a:lnTo>
                    <a:pt x="1532" y="2246"/>
                  </a:lnTo>
                  <a:lnTo>
                    <a:pt x="1526" y="2254"/>
                  </a:lnTo>
                  <a:lnTo>
                    <a:pt x="1520" y="2262"/>
                  </a:lnTo>
                  <a:lnTo>
                    <a:pt x="1512" y="2268"/>
                  </a:lnTo>
                  <a:lnTo>
                    <a:pt x="1504" y="2274"/>
                  </a:lnTo>
                  <a:lnTo>
                    <a:pt x="1492" y="2276"/>
                  </a:lnTo>
                  <a:lnTo>
                    <a:pt x="1480" y="2280"/>
                  </a:lnTo>
                  <a:lnTo>
                    <a:pt x="1468" y="2280"/>
                  </a:lnTo>
                  <a:lnTo>
                    <a:pt x="1452" y="2278"/>
                  </a:lnTo>
                  <a:lnTo>
                    <a:pt x="1452" y="2278"/>
                  </a:lnTo>
                  <a:lnTo>
                    <a:pt x="1452" y="2286"/>
                  </a:lnTo>
                  <a:lnTo>
                    <a:pt x="1452" y="2292"/>
                  </a:lnTo>
                  <a:lnTo>
                    <a:pt x="1454" y="2304"/>
                  </a:lnTo>
                  <a:lnTo>
                    <a:pt x="1454" y="2310"/>
                  </a:lnTo>
                  <a:lnTo>
                    <a:pt x="1454" y="2316"/>
                  </a:lnTo>
                  <a:lnTo>
                    <a:pt x="1452" y="2322"/>
                  </a:lnTo>
                  <a:lnTo>
                    <a:pt x="1448" y="2330"/>
                  </a:lnTo>
                  <a:lnTo>
                    <a:pt x="1448" y="2330"/>
                  </a:lnTo>
                  <a:lnTo>
                    <a:pt x="1438" y="2328"/>
                  </a:lnTo>
                  <a:lnTo>
                    <a:pt x="1430" y="2324"/>
                  </a:lnTo>
                  <a:lnTo>
                    <a:pt x="1422" y="2318"/>
                  </a:lnTo>
                  <a:lnTo>
                    <a:pt x="1410" y="2316"/>
                  </a:lnTo>
                  <a:lnTo>
                    <a:pt x="1410" y="2316"/>
                  </a:lnTo>
                  <a:lnTo>
                    <a:pt x="1408" y="2322"/>
                  </a:lnTo>
                  <a:lnTo>
                    <a:pt x="1408" y="2330"/>
                  </a:lnTo>
                  <a:lnTo>
                    <a:pt x="1410" y="2336"/>
                  </a:lnTo>
                  <a:lnTo>
                    <a:pt x="1414" y="2342"/>
                  </a:lnTo>
                  <a:lnTo>
                    <a:pt x="1418" y="2348"/>
                  </a:lnTo>
                  <a:lnTo>
                    <a:pt x="1424" y="2354"/>
                  </a:lnTo>
                  <a:lnTo>
                    <a:pt x="1432" y="2356"/>
                  </a:lnTo>
                  <a:lnTo>
                    <a:pt x="1438" y="2358"/>
                  </a:lnTo>
                  <a:lnTo>
                    <a:pt x="1438" y="2358"/>
                  </a:lnTo>
                  <a:lnTo>
                    <a:pt x="1434" y="2366"/>
                  </a:lnTo>
                  <a:lnTo>
                    <a:pt x="1430" y="2374"/>
                  </a:lnTo>
                  <a:lnTo>
                    <a:pt x="1424" y="2392"/>
                  </a:lnTo>
                  <a:lnTo>
                    <a:pt x="1418" y="2408"/>
                  </a:lnTo>
                  <a:lnTo>
                    <a:pt x="1414" y="2416"/>
                  </a:lnTo>
                  <a:lnTo>
                    <a:pt x="1406" y="2424"/>
                  </a:lnTo>
                  <a:lnTo>
                    <a:pt x="1406" y="2424"/>
                  </a:lnTo>
                  <a:lnTo>
                    <a:pt x="1410" y="2432"/>
                  </a:lnTo>
                  <a:lnTo>
                    <a:pt x="1414" y="2438"/>
                  </a:lnTo>
                  <a:lnTo>
                    <a:pt x="1424" y="2448"/>
                  </a:lnTo>
                  <a:lnTo>
                    <a:pt x="1436" y="2458"/>
                  </a:lnTo>
                  <a:lnTo>
                    <a:pt x="1440" y="2462"/>
                  </a:lnTo>
                  <a:lnTo>
                    <a:pt x="1444" y="2470"/>
                  </a:lnTo>
                  <a:lnTo>
                    <a:pt x="1444" y="2470"/>
                  </a:lnTo>
                  <a:lnTo>
                    <a:pt x="1440" y="2480"/>
                  </a:lnTo>
                  <a:lnTo>
                    <a:pt x="1436" y="2490"/>
                  </a:lnTo>
                  <a:lnTo>
                    <a:pt x="1426" y="2512"/>
                  </a:lnTo>
                  <a:lnTo>
                    <a:pt x="1424" y="2522"/>
                  </a:lnTo>
                  <a:lnTo>
                    <a:pt x="1422" y="2532"/>
                  </a:lnTo>
                  <a:lnTo>
                    <a:pt x="1426" y="2540"/>
                  </a:lnTo>
                  <a:lnTo>
                    <a:pt x="1434" y="2550"/>
                  </a:lnTo>
                  <a:lnTo>
                    <a:pt x="1434" y="2550"/>
                  </a:lnTo>
                  <a:lnTo>
                    <a:pt x="1428" y="2558"/>
                  </a:lnTo>
                  <a:lnTo>
                    <a:pt x="1422" y="2564"/>
                  </a:lnTo>
                  <a:lnTo>
                    <a:pt x="1416" y="2566"/>
                  </a:lnTo>
                  <a:lnTo>
                    <a:pt x="1408" y="2568"/>
                  </a:lnTo>
                  <a:lnTo>
                    <a:pt x="1392" y="2566"/>
                  </a:lnTo>
                  <a:lnTo>
                    <a:pt x="1384" y="2566"/>
                  </a:lnTo>
                  <a:lnTo>
                    <a:pt x="1374" y="2568"/>
                  </a:lnTo>
                  <a:lnTo>
                    <a:pt x="1374" y="2568"/>
                  </a:lnTo>
                  <a:lnTo>
                    <a:pt x="1356" y="2544"/>
                  </a:lnTo>
                  <a:lnTo>
                    <a:pt x="1336" y="2518"/>
                  </a:lnTo>
                  <a:lnTo>
                    <a:pt x="1328" y="2506"/>
                  </a:lnTo>
                  <a:lnTo>
                    <a:pt x="1320" y="2492"/>
                  </a:lnTo>
                  <a:lnTo>
                    <a:pt x="1314" y="2478"/>
                  </a:lnTo>
                  <a:lnTo>
                    <a:pt x="1308" y="2460"/>
                  </a:lnTo>
                  <a:lnTo>
                    <a:pt x="1308" y="2460"/>
                  </a:lnTo>
                  <a:lnTo>
                    <a:pt x="1304" y="2454"/>
                  </a:lnTo>
                  <a:lnTo>
                    <a:pt x="1298" y="2448"/>
                  </a:lnTo>
                  <a:lnTo>
                    <a:pt x="1290" y="2444"/>
                  </a:lnTo>
                  <a:lnTo>
                    <a:pt x="1280" y="2442"/>
                  </a:lnTo>
                  <a:lnTo>
                    <a:pt x="1280" y="2442"/>
                  </a:lnTo>
                  <a:lnTo>
                    <a:pt x="1286" y="2434"/>
                  </a:lnTo>
                  <a:lnTo>
                    <a:pt x="1294" y="2426"/>
                  </a:lnTo>
                  <a:lnTo>
                    <a:pt x="1300" y="2418"/>
                  </a:lnTo>
                  <a:lnTo>
                    <a:pt x="1304" y="2412"/>
                  </a:lnTo>
                  <a:lnTo>
                    <a:pt x="1304" y="2404"/>
                  </a:lnTo>
                  <a:lnTo>
                    <a:pt x="1304" y="2404"/>
                  </a:lnTo>
                  <a:lnTo>
                    <a:pt x="1296" y="2386"/>
                  </a:lnTo>
                  <a:lnTo>
                    <a:pt x="1288" y="2368"/>
                  </a:lnTo>
                  <a:lnTo>
                    <a:pt x="1268" y="2334"/>
                  </a:lnTo>
                  <a:lnTo>
                    <a:pt x="1260" y="2316"/>
                  </a:lnTo>
                  <a:lnTo>
                    <a:pt x="1250" y="2300"/>
                  </a:lnTo>
                  <a:lnTo>
                    <a:pt x="1244" y="2280"/>
                  </a:lnTo>
                  <a:lnTo>
                    <a:pt x="1238" y="2260"/>
                  </a:lnTo>
                  <a:lnTo>
                    <a:pt x="1238" y="2260"/>
                  </a:lnTo>
                  <a:lnTo>
                    <a:pt x="1242" y="2222"/>
                  </a:lnTo>
                  <a:lnTo>
                    <a:pt x="1242" y="2186"/>
                  </a:lnTo>
                  <a:lnTo>
                    <a:pt x="1240" y="2148"/>
                  </a:lnTo>
                  <a:lnTo>
                    <a:pt x="1236" y="2112"/>
                  </a:lnTo>
                  <a:lnTo>
                    <a:pt x="1226" y="2042"/>
                  </a:lnTo>
                  <a:lnTo>
                    <a:pt x="1222" y="2008"/>
                  </a:lnTo>
                  <a:lnTo>
                    <a:pt x="1220" y="1976"/>
                  </a:lnTo>
                  <a:lnTo>
                    <a:pt x="1220" y="1976"/>
                  </a:lnTo>
                  <a:lnTo>
                    <a:pt x="1224" y="1958"/>
                  </a:lnTo>
                  <a:lnTo>
                    <a:pt x="1228" y="1940"/>
                  </a:lnTo>
                  <a:lnTo>
                    <a:pt x="1228" y="1922"/>
                  </a:lnTo>
                  <a:lnTo>
                    <a:pt x="1226" y="1906"/>
                  </a:lnTo>
                  <a:lnTo>
                    <a:pt x="1224" y="1892"/>
                  </a:lnTo>
                  <a:lnTo>
                    <a:pt x="1218" y="1878"/>
                  </a:lnTo>
                  <a:lnTo>
                    <a:pt x="1212" y="1864"/>
                  </a:lnTo>
                  <a:lnTo>
                    <a:pt x="1204" y="1852"/>
                  </a:lnTo>
                  <a:lnTo>
                    <a:pt x="1196" y="1840"/>
                  </a:lnTo>
                  <a:lnTo>
                    <a:pt x="1186" y="1828"/>
                  </a:lnTo>
                  <a:lnTo>
                    <a:pt x="1174" y="1818"/>
                  </a:lnTo>
                  <a:lnTo>
                    <a:pt x="1162" y="1810"/>
                  </a:lnTo>
                  <a:lnTo>
                    <a:pt x="1150" y="1802"/>
                  </a:lnTo>
                  <a:lnTo>
                    <a:pt x="1136" y="1796"/>
                  </a:lnTo>
                  <a:lnTo>
                    <a:pt x="1108" y="1786"/>
                  </a:lnTo>
                  <a:lnTo>
                    <a:pt x="1108" y="1786"/>
                  </a:lnTo>
                  <a:lnTo>
                    <a:pt x="1076" y="1730"/>
                  </a:lnTo>
                  <a:lnTo>
                    <a:pt x="1044" y="1672"/>
                  </a:lnTo>
                  <a:lnTo>
                    <a:pt x="1012" y="1616"/>
                  </a:lnTo>
                  <a:lnTo>
                    <a:pt x="978" y="1562"/>
                  </a:lnTo>
                  <a:lnTo>
                    <a:pt x="978" y="1562"/>
                  </a:lnTo>
                  <a:lnTo>
                    <a:pt x="982" y="1550"/>
                  </a:lnTo>
                  <a:lnTo>
                    <a:pt x="990" y="1538"/>
                  </a:lnTo>
                  <a:lnTo>
                    <a:pt x="996" y="1528"/>
                  </a:lnTo>
                  <a:lnTo>
                    <a:pt x="1006" y="1520"/>
                  </a:lnTo>
                  <a:lnTo>
                    <a:pt x="1006" y="1520"/>
                  </a:lnTo>
                  <a:lnTo>
                    <a:pt x="1004" y="1516"/>
                  </a:lnTo>
                  <a:lnTo>
                    <a:pt x="1002" y="1514"/>
                  </a:lnTo>
                  <a:lnTo>
                    <a:pt x="994" y="1510"/>
                  </a:lnTo>
                  <a:lnTo>
                    <a:pt x="988" y="1506"/>
                  </a:lnTo>
                  <a:lnTo>
                    <a:pt x="984" y="1504"/>
                  </a:lnTo>
                  <a:lnTo>
                    <a:pt x="982" y="1500"/>
                  </a:lnTo>
                  <a:lnTo>
                    <a:pt x="982" y="1500"/>
                  </a:lnTo>
                  <a:lnTo>
                    <a:pt x="984" y="1490"/>
                  </a:lnTo>
                  <a:lnTo>
                    <a:pt x="988" y="1482"/>
                  </a:lnTo>
                  <a:lnTo>
                    <a:pt x="996" y="1464"/>
                  </a:lnTo>
                  <a:lnTo>
                    <a:pt x="1008" y="1446"/>
                  </a:lnTo>
                  <a:lnTo>
                    <a:pt x="1020" y="1430"/>
                  </a:lnTo>
                  <a:lnTo>
                    <a:pt x="1034" y="1412"/>
                  </a:lnTo>
                  <a:lnTo>
                    <a:pt x="1044" y="1394"/>
                  </a:lnTo>
                  <a:lnTo>
                    <a:pt x="1054" y="1376"/>
                  </a:lnTo>
                  <a:lnTo>
                    <a:pt x="1056" y="1366"/>
                  </a:lnTo>
                  <a:lnTo>
                    <a:pt x="1056" y="1356"/>
                  </a:lnTo>
                  <a:lnTo>
                    <a:pt x="1056" y="1356"/>
                  </a:lnTo>
                  <a:lnTo>
                    <a:pt x="1056" y="1346"/>
                  </a:lnTo>
                  <a:lnTo>
                    <a:pt x="1054" y="1336"/>
                  </a:lnTo>
                  <a:lnTo>
                    <a:pt x="1048" y="1318"/>
                  </a:lnTo>
                  <a:lnTo>
                    <a:pt x="1044" y="1310"/>
                  </a:lnTo>
                  <a:lnTo>
                    <a:pt x="1044" y="1302"/>
                  </a:lnTo>
                  <a:lnTo>
                    <a:pt x="1044" y="1294"/>
                  </a:lnTo>
                  <a:lnTo>
                    <a:pt x="1048" y="1286"/>
                  </a:lnTo>
                  <a:lnTo>
                    <a:pt x="1048" y="1286"/>
                  </a:lnTo>
                  <a:lnTo>
                    <a:pt x="1044" y="1282"/>
                  </a:lnTo>
                  <a:lnTo>
                    <a:pt x="1042" y="1278"/>
                  </a:lnTo>
                  <a:lnTo>
                    <a:pt x="1032" y="1274"/>
                  </a:lnTo>
                  <a:lnTo>
                    <a:pt x="1022" y="1272"/>
                  </a:lnTo>
                  <a:lnTo>
                    <a:pt x="1014" y="1274"/>
                  </a:lnTo>
                  <a:lnTo>
                    <a:pt x="1004" y="1278"/>
                  </a:lnTo>
                  <a:lnTo>
                    <a:pt x="998" y="1284"/>
                  </a:lnTo>
                  <a:lnTo>
                    <a:pt x="994" y="1292"/>
                  </a:lnTo>
                  <a:lnTo>
                    <a:pt x="994" y="1296"/>
                  </a:lnTo>
                  <a:lnTo>
                    <a:pt x="996" y="1300"/>
                  </a:lnTo>
                  <a:lnTo>
                    <a:pt x="996" y="1300"/>
                  </a:lnTo>
                  <a:lnTo>
                    <a:pt x="972" y="1294"/>
                  </a:lnTo>
                  <a:lnTo>
                    <a:pt x="950" y="1282"/>
                  </a:lnTo>
                  <a:lnTo>
                    <a:pt x="930" y="1270"/>
                  </a:lnTo>
                  <a:lnTo>
                    <a:pt x="914" y="1254"/>
                  </a:lnTo>
                  <a:lnTo>
                    <a:pt x="900" y="1238"/>
                  </a:lnTo>
                  <a:lnTo>
                    <a:pt x="886" y="1218"/>
                  </a:lnTo>
                  <a:lnTo>
                    <a:pt x="876" y="1198"/>
                  </a:lnTo>
                  <a:lnTo>
                    <a:pt x="866" y="1174"/>
                  </a:lnTo>
                  <a:lnTo>
                    <a:pt x="866" y="1174"/>
                  </a:lnTo>
                  <a:lnTo>
                    <a:pt x="856" y="1178"/>
                  </a:lnTo>
                  <a:lnTo>
                    <a:pt x="848" y="1178"/>
                  </a:lnTo>
                  <a:lnTo>
                    <a:pt x="840" y="1178"/>
                  </a:lnTo>
                  <a:lnTo>
                    <a:pt x="832" y="1176"/>
                  </a:lnTo>
                  <a:lnTo>
                    <a:pt x="814" y="1170"/>
                  </a:lnTo>
                  <a:lnTo>
                    <a:pt x="800" y="1160"/>
                  </a:lnTo>
                  <a:lnTo>
                    <a:pt x="768" y="1136"/>
                  </a:lnTo>
                  <a:lnTo>
                    <a:pt x="754" y="1124"/>
                  </a:lnTo>
                  <a:lnTo>
                    <a:pt x="740" y="1114"/>
                  </a:lnTo>
                  <a:lnTo>
                    <a:pt x="740" y="1114"/>
                  </a:lnTo>
                  <a:lnTo>
                    <a:pt x="726" y="1118"/>
                  </a:lnTo>
                  <a:lnTo>
                    <a:pt x="712" y="1120"/>
                  </a:lnTo>
                  <a:lnTo>
                    <a:pt x="698" y="1120"/>
                  </a:lnTo>
                  <a:lnTo>
                    <a:pt x="684" y="1120"/>
                  </a:lnTo>
                  <a:lnTo>
                    <a:pt x="670" y="1116"/>
                  </a:lnTo>
                  <a:lnTo>
                    <a:pt x="658" y="1112"/>
                  </a:lnTo>
                  <a:lnTo>
                    <a:pt x="630" y="1100"/>
                  </a:lnTo>
                  <a:lnTo>
                    <a:pt x="604" y="1086"/>
                  </a:lnTo>
                  <a:lnTo>
                    <a:pt x="582" y="1068"/>
                  </a:lnTo>
                  <a:lnTo>
                    <a:pt x="562" y="1050"/>
                  </a:lnTo>
                  <a:lnTo>
                    <a:pt x="544" y="1030"/>
                  </a:lnTo>
                  <a:lnTo>
                    <a:pt x="544" y="1030"/>
                  </a:lnTo>
                  <a:lnTo>
                    <a:pt x="548" y="1026"/>
                  </a:lnTo>
                  <a:lnTo>
                    <a:pt x="550" y="1018"/>
                  </a:lnTo>
                  <a:lnTo>
                    <a:pt x="552" y="1010"/>
                  </a:lnTo>
                  <a:lnTo>
                    <a:pt x="554" y="1002"/>
                  </a:lnTo>
                  <a:lnTo>
                    <a:pt x="554" y="1002"/>
                  </a:lnTo>
                  <a:lnTo>
                    <a:pt x="544" y="976"/>
                  </a:lnTo>
                  <a:lnTo>
                    <a:pt x="532" y="954"/>
                  </a:lnTo>
                  <a:lnTo>
                    <a:pt x="516" y="934"/>
                  </a:lnTo>
                  <a:lnTo>
                    <a:pt x="498" y="918"/>
                  </a:lnTo>
                  <a:lnTo>
                    <a:pt x="498" y="918"/>
                  </a:lnTo>
                  <a:lnTo>
                    <a:pt x="500" y="908"/>
                  </a:lnTo>
                  <a:lnTo>
                    <a:pt x="498" y="900"/>
                  </a:lnTo>
                  <a:lnTo>
                    <a:pt x="494" y="890"/>
                  </a:lnTo>
                  <a:lnTo>
                    <a:pt x="488" y="882"/>
                  </a:lnTo>
                  <a:lnTo>
                    <a:pt x="476" y="866"/>
                  </a:lnTo>
                  <a:lnTo>
                    <a:pt x="466" y="848"/>
                  </a:lnTo>
                  <a:lnTo>
                    <a:pt x="466" y="848"/>
                  </a:lnTo>
                  <a:lnTo>
                    <a:pt x="464" y="830"/>
                  </a:lnTo>
                  <a:lnTo>
                    <a:pt x="462" y="812"/>
                  </a:lnTo>
                  <a:lnTo>
                    <a:pt x="458" y="806"/>
                  </a:lnTo>
                  <a:lnTo>
                    <a:pt x="454" y="800"/>
                  </a:lnTo>
                  <a:lnTo>
                    <a:pt x="450" y="796"/>
                  </a:lnTo>
                  <a:lnTo>
                    <a:pt x="442" y="792"/>
                  </a:lnTo>
                  <a:lnTo>
                    <a:pt x="442" y="792"/>
                  </a:lnTo>
                  <a:lnTo>
                    <a:pt x="438" y="792"/>
                  </a:lnTo>
                  <a:lnTo>
                    <a:pt x="434" y="792"/>
                  </a:lnTo>
                  <a:lnTo>
                    <a:pt x="430" y="798"/>
                  </a:lnTo>
                  <a:lnTo>
                    <a:pt x="428" y="804"/>
                  </a:lnTo>
                  <a:lnTo>
                    <a:pt x="426" y="806"/>
                  </a:lnTo>
                  <a:lnTo>
                    <a:pt x="424" y="806"/>
                  </a:lnTo>
                  <a:lnTo>
                    <a:pt x="424" y="806"/>
                  </a:lnTo>
                  <a:lnTo>
                    <a:pt x="436" y="846"/>
                  </a:lnTo>
                  <a:lnTo>
                    <a:pt x="450" y="888"/>
                  </a:lnTo>
                  <a:lnTo>
                    <a:pt x="464" y="928"/>
                  </a:lnTo>
                  <a:lnTo>
                    <a:pt x="470" y="946"/>
                  </a:lnTo>
                  <a:lnTo>
                    <a:pt x="480" y="966"/>
                  </a:lnTo>
                  <a:lnTo>
                    <a:pt x="480" y="966"/>
                  </a:lnTo>
                  <a:lnTo>
                    <a:pt x="472" y="964"/>
                  </a:lnTo>
                  <a:lnTo>
                    <a:pt x="466" y="962"/>
                  </a:lnTo>
                  <a:lnTo>
                    <a:pt x="460" y="960"/>
                  </a:lnTo>
                  <a:lnTo>
                    <a:pt x="456" y="954"/>
                  </a:lnTo>
                  <a:lnTo>
                    <a:pt x="450" y="942"/>
                  </a:lnTo>
                  <a:lnTo>
                    <a:pt x="446" y="928"/>
                  </a:lnTo>
                  <a:lnTo>
                    <a:pt x="442" y="914"/>
                  </a:lnTo>
                  <a:lnTo>
                    <a:pt x="436" y="900"/>
                  </a:lnTo>
                  <a:lnTo>
                    <a:pt x="432" y="894"/>
                  </a:lnTo>
                  <a:lnTo>
                    <a:pt x="426" y="890"/>
                  </a:lnTo>
                  <a:lnTo>
                    <a:pt x="420" y="884"/>
                  </a:lnTo>
                  <a:lnTo>
                    <a:pt x="414" y="882"/>
                  </a:lnTo>
                  <a:lnTo>
                    <a:pt x="414" y="882"/>
                  </a:lnTo>
                  <a:lnTo>
                    <a:pt x="418" y="872"/>
                  </a:lnTo>
                  <a:lnTo>
                    <a:pt x="420" y="862"/>
                  </a:lnTo>
                  <a:lnTo>
                    <a:pt x="420" y="854"/>
                  </a:lnTo>
                  <a:lnTo>
                    <a:pt x="418" y="846"/>
                  </a:lnTo>
                  <a:lnTo>
                    <a:pt x="408" y="828"/>
                  </a:lnTo>
                  <a:lnTo>
                    <a:pt x="400" y="812"/>
                  </a:lnTo>
                  <a:lnTo>
                    <a:pt x="400" y="812"/>
                  </a:lnTo>
                  <a:lnTo>
                    <a:pt x="404" y="798"/>
                  </a:lnTo>
                  <a:lnTo>
                    <a:pt x="404" y="784"/>
                  </a:lnTo>
                  <a:lnTo>
                    <a:pt x="402" y="772"/>
                  </a:lnTo>
                  <a:lnTo>
                    <a:pt x="398" y="762"/>
                  </a:lnTo>
                  <a:lnTo>
                    <a:pt x="394" y="752"/>
                  </a:lnTo>
                  <a:lnTo>
                    <a:pt x="386" y="744"/>
                  </a:lnTo>
                  <a:lnTo>
                    <a:pt x="374" y="740"/>
                  </a:lnTo>
                  <a:lnTo>
                    <a:pt x="362" y="736"/>
                  </a:lnTo>
                  <a:lnTo>
                    <a:pt x="362" y="736"/>
                  </a:lnTo>
                  <a:lnTo>
                    <a:pt x="362" y="724"/>
                  </a:lnTo>
                  <a:lnTo>
                    <a:pt x="358" y="714"/>
                  </a:lnTo>
                  <a:lnTo>
                    <a:pt x="356" y="702"/>
                  </a:lnTo>
                  <a:lnTo>
                    <a:pt x="354" y="690"/>
                  </a:lnTo>
                  <a:lnTo>
                    <a:pt x="354" y="690"/>
                  </a:lnTo>
                  <a:lnTo>
                    <a:pt x="354" y="684"/>
                  </a:lnTo>
                  <a:lnTo>
                    <a:pt x="356" y="678"/>
                  </a:lnTo>
                  <a:lnTo>
                    <a:pt x="358" y="666"/>
                  </a:lnTo>
                  <a:lnTo>
                    <a:pt x="358" y="666"/>
                  </a:lnTo>
                  <a:lnTo>
                    <a:pt x="354" y="654"/>
                  </a:lnTo>
                  <a:lnTo>
                    <a:pt x="348" y="640"/>
                  </a:lnTo>
                  <a:lnTo>
                    <a:pt x="346" y="632"/>
                  </a:lnTo>
                  <a:lnTo>
                    <a:pt x="346" y="624"/>
                  </a:lnTo>
                  <a:lnTo>
                    <a:pt x="346" y="616"/>
                  </a:lnTo>
                  <a:lnTo>
                    <a:pt x="348" y="606"/>
                  </a:lnTo>
                  <a:lnTo>
                    <a:pt x="348" y="606"/>
                  </a:lnTo>
                  <a:lnTo>
                    <a:pt x="356" y="596"/>
                  </a:lnTo>
                  <a:lnTo>
                    <a:pt x="364" y="586"/>
                  </a:lnTo>
                  <a:lnTo>
                    <a:pt x="374" y="572"/>
                  </a:lnTo>
                  <a:lnTo>
                    <a:pt x="378" y="564"/>
                  </a:lnTo>
                  <a:lnTo>
                    <a:pt x="382" y="556"/>
                  </a:lnTo>
                  <a:lnTo>
                    <a:pt x="382" y="556"/>
                  </a:lnTo>
                  <a:lnTo>
                    <a:pt x="386" y="544"/>
                  </a:lnTo>
                  <a:lnTo>
                    <a:pt x="396" y="532"/>
                  </a:lnTo>
                  <a:lnTo>
                    <a:pt x="420" y="506"/>
                  </a:lnTo>
                  <a:lnTo>
                    <a:pt x="432" y="494"/>
                  </a:lnTo>
                  <a:lnTo>
                    <a:pt x="442" y="480"/>
                  </a:lnTo>
                  <a:lnTo>
                    <a:pt x="450" y="466"/>
                  </a:lnTo>
                  <a:lnTo>
                    <a:pt x="456" y="452"/>
                  </a:lnTo>
                  <a:lnTo>
                    <a:pt x="456" y="452"/>
                  </a:lnTo>
                  <a:lnTo>
                    <a:pt x="462" y="452"/>
                  </a:lnTo>
                  <a:lnTo>
                    <a:pt x="466" y="452"/>
                  </a:lnTo>
                  <a:lnTo>
                    <a:pt x="468" y="454"/>
                  </a:lnTo>
                  <a:lnTo>
                    <a:pt x="468" y="458"/>
                  </a:lnTo>
                  <a:lnTo>
                    <a:pt x="466" y="464"/>
                  </a:lnTo>
                  <a:lnTo>
                    <a:pt x="466" y="468"/>
                  </a:lnTo>
                  <a:lnTo>
                    <a:pt x="470" y="472"/>
                  </a:lnTo>
                  <a:lnTo>
                    <a:pt x="470" y="472"/>
                  </a:lnTo>
                  <a:lnTo>
                    <a:pt x="476" y="468"/>
                  </a:lnTo>
                  <a:lnTo>
                    <a:pt x="480" y="464"/>
                  </a:lnTo>
                  <a:lnTo>
                    <a:pt x="488" y="454"/>
                  </a:lnTo>
                  <a:lnTo>
                    <a:pt x="494" y="442"/>
                  </a:lnTo>
                  <a:lnTo>
                    <a:pt x="498" y="438"/>
                  </a:lnTo>
                  <a:lnTo>
                    <a:pt x="502" y="434"/>
                  </a:lnTo>
                  <a:lnTo>
                    <a:pt x="502" y="434"/>
                  </a:lnTo>
                  <a:lnTo>
                    <a:pt x="492" y="418"/>
                  </a:lnTo>
                  <a:lnTo>
                    <a:pt x="482" y="404"/>
                  </a:lnTo>
                  <a:lnTo>
                    <a:pt x="470" y="390"/>
                  </a:lnTo>
                  <a:lnTo>
                    <a:pt x="456" y="378"/>
                  </a:lnTo>
                  <a:lnTo>
                    <a:pt x="456" y="378"/>
                  </a:lnTo>
                  <a:lnTo>
                    <a:pt x="456" y="372"/>
                  </a:lnTo>
                  <a:lnTo>
                    <a:pt x="456" y="368"/>
                  </a:lnTo>
                  <a:lnTo>
                    <a:pt x="460" y="358"/>
                  </a:lnTo>
                  <a:lnTo>
                    <a:pt x="462" y="354"/>
                  </a:lnTo>
                  <a:lnTo>
                    <a:pt x="462" y="348"/>
                  </a:lnTo>
                  <a:lnTo>
                    <a:pt x="460" y="340"/>
                  </a:lnTo>
                  <a:lnTo>
                    <a:pt x="456" y="332"/>
                  </a:lnTo>
                  <a:lnTo>
                    <a:pt x="456" y="332"/>
                  </a:lnTo>
                  <a:lnTo>
                    <a:pt x="460" y="330"/>
                  </a:lnTo>
                  <a:lnTo>
                    <a:pt x="462" y="326"/>
                  </a:lnTo>
                  <a:lnTo>
                    <a:pt x="464" y="318"/>
                  </a:lnTo>
                  <a:lnTo>
                    <a:pt x="466" y="316"/>
                  </a:lnTo>
                  <a:lnTo>
                    <a:pt x="468" y="312"/>
                  </a:lnTo>
                  <a:lnTo>
                    <a:pt x="472" y="312"/>
                  </a:lnTo>
                  <a:lnTo>
                    <a:pt x="480" y="312"/>
                  </a:lnTo>
                  <a:lnTo>
                    <a:pt x="480" y="312"/>
                  </a:lnTo>
                  <a:lnTo>
                    <a:pt x="474" y="308"/>
                  </a:lnTo>
                  <a:lnTo>
                    <a:pt x="470" y="302"/>
                  </a:lnTo>
                  <a:lnTo>
                    <a:pt x="470" y="296"/>
                  </a:lnTo>
                  <a:lnTo>
                    <a:pt x="468" y="288"/>
                  </a:lnTo>
                  <a:lnTo>
                    <a:pt x="468" y="270"/>
                  </a:lnTo>
                  <a:lnTo>
                    <a:pt x="468" y="262"/>
                  </a:lnTo>
                  <a:lnTo>
                    <a:pt x="466" y="252"/>
                  </a:lnTo>
                  <a:lnTo>
                    <a:pt x="466" y="252"/>
                  </a:lnTo>
                  <a:lnTo>
                    <a:pt x="450" y="240"/>
                  </a:lnTo>
                  <a:lnTo>
                    <a:pt x="434" y="230"/>
                  </a:lnTo>
                  <a:lnTo>
                    <a:pt x="416" y="222"/>
                  </a:lnTo>
                  <a:lnTo>
                    <a:pt x="398" y="214"/>
                  </a:lnTo>
                  <a:lnTo>
                    <a:pt x="358" y="202"/>
                  </a:lnTo>
                  <a:lnTo>
                    <a:pt x="316" y="192"/>
                  </a:lnTo>
                  <a:lnTo>
                    <a:pt x="316" y="192"/>
                  </a:lnTo>
                  <a:lnTo>
                    <a:pt x="296" y="200"/>
                  </a:lnTo>
                  <a:lnTo>
                    <a:pt x="274" y="208"/>
                  </a:lnTo>
                  <a:lnTo>
                    <a:pt x="262" y="212"/>
                  </a:lnTo>
                  <a:lnTo>
                    <a:pt x="252" y="212"/>
                  </a:lnTo>
                  <a:lnTo>
                    <a:pt x="242" y="212"/>
                  </a:lnTo>
                  <a:lnTo>
                    <a:pt x="232" y="206"/>
                  </a:lnTo>
                  <a:lnTo>
                    <a:pt x="232" y="206"/>
                  </a:lnTo>
                  <a:lnTo>
                    <a:pt x="176" y="230"/>
                  </a:lnTo>
                  <a:lnTo>
                    <a:pt x="122" y="256"/>
                  </a:lnTo>
                  <a:lnTo>
                    <a:pt x="92" y="268"/>
                  </a:lnTo>
                  <a:lnTo>
                    <a:pt x="64" y="278"/>
                  </a:lnTo>
                  <a:lnTo>
                    <a:pt x="32" y="286"/>
                  </a:lnTo>
                  <a:lnTo>
                    <a:pt x="0" y="294"/>
                  </a:lnTo>
                  <a:lnTo>
                    <a:pt x="0" y="294"/>
                  </a:lnTo>
                  <a:lnTo>
                    <a:pt x="14" y="286"/>
                  </a:lnTo>
                  <a:lnTo>
                    <a:pt x="30" y="280"/>
                  </a:lnTo>
                  <a:lnTo>
                    <a:pt x="62" y="268"/>
                  </a:lnTo>
                  <a:lnTo>
                    <a:pt x="76" y="262"/>
                  </a:lnTo>
                  <a:lnTo>
                    <a:pt x="92" y="254"/>
                  </a:lnTo>
                  <a:lnTo>
                    <a:pt x="104" y="244"/>
                  </a:lnTo>
                  <a:lnTo>
                    <a:pt x="116" y="234"/>
                  </a:lnTo>
                  <a:lnTo>
                    <a:pt x="116" y="234"/>
                  </a:lnTo>
                  <a:lnTo>
                    <a:pt x="110" y="232"/>
                  </a:lnTo>
                  <a:lnTo>
                    <a:pt x="102" y="232"/>
                  </a:lnTo>
                  <a:lnTo>
                    <a:pt x="88" y="234"/>
                  </a:lnTo>
                  <a:lnTo>
                    <a:pt x="82" y="236"/>
                  </a:lnTo>
                  <a:lnTo>
                    <a:pt x="74" y="236"/>
                  </a:lnTo>
                  <a:lnTo>
                    <a:pt x="68" y="234"/>
                  </a:lnTo>
                  <a:lnTo>
                    <a:pt x="60" y="228"/>
                  </a:lnTo>
                  <a:lnTo>
                    <a:pt x="60" y="228"/>
                  </a:lnTo>
                  <a:lnTo>
                    <a:pt x="62" y="224"/>
                  </a:lnTo>
                  <a:lnTo>
                    <a:pt x="66" y="220"/>
                  </a:lnTo>
                  <a:lnTo>
                    <a:pt x="76" y="216"/>
                  </a:lnTo>
                  <a:lnTo>
                    <a:pt x="86" y="210"/>
                  </a:lnTo>
                  <a:lnTo>
                    <a:pt x="90" y="206"/>
                  </a:lnTo>
                  <a:lnTo>
                    <a:pt x="92" y="202"/>
                  </a:lnTo>
                  <a:lnTo>
                    <a:pt x="92" y="202"/>
                  </a:lnTo>
                  <a:lnTo>
                    <a:pt x="92" y="192"/>
                  </a:lnTo>
                  <a:lnTo>
                    <a:pt x="90" y="188"/>
                  </a:lnTo>
                  <a:lnTo>
                    <a:pt x="88" y="182"/>
                  </a:lnTo>
                  <a:lnTo>
                    <a:pt x="88" y="174"/>
                  </a:lnTo>
                  <a:lnTo>
                    <a:pt x="88" y="174"/>
                  </a:lnTo>
                  <a:lnTo>
                    <a:pt x="102" y="166"/>
                  </a:lnTo>
                  <a:lnTo>
                    <a:pt x="120" y="160"/>
                  </a:lnTo>
                  <a:lnTo>
                    <a:pt x="158" y="152"/>
                  </a:lnTo>
                  <a:lnTo>
                    <a:pt x="176" y="148"/>
                  </a:lnTo>
                  <a:lnTo>
                    <a:pt x="194" y="142"/>
                  </a:lnTo>
                  <a:lnTo>
                    <a:pt x="202" y="138"/>
                  </a:lnTo>
                  <a:lnTo>
                    <a:pt x="208" y="134"/>
                  </a:lnTo>
                  <a:lnTo>
                    <a:pt x="214" y="128"/>
                  </a:lnTo>
                  <a:lnTo>
                    <a:pt x="218" y="122"/>
                  </a:lnTo>
                  <a:lnTo>
                    <a:pt x="218" y="122"/>
                  </a:lnTo>
                  <a:lnTo>
                    <a:pt x="210" y="120"/>
                  </a:lnTo>
                  <a:lnTo>
                    <a:pt x="202" y="120"/>
                  </a:lnTo>
                  <a:lnTo>
                    <a:pt x="182" y="124"/>
                  </a:lnTo>
                  <a:lnTo>
                    <a:pt x="174" y="124"/>
                  </a:lnTo>
                  <a:lnTo>
                    <a:pt x="164" y="124"/>
                  </a:lnTo>
                  <a:lnTo>
                    <a:pt x="154" y="122"/>
                  </a:lnTo>
                  <a:lnTo>
                    <a:pt x="144" y="118"/>
                  </a:lnTo>
                  <a:lnTo>
                    <a:pt x="144" y="118"/>
                  </a:lnTo>
                  <a:lnTo>
                    <a:pt x="148" y="112"/>
                  </a:lnTo>
                  <a:lnTo>
                    <a:pt x="154" y="106"/>
                  </a:lnTo>
                  <a:lnTo>
                    <a:pt x="166" y="100"/>
                  </a:lnTo>
                  <a:lnTo>
                    <a:pt x="180" y="98"/>
                  </a:lnTo>
                  <a:lnTo>
                    <a:pt x="196" y="96"/>
                  </a:lnTo>
                  <a:lnTo>
                    <a:pt x="228" y="96"/>
                  </a:lnTo>
                  <a:lnTo>
                    <a:pt x="242" y="94"/>
                  </a:lnTo>
                  <a:lnTo>
                    <a:pt x="256" y="90"/>
                  </a:lnTo>
                  <a:lnTo>
                    <a:pt x="256" y="90"/>
                  </a:lnTo>
                  <a:lnTo>
                    <a:pt x="258" y="84"/>
                  </a:lnTo>
                  <a:lnTo>
                    <a:pt x="258" y="80"/>
                  </a:lnTo>
                  <a:lnTo>
                    <a:pt x="256" y="78"/>
                  </a:lnTo>
                  <a:lnTo>
                    <a:pt x="252" y="74"/>
                  </a:lnTo>
                  <a:lnTo>
                    <a:pt x="244" y="68"/>
                  </a:lnTo>
                  <a:lnTo>
                    <a:pt x="242" y="62"/>
                  </a:lnTo>
                  <a:lnTo>
                    <a:pt x="242" y="56"/>
                  </a:lnTo>
                  <a:lnTo>
                    <a:pt x="242" y="56"/>
                  </a:lnTo>
                  <a:lnTo>
                    <a:pt x="270" y="52"/>
                  </a:lnTo>
                  <a:lnTo>
                    <a:pt x="296" y="44"/>
                  </a:lnTo>
                  <a:lnTo>
                    <a:pt x="348" y="30"/>
                  </a:lnTo>
                  <a:lnTo>
                    <a:pt x="376" y="22"/>
                  </a:lnTo>
                  <a:lnTo>
                    <a:pt x="402" y="16"/>
                  </a:lnTo>
                  <a:lnTo>
                    <a:pt x="432" y="12"/>
                  </a:lnTo>
                  <a:lnTo>
                    <a:pt x="460" y="10"/>
                  </a:lnTo>
                  <a:lnTo>
                    <a:pt x="460" y="10"/>
                  </a:lnTo>
                  <a:lnTo>
                    <a:pt x="494" y="12"/>
                  </a:lnTo>
                  <a:lnTo>
                    <a:pt x="528" y="16"/>
                  </a:lnTo>
                  <a:lnTo>
                    <a:pt x="558" y="24"/>
                  </a:lnTo>
                  <a:lnTo>
                    <a:pt x="590" y="32"/>
                  </a:lnTo>
                  <a:lnTo>
                    <a:pt x="620" y="38"/>
                  </a:lnTo>
                  <a:lnTo>
                    <a:pt x="650" y="44"/>
                  </a:lnTo>
                  <a:lnTo>
                    <a:pt x="680" y="48"/>
                  </a:lnTo>
                  <a:lnTo>
                    <a:pt x="712" y="48"/>
                  </a:lnTo>
                  <a:lnTo>
                    <a:pt x="712" y="48"/>
                  </a:lnTo>
                  <a:lnTo>
                    <a:pt x="740" y="42"/>
                  </a:lnTo>
                  <a:lnTo>
                    <a:pt x="770" y="36"/>
                  </a:lnTo>
                  <a:lnTo>
                    <a:pt x="800" y="28"/>
                  </a:lnTo>
                  <a:lnTo>
                    <a:pt x="814" y="26"/>
                  </a:lnTo>
                  <a:lnTo>
                    <a:pt x="828" y="24"/>
                  </a:lnTo>
                  <a:lnTo>
                    <a:pt x="828" y="24"/>
                  </a:lnTo>
                  <a:lnTo>
                    <a:pt x="844" y="30"/>
                  </a:lnTo>
                  <a:lnTo>
                    <a:pt x="860" y="34"/>
                  </a:lnTo>
                  <a:lnTo>
                    <a:pt x="896" y="38"/>
                  </a:lnTo>
                  <a:lnTo>
                    <a:pt x="936" y="42"/>
                  </a:lnTo>
                  <a:lnTo>
                    <a:pt x="954" y="46"/>
                  </a:lnTo>
                  <a:lnTo>
                    <a:pt x="974" y="52"/>
                  </a:lnTo>
                  <a:lnTo>
                    <a:pt x="974" y="52"/>
                  </a:lnTo>
                  <a:lnTo>
                    <a:pt x="964" y="58"/>
                  </a:lnTo>
                  <a:lnTo>
                    <a:pt x="962" y="62"/>
                  </a:lnTo>
                  <a:lnTo>
                    <a:pt x="962" y="64"/>
                  </a:lnTo>
                  <a:lnTo>
                    <a:pt x="966" y="68"/>
                  </a:lnTo>
                  <a:lnTo>
                    <a:pt x="974" y="70"/>
                  </a:lnTo>
                  <a:lnTo>
                    <a:pt x="986" y="72"/>
                  </a:lnTo>
                  <a:lnTo>
                    <a:pt x="1000" y="70"/>
                  </a:lnTo>
                  <a:lnTo>
                    <a:pt x="1010" y="70"/>
                  </a:lnTo>
                  <a:lnTo>
                    <a:pt x="1020" y="66"/>
                  </a:lnTo>
                  <a:lnTo>
                    <a:pt x="1020" y="66"/>
                  </a:lnTo>
                  <a:lnTo>
                    <a:pt x="1026" y="66"/>
                  </a:lnTo>
                  <a:lnTo>
                    <a:pt x="1030" y="68"/>
                  </a:lnTo>
                  <a:lnTo>
                    <a:pt x="1032" y="72"/>
                  </a:lnTo>
                  <a:lnTo>
                    <a:pt x="1034" y="76"/>
                  </a:lnTo>
                  <a:lnTo>
                    <a:pt x="1038" y="86"/>
                  </a:lnTo>
                  <a:lnTo>
                    <a:pt x="1042" y="94"/>
                  </a:lnTo>
                  <a:lnTo>
                    <a:pt x="1042" y="94"/>
                  </a:lnTo>
                  <a:lnTo>
                    <a:pt x="1048" y="84"/>
                  </a:lnTo>
                  <a:lnTo>
                    <a:pt x="1056" y="78"/>
                  </a:lnTo>
                  <a:lnTo>
                    <a:pt x="1062" y="72"/>
                  </a:lnTo>
                  <a:lnTo>
                    <a:pt x="1070" y="68"/>
                  </a:lnTo>
                  <a:lnTo>
                    <a:pt x="1078" y="66"/>
                  </a:lnTo>
                  <a:lnTo>
                    <a:pt x="1088" y="64"/>
                  </a:lnTo>
                  <a:lnTo>
                    <a:pt x="1106" y="62"/>
                  </a:lnTo>
                  <a:lnTo>
                    <a:pt x="1146" y="66"/>
                  </a:lnTo>
                  <a:lnTo>
                    <a:pt x="1166" y="66"/>
                  </a:lnTo>
                  <a:lnTo>
                    <a:pt x="1188" y="66"/>
                  </a:lnTo>
                  <a:lnTo>
                    <a:pt x="1188" y="66"/>
                  </a:lnTo>
                  <a:lnTo>
                    <a:pt x="1196" y="68"/>
                  </a:lnTo>
                  <a:lnTo>
                    <a:pt x="1204" y="72"/>
                  </a:lnTo>
                  <a:lnTo>
                    <a:pt x="1210" y="78"/>
                  </a:lnTo>
                  <a:lnTo>
                    <a:pt x="1216" y="84"/>
                  </a:lnTo>
                  <a:lnTo>
                    <a:pt x="1216" y="84"/>
                  </a:lnTo>
                  <a:lnTo>
                    <a:pt x="1222" y="78"/>
                  </a:lnTo>
                  <a:lnTo>
                    <a:pt x="1230" y="74"/>
                  </a:lnTo>
                  <a:lnTo>
                    <a:pt x="1248" y="66"/>
                  </a:lnTo>
                  <a:lnTo>
                    <a:pt x="1266" y="58"/>
                  </a:lnTo>
                  <a:lnTo>
                    <a:pt x="1274" y="54"/>
                  </a:lnTo>
                  <a:lnTo>
                    <a:pt x="1280" y="48"/>
                  </a:lnTo>
                  <a:lnTo>
                    <a:pt x="1280" y="48"/>
                  </a:lnTo>
                  <a:lnTo>
                    <a:pt x="1282" y="44"/>
                  </a:lnTo>
                  <a:lnTo>
                    <a:pt x="1284" y="42"/>
                  </a:lnTo>
                  <a:lnTo>
                    <a:pt x="1284" y="38"/>
                  </a:lnTo>
                  <a:lnTo>
                    <a:pt x="1282" y="36"/>
                  </a:lnTo>
                  <a:lnTo>
                    <a:pt x="1276" y="30"/>
                  </a:lnTo>
                  <a:lnTo>
                    <a:pt x="1266" y="28"/>
                  </a:lnTo>
                  <a:lnTo>
                    <a:pt x="1266" y="28"/>
                  </a:lnTo>
                  <a:lnTo>
                    <a:pt x="1278" y="18"/>
                  </a:lnTo>
                  <a:lnTo>
                    <a:pt x="1290" y="10"/>
                  </a:lnTo>
                  <a:lnTo>
                    <a:pt x="1306" y="4"/>
                  </a:lnTo>
                  <a:lnTo>
                    <a:pt x="1322" y="0"/>
                  </a:lnTo>
                  <a:lnTo>
                    <a:pt x="1322" y="0"/>
                  </a:lnTo>
                  <a:close/>
                  <a:moveTo>
                    <a:pt x="1118" y="476"/>
                  </a:moveTo>
                  <a:lnTo>
                    <a:pt x="1118" y="476"/>
                  </a:lnTo>
                  <a:lnTo>
                    <a:pt x="1120" y="466"/>
                  </a:lnTo>
                  <a:lnTo>
                    <a:pt x="1118" y="456"/>
                  </a:lnTo>
                  <a:lnTo>
                    <a:pt x="1116" y="450"/>
                  </a:lnTo>
                  <a:lnTo>
                    <a:pt x="1112" y="444"/>
                  </a:lnTo>
                  <a:lnTo>
                    <a:pt x="1106" y="442"/>
                  </a:lnTo>
                  <a:lnTo>
                    <a:pt x="1100" y="440"/>
                  </a:lnTo>
                  <a:lnTo>
                    <a:pt x="1084" y="438"/>
                  </a:lnTo>
                  <a:lnTo>
                    <a:pt x="1066" y="440"/>
                  </a:lnTo>
                  <a:lnTo>
                    <a:pt x="1048" y="444"/>
                  </a:lnTo>
                  <a:lnTo>
                    <a:pt x="1020" y="452"/>
                  </a:lnTo>
                  <a:lnTo>
                    <a:pt x="1020" y="452"/>
                  </a:lnTo>
                  <a:lnTo>
                    <a:pt x="1022" y="456"/>
                  </a:lnTo>
                  <a:lnTo>
                    <a:pt x="1020" y="458"/>
                  </a:lnTo>
                  <a:lnTo>
                    <a:pt x="1012" y="462"/>
                  </a:lnTo>
                  <a:lnTo>
                    <a:pt x="1002" y="468"/>
                  </a:lnTo>
                  <a:lnTo>
                    <a:pt x="998" y="472"/>
                  </a:lnTo>
                  <a:lnTo>
                    <a:pt x="996" y="476"/>
                  </a:lnTo>
                  <a:lnTo>
                    <a:pt x="996" y="476"/>
                  </a:lnTo>
                  <a:lnTo>
                    <a:pt x="1010" y="478"/>
                  </a:lnTo>
                  <a:lnTo>
                    <a:pt x="1024" y="480"/>
                  </a:lnTo>
                  <a:lnTo>
                    <a:pt x="1054" y="478"/>
                  </a:lnTo>
                  <a:lnTo>
                    <a:pt x="1068" y="478"/>
                  </a:lnTo>
                  <a:lnTo>
                    <a:pt x="1082" y="480"/>
                  </a:lnTo>
                  <a:lnTo>
                    <a:pt x="1096" y="482"/>
                  </a:lnTo>
                  <a:lnTo>
                    <a:pt x="1108" y="490"/>
                  </a:lnTo>
                  <a:lnTo>
                    <a:pt x="1108" y="490"/>
                  </a:lnTo>
                  <a:lnTo>
                    <a:pt x="1096" y="490"/>
                  </a:lnTo>
                  <a:lnTo>
                    <a:pt x="1086" y="492"/>
                  </a:lnTo>
                  <a:lnTo>
                    <a:pt x="1070" y="496"/>
                  </a:lnTo>
                  <a:lnTo>
                    <a:pt x="1056" y="506"/>
                  </a:lnTo>
                  <a:lnTo>
                    <a:pt x="1044" y="518"/>
                  </a:lnTo>
                  <a:lnTo>
                    <a:pt x="1034" y="530"/>
                  </a:lnTo>
                  <a:lnTo>
                    <a:pt x="1026" y="544"/>
                  </a:lnTo>
                  <a:lnTo>
                    <a:pt x="1010" y="574"/>
                  </a:lnTo>
                  <a:lnTo>
                    <a:pt x="1010" y="574"/>
                  </a:lnTo>
                  <a:lnTo>
                    <a:pt x="1016" y="576"/>
                  </a:lnTo>
                  <a:lnTo>
                    <a:pt x="1020" y="580"/>
                  </a:lnTo>
                  <a:lnTo>
                    <a:pt x="1024" y="586"/>
                  </a:lnTo>
                  <a:lnTo>
                    <a:pt x="1028" y="588"/>
                  </a:lnTo>
                  <a:lnTo>
                    <a:pt x="1028" y="588"/>
                  </a:lnTo>
                  <a:lnTo>
                    <a:pt x="1040" y="578"/>
                  </a:lnTo>
                  <a:lnTo>
                    <a:pt x="1048" y="564"/>
                  </a:lnTo>
                  <a:lnTo>
                    <a:pt x="1066" y="532"/>
                  </a:lnTo>
                  <a:lnTo>
                    <a:pt x="1076" y="520"/>
                  </a:lnTo>
                  <a:lnTo>
                    <a:pt x="1082" y="514"/>
                  </a:lnTo>
                  <a:lnTo>
                    <a:pt x="1088" y="510"/>
                  </a:lnTo>
                  <a:lnTo>
                    <a:pt x="1094" y="508"/>
                  </a:lnTo>
                  <a:lnTo>
                    <a:pt x="1102" y="506"/>
                  </a:lnTo>
                  <a:lnTo>
                    <a:pt x="1112" y="506"/>
                  </a:lnTo>
                  <a:lnTo>
                    <a:pt x="1122" y="508"/>
                  </a:lnTo>
                  <a:lnTo>
                    <a:pt x="1122" y="508"/>
                  </a:lnTo>
                  <a:lnTo>
                    <a:pt x="1118" y="516"/>
                  </a:lnTo>
                  <a:lnTo>
                    <a:pt x="1112" y="522"/>
                  </a:lnTo>
                  <a:lnTo>
                    <a:pt x="1106" y="528"/>
                  </a:lnTo>
                  <a:lnTo>
                    <a:pt x="1104" y="536"/>
                  </a:lnTo>
                  <a:lnTo>
                    <a:pt x="1104" y="536"/>
                  </a:lnTo>
                  <a:lnTo>
                    <a:pt x="1108" y="542"/>
                  </a:lnTo>
                  <a:lnTo>
                    <a:pt x="1114" y="546"/>
                  </a:lnTo>
                  <a:lnTo>
                    <a:pt x="1118" y="548"/>
                  </a:lnTo>
                  <a:lnTo>
                    <a:pt x="1124" y="548"/>
                  </a:lnTo>
                  <a:lnTo>
                    <a:pt x="1132" y="544"/>
                  </a:lnTo>
                  <a:lnTo>
                    <a:pt x="1140" y="540"/>
                  </a:lnTo>
                  <a:lnTo>
                    <a:pt x="1148" y="532"/>
                  </a:lnTo>
                  <a:lnTo>
                    <a:pt x="1158" y="526"/>
                  </a:lnTo>
                  <a:lnTo>
                    <a:pt x="1168" y="522"/>
                  </a:lnTo>
                  <a:lnTo>
                    <a:pt x="1172" y="522"/>
                  </a:lnTo>
                  <a:lnTo>
                    <a:pt x="1178" y="522"/>
                  </a:lnTo>
                  <a:lnTo>
                    <a:pt x="1178" y="522"/>
                  </a:lnTo>
                  <a:lnTo>
                    <a:pt x="1180" y="516"/>
                  </a:lnTo>
                  <a:lnTo>
                    <a:pt x="1180" y="510"/>
                  </a:lnTo>
                  <a:lnTo>
                    <a:pt x="1180" y="506"/>
                  </a:lnTo>
                  <a:lnTo>
                    <a:pt x="1176" y="500"/>
                  </a:lnTo>
                  <a:lnTo>
                    <a:pt x="1168" y="492"/>
                  </a:lnTo>
                  <a:lnTo>
                    <a:pt x="1160" y="486"/>
                  </a:lnTo>
                  <a:lnTo>
                    <a:pt x="1160" y="486"/>
                  </a:lnTo>
                  <a:lnTo>
                    <a:pt x="1152" y="486"/>
                  </a:lnTo>
                  <a:lnTo>
                    <a:pt x="1146" y="490"/>
                  </a:lnTo>
                  <a:lnTo>
                    <a:pt x="1140" y="494"/>
                  </a:lnTo>
                  <a:lnTo>
                    <a:pt x="1132" y="494"/>
                  </a:lnTo>
                  <a:lnTo>
                    <a:pt x="1132" y="494"/>
                  </a:lnTo>
                  <a:lnTo>
                    <a:pt x="1128" y="488"/>
                  </a:lnTo>
                  <a:lnTo>
                    <a:pt x="1124" y="486"/>
                  </a:lnTo>
                  <a:lnTo>
                    <a:pt x="1120" y="482"/>
                  </a:lnTo>
                  <a:lnTo>
                    <a:pt x="1118" y="476"/>
                  </a:lnTo>
                  <a:lnTo>
                    <a:pt x="1118" y="476"/>
                  </a:lnTo>
                  <a:close/>
                  <a:moveTo>
                    <a:pt x="1188" y="550"/>
                  </a:moveTo>
                  <a:lnTo>
                    <a:pt x="1188" y="550"/>
                  </a:lnTo>
                  <a:lnTo>
                    <a:pt x="1204" y="550"/>
                  </a:lnTo>
                  <a:lnTo>
                    <a:pt x="1218" y="548"/>
                  </a:lnTo>
                  <a:lnTo>
                    <a:pt x="1228" y="542"/>
                  </a:lnTo>
                  <a:lnTo>
                    <a:pt x="1234" y="532"/>
                  </a:lnTo>
                  <a:lnTo>
                    <a:pt x="1234" y="532"/>
                  </a:lnTo>
                  <a:lnTo>
                    <a:pt x="1220" y="528"/>
                  </a:lnTo>
                  <a:lnTo>
                    <a:pt x="1212" y="528"/>
                  </a:lnTo>
                  <a:lnTo>
                    <a:pt x="1204" y="530"/>
                  </a:lnTo>
                  <a:lnTo>
                    <a:pt x="1198" y="532"/>
                  </a:lnTo>
                  <a:lnTo>
                    <a:pt x="1192" y="536"/>
                  </a:lnTo>
                  <a:lnTo>
                    <a:pt x="1188" y="542"/>
                  </a:lnTo>
                  <a:lnTo>
                    <a:pt x="1188" y="550"/>
                  </a:lnTo>
                  <a:lnTo>
                    <a:pt x="1188" y="550"/>
                  </a:lnTo>
                  <a:close/>
                  <a:moveTo>
                    <a:pt x="1104" y="588"/>
                  </a:moveTo>
                  <a:lnTo>
                    <a:pt x="1104" y="588"/>
                  </a:lnTo>
                  <a:lnTo>
                    <a:pt x="1122" y="586"/>
                  </a:lnTo>
                  <a:lnTo>
                    <a:pt x="1136" y="582"/>
                  </a:lnTo>
                  <a:lnTo>
                    <a:pt x="1150" y="574"/>
                  </a:lnTo>
                  <a:lnTo>
                    <a:pt x="1160" y="564"/>
                  </a:lnTo>
                  <a:lnTo>
                    <a:pt x="1160" y="564"/>
                  </a:lnTo>
                  <a:lnTo>
                    <a:pt x="1154" y="560"/>
                  </a:lnTo>
                  <a:lnTo>
                    <a:pt x="1146" y="558"/>
                  </a:lnTo>
                  <a:lnTo>
                    <a:pt x="1136" y="558"/>
                  </a:lnTo>
                  <a:lnTo>
                    <a:pt x="1128" y="562"/>
                  </a:lnTo>
                  <a:lnTo>
                    <a:pt x="1118" y="566"/>
                  </a:lnTo>
                  <a:lnTo>
                    <a:pt x="1112" y="572"/>
                  </a:lnTo>
                  <a:lnTo>
                    <a:pt x="1106" y="580"/>
                  </a:lnTo>
                  <a:lnTo>
                    <a:pt x="1104" y="588"/>
                  </a:lnTo>
                  <a:lnTo>
                    <a:pt x="1104" y="588"/>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9" name="Freeform 19"/>
            <p:cNvSpPr>
              <a:spLocks/>
            </p:cNvSpPr>
            <p:nvPr/>
          </p:nvSpPr>
          <p:spPr bwMode="auto">
            <a:xfrm>
              <a:off x="3360413" y="1652240"/>
              <a:ext cx="81116" cy="33798"/>
            </a:xfrm>
            <a:custGeom>
              <a:avLst/>
              <a:gdLst>
                <a:gd name="T0" fmla="*/ 48 w 48"/>
                <a:gd name="T1" fmla="*/ 4 h 20"/>
                <a:gd name="T2" fmla="*/ 48 w 48"/>
                <a:gd name="T3" fmla="*/ 4 h 20"/>
                <a:gd name="T4" fmla="*/ 36 w 48"/>
                <a:gd name="T5" fmla="*/ 12 h 20"/>
                <a:gd name="T6" fmla="*/ 24 w 48"/>
                <a:gd name="T7" fmla="*/ 18 h 20"/>
                <a:gd name="T8" fmla="*/ 18 w 48"/>
                <a:gd name="T9" fmla="*/ 20 h 20"/>
                <a:gd name="T10" fmla="*/ 12 w 48"/>
                <a:gd name="T11" fmla="*/ 20 h 20"/>
                <a:gd name="T12" fmla="*/ 6 w 48"/>
                <a:gd name="T13" fmla="*/ 18 h 20"/>
                <a:gd name="T14" fmla="*/ 0 w 48"/>
                <a:gd name="T15" fmla="*/ 14 h 20"/>
                <a:gd name="T16" fmla="*/ 0 w 48"/>
                <a:gd name="T17" fmla="*/ 14 h 20"/>
                <a:gd name="T18" fmla="*/ 10 w 48"/>
                <a:gd name="T19" fmla="*/ 6 h 20"/>
                <a:gd name="T20" fmla="*/ 22 w 48"/>
                <a:gd name="T21" fmla="*/ 0 h 20"/>
                <a:gd name="T22" fmla="*/ 34 w 48"/>
                <a:gd name="T23" fmla="*/ 0 h 20"/>
                <a:gd name="T24" fmla="*/ 40 w 48"/>
                <a:gd name="T25" fmla="*/ 2 h 20"/>
                <a:gd name="T26" fmla="*/ 48 w 48"/>
                <a:gd name="T27" fmla="*/ 4 h 20"/>
                <a:gd name="T28" fmla="*/ 48 w 48"/>
                <a:gd name="T2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0">
                  <a:moveTo>
                    <a:pt x="48" y="4"/>
                  </a:moveTo>
                  <a:lnTo>
                    <a:pt x="48" y="4"/>
                  </a:lnTo>
                  <a:lnTo>
                    <a:pt x="36" y="12"/>
                  </a:lnTo>
                  <a:lnTo>
                    <a:pt x="24" y="18"/>
                  </a:lnTo>
                  <a:lnTo>
                    <a:pt x="18" y="20"/>
                  </a:lnTo>
                  <a:lnTo>
                    <a:pt x="12" y="20"/>
                  </a:lnTo>
                  <a:lnTo>
                    <a:pt x="6" y="18"/>
                  </a:lnTo>
                  <a:lnTo>
                    <a:pt x="0" y="14"/>
                  </a:lnTo>
                  <a:lnTo>
                    <a:pt x="0" y="14"/>
                  </a:lnTo>
                  <a:lnTo>
                    <a:pt x="10" y="6"/>
                  </a:lnTo>
                  <a:lnTo>
                    <a:pt x="22" y="0"/>
                  </a:lnTo>
                  <a:lnTo>
                    <a:pt x="34" y="0"/>
                  </a:lnTo>
                  <a:lnTo>
                    <a:pt x="40" y="2"/>
                  </a:lnTo>
                  <a:lnTo>
                    <a:pt x="48" y="4"/>
                  </a:lnTo>
                  <a:lnTo>
                    <a:pt x="48"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0" name="Freeform 20"/>
            <p:cNvSpPr>
              <a:spLocks/>
            </p:cNvSpPr>
            <p:nvPr/>
          </p:nvSpPr>
          <p:spPr bwMode="auto">
            <a:xfrm>
              <a:off x="5141588" y="1767155"/>
              <a:ext cx="219690" cy="70977"/>
            </a:xfrm>
            <a:custGeom>
              <a:avLst/>
              <a:gdLst>
                <a:gd name="T0" fmla="*/ 130 w 130"/>
                <a:gd name="T1" fmla="*/ 10 h 42"/>
                <a:gd name="T2" fmla="*/ 130 w 130"/>
                <a:gd name="T3" fmla="*/ 10 h 42"/>
                <a:gd name="T4" fmla="*/ 116 w 130"/>
                <a:gd name="T5" fmla="*/ 24 h 42"/>
                <a:gd name="T6" fmla="*/ 102 w 130"/>
                <a:gd name="T7" fmla="*/ 32 h 42"/>
                <a:gd name="T8" fmla="*/ 84 w 130"/>
                <a:gd name="T9" fmla="*/ 38 h 42"/>
                <a:gd name="T10" fmla="*/ 68 w 130"/>
                <a:gd name="T11" fmla="*/ 40 h 42"/>
                <a:gd name="T12" fmla="*/ 48 w 130"/>
                <a:gd name="T13" fmla="*/ 42 h 42"/>
                <a:gd name="T14" fmla="*/ 32 w 130"/>
                <a:gd name="T15" fmla="*/ 40 h 42"/>
                <a:gd name="T16" fmla="*/ 14 w 130"/>
                <a:gd name="T17" fmla="*/ 38 h 42"/>
                <a:gd name="T18" fmla="*/ 0 w 130"/>
                <a:gd name="T19" fmla="*/ 34 h 42"/>
                <a:gd name="T20" fmla="*/ 0 w 130"/>
                <a:gd name="T21" fmla="*/ 34 h 42"/>
                <a:gd name="T22" fmla="*/ 4 w 130"/>
                <a:gd name="T23" fmla="*/ 26 h 42"/>
                <a:gd name="T24" fmla="*/ 10 w 130"/>
                <a:gd name="T25" fmla="*/ 20 h 42"/>
                <a:gd name="T26" fmla="*/ 16 w 130"/>
                <a:gd name="T27" fmla="*/ 16 h 42"/>
                <a:gd name="T28" fmla="*/ 24 w 130"/>
                <a:gd name="T29" fmla="*/ 10 h 42"/>
                <a:gd name="T30" fmla="*/ 40 w 130"/>
                <a:gd name="T31" fmla="*/ 4 h 42"/>
                <a:gd name="T32" fmla="*/ 60 w 130"/>
                <a:gd name="T33" fmla="*/ 0 h 42"/>
                <a:gd name="T34" fmla="*/ 80 w 130"/>
                <a:gd name="T35" fmla="*/ 0 h 42"/>
                <a:gd name="T36" fmla="*/ 98 w 130"/>
                <a:gd name="T37" fmla="*/ 0 h 42"/>
                <a:gd name="T38" fmla="*/ 116 w 130"/>
                <a:gd name="T39" fmla="*/ 4 h 42"/>
                <a:gd name="T40" fmla="*/ 130 w 130"/>
                <a:gd name="T41" fmla="*/ 10 h 42"/>
                <a:gd name="T42" fmla="*/ 130 w 130"/>
                <a:gd name="T43"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42">
                  <a:moveTo>
                    <a:pt x="130" y="10"/>
                  </a:moveTo>
                  <a:lnTo>
                    <a:pt x="130" y="10"/>
                  </a:lnTo>
                  <a:lnTo>
                    <a:pt x="116" y="24"/>
                  </a:lnTo>
                  <a:lnTo>
                    <a:pt x="102" y="32"/>
                  </a:lnTo>
                  <a:lnTo>
                    <a:pt x="84" y="38"/>
                  </a:lnTo>
                  <a:lnTo>
                    <a:pt x="68" y="40"/>
                  </a:lnTo>
                  <a:lnTo>
                    <a:pt x="48" y="42"/>
                  </a:lnTo>
                  <a:lnTo>
                    <a:pt x="32" y="40"/>
                  </a:lnTo>
                  <a:lnTo>
                    <a:pt x="14" y="38"/>
                  </a:lnTo>
                  <a:lnTo>
                    <a:pt x="0" y="34"/>
                  </a:lnTo>
                  <a:lnTo>
                    <a:pt x="0" y="34"/>
                  </a:lnTo>
                  <a:lnTo>
                    <a:pt x="4" y="26"/>
                  </a:lnTo>
                  <a:lnTo>
                    <a:pt x="10" y="20"/>
                  </a:lnTo>
                  <a:lnTo>
                    <a:pt x="16" y="16"/>
                  </a:lnTo>
                  <a:lnTo>
                    <a:pt x="24" y="10"/>
                  </a:lnTo>
                  <a:lnTo>
                    <a:pt x="40" y="4"/>
                  </a:lnTo>
                  <a:lnTo>
                    <a:pt x="60" y="0"/>
                  </a:lnTo>
                  <a:lnTo>
                    <a:pt x="80" y="0"/>
                  </a:lnTo>
                  <a:lnTo>
                    <a:pt x="98" y="0"/>
                  </a:lnTo>
                  <a:lnTo>
                    <a:pt x="116" y="4"/>
                  </a:lnTo>
                  <a:lnTo>
                    <a:pt x="130" y="10"/>
                  </a:lnTo>
                  <a:lnTo>
                    <a:pt x="130" y="1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1" name="Freeform 21"/>
            <p:cNvSpPr>
              <a:spLocks/>
            </p:cNvSpPr>
            <p:nvPr/>
          </p:nvSpPr>
          <p:spPr bwMode="auto">
            <a:xfrm>
              <a:off x="3539545" y="1790814"/>
              <a:ext cx="118294" cy="57457"/>
            </a:xfrm>
            <a:custGeom>
              <a:avLst/>
              <a:gdLst>
                <a:gd name="T0" fmla="*/ 68 w 70"/>
                <a:gd name="T1" fmla="*/ 34 h 34"/>
                <a:gd name="T2" fmla="*/ 68 w 70"/>
                <a:gd name="T3" fmla="*/ 34 h 34"/>
                <a:gd name="T4" fmla="*/ 60 w 70"/>
                <a:gd name="T5" fmla="*/ 28 h 34"/>
                <a:gd name="T6" fmla="*/ 52 w 70"/>
                <a:gd name="T7" fmla="*/ 26 h 34"/>
                <a:gd name="T8" fmla="*/ 44 w 70"/>
                <a:gd name="T9" fmla="*/ 24 h 34"/>
                <a:gd name="T10" fmla="*/ 38 w 70"/>
                <a:gd name="T11" fmla="*/ 22 h 34"/>
                <a:gd name="T12" fmla="*/ 20 w 70"/>
                <a:gd name="T13" fmla="*/ 24 h 34"/>
                <a:gd name="T14" fmla="*/ 2 w 70"/>
                <a:gd name="T15" fmla="*/ 30 h 34"/>
                <a:gd name="T16" fmla="*/ 2 w 70"/>
                <a:gd name="T17" fmla="*/ 30 h 34"/>
                <a:gd name="T18" fmla="*/ 0 w 70"/>
                <a:gd name="T19" fmla="*/ 22 h 34"/>
                <a:gd name="T20" fmla="*/ 2 w 70"/>
                <a:gd name="T21" fmla="*/ 16 h 34"/>
                <a:gd name="T22" fmla="*/ 4 w 70"/>
                <a:gd name="T23" fmla="*/ 12 h 34"/>
                <a:gd name="T24" fmla="*/ 8 w 70"/>
                <a:gd name="T25" fmla="*/ 8 h 34"/>
                <a:gd name="T26" fmla="*/ 14 w 70"/>
                <a:gd name="T27" fmla="*/ 4 h 34"/>
                <a:gd name="T28" fmla="*/ 22 w 70"/>
                <a:gd name="T29" fmla="*/ 2 h 34"/>
                <a:gd name="T30" fmla="*/ 36 w 70"/>
                <a:gd name="T31" fmla="*/ 0 h 34"/>
                <a:gd name="T32" fmla="*/ 52 w 70"/>
                <a:gd name="T33" fmla="*/ 2 h 34"/>
                <a:gd name="T34" fmla="*/ 58 w 70"/>
                <a:gd name="T35" fmla="*/ 4 h 34"/>
                <a:gd name="T36" fmla="*/ 62 w 70"/>
                <a:gd name="T37" fmla="*/ 8 h 34"/>
                <a:gd name="T38" fmla="*/ 66 w 70"/>
                <a:gd name="T39" fmla="*/ 12 h 34"/>
                <a:gd name="T40" fmla="*/ 70 w 70"/>
                <a:gd name="T41" fmla="*/ 18 h 34"/>
                <a:gd name="T42" fmla="*/ 70 w 70"/>
                <a:gd name="T43" fmla="*/ 26 h 34"/>
                <a:gd name="T44" fmla="*/ 68 w 70"/>
                <a:gd name="T45" fmla="*/ 34 h 34"/>
                <a:gd name="T46" fmla="*/ 68 w 70"/>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34">
                  <a:moveTo>
                    <a:pt x="68" y="34"/>
                  </a:moveTo>
                  <a:lnTo>
                    <a:pt x="68" y="34"/>
                  </a:lnTo>
                  <a:lnTo>
                    <a:pt x="60" y="28"/>
                  </a:lnTo>
                  <a:lnTo>
                    <a:pt x="52" y="26"/>
                  </a:lnTo>
                  <a:lnTo>
                    <a:pt x="44" y="24"/>
                  </a:lnTo>
                  <a:lnTo>
                    <a:pt x="38" y="22"/>
                  </a:lnTo>
                  <a:lnTo>
                    <a:pt x="20" y="24"/>
                  </a:lnTo>
                  <a:lnTo>
                    <a:pt x="2" y="30"/>
                  </a:lnTo>
                  <a:lnTo>
                    <a:pt x="2" y="30"/>
                  </a:lnTo>
                  <a:lnTo>
                    <a:pt x="0" y="22"/>
                  </a:lnTo>
                  <a:lnTo>
                    <a:pt x="2" y="16"/>
                  </a:lnTo>
                  <a:lnTo>
                    <a:pt x="4" y="12"/>
                  </a:lnTo>
                  <a:lnTo>
                    <a:pt x="8" y="8"/>
                  </a:lnTo>
                  <a:lnTo>
                    <a:pt x="14" y="4"/>
                  </a:lnTo>
                  <a:lnTo>
                    <a:pt x="22" y="2"/>
                  </a:lnTo>
                  <a:lnTo>
                    <a:pt x="36" y="0"/>
                  </a:lnTo>
                  <a:lnTo>
                    <a:pt x="52" y="2"/>
                  </a:lnTo>
                  <a:lnTo>
                    <a:pt x="58" y="4"/>
                  </a:lnTo>
                  <a:lnTo>
                    <a:pt x="62" y="8"/>
                  </a:lnTo>
                  <a:lnTo>
                    <a:pt x="66" y="12"/>
                  </a:lnTo>
                  <a:lnTo>
                    <a:pt x="70" y="18"/>
                  </a:lnTo>
                  <a:lnTo>
                    <a:pt x="70" y="26"/>
                  </a:lnTo>
                  <a:lnTo>
                    <a:pt x="68" y="34"/>
                  </a:lnTo>
                  <a:lnTo>
                    <a:pt x="68" y="3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2" name="Freeform 22"/>
            <p:cNvSpPr>
              <a:spLocks/>
            </p:cNvSpPr>
            <p:nvPr/>
          </p:nvSpPr>
          <p:spPr bwMode="auto">
            <a:xfrm>
              <a:off x="1535302" y="2020643"/>
              <a:ext cx="77736" cy="30419"/>
            </a:xfrm>
            <a:custGeom>
              <a:avLst/>
              <a:gdLst>
                <a:gd name="T0" fmla="*/ 46 w 46"/>
                <a:gd name="T1" fmla="*/ 0 h 18"/>
                <a:gd name="T2" fmla="*/ 46 w 46"/>
                <a:gd name="T3" fmla="*/ 0 h 18"/>
                <a:gd name="T4" fmla="*/ 42 w 46"/>
                <a:gd name="T5" fmla="*/ 4 h 18"/>
                <a:gd name="T6" fmla="*/ 38 w 46"/>
                <a:gd name="T7" fmla="*/ 8 h 18"/>
                <a:gd name="T8" fmla="*/ 26 w 46"/>
                <a:gd name="T9" fmla="*/ 12 h 18"/>
                <a:gd name="T10" fmla="*/ 12 w 46"/>
                <a:gd name="T11" fmla="*/ 14 h 18"/>
                <a:gd name="T12" fmla="*/ 0 w 46"/>
                <a:gd name="T13" fmla="*/ 18 h 18"/>
                <a:gd name="T14" fmla="*/ 0 w 46"/>
                <a:gd name="T15" fmla="*/ 18 h 18"/>
                <a:gd name="T16" fmla="*/ 4 w 46"/>
                <a:gd name="T17" fmla="*/ 14 h 18"/>
                <a:gd name="T18" fmla="*/ 8 w 46"/>
                <a:gd name="T19" fmla="*/ 10 h 18"/>
                <a:gd name="T20" fmla="*/ 20 w 46"/>
                <a:gd name="T21" fmla="*/ 6 h 18"/>
                <a:gd name="T22" fmla="*/ 34 w 46"/>
                <a:gd name="T23" fmla="*/ 4 h 18"/>
                <a:gd name="T24" fmla="*/ 46 w 46"/>
                <a:gd name="T25" fmla="*/ 0 h 18"/>
                <a:gd name="T26" fmla="*/ 46 w 46"/>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8">
                  <a:moveTo>
                    <a:pt x="46" y="0"/>
                  </a:moveTo>
                  <a:lnTo>
                    <a:pt x="46" y="0"/>
                  </a:lnTo>
                  <a:lnTo>
                    <a:pt x="42" y="4"/>
                  </a:lnTo>
                  <a:lnTo>
                    <a:pt x="38" y="8"/>
                  </a:lnTo>
                  <a:lnTo>
                    <a:pt x="26" y="12"/>
                  </a:lnTo>
                  <a:lnTo>
                    <a:pt x="12" y="14"/>
                  </a:lnTo>
                  <a:lnTo>
                    <a:pt x="0" y="18"/>
                  </a:lnTo>
                  <a:lnTo>
                    <a:pt x="0" y="18"/>
                  </a:lnTo>
                  <a:lnTo>
                    <a:pt x="4" y="14"/>
                  </a:lnTo>
                  <a:lnTo>
                    <a:pt x="8" y="10"/>
                  </a:lnTo>
                  <a:lnTo>
                    <a:pt x="20" y="6"/>
                  </a:lnTo>
                  <a:lnTo>
                    <a:pt x="34" y="4"/>
                  </a:lnTo>
                  <a:lnTo>
                    <a:pt x="46" y="0"/>
                  </a:lnTo>
                  <a:lnTo>
                    <a:pt x="4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3" name="Freeform 23"/>
            <p:cNvSpPr>
              <a:spLocks/>
            </p:cNvSpPr>
            <p:nvPr/>
          </p:nvSpPr>
          <p:spPr bwMode="auto">
            <a:xfrm>
              <a:off x="5526891" y="2020643"/>
              <a:ext cx="196031" cy="260247"/>
            </a:xfrm>
            <a:custGeom>
              <a:avLst/>
              <a:gdLst>
                <a:gd name="T0" fmla="*/ 28 w 116"/>
                <a:gd name="T1" fmla="*/ 0 h 154"/>
                <a:gd name="T2" fmla="*/ 34 w 116"/>
                <a:gd name="T3" fmla="*/ 4 h 154"/>
                <a:gd name="T4" fmla="*/ 38 w 116"/>
                <a:gd name="T5" fmla="*/ 12 h 154"/>
                <a:gd name="T6" fmla="*/ 46 w 116"/>
                <a:gd name="T7" fmla="*/ 16 h 154"/>
                <a:gd name="T8" fmla="*/ 56 w 116"/>
                <a:gd name="T9" fmla="*/ 14 h 154"/>
                <a:gd name="T10" fmla="*/ 38 w 116"/>
                <a:gd name="T11" fmla="*/ 32 h 154"/>
                <a:gd name="T12" fmla="*/ 48 w 116"/>
                <a:gd name="T13" fmla="*/ 38 h 154"/>
                <a:gd name="T14" fmla="*/ 64 w 116"/>
                <a:gd name="T15" fmla="*/ 54 h 154"/>
                <a:gd name="T16" fmla="*/ 84 w 116"/>
                <a:gd name="T17" fmla="*/ 84 h 154"/>
                <a:gd name="T18" fmla="*/ 94 w 116"/>
                <a:gd name="T19" fmla="*/ 108 h 154"/>
                <a:gd name="T20" fmla="*/ 104 w 116"/>
                <a:gd name="T21" fmla="*/ 102 h 154"/>
                <a:gd name="T22" fmla="*/ 116 w 116"/>
                <a:gd name="T23" fmla="*/ 108 h 154"/>
                <a:gd name="T24" fmla="*/ 114 w 116"/>
                <a:gd name="T25" fmla="*/ 112 h 154"/>
                <a:gd name="T26" fmla="*/ 100 w 116"/>
                <a:gd name="T27" fmla="*/ 122 h 154"/>
                <a:gd name="T28" fmla="*/ 94 w 116"/>
                <a:gd name="T29" fmla="*/ 128 h 154"/>
                <a:gd name="T30" fmla="*/ 102 w 116"/>
                <a:gd name="T31" fmla="*/ 136 h 154"/>
                <a:gd name="T32" fmla="*/ 78 w 116"/>
                <a:gd name="T33" fmla="*/ 140 h 154"/>
                <a:gd name="T34" fmla="*/ 26 w 116"/>
                <a:gd name="T35" fmla="*/ 150 h 154"/>
                <a:gd name="T36" fmla="*/ 0 w 116"/>
                <a:gd name="T37" fmla="*/ 154 h 154"/>
                <a:gd name="T38" fmla="*/ 8 w 116"/>
                <a:gd name="T39" fmla="*/ 148 h 154"/>
                <a:gd name="T40" fmla="*/ 32 w 116"/>
                <a:gd name="T41" fmla="*/ 140 h 154"/>
                <a:gd name="T42" fmla="*/ 42 w 116"/>
                <a:gd name="T43" fmla="*/ 136 h 154"/>
                <a:gd name="T44" fmla="*/ 38 w 116"/>
                <a:gd name="T45" fmla="*/ 128 h 154"/>
                <a:gd name="T46" fmla="*/ 18 w 116"/>
                <a:gd name="T47" fmla="*/ 124 h 154"/>
                <a:gd name="T48" fmla="*/ 10 w 116"/>
                <a:gd name="T49" fmla="*/ 122 h 154"/>
                <a:gd name="T50" fmla="*/ 20 w 116"/>
                <a:gd name="T51" fmla="*/ 112 h 154"/>
                <a:gd name="T52" fmla="*/ 24 w 116"/>
                <a:gd name="T53" fmla="*/ 108 h 154"/>
                <a:gd name="T54" fmla="*/ 18 w 116"/>
                <a:gd name="T55" fmla="*/ 102 h 154"/>
                <a:gd name="T56" fmla="*/ 20 w 116"/>
                <a:gd name="T57" fmla="*/ 100 h 154"/>
                <a:gd name="T58" fmla="*/ 32 w 116"/>
                <a:gd name="T59" fmla="*/ 94 h 154"/>
                <a:gd name="T60" fmla="*/ 46 w 116"/>
                <a:gd name="T61" fmla="*/ 88 h 154"/>
                <a:gd name="T62" fmla="*/ 46 w 116"/>
                <a:gd name="T63" fmla="*/ 80 h 154"/>
                <a:gd name="T64" fmla="*/ 38 w 116"/>
                <a:gd name="T65" fmla="*/ 56 h 154"/>
                <a:gd name="T66" fmla="*/ 26 w 116"/>
                <a:gd name="T67" fmla="*/ 58 h 154"/>
                <a:gd name="T68" fmla="*/ 14 w 116"/>
                <a:gd name="T69" fmla="*/ 56 h 154"/>
                <a:gd name="T70" fmla="*/ 12 w 116"/>
                <a:gd name="T71" fmla="*/ 26 h 154"/>
                <a:gd name="T72" fmla="*/ 16 w 116"/>
                <a:gd name="T73" fmla="*/ 12 h 154"/>
                <a:gd name="T74" fmla="*/ 28 w 116"/>
                <a:gd name="T7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54">
                  <a:moveTo>
                    <a:pt x="28" y="0"/>
                  </a:moveTo>
                  <a:lnTo>
                    <a:pt x="28" y="0"/>
                  </a:lnTo>
                  <a:lnTo>
                    <a:pt x="32" y="2"/>
                  </a:lnTo>
                  <a:lnTo>
                    <a:pt x="34" y="4"/>
                  </a:lnTo>
                  <a:lnTo>
                    <a:pt x="36" y="10"/>
                  </a:lnTo>
                  <a:lnTo>
                    <a:pt x="38" y="12"/>
                  </a:lnTo>
                  <a:lnTo>
                    <a:pt x="42" y="14"/>
                  </a:lnTo>
                  <a:lnTo>
                    <a:pt x="46" y="16"/>
                  </a:lnTo>
                  <a:lnTo>
                    <a:pt x="56" y="14"/>
                  </a:lnTo>
                  <a:lnTo>
                    <a:pt x="56" y="14"/>
                  </a:lnTo>
                  <a:lnTo>
                    <a:pt x="48" y="26"/>
                  </a:lnTo>
                  <a:lnTo>
                    <a:pt x="38" y="32"/>
                  </a:lnTo>
                  <a:lnTo>
                    <a:pt x="38" y="32"/>
                  </a:lnTo>
                  <a:lnTo>
                    <a:pt x="48" y="38"/>
                  </a:lnTo>
                  <a:lnTo>
                    <a:pt x="56" y="46"/>
                  </a:lnTo>
                  <a:lnTo>
                    <a:pt x="64" y="54"/>
                  </a:lnTo>
                  <a:lnTo>
                    <a:pt x="72" y="64"/>
                  </a:lnTo>
                  <a:lnTo>
                    <a:pt x="84" y="84"/>
                  </a:lnTo>
                  <a:lnTo>
                    <a:pt x="94" y="108"/>
                  </a:lnTo>
                  <a:lnTo>
                    <a:pt x="94" y="108"/>
                  </a:lnTo>
                  <a:lnTo>
                    <a:pt x="98" y="104"/>
                  </a:lnTo>
                  <a:lnTo>
                    <a:pt x="104" y="102"/>
                  </a:lnTo>
                  <a:lnTo>
                    <a:pt x="112" y="104"/>
                  </a:lnTo>
                  <a:lnTo>
                    <a:pt x="116" y="108"/>
                  </a:lnTo>
                  <a:lnTo>
                    <a:pt x="116" y="108"/>
                  </a:lnTo>
                  <a:lnTo>
                    <a:pt x="114" y="112"/>
                  </a:lnTo>
                  <a:lnTo>
                    <a:pt x="110" y="116"/>
                  </a:lnTo>
                  <a:lnTo>
                    <a:pt x="100" y="122"/>
                  </a:lnTo>
                  <a:lnTo>
                    <a:pt x="96" y="126"/>
                  </a:lnTo>
                  <a:lnTo>
                    <a:pt x="94" y="128"/>
                  </a:lnTo>
                  <a:lnTo>
                    <a:pt x="96" y="132"/>
                  </a:lnTo>
                  <a:lnTo>
                    <a:pt x="102" y="136"/>
                  </a:lnTo>
                  <a:lnTo>
                    <a:pt x="102" y="136"/>
                  </a:lnTo>
                  <a:lnTo>
                    <a:pt x="78" y="140"/>
                  </a:lnTo>
                  <a:lnTo>
                    <a:pt x="52" y="144"/>
                  </a:lnTo>
                  <a:lnTo>
                    <a:pt x="26" y="150"/>
                  </a:lnTo>
                  <a:lnTo>
                    <a:pt x="0" y="154"/>
                  </a:lnTo>
                  <a:lnTo>
                    <a:pt x="0" y="154"/>
                  </a:lnTo>
                  <a:lnTo>
                    <a:pt x="4" y="150"/>
                  </a:lnTo>
                  <a:lnTo>
                    <a:pt x="8" y="148"/>
                  </a:lnTo>
                  <a:lnTo>
                    <a:pt x="20" y="144"/>
                  </a:lnTo>
                  <a:lnTo>
                    <a:pt x="32" y="140"/>
                  </a:lnTo>
                  <a:lnTo>
                    <a:pt x="42" y="136"/>
                  </a:lnTo>
                  <a:lnTo>
                    <a:pt x="42" y="136"/>
                  </a:lnTo>
                  <a:lnTo>
                    <a:pt x="40" y="132"/>
                  </a:lnTo>
                  <a:lnTo>
                    <a:pt x="38" y="128"/>
                  </a:lnTo>
                  <a:lnTo>
                    <a:pt x="28" y="126"/>
                  </a:lnTo>
                  <a:lnTo>
                    <a:pt x="18" y="124"/>
                  </a:lnTo>
                  <a:lnTo>
                    <a:pt x="10" y="122"/>
                  </a:lnTo>
                  <a:lnTo>
                    <a:pt x="10" y="122"/>
                  </a:lnTo>
                  <a:lnTo>
                    <a:pt x="14" y="118"/>
                  </a:lnTo>
                  <a:lnTo>
                    <a:pt x="20" y="112"/>
                  </a:lnTo>
                  <a:lnTo>
                    <a:pt x="22" y="110"/>
                  </a:lnTo>
                  <a:lnTo>
                    <a:pt x="24" y="108"/>
                  </a:lnTo>
                  <a:lnTo>
                    <a:pt x="22" y="106"/>
                  </a:lnTo>
                  <a:lnTo>
                    <a:pt x="18" y="102"/>
                  </a:lnTo>
                  <a:lnTo>
                    <a:pt x="18" y="102"/>
                  </a:lnTo>
                  <a:lnTo>
                    <a:pt x="20" y="100"/>
                  </a:lnTo>
                  <a:lnTo>
                    <a:pt x="24" y="98"/>
                  </a:lnTo>
                  <a:lnTo>
                    <a:pt x="32" y="94"/>
                  </a:lnTo>
                  <a:lnTo>
                    <a:pt x="40" y="92"/>
                  </a:lnTo>
                  <a:lnTo>
                    <a:pt x="46" y="88"/>
                  </a:lnTo>
                  <a:lnTo>
                    <a:pt x="46" y="88"/>
                  </a:lnTo>
                  <a:lnTo>
                    <a:pt x="46" y="80"/>
                  </a:lnTo>
                  <a:lnTo>
                    <a:pt x="44" y="70"/>
                  </a:lnTo>
                  <a:lnTo>
                    <a:pt x="38" y="56"/>
                  </a:lnTo>
                  <a:lnTo>
                    <a:pt x="38" y="56"/>
                  </a:lnTo>
                  <a:lnTo>
                    <a:pt x="26" y="58"/>
                  </a:lnTo>
                  <a:lnTo>
                    <a:pt x="14" y="56"/>
                  </a:lnTo>
                  <a:lnTo>
                    <a:pt x="14" y="56"/>
                  </a:lnTo>
                  <a:lnTo>
                    <a:pt x="14" y="42"/>
                  </a:lnTo>
                  <a:lnTo>
                    <a:pt x="12" y="26"/>
                  </a:lnTo>
                  <a:lnTo>
                    <a:pt x="14" y="20"/>
                  </a:lnTo>
                  <a:lnTo>
                    <a:pt x="16" y="12"/>
                  </a:lnTo>
                  <a:lnTo>
                    <a:pt x="20" y="6"/>
                  </a:lnTo>
                  <a:lnTo>
                    <a:pt x="28" y="0"/>
                  </a:lnTo>
                  <a:lnTo>
                    <a:pt x="2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4" name="Freeform 24"/>
            <p:cNvSpPr>
              <a:spLocks/>
            </p:cNvSpPr>
            <p:nvPr/>
          </p:nvSpPr>
          <p:spPr bwMode="auto">
            <a:xfrm>
              <a:off x="2052416" y="2084860"/>
              <a:ext cx="27039" cy="37178"/>
            </a:xfrm>
            <a:custGeom>
              <a:avLst/>
              <a:gdLst>
                <a:gd name="T0" fmla="*/ 16 w 16"/>
                <a:gd name="T1" fmla="*/ 0 h 22"/>
                <a:gd name="T2" fmla="*/ 16 w 16"/>
                <a:gd name="T3" fmla="*/ 0 h 22"/>
                <a:gd name="T4" fmla="*/ 16 w 16"/>
                <a:gd name="T5" fmla="*/ 8 h 22"/>
                <a:gd name="T6" fmla="*/ 14 w 16"/>
                <a:gd name="T7" fmla="*/ 12 h 22"/>
                <a:gd name="T8" fmla="*/ 12 w 16"/>
                <a:gd name="T9" fmla="*/ 16 h 22"/>
                <a:gd name="T10" fmla="*/ 10 w 16"/>
                <a:gd name="T11" fmla="*/ 22 h 22"/>
                <a:gd name="T12" fmla="*/ 10 w 16"/>
                <a:gd name="T13" fmla="*/ 22 h 22"/>
                <a:gd name="T14" fmla="*/ 6 w 16"/>
                <a:gd name="T15" fmla="*/ 20 h 22"/>
                <a:gd name="T16" fmla="*/ 2 w 16"/>
                <a:gd name="T17" fmla="*/ 18 h 22"/>
                <a:gd name="T18" fmla="*/ 0 w 16"/>
                <a:gd name="T19" fmla="*/ 14 h 22"/>
                <a:gd name="T20" fmla="*/ 0 w 16"/>
                <a:gd name="T21" fmla="*/ 10 h 22"/>
                <a:gd name="T22" fmla="*/ 0 w 16"/>
                <a:gd name="T23" fmla="*/ 6 h 22"/>
                <a:gd name="T24" fmla="*/ 4 w 16"/>
                <a:gd name="T25" fmla="*/ 2 h 22"/>
                <a:gd name="T26" fmla="*/ 8 w 16"/>
                <a:gd name="T27" fmla="*/ 0 h 22"/>
                <a:gd name="T28" fmla="*/ 16 w 16"/>
                <a:gd name="T29" fmla="*/ 0 h 22"/>
                <a:gd name="T30" fmla="*/ 16 w 16"/>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2">
                  <a:moveTo>
                    <a:pt x="16" y="0"/>
                  </a:moveTo>
                  <a:lnTo>
                    <a:pt x="16" y="0"/>
                  </a:lnTo>
                  <a:lnTo>
                    <a:pt x="16" y="8"/>
                  </a:lnTo>
                  <a:lnTo>
                    <a:pt x="14" y="12"/>
                  </a:lnTo>
                  <a:lnTo>
                    <a:pt x="12" y="16"/>
                  </a:lnTo>
                  <a:lnTo>
                    <a:pt x="10" y="22"/>
                  </a:lnTo>
                  <a:lnTo>
                    <a:pt x="10" y="22"/>
                  </a:lnTo>
                  <a:lnTo>
                    <a:pt x="6" y="20"/>
                  </a:lnTo>
                  <a:lnTo>
                    <a:pt x="2" y="18"/>
                  </a:lnTo>
                  <a:lnTo>
                    <a:pt x="0" y="14"/>
                  </a:lnTo>
                  <a:lnTo>
                    <a:pt x="0" y="10"/>
                  </a:lnTo>
                  <a:lnTo>
                    <a:pt x="0" y="6"/>
                  </a:lnTo>
                  <a:lnTo>
                    <a:pt x="4" y="2"/>
                  </a:lnTo>
                  <a:lnTo>
                    <a:pt x="8" y="0"/>
                  </a:lnTo>
                  <a:lnTo>
                    <a:pt x="16" y="0"/>
                  </a:lnTo>
                  <a:lnTo>
                    <a:pt x="1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5" name="Freeform 25"/>
            <p:cNvSpPr>
              <a:spLocks/>
            </p:cNvSpPr>
            <p:nvPr/>
          </p:nvSpPr>
          <p:spPr bwMode="auto">
            <a:xfrm>
              <a:off x="5405217" y="2115277"/>
              <a:ext cx="121674" cy="125054"/>
            </a:xfrm>
            <a:custGeom>
              <a:avLst/>
              <a:gdLst>
                <a:gd name="T0" fmla="*/ 72 w 72"/>
                <a:gd name="T1" fmla="*/ 4 h 74"/>
                <a:gd name="T2" fmla="*/ 72 w 72"/>
                <a:gd name="T3" fmla="*/ 4 h 74"/>
                <a:gd name="T4" fmla="*/ 68 w 72"/>
                <a:gd name="T5" fmla="*/ 16 h 74"/>
                <a:gd name="T6" fmla="*/ 62 w 72"/>
                <a:gd name="T7" fmla="*/ 26 h 74"/>
                <a:gd name="T8" fmla="*/ 58 w 72"/>
                <a:gd name="T9" fmla="*/ 40 h 74"/>
                <a:gd name="T10" fmla="*/ 56 w 72"/>
                <a:gd name="T11" fmla="*/ 46 h 74"/>
                <a:gd name="T12" fmla="*/ 58 w 72"/>
                <a:gd name="T13" fmla="*/ 56 h 74"/>
                <a:gd name="T14" fmla="*/ 58 w 72"/>
                <a:gd name="T15" fmla="*/ 56 h 74"/>
                <a:gd name="T16" fmla="*/ 42 w 72"/>
                <a:gd name="T17" fmla="*/ 60 h 74"/>
                <a:gd name="T18" fmla="*/ 28 w 72"/>
                <a:gd name="T19" fmla="*/ 64 h 74"/>
                <a:gd name="T20" fmla="*/ 16 w 72"/>
                <a:gd name="T21" fmla="*/ 70 h 74"/>
                <a:gd name="T22" fmla="*/ 2 w 72"/>
                <a:gd name="T23" fmla="*/ 74 h 74"/>
                <a:gd name="T24" fmla="*/ 2 w 72"/>
                <a:gd name="T25" fmla="*/ 74 h 74"/>
                <a:gd name="T26" fmla="*/ 0 w 72"/>
                <a:gd name="T27" fmla="*/ 66 h 74"/>
                <a:gd name="T28" fmla="*/ 0 w 72"/>
                <a:gd name="T29" fmla="*/ 58 h 74"/>
                <a:gd name="T30" fmla="*/ 2 w 72"/>
                <a:gd name="T31" fmla="*/ 52 h 74"/>
                <a:gd name="T32" fmla="*/ 4 w 72"/>
                <a:gd name="T33" fmla="*/ 46 h 74"/>
                <a:gd name="T34" fmla="*/ 8 w 72"/>
                <a:gd name="T35" fmla="*/ 40 h 74"/>
                <a:gd name="T36" fmla="*/ 8 w 72"/>
                <a:gd name="T37" fmla="*/ 32 h 74"/>
                <a:gd name="T38" fmla="*/ 8 w 72"/>
                <a:gd name="T39" fmla="*/ 26 h 74"/>
                <a:gd name="T40" fmla="*/ 2 w 72"/>
                <a:gd name="T41" fmla="*/ 18 h 74"/>
                <a:gd name="T42" fmla="*/ 2 w 72"/>
                <a:gd name="T43" fmla="*/ 18 h 74"/>
                <a:gd name="T44" fmla="*/ 10 w 72"/>
                <a:gd name="T45" fmla="*/ 16 h 74"/>
                <a:gd name="T46" fmla="*/ 20 w 72"/>
                <a:gd name="T47" fmla="*/ 14 h 74"/>
                <a:gd name="T48" fmla="*/ 36 w 72"/>
                <a:gd name="T49" fmla="*/ 4 h 74"/>
                <a:gd name="T50" fmla="*/ 44 w 72"/>
                <a:gd name="T51" fmla="*/ 0 h 74"/>
                <a:gd name="T52" fmla="*/ 52 w 72"/>
                <a:gd name="T53" fmla="*/ 0 h 74"/>
                <a:gd name="T54" fmla="*/ 62 w 72"/>
                <a:gd name="T55" fmla="*/ 0 h 74"/>
                <a:gd name="T56" fmla="*/ 72 w 72"/>
                <a:gd name="T57" fmla="*/ 4 h 74"/>
                <a:gd name="T58" fmla="*/ 72 w 72"/>
                <a:gd name="T59"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74">
                  <a:moveTo>
                    <a:pt x="72" y="4"/>
                  </a:moveTo>
                  <a:lnTo>
                    <a:pt x="72" y="4"/>
                  </a:lnTo>
                  <a:lnTo>
                    <a:pt x="68" y="16"/>
                  </a:lnTo>
                  <a:lnTo>
                    <a:pt x="62" y="26"/>
                  </a:lnTo>
                  <a:lnTo>
                    <a:pt x="58" y="40"/>
                  </a:lnTo>
                  <a:lnTo>
                    <a:pt x="56" y="46"/>
                  </a:lnTo>
                  <a:lnTo>
                    <a:pt x="58" y="56"/>
                  </a:lnTo>
                  <a:lnTo>
                    <a:pt x="58" y="56"/>
                  </a:lnTo>
                  <a:lnTo>
                    <a:pt x="42" y="60"/>
                  </a:lnTo>
                  <a:lnTo>
                    <a:pt x="28" y="64"/>
                  </a:lnTo>
                  <a:lnTo>
                    <a:pt x="16" y="70"/>
                  </a:lnTo>
                  <a:lnTo>
                    <a:pt x="2" y="74"/>
                  </a:lnTo>
                  <a:lnTo>
                    <a:pt x="2" y="74"/>
                  </a:lnTo>
                  <a:lnTo>
                    <a:pt x="0" y="66"/>
                  </a:lnTo>
                  <a:lnTo>
                    <a:pt x="0" y="58"/>
                  </a:lnTo>
                  <a:lnTo>
                    <a:pt x="2" y="52"/>
                  </a:lnTo>
                  <a:lnTo>
                    <a:pt x="4" y="46"/>
                  </a:lnTo>
                  <a:lnTo>
                    <a:pt x="8" y="40"/>
                  </a:lnTo>
                  <a:lnTo>
                    <a:pt x="8" y="32"/>
                  </a:lnTo>
                  <a:lnTo>
                    <a:pt x="8" y="26"/>
                  </a:lnTo>
                  <a:lnTo>
                    <a:pt x="2" y="18"/>
                  </a:lnTo>
                  <a:lnTo>
                    <a:pt x="2" y="18"/>
                  </a:lnTo>
                  <a:lnTo>
                    <a:pt x="10" y="16"/>
                  </a:lnTo>
                  <a:lnTo>
                    <a:pt x="20" y="14"/>
                  </a:lnTo>
                  <a:lnTo>
                    <a:pt x="36" y="4"/>
                  </a:lnTo>
                  <a:lnTo>
                    <a:pt x="44" y="0"/>
                  </a:lnTo>
                  <a:lnTo>
                    <a:pt x="52" y="0"/>
                  </a:lnTo>
                  <a:lnTo>
                    <a:pt x="62" y="0"/>
                  </a:lnTo>
                  <a:lnTo>
                    <a:pt x="72" y="4"/>
                  </a:lnTo>
                  <a:lnTo>
                    <a:pt x="72"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6" name="Freeform 26"/>
            <p:cNvSpPr>
              <a:spLocks/>
            </p:cNvSpPr>
            <p:nvPr/>
          </p:nvSpPr>
          <p:spPr bwMode="auto">
            <a:xfrm>
              <a:off x="9630015" y="2179494"/>
              <a:ext cx="202790" cy="236589"/>
            </a:xfrm>
            <a:custGeom>
              <a:avLst/>
              <a:gdLst>
                <a:gd name="T0" fmla="*/ 0 w 120"/>
                <a:gd name="T1" fmla="*/ 4 h 140"/>
                <a:gd name="T2" fmla="*/ 0 w 120"/>
                <a:gd name="T3" fmla="*/ 4 h 140"/>
                <a:gd name="T4" fmla="*/ 0 w 120"/>
                <a:gd name="T5" fmla="*/ 2 h 140"/>
                <a:gd name="T6" fmla="*/ 4 w 120"/>
                <a:gd name="T7" fmla="*/ 0 h 140"/>
                <a:gd name="T8" fmla="*/ 14 w 120"/>
                <a:gd name="T9" fmla="*/ 0 h 140"/>
                <a:gd name="T10" fmla="*/ 14 w 120"/>
                <a:gd name="T11" fmla="*/ 0 h 140"/>
                <a:gd name="T12" fmla="*/ 20 w 120"/>
                <a:gd name="T13" fmla="*/ 14 h 140"/>
                <a:gd name="T14" fmla="*/ 30 w 120"/>
                <a:gd name="T15" fmla="*/ 26 h 140"/>
                <a:gd name="T16" fmla="*/ 42 w 120"/>
                <a:gd name="T17" fmla="*/ 36 h 140"/>
                <a:gd name="T18" fmla="*/ 54 w 120"/>
                <a:gd name="T19" fmla="*/ 46 h 140"/>
                <a:gd name="T20" fmla="*/ 78 w 120"/>
                <a:gd name="T21" fmla="*/ 64 h 140"/>
                <a:gd name="T22" fmla="*/ 88 w 120"/>
                <a:gd name="T23" fmla="*/ 74 h 140"/>
                <a:gd name="T24" fmla="*/ 98 w 120"/>
                <a:gd name="T25" fmla="*/ 88 h 140"/>
                <a:gd name="T26" fmla="*/ 98 w 120"/>
                <a:gd name="T27" fmla="*/ 88 h 140"/>
                <a:gd name="T28" fmla="*/ 92 w 120"/>
                <a:gd name="T29" fmla="*/ 84 h 140"/>
                <a:gd name="T30" fmla="*/ 88 w 120"/>
                <a:gd name="T31" fmla="*/ 84 h 140"/>
                <a:gd name="T32" fmla="*/ 84 w 120"/>
                <a:gd name="T33" fmla="*/ 84 h 140"/>
                <a:gd name="T34" fmla="*/ 78 w 120"/>
                <a:gd name="T35" fmla="*/ 88 h 140"/>
                <a:gd name="T36" fmla="*/ 78 w 120"/>
                <a:gd name="T37" fmla="*/ 88 h 140"/>
                <a:gd name="T38" fmla="*/ 82 w 120"/>
                <a:gd name="T39" fmla="*/ 96 h 140"/>
                <a:gd name="T40" fmla="*/ 86 w 120"/>
                <a:gd name="T41" fmla="*/ 102 h 140"/>
                <a:gd name="T42" fmla="*/ 98 w 120"/>
                <a:gd name="T43" fmla="*/ 114 h 140"/>
                <a:gd name="T44" fmla="*/ 110 w 120"/>
                <a:gd name="T45" fmla="*/ 126 h 140"/>
                <a:gd name="T46" fmla="*/ 120 w 120"/>
                <a:gd name="T47" fmla="*/ 140 h 140"/>
                <a:gd name="T48" fmla="*/ 120 w 120"/>
                <a:gd name="T49" fmla="*/ 140 h 140"/>
                <a:gd name="T50" fmla="*/ 114 w 120"/>
                <a:gd name="T51" fmla="*/ 140 h 140"/>
                <a:gd name="T52" fmla="*/ 108 w 120"/>
                <a:gd name="T53" fmla="*/ 140 h 140"/>
                <a:gd name="T54" fmla="*/ 102 w 120"/>
                <a:gd name="T55" fmla="*/ 138 h 140"/>
                <a:gd name="T56" fmla="*/ 96 w 120"/>
                <a:gd name="T57" fmla="*/ 134 h 140"/>
                <a:gd name="T58" fmla="*/ 88 w 120"/>
                <a:gd name="T59" fmla="*/ 126 h 140"/>
                <a:gd name="T60" fmla="*/ 80 w 120"/>
                <a:gd name="T61" fmla="*/ 114 h 140"/>
                <a:gd name="T62" fmla="*/ 66 w 120"/>
                <a:gd name="T63" fmla="*/ 86 h 140"/>
                <a:gd name="T64" fmla="*/ 58 w 120"/>
                <a:gd name="T65" fmla="*/ 72 h 140"/>
                <a:gd name="T66" fmla="*/ 50 w 120"/>
                <a:gd name="T67" fmla="*/ 60 h 140"/>
                <a:gd name="T68" fmla="*/ 50 w 120"/>
                <a:gd name="T69" fmla="*/ 60 h 140"/>
                <a:gd name="T70" fmla="*/ 38 w 120"/>
                <a:gd name="T71" fmla="*/ 44 h 140"/>
                <a:gd name="T72" fmla="*/ 24 w 120"/>
                <a:gd name="T73" fmla="*/ 32 h 140"/>
                <a:gd name="T74" fmla="*/ 12 w 120"/>
                <a:gd name="T75" fmla="*/ 18 h 140"/>
                <a:gd name="T76" fmla="*/ 0 w 120"/>
                <a:gd name="T77" fmla="*/ 4 h 140"/>
                <a:gd name="T78" fmla="*/ 0 w 120"/>
                <a:gd name="T79" fmla="*/ 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140">
                  <a:moveTo>
                    <a:pt x="0" y="4"/>
                  </a:moveTo>
                  <a:lnTo>
                    <a:pt x="0" y="4"/>
                  </a:lnTo>
                  <a:lnTo>
                    <a:pt x="0" y="2"/>
                  </a:lnTo>
                  <a:lnTo>
                    <a:pt x="4" y="0"/>
                  </a:lnTo>
                  <a:lnTo>
                    <a:pt x="14" y="0"/>
                  </a:lnTo>
                  <a:lnTo>
                    <a:pt x="14" y="0"/>
                  </a:lnTo>
                  <a:lnTo>
                    <a:pt x="20" y="14"/>
                  </a:lnTo>
                  <a:lnTo>
                    <a:pt x="30" y="26"/>
                  </a:lnTo>
                  <a:lnTo>
                    <a:pt x="42" y="36"/>
                  </a:lnTo>
                  <a:lnTo>
                    <a:pt x="54" y="46"/>
                  </a:lnTo>
                  <a:lnTo>
                    <a:pt x="78" y="64"/>
                  </a:lnTo>
                  <a:lnTo>
                    <a:pt x="88" y="74"/>
                  </a:lnTo>
                  <a:lnTo>
                    <a:pt x="98" y="88"/>
                  </a:lnTo>
                  <a:lnTo>
                    <a:pt x="98" y="88"/>
                  </a:lnTo>
                  <a:lnTo>
                    <a:pt x="92" y="84"/>
                  </a:lnTo>
                  <a:lnTo>
                    <a:pt x="88" y="84"/>
                  </a:lnTo>
                  <a:lnTo>
                    <a:pt x="84" y="84"/>
                  </a:lnTo>
                  <a:lnTo>
                    <a:pt x="78" y="88"/>
                  </a:lnTo>
                  <a:lnTo>
                    <a:pt x="78" y="88"/>
                  </a:lnTo>
                  <a:lnTo>
                    <a:pt x="82" y="96"/>
                  </a:lnTo>
                  <a:lnTo>
                    <a:pt x="86" y="102"/>
                  </a:lnTo>
                  <a:lnTo>
                    <a:pt x="98" y="114"/>
                  </a:lnTo>
                  <a:lnTo>
                    <a:pt x="110" y="126"/>
                  </a:lnTo>
                  <a:lnTo>
                    <a:pt x="120" y="140"/>
                  </a:lnTo>
                  <a:lnTo>
                    <a:pt x="120" y="140"/>
                  </a:lnTo>
                  <a:lnTo>
                    <a:pt x="114" y="140"/>
                  </a:lnTo>
                  <a:lnTo>
                    <a:pt x="108" y="140"/>
                  </a:lnTo>
                  <a:lnTo>
                    <a:pt x="102" y="138"/>
                  </a:lnTo>
                  <a:lnTo>
                    <a:pt x="96" y="134"/>
                  </a:lnTo>
                  <a:lnTo>
                    <a:pt x="88" y="126"/>
                  </a:lnTo>
                  <a:lnTo>
                    <a:pt x="80" y="114"/>
                  </a:lnTo>
                  <a:lnTo>
                    <a:pt x="66" y="86"/>
                  </a:lnTo>
                  <a:lnTo>
                    <a:pt x="58" y="72"/>
                  </a:lnTo>
                  <a:lnTo>
                    <a:pt x="50" y="60"/>
                  </a:lnTo>
                  <a:lnTo>
                    <a:pt x="50" y="60"/>
                  </a:lnTo>
                  <a:lnTo>
                    <a:pt x="38" y="44"/>
                  </a:lnTo>
                  <a:lnTo>
                    <a:pt x="24" y="32"/>
                  </a:lnTo>
                  <a:lnTo>
                    <a:pt x="12" y="18"/>
                  </a:lnTo>
                  <a:lnTo>
                    <a:pt x="0" y="4"/>
                  </a:lnTo>
                  <a:lnTo>
                    <a:pt x="0"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7" name="Freeform 27"/>
            <p:cNvSpPr>
              <a:spLocks/>
            </p:cNvSpPr>
            <p:nvPr/>
          </p:nvSpPr>
          <p:spPr bwMode="auto">
            <a:xfrm>
              <a:off x="3958646" y="2257231"/>
              <a:ext cx="182511" cy="118295"/>
            </a:xfrm>
            <a:custGeom>
              <a:avLst/>
              <a:gdLst>
                <a:gd name="T0" fmla="*/ 66 w 108"/>
                <a:gd name="T1" fmla="*/ 0 h 70"/>
                <a:gd name="T2" fmla="*/ 66 w 108"/>
                <a:gd name="T3" fmla="*/ 0 h 70"/>
                <a:gd name="T4" fmla="*/ 72 w 108"/>
                <a:gd name="T5" fmla="*/ 0 h 70"/>
                <a:gd name="T6" fmla="*/ 74 w 108"/>
                <a:gd name="T7" fmla="*/ 2 h 70"/>
                <a:gd name="T8" fmla="*/ 74 w 108"/>
                <a:gd name="T9" fmla="*/ 4 h 70"/>
                <a:gd name="T10" fmla="*/ 72 w 108"/>
                <a:gd name="T11" fmla="*/ 6 h 70"/>
                <a:gd name="T12" fmla="*/ 66 w 108"/>
                <a:gd name="T13" fmla="*/ 10 h 70"/>
                <a:gd name="T14" fmla="*/ 62 w 108"/>
                <a:gd name="T15" fmla="*/ 14 h 70"/>
                <a:gd name="T16" fmla="*/ 62 w 108"/>
                <a:gd name="T17" fmla="*/ 14 h 70"/>
                <a:gd name="T18" fmla="*/ 64 w 108"/>
                <a:gd name="T19" fmla="*/ 22 h 70"/>
                <a:gd name="T20" fmla="*/ 70 w 108"/>
                <a:gd name="T21" fmla="*/ 28 h 70"/>
                <a:gd name="T22" fmla="*/ 76 w 108"/>
                <a:gd name="T23" fmla="*/ 32 h 70"/>
                <a:gd name="T24" fmla="*/ 84 w 108"/>
                <a:gd name="T25" fmla="*/ 36 h 70"/>
                <a:gd name="T26" fmla="*/ 92 w 108"/>
                <a:gd name="T27" fmla="*/ 38 h 70"/>
                <a:gd name="T28" fmla="*/ 98 w 108"/>
                <a:gd name="T29" fmla="*/ 42 h 70"/>
                <a:gd name="T30" fmla="*/ 104 w 108"/>
                <a:gd name="T31" fmla="*/ 48 h 70"/>
                <a:gd name="T32" fmla="*/ 108 w 108"/>
                <a:gd name="T33" fmla="*/ 56 h 70"/>
                <a:gd name="T34" fmla="*/ 108 w 108"/>
                <a:gd name="T35" fmla="*/ 56 h 70"/>
                <a:gd name="T36" fmla="*/ 98 w 108"/>
                <a:gd name="T37" fmla="*/ 62 h 70"/>
                <a:gd name="T38" fmla="*/ 86 w 108"/>
                <a:gd name="T39" fmla="*/ 68 h 70"/>
                <a:gd name="T40" fmla="*/ 74 w 108"/>
                <a:gd name="T41" fmla="*/ 70 h 70"/>
                <a:gd name="T42" fmla="*/ 60 w 108"/>
                <a:gd name="T43" fmla="*/ 70 h 70"/>
                <a:gd name="T44" fmla="*/ 30 w 108"/>
                <a:gd name="T45" fmla="*/ 68 h 70"/>
                <a:gd name="T46" fmla="*/ 0 w 108"/>
                <a:gd name="T47" fmla="*/ 66 h 70"/>
                <a:gd name="T48" fmla="*/ 0 w 108"/>
                <a:gd name="T49" fmla="*/ 66 h 70"/>
                <a:gd name="T50" fmla="*/ 34 w 108"/>
                <a:gd name="T51" fmla="*/ 32 h 70"/>
                <a:gd name="T52" fmla="*/ 66 w 108"/>
                <a:gd name="T53" fmla="*/ 0 h 70"/>
                <a:gd name="T54" fmla="*/ 66 w 108"/>
                <a:gd name="T5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 h="70">
                  <a:moveTo>
                    <a:pt x="66" y="0"/>
                  </a:moveTo>
                  <a:lnTo>
                    <a:pt x="66" y="0"/>
                  </a:lnTo>
                  <a:lnTo>
                    <a:pt x="72" y="0"/>
                  </a:lnTo>
                  <a:lnTo>
                    <a:pt x="74" y="2"/>
                  </a:lnTo>
                  <a:lnTo>
                    <a:pt x="74" y="4"/>
                  </a:lnTo>
                  <a:lnTo>
                    <a:pt x="72" y="6"/>
                  </a:lnTo>
                  <a:lnTo>
                    <a:pt x="66" y="10"/>
                  </a:lnTo>
                  <a:lnTo>
                    <a:pt x="62" y="14"/>
                  </a:lnTo>
                  <a:lnTo>
                    <a:pt x="62" y="14"/>
                  </a:lnTo>
                  <a:lnTo>
                    <a:pt x="64" y="22"/>
                  </a:lnTo>
                  <a:lnTo>
                    <a:pt x="70" y="28"/>
                  </a:lnTo>
                  <a:lnTo>
                    <a:pt x="76" y="32"/>
                  </a:lnTo>
                  <a:lnTo>
                    <a:pt x="84" y="36"/>
                  </a:lnTo>
                  <a:lnTo>
                    <a:pt x="92" y="38"/>
                  </a:lnTo>
                  <a:lnTo>
                    <a:pt x="98" y="42"/>
                  </a:lnTo>
                  <a:lnTo>
                    <a:pt x="104" y="48"/>
                  </a:lnTo>
                  <a:lnTo>
                    <a:pt x="108" y="56"/>
                  </a:lnTo>
                  <a:lnTo>
                    <a:pt x="108" y="56"/>
                  </a:lnTo>
                  <a:lnTo>
                    <a:pt x="98" y="62"/>
                  </a:lnTo>
                  <a:lnTo>
                    <a:pt x="86" y="68"/>
                  </a:lnTo>
                  <a:lnTo>
                    <a:pt x="74" y="70"/>
                  </a:lnTo>
                  <a:lnTo>
                    <a:pt x="60" y="70"/>
                  </a:lnTo>
                  <a:lnTo>
                    <a:pt x="30" y="68"/>
                  </a:lnTo>
                  <a:lnTo>
                    <a:pt x="0" y="66"/>
                  </a:lnTo>
                  <a:lnTo>
                    <a:pt x="0" y="66"/>
                  </a:lnTo>
                  <a:lnTo>
                    <a:pt x="34" y="32"/>
                  </a:lnTo>
                  <a:lnTo>
                    <a:pt x="66" y="0"/>
                  </a:lnTo>
                  <a:lnTo>
                    <a:pt x="6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8" name="Freeform 28"/>
            <p:cNvSpPr>
              <a:spLocks/>
            </p:cNvSpPr>
            <p:nvPr/>
          </p:nvSpPr>
          <p:spPr bwMode="auto">
            <a:xfrm>
              <a:off x="2045655" y="2267370"/>
              <a:ext cx="81116" cy="67597"/>
            </a:xfrm>
            <a:custGeom>
              <a:avLst/>
              <a:gdLst>
                <a:gd name="T0" fmla="*/ 48 w 48"/>
                <a:gd name="T1" fmla="*/ 40 h 40"/>
                <a:gd name="T2" fmla="*/ 48 w 48"/>
                <a:gd name="T3" fmla="*/ 40 h 40"/>
                <a:gd name="T4" fmla="*/ 38 w 48"/>
                <a:gd name="T5" fmla="*/ 40 h 40"/>
                <a:gd name="T6" fmla="*/ 30 w 48"/>
                <a:gd name="T7" fmla="*/ 38 h 40"/>
                <a:gd name="T8" fmla="*/ 22 w 48"/>
                <a:gd name="T9" fmla="*/ 34 h 40"/>
                <a:gd name="T10" fmla="*/ 16 w 48"/>
                <a:gd name="T11" fmla="*/ 30 h 40"/>
                <a:gd name="T12" fmla="*/ 10 w 48"/>
                <a:gd name="T13" fmla="*/ 26 h 40"/>
                <a:gd name="T14" fmla="*/ 6 w 48"/>
                <a:gd name="T15" fmla="*/ 18 h 40"/>
                <a:gd name="T16" fmla="*/ 0 w 48"/>
                <a:gd name="T17" fmla="*/ 4 h 40"/>
                <a:gd name="T18" fmla="*/ 0 w 48"/>
                <a:gd name="T19" fmla="*/ 4 h 40"/>
                <a:gd name="T20" fmla="*/ 10 w 48"/>
                <a:gd name="T21" fmla="*/ 0 h 40"/>
                <a:gd name="T22" fmla="*/ 18 w 48"/>
                <a:gd name="T23" fmla="*/ 2 h 40"/>
                <a:gd name="T24" fmla="*/ 24 w 48"/>
                <a:gd name="T25" fmla="*/ 4 h 40"/>
                <a:gd name="T26" fmla="*/ 32 w 48"/>
                <a:gd name="T27" fmla="*/ 10 h 40"/>
                <a:gd name="T28" fmla="*/ 36 w 48"/>
                <a:gd name="T29" fmla="*/ 16 h 40"/>
                <a:gd name="T30" fmla="*/ 42 w 48"/>
                <a:gd name="T31" fmla="*/ 24 h 40"/>
                <a:gd name="T32" fmla="*/ 48 w 48"/>
                <a:gd name="T33" fmla="*/ 40 h 40"/>
                <a:gd name="T34" fmla="*/ 48 w 48"/>
                <a:gd name="T3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0">
                  <a:moveTo>
                    <a:pt x="48" y="40"/>
                  </a:moveTo>
                  <a:lnTo>
                    <a:pt x="48" y="40"/>
                  </a:lnTo>
                  <a:lnTo>
                    <a:pt x="38" y="40"/>
                  </a:lnTo>
                  <a:lnTo>
                    <a:pt x="30" y="38"/>
                  </a:lnTo>
                  <a:lnTo>
                    <a:pt x="22" y="34"/>
                  </a:lnTo>
                  <a:lnTo>
                    <a:pt x="16" y="30"/>
                  </a:lnTo>
                  <a:lnTo>
                    <a:pt x="10" y="26"/>
                  </a:lnTo>
                  <a:lnTo>
                    <a:pt x="6" y="18"/>
                  </a:lnTo>
                  <a:lnTo>
                    <a:pt x="0" y="4"/>
                  </a:lnTo>
                  <a:lnTo>
                    <a:pt x="0" y="4"/>
                  </a:lnTo>
                  <a:lnTo>
                    <a:pt x="10" y="0"/>
                  </a:lnTo>
                  <a:lnTo>
                    <a:pt x="18" y="2"/>
                  </a:lnTo>
                  <a:lnTo>
                    <a:pt x="24" y="4"/>
                  </a:lnTo>
                  <a:lnTo>
                    <a:pt x="32" y="10"/>
                  </a:lnTo>
                  <a:lnTo>
                    <a:pt x="36" y="16"/>
                  </a:lnTo>
                  <a:lnTo>
                    <a:pt x="42" y="24"/>
                  </a:lnTo>
                  <a:lnTo>
                    <a:pt x="48" y="40"/>
                  </a:lnTo>
                  <a:lnTo>
                    <a:pt x="48" y="4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29" name="Freeform 31"/>
            <p:cNvSpPr>
              <a:spLocks/>
            </p:cNvSpPr>
            <p:nvPr/>
          </p:nvSpPr>
          <p:spPr bwMode="auto">
            <a:xfrm>
              <a:off x="9826045" y="2453262"/>
              <a:ext cx="141953" cy="135193"/>
            </a:xfrm>
            <a:custGeom>
              <a:avLst/>
              <a:gdLst>
                <a:gd name="T0" fmla="*/ 0 w 84"/>
                <a:gd name="T1" fmla="*/ 0 h 80"/>
                <a:gd name="T2" fmla="*/ 0 w 84"/>
                <a:gd name="T3" fmla="*/ 0 h 80"/>
                <a:gd name="T4" fmla="*/ 8 w 84"/>
                <a:gd name="T5" fmla="*/ 8 h 80"/>
                <a:gd name="T6" fmla="*/ 18 w 84"/>
                <a:gd name="T7" fmla="*/ 14 h 80"/>
                <a:gd name="T8" fmla="*/ 38 w 84"/>
                <a:gd name="T9" fmla="*/ 24 h 80"/>
                <a:gd name="T10" fmla="*/ 84 w 84"/>
                <a:gd name="T11" fmla="*/ 42 h 80"/>
                <a:gd name="T12" fmla="*/ 84 w 84"/>
                <a:gd name="T13" fmla="*/ 42 h 80"/>
                <a:gd name="T14" fmla="*/ 82 w 84"/>
                <a:gd name="T15" fmla="*/ 46 h 80"/>
                <a:gd name="T16" fmla="*/ 78 w 84"/>
                <a:gd name="T17" fmla="*/ 48 h 80"/>
                <a:gd name="T18" fmla="*/ 70 w 84"/>
                <a:gd name="T19" fmla="*/ 50 h 80"/>
                <a:gd name="T20" fmla="*/ 68 w 84"/>
                <a:gd name="T21" fmla="*/ 52 h 80"/>
                <a:gd name="T22" fmla="*/ 64 w 84"/>
                <a:gd name="T23" fmla="*/ 56 h 80"/>
                <a:gd name="T24" fmla="*/ 64 w 84"/>
                <a:gd name="T25" fmla="*/ 60 h 80"/>
                <a:gd name="T26" fmla="*/ 64 w 84"/>
                <a:gd name="T27" fmla="*/ 66 h 80"/>
                <a:gd name="T28" fmla="*/ 64 w 84"/>
                <a:gd name="T29" fmla="*/ 66 h 80"/>
                <a:gd name="T30" fmla="*/ 28 w 84"/>
                <a:gd name="T31" fmla="*/ 56 h 80"/>
                <a:gd name="T32" fmla="*/ 28 w 84"/>
                <a:gd name="T33" fmla="*/ 56 h 80"/>
                <a:gd name="T34" fmla="*/ 20 w 84"/>
                <a:gd name="T35" fmla="*/ 60 h 80"/>
                <a:gd name="T36" fmla="*/ 20 w 84"/>
                <a:gd name="T37" fmla="*/ 62 h 80"/>
                <a:gd name="T38" fmla="*/ 20 w 84"/>
                <a:gd name="T39" fmla="*/ 64 h 80"/>
                <a:gd name="T40" fmla="*/ 22 w 84"/>
                <a:gd name="T41" fmla="*/ 70 h 80"/>
                <a:gd name="T42" fmla="*/ 24 w 84"/>
                <a:gd name="T43" fmla="*/ 80 h 80"/>
                <a:gd name="T44" fmla="*/ 24 w 84"/>
                <a:gd name="T45" fmla="*/ 80 h 80"/>
                <a:gd name="T46" fmla="*/ 18 w 84"/>
                <a:gd name="T47" fmla="*/ 78 h 80"/>
                <a:gd name="T48" fmla="*/ 16 w 84"/>
                <a:gd name="T49" fmla="*/ 76 h 80"/>
                <a:gd name="T50" fmla="*/ 10 w 84"/>
                <a:gd name="T51" fmla="*/ 68 h 80"/>
                <a:gd name="T52" fmla="*/ 6 w 84"/>
                <a:gd name="T53" fmla="*/ 62 h 80"/>
                <a:gd name="T54" fmla="*/ 4 w 84"/>
                <a:gd name="T55" fmla="*/ 58 h 80"/>
                <a:gd name="T56" fmla="*/ 0 w 84"/>
                <a:gd name="T57" fmla="*/ 56 h 80"/>
                <a:gd name="T58" fmla="*/ 0 w 84"/>
                <a:gd name="T59" fmla="*/ 56 h 80"/>
                <a:gd name="T60" fmla="*/ 6 w 84"/>
                <a:gd name="T61" fmla="*/ 50 h 80"/>
                <a:gd name="T62" fmla="*/ 8 w 84"/>
                <a:gd name="T63" fmla="*/ 42 h 80"/>
                <a:gd name="T64" fmla="*/ 10 w 84"/>
                <a:gd name="T65" fmla="*/ 36 h 80"/>
                <a:gd name="T66" fmla="*/ 10 w 84"/>
                <a:gd name="T67" fmla="*/ 30 h 80"/>
                <a:gd name="T68" fmla="*/ 6 w 84"/>
                <a:gd name="T69" fmla="*/ 16 h 80"/>
                <a:gd name="T70" fmla="*/ 0 w 84"/>
                <a:gd name="T71" fmla="*/ 0 h 80"/>
                <a:gd name="T72" fmla="*/ 0 w 84"/>
                <a:gd name="T7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80">
                  <a:moveTo>
                    <a:pt x="0" y="0"/>
                  </a:moveTo>
                  <a:lnTo>
                    <a:pt x="0" y="0"/>
                  </a:lnTo>
                  <a:lnTo>
                    <a:pt x="8" y="8"/>
                  </a:lnTo>
                  <a:lnTo>
                    <a:pt x="18" y="14"/>
                  </a:lnTo>
                  <a:lnTo>
                    <a:pt x="38" y="24"/>
                  </a:lnTo>
                  <a:lnTo>
                    <a:pt x="84" y="42"/>
                  </a:lnTo>
                  <a:lnTo>
                    <a:pt x="84" y="42"/>
                  </a:lnTo>
                  <a:lnTo>
                    <a:pt x="82" y="46"/>
                  </a:lnTo>
                  <a:lnTo>
                    <a:pt x="78" y="48"/>
                  </a:lnTo>
                  <a:lnTo>
                    <a:pt x="70" y="50"/>
                  </a:lnTo>
                  <a:lnTo>
                    <a:pt x="68" y="52"/>
                  </a:lnTo>
                  <a:lnTo>
                    <a:pt x="64" y="56"/>
                  </a:lnTo>
                  <a:lnTo>
                    <a:pt x="64" y="60"/>
                  </a:lnTo>
                  <a:lnTo>
                    <a:pt x="64" y="66"/>
                  </a:lnTo>
                  <a:lnTo>
                    <a:pt x="64" y="66"/>
                  </a:lnTo>
                  <a:lnTo>
                    <a:pt x="28" y="56"/>
                  </a:lnTo>
                  <a:lnTo>
                    <a:pt x="28" y="56"/>
                  </a:lnTo>
                  <a:lnTo>
                    <a:pt x="20" y="60"/>
                  </a:lnTo>
                  <a:lnTo>
                    <a:pt x="20" y="62"/>
                  </a:lnTo>
                  <a:lnTo>
                    <a:pt x="20" y="64"/>
                  </a:lnTo>
                  <a:lnTo>
                    <a:pt x="22" y="70"/>
                  </a:lnTo>
                  <a:lnTo>
                    <a:pt x="24" y="80"/>
                  </a:lnTo>
                  <a:lnTo>
                    <a:pt x="24" y="80"/>
                  </a:lnTo>
                  <a:lnTo>
                    <a:pt x="18" y="78"/>
                  </a:lnTo>
                  <a:lnTo>
                    <a:pt x="16" y="76"/>
                  </a:lnTo>
                  <a:lnTo>
                    <a:pt x="10" y="68"/>
                  </a:lnTo>
                  <a:lnTo>
                    <a:pt x="6" y="62"/>
                  </a:lnTo>
                  <a:lnTo>
                    <a:pt x="4" y="58"/>
                  </a:lnTo>
                  <a:lnTo>
                    <a:pt x="0" y="56"/>
                  </a:lnTo>
                  <a:lnTo>
                    <a:pt x="0" y="56"/>
                  </a:lnTo>
                  <a:lnTo>
                    <a:pt x="6" y="50"/>
                  </a:lnTo>
                  <a:lnTo>
                    <a:pt x="8" y="42"/>
                  </a:lnTo>
                  <a:lnTo>
                    <a:pt x="10" y="36"/>
                  </a:lnTo>
                  <a:lnTo>
                    <a:pt x="10" y="30"/>
                  </a:lnTo>
                  <a:lnTo>
                    <a:pt x="6" y="16"/>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0" name="Freeform 34"/>
            <p:cNvSpPr>
              <a:spLocks/>
            </p:cNvSpPr>
            <p:nvPr/>
          </p:nvSpPr>
          <p:spPr bwMode="auto">
            <a:xfrm>
              <a:off x="5922331" y="2541138"/>
              <a:ext cx="23659" cy="40558"/>
            </a:xfrm>
            <a:custGeom>
              <a:avLst/>
              <a:gdLst>
                <a:gd name="T0" fmla="*/ 8 w 14"/>
                <a:gd name="T1" fmla="*/ 0 h 24"/>
                <a:gd name="T2" fmla="*/ 8 w 14"/>
                <a:gd name="T3" fmla="*/ 0 h 24"/>
                <a:gd name="T4" fmla="*/ 12 w 14"/>
                <a:gd name="T5" fmla="*/ 0 h 24"/>
                <a:gd name="T6" fmla="*/ 12 w 14"/>
                <a:gd name="T7" fmla="*/ 2 h 24"/>
                <a:gd name="T8" fmla="*/ 14 w 14"/>
                <a:gd name="T9" fmla="*/ 8 h 24"/>
                <a:gd name="T10" fmla="*/ 12 w 14"/>
                <a:gd name="T11" fmla="*/ 16 h 24"/>
                <a:gd name="T12" fmla="*/ 12 w 14"/>
                <a:gd name="T13" fmla="*/ 24 h 24"/>
                <a:gd name="T14" fmla="*/ 12 w 14"/>
                <a:gd name="T15" fmla="*/ 24 h 24"/>
                <a:gd name="T16" fmla="*/ 6 w 14"/>
                <a:gd name="T17" fmla="*/ 22 h 24"/>
                <a:gd name="T18" fmla="*/ 2 w 14"/>
                <a:gd name="T19" fmla="*/ 20 h 24"/>
                <a:gd name="T20" fmla="*/ 0 w 14"/>
                <a:gd name="T21" fmla="*/ 18 h 24"/>
                <a:gd name="T22" fmla="*/ 0 w 14"/>
                <a:gd name="T23" fmla="*/ 14 h 24"/>
                <a:gd name="T24" fmla="*/ 0 w 14"/>
                <a:gd name="T25" fmla="*/ 10 h 24"/>
                <a:gd name="T26" fmla="*/ 2 w 14"/>
                <a:gd name="T27" fmla="*/ 6 h 24"/>
                <a:gd name="T28" fmla="*/ 4 w 14"/>
                <a:gd name="T29" fmla="*/ 2 h 24"/>
                <a:gd name="T30" fmla="*/ 8 w 14"/>
                <a:gd name="T31" fmla="*/ 0 h 24"/>
                <a:gd name="T32" fmla="*/ 8 w 14"/>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4">
                  <a:moveTo>
                    <a:pt x="8" y="0"/>
                  </a:moveTo>
                  <a:lnTo>
                    <a:pt x="8" y="0"/>
                  </a:lnTo>
                  <a:lnTo>
                    <a:pt x="12" y="0"/>
                  </a:lnTo>
                  <a:lnTo>
                    <a:pt x="12" y="2"/>
                  </a:lnTo>
                  <a:lnTo>
                    <a:pt x="14" y="8"/>
                  </a:lnTo>
                  <a:lnTo>
                    <a:pt x="12" y="16"/>
                  </a:lnTo>
                  <a:lnTo>
                    <a:pt x="12" y="24"/>
                  </a:lnTo>
                  <a:lnTo>
                    <a:pt x="12" y="24"/>
                  </a:lnTo>
                  <a:lnTo>
                    <a:pt x="6" y="22"/>
                  </a:lnTo>
                  <a:lnTo>
                    <a:pt x="2" y="20"/>
                  </a:lnTo>
                  <a:lnTo>
                    <a:pt x="0" y="18"/>
                  </a:lnTo>
                  <a:lnTo>
                    <a:pt x="0" y="14"/>
                  </a:lnTo>
                  <a:lnTo>
                    <a:pt x="0" y="10"/>
                  </a:lnTo>
                  <a:lnTo>
                    <a:pt x="2" y="6"/>
                  </a:lnTo>
                  <a:lnTo>
                    <a:pt x="4" y="2"/>
                  </a:lnTo>
                  <a:lnTo>
                    <a:pt x="8" y="0"/>
                  </a:lnTo>
                  <a:lnTo>
                    <a:pt x="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1" name="Freeform 35"/>
            <p:cNvSpPr>
              <a:spLocks/>
            </p:cNvSpPr>
            <p:nvPr/>
          </p:nvSpPr>
          <p:spPr bwMode="auto">
            <a:xfrm>
              <a:off x="5908812" y="2605354"/>
              <a:ext cx="37178" cy="67597"/>
            </a:xfrm>
            <a:custGeom>
              <a:avLst/>
              <a:gdLst>
                <a:gd name="T0" fmla="*/ 6 w 22"/>
                <a:gd name="T1" fmla="*/ 0 h 40"/>
                <a:gd name="T2" fmla="*/ 6 w 22"/>
                <a:gd name="T3" fmla="*/ 0 h 40"/>
                <a:gd name="T4" fmla="*/ 14 w 22"/>
                <a:gd name="T5" fmla="*/ 0 h 40"/>
                <a:gd name="T6" fmla="*/ 18 w 22"/>
                <a:gd name="T7" fmla="*/ 4 h 40"/>
                <a:gd name="T8" fmla="*/ 22 w 22"/>
                <a:gd name="T9" fmla="*/ 10 h 40"/>
                <a:gd name="T10" fmla="*/ 22 w 22"/>
                <a:gd name="T11" fmla="*/ 18 h 40"/>
                <a:gd name="T12" fmla="*/ 22 w 22"/>
                <a:gd name="T13" fmla="*/ 26 h 40"/>
                <a:gd name="T14" fmla="*/ 20 w 22"/>
                <a:gd name="T15" fmla="*/ 32 h 40"/>
                <a:gd name="T16" fmla="*/ 16 w 22"/>
                <a:gd name="T17" fmla="*/ 38 h 40"/>
                <a:gd name="T18" fmla="*/ 12 w 22"/>
                <a:gd name="T19" fmla="*/ 40 h 40"/>
                <a:gd name="T20" fmla="*/ 12 w 22"/>
                <a:gd name="T21" fmla="*/ 40 h 40"/>
                <a:gd name="T22" fmla="*/ 4 w 22"/>
                <a:gd name="T23" fmla="*/ 32 h 40"/>
                <a:gd name="T24" fmla="*/ 0 w 22"/>
                <a:gd name="T25" fmla="*/ 20 h 40"/>
                <a:gd name="T26" fmla="*/ 0 w 22"/>
                <a:gd name="T27" fmla="*/ 14 h 40"/>
                <a:gd name="T28" fmla="*/ 0 w 22"/>
                <a:gd name="T29" fmla="*/ 8 h 40"/>
                <a:gd name="T30" fmla="*/ 2 w 22"/>
                <a:gd name="T31" fmla="*/ 4 h 40"/>
                <a:gd name="T32" fmla="*/ 6 w 22"/>
                <a:gd name="T33" fmla="*/ 0 h 40"/>
                <a:gd name="T34" fmla="*/ 6 w 22"/>
                <a:gd name="T3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6" y="0"/>
                  </a:moveTo>
                  <a:lnTo>
                    <a:pt x="6" y="0"/>
                  </a:lnTo>
                  <a:lnTo>
                    <a:pt x="14" y="0"/>
                  </a:lnTo>
                  <a:lnTo>
                    <a:pt x="18" y="4"/>
                  </a:lnTo>
                  <a:lnTo>
                    <a:pt x="22" y="10"/>
                  </a:lnTo>
                  <a:lnTo>
                    <a:pt x="22" y="18"/>
                  </a:lnTo>
                  <a:lnTo>
                    <a:pt x="22" y="26"/>
                  </a:lnTo>
                  <a:lnTo>
                    <a:pt x="20" y="32"/>
                  </a:lnTo>
                  <a:lnTo>
                    <a:pt x="16" y="38"/>
                  </a:lnTo>
                  <a:lnTo>
                    <a:pt x="12" y="40"/>
                  </a:lnTo>
                  <a:lnTo>
                    <a:pt x="12" y="40"/>
                  </a:lnTo>
                  <a:lnTo>
                    <a:pt x="4" y="32"/>
                  </a:lnTo>
                  <a:lnTo>
                    <a:pt x="0" y="20"/>
                  </a:lnTo>
                  <a:lnTo>
                    <a:pt x="0" y="14"/>
                  </a:lnTo>
                  <a:lnTo>
                    <a:pt x="0" y="8"/>
                  </a:lnTo>
                  <a:lnTo>
                    <a:pt x="2" y="4"/>
                  </a:lnTo>
                  <a:lnTo>
                    <a:pt x="6" y="0"/>
                  </a:lnTo>
                  <a:lnTo>
                    <a:pt x="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2" name="Freeform 36"/>
            <p:cNvSpPr>
              <a:spLocks/>
            </p:cNvSpPr>
            <p:nvPr/>
          </p:nvSpPr>
          <p:spPr bwMode="auto">
            <a:xfrm>
              <a:off x="9707750" y="2612113"/>
              <a:ext cx="267007" cy="260247"/>
            </a:xfrm>
            <a:custGeom>
              <a:avLst/>
              <a:gdLst>
                <a:gd name="T0" fmla="*/ 102 w 158"/>
                <a:gd name="T1" fmla="*/ 126 h 154"/>
                <a:gd name="T2" fmla="*/ 102 w 158"/>
                <a:gd name="T3" fmla="*/ 126 h 154"/>
                <a:gd name="T4" fmla="*/ 98 w 158"/>
                <a:gd name="T5" fmla="*/ 130 h 154"/>
                <a:gd name="T6" fmla="*/ 96 w 158"/>
                <a:gd name="T7" fmla="*/ 138 h 154"/>
                <a:gd name="T8" fmla="*/ 94 w 158"/>
                <a:gd name="T9" fmla="*/ 154 h 154"/>
                <a:gd name="T10" fmla="*/ 94 w 158"/>
                <a:gd name="T11" fmla="*/ 154 h 154"/>
                <a:gd name="T12" fmla="*/ 90 w 158"/>
                <a:gd name="T13" fmla="*/ 146 h 154"/>
                <a:gd name="T14" fmla="*/ 86 w 158"/>
                <a:gd name="T15" fmla="*/ 142 h 154"/>
                <a:gd name="T16" fmla="*/ 82 w 158"/>
                <a:gd name="T17" fmla="*/ 138 h 154"/>
                <a:gd name="T18" fmla="*/ 78 w 158"/>
                <a:gd name="T19" fmla="*/ 134 h 154"/>
                <a:gd name="T20" fmla="*/ 66 w 158"/>
                <a:gd name="T21" fmla="*/ 132 h 154"/>
                <a:gd name="T22" fmla="*/ 52 w 158"/>
                <a:gd name="T23" fmla="*/ 132 h 154"/>
                <a:gd name="T24" fmla="*/ 24 w 158"/>
                <a:gd name="T25" fmla="*/ 136 h 154"/>
                <a:gd name="T26" fmla="*/ 12 w 158"/>
                <a:gd name="T27" fmla="*/ 136 h 154"/>
                <a:gd name="T28" fmla="*/ 0 w 158"/>
                <a:gd name="T29" fmla="*/ 134 h 154"/>
                <a:gd name="T30" fmla="*/ 0 w 158"/>
                <a:gd name="T31" fmla="*/ 134 h 154"/>
                <a:gd name="T32" fmla="*/ 14 w 158"/>
                <a:gd name="T33" fmla="*/ 124 h 154"/>
                <a:gd name="T34" fmla="*/ 30 w 158"/>
                <a:gd name="T35" fmla="*/ 116 h 154"/>
                <a:gd name="T36" fmla="*/ 66 w 158"/>
                <a:gd name="T37" fmla="*/ 102 h 154"/>
                <a:gd name="T38" fmla="*/ 82 w 158"/>
                <a:gd name="T39" fmla="*/ 94 h 154"/>
                <a:gd name="T40" fmla="*/ 98 w 158"/>
                <a:gd name="T41" fmla="*/ 86 h 154"/>
                <a:gd name="T42" fmla="*/ 110 w 158"/>
                <a:gd name="T43" fmla="*/ 72 h 154"/>
                <a:gd name="T44" fmla="*/ 116 w 158"/>
                <a:gd name="T45" fmla="*/ 64 h 154"/>
                <a:gd name="T46" fmla="*/ 120 w 158"/>
                <a:gd name="T47" fmla="*/ 56 h 154"/>
                <a:gd name="T48" fmla="*/ 120 w 158"/>
                <a:gd name="T49" fmla="*/ 56 h 154"/>
                <a:gd name="T50" fmla="*/ 116 w 158"/>
                <a:gd name="T51" fmla="*/ 40 h 154"/>
                <a:gd name="T52" fmla="*/ 110 w 158"/>
                <a:gd name="T53" fmla="*/ 28 h 154"/>
                <a:gd name="T54" fmla="*/ 102 w 158"/>
                <a:gd name="T55" fmla="*/ 14 h 154"/>
                <a:gd name="T56" fmla="*/ 98 w 158"/>
                <a:gd name="T57" fmla="*/ 0 h 154"/>
                <a:gd name="T58" fmla="*/ 98 w 158"/>
                <a:gd name="T59" fmla="*/ 0 h 154"/>
                <a:gd name="T60" fmla="*/ 108 w 158"/>
                <a:gd name="T61" fmla="*/ 0 h 154"/>
                <a:gd name="T62" fmla="*/ 116 w 158"/>
                <a:gd name="T63" fmla="*/ 0 h 154"/>
                <a:gd name="T64" fmla="*/ 122 w 158"/>
                <a:gd name="T65" fmla="*/ 2 h 154"/>
                <a:gd name="T66" fmla="*/ 128 w 158"/>
                <a:gd name="T67" fmla="*/ 6 h 154"/>
                <a:gd name="T68" fmla="*/ 132 w 158"/>
                <a:gd name="T69" fmla="*/ 12 h 154"/>
                <a:gd name="T70" fmla="*/ 136 w 158"/>
                <a:gd name="T71" fmla="*/ 18 h 154"/>
                <a:gd name="T72" fmla="*/ 142 w 158"/>
                <a:gd name="T73" fmla="*/ 32 h 154"/>
                <a:gd name="T74" fmla="*/ 146 w 158"/>
                <a:gd name="T75" fmla="*/ 50 h 154"/>
                <a:gd name="T76" fmla="*/ 150 w 158"/>
                <a:gd name="T77" fmla="*/ 68 h 154"/>
                <a:gd name="T78" fmla="*/ 154 w 158"/>
                <a:gd name="T79" fmla="*/ 86 h 154"/>
                <a:gd name="T80" fmla="*/ 158 w 158"/>
                <a:gd name="T81" fmla="*/ 102 h 154"/>
                <a:gd name="T82" fmla="*/ 158 w 158"/>
                <a:gd name="T83" fmla="*/ 102 h 154"/>
                <a:gd name="T84" fmla="*/ 150 w 158"/>
                <a:gd name="T85" fmla="*/ 114 h 154"/>
                <a:gd name="T86" fmla="*/ 144 w 158"/>
                <a:gd name="T87" fmla="*/ 118 h 154"/>
                <a:gd name="T88" fmla="*/ 138 w 158"/>
                <a:gd name="T89" fmla="*/ 122 h 154"/>
                <a:gd name="T90" fmla="*/ 130 w 158"/>
                <a:gd name="T91" fmla="*/ 124 h 154"/>
                <a:gd name="T92" fmla="*/ 122 w 158"/>
                <a:gd name="T93" fmla="*/ 126 h 154"/>
                <a:gd name="T94" fmla="*/ 102 w 158"/>
                <a:gd name="T95" fmla="*/ 126 h 154"/>
                <a:gd name="T96" fmla="*/ 102 w 158"/>
                <a:gd name="T97"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 h="154">
                  <a:moveTo>
                    <a:pt x="102" y="126"/>
                  </a:moveTo>
                  <a:lnTo>
                    <a:pt x="102" y="126"/>
                  </a:lnTo>
                  <a:lnTo>
                    <a:pt x="98" y="130"/>
                  </a:lnTo>
                  <a:lnTo>
                    <a:pt x="96" y="138"/>
                  </a:lnTo>
                  <a:lnTo>
                    <a:pt x="94" y="154"/>
                  </a:lnTo>
                  <a:lnTo>
                    <a:pt x="94" y="154"/>
                  </a:lnTo>
                  <a:lnTo>
                    <a:pt x="90" y="146"/>
                  </a:lnTo>
                  <a:lnTo>
                    <a:pt x="86" y="142"/>
                  </a:lnTo>
                  <a:lnTo>
                    <a:pt x="82" y="138"/>
                  </a:lnTo>
                  <a:lnTo>
                    <a:pt x="78" y="134"/>
                  </a:lnTo>
                  <a:lnTo>
                    <a:pt x="66" y="132"/>
                  </a:lnTo>
                  <a:lnTo>
                    <a:pt x="52" y="132"/>
                  </a:lnTo>
                  <a:lnTo>
                    <a:pt x="24" y="136"/>
                  </a:lnTo>
                  <a:lnTo>
                    <a:pt x="12" y="136"/>
                  </a:lnTo>
                  <a:lnTo>
                    <a:pt x="0" y="134"/>
                  </a:lnTo>
                  <a:lnTo>
                    <a:pt x="0" y="134"/>
                  </a:lnTo>
                  <a:lnTo>
                    <a:pt x="14" y="124"/>
                  </a:lnTo>
                  <a:lnTo>
                    <a:pt x="30" y="116"/>
                  </a:lnTo>
                  <a:lnTo>
                    <a:pt x="66" y="102"/>
                  </a:lnTo>
                  <a:lnTo>
                    <a:pt x="82" y="94"/>
                  </a:lnTo>
                  <a:lnTo>
                    <a:pt x="98" y="86"/>
                  </a:lnTo>
                  <a:lnTo>
                    <a:pt x="110" y="72"/>
                  </a:lnTo>
                  <a:lnTo>
                    <a:pt x="116" y="64"/>
                  </a:lnTo>
                  <a:lnTo>
                    <a:pt x="120" y="56"/>
                  </a:lnTo>
                  <a:lnTo>
                    <a:pt x="120" y="56"/>
                  </a:lnTo>
                  <a:lnTo>
                    <a:pt x="116" y="40"/>
                  </a:lnTo>
                  <a:lnTo>
                    <a:pt x="110" y="28"/>
                  </a:lnTo>
                  <a:lnTo>
                    <a:pt x="102" y="14"/>
                  </a:lnTo>
                  <a:lnTo>
                    <a:pt x="98" y="0"/>
                  </a:lnTo>
                  <a:lnTo>
                    <a:pt x="98" y="0"/>
                  </a:lnTo>
                  <a:lnTo>
                    <a:pt x="108" y="0"/>
                  </a:lnTo>
                  <a:lnTo>
                    <a:pt x="116" y="0"/>
                  </a:lnTo>
                  <a:lnTo>
                    <a:pt x="122" y="2"/>
                  </a:lnTo>
                  <a:lnTo>
                    <a:pt x="128" y="6"/>
                  </a:lnTo>
                  <a:lnTo>
                    <a:pt x="132" y="12"/>
                  </a:lnTo>
                  <a:lnTo>
                    <a:pt x="136" y="18"/>
                  </a:lnTo>
                  <a:lnTo>
                    <a:pt x="142" y="32"/>
                  </a:lnTo>
                  <a:lnTo>
                    <a:pt x="146" y="50"/>
                  </a:lnTo>
                  <a:lnTo>
                    <a:pt x="150" y="68"/>
                  </a:lnTo>
                  <a:lnTo>
                    <a:pt x="154" y="86"/>
                  </a:lnTo>
                  <a:lnTo>
                    <a:pt x="158" y="102"/>
                  </a:lnTo>
                  <a:lnTo>
                    <a:pt x="158" y="102"/>
                  </a:lnTo>
                  <a:lnTo>
                    <a:pt x="150" y="114"/>
                  </a:lnTo>
                  <a:lnTo>
                    <a:pt x="144" y="118"/>
                  </a:lnTo>
                  <a:lnTo>
                    <a:pt x="138" y="122"/>
                  </a:lnTo>
                  <a:lnTo>
                    <a:pt x="130" y="124"/>
                  </a:lnTo>
                  <a:lnTo>
                    <a:pt x="122" y="126"/>
                  </a:lnTo>
                  <a:lnTo>
                    <a:pt x="102" y="126"/>
                  </a:lnTo>
                  <a:lnTo>
                    <a:pt x="102" y="12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3" name="Freeform 37"/>
            <p:cNvSpPr>
              <a:spLocks/>
            </p:cNvSpPr>
            <p:nvPr/>
          </p:nvSpPr>
          <p:spPr bwMode="auto">
            <a:xfrm>
              <a:off x="6037245" y="2710129"/>
              <a:ext cx="81116" cy="43938"/>
            </a:xfrm>
            <a:custGeom>
              <a:avLst/>
              <a:gdLst>
                <a:gd name="T0" fmla="*/ 48 w 48"/>
                <a:gd name="T1" fmla="*/ 2 h 26"/>
                <a:gd name="T2" fmla="*/ 48 w 48"/>
                <a:gd name="T3" fmla="*/ 2 h 26"/>
                <a:gd name="T4" fmla="*/ 46 w 48"/>
                <a:gd name="T5" fmla="*/ 8 h 26"/>
                <a:gd name="T6" fmla="*/ 44 w 48"/>
                <a:gd name="T7" fmla="*/ 14 h 26"/>
                <a:gd name="T8" fmla="*/ 42 w 48"/>
                <a:gd name="T9" fmla="*/ 18 h 26"/>
                <a:gd name="T10" fmla="*/ 42 w 48"/>
                <a:gd name="T11" fmla="*/ 26 h 26"/>
                <a:gd name="T12" fmla="*/ 42 w 48"/>
                <a:gd name="T13" fmla="*/ 26 h 26"/>
                <a:gd name="T14" fmla="*/ 32 w 48"/>
                <a:gd name="T15" fmla="*/ 20 h 26"/>
                <a:gd name="T16" fmla="*/ 22 w 48"/>
                <a:gd name="T17" fmla="*/ 16 h 26"/>
                <a:gd name="T18" fmla="*/ 12 w 48"/>
                <a:gd name="T19" fmla="*/ 10 h 26"/>
                <a:gd name="T20" fmla="*/ 0 w 48"/>
                <a:gd name="T21" fmla="*/ 6 h 26"/>
                <a:gd name="T22" fmla="*/ 0 w 48"/>
                <a:gd name="T23" fmla="*/ 6 h 26"/>
                <a:gd name="T24" fmla="*/ 6 w 48"/>
                <a:gd name="T25" fmla="*/ 2 h 26"/>
                <a:gd name="T26" fmla="*/ 10 w 48"/>
                <a:gd name="T27" fmla="*/ 0 h 26"/>
                <a:gd name="T28" fmla="*/ 16 w 48"/>
                <a:gd name="T29" fmla="*/ 0 h 26"/>
                <a:gd name="T30" fmla="*/ 22 w 48"/>
                <a:gd name="T31" fmla="*/ 0 h 26"/>
                <a:gd name="T32" fmla="*/ 34 w 48"/>
                <a:gd name="T33" fmla="*/ 0 h 26"/>
                <a:gd name="T34" fmla="*/ 48 w 48"/>
                <a:gd name="T35" fmla="*/ 2 h 26"/>
                <a:gd name="T36" fmla="*/ 48 w 48"/>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6">
                  <a:moveTo>
                    <a:pt x="48" y="2"/>
                  </a:moveTo>
                  <a:lnTo>
                    <a:pt x="48" y="2"/>
                  </a:lnTo>
                  <a:lnTo>
                    <a:pt x="46" y="8"/>
                  </a:lnTo>
                  <a:lnTo>
                    <a:pt x="44" y="14"/>
                  </a:lnTo>
                  <a:lnTo>
                    <a:pt x="42" y="18"/>
                  </a:lnTo>
                  <a:lnTo>
                    <a:pt x="42" y="26"/>
                  </a:lnTo>
                  <a:lnTo>
                    <a:pt x="42" y="26"/>
                  </a:lnTo>
                  <a:lnTo>
                    <a:pt x="32" y="20"/>
                  </a:lnTo>
                  <a:lnTo>
                    <a:pt x="22" y="16"/>
                  </a:lnTo>
                  <a:lnTo>
                    <a:pt x="12" y="10"/>
                  </a:lnTo>
                  <a:lnTo>
                    <a:pt x="0" y="6"/>
                  </a:lnTo>
                  <a:lnTo>
                    <a:pt x="0" y="6"/>
                  </a:lnTo>
                  <a:lnTo>
                    <a:pt x="6" y="2"/>
                  </a:lnTo>
                  <a:lnTo>
                    <a:pt x="10" y="0"/>
                  </a:lnTo>
                  <a:lnTo>
                    <a:pt x="16" y="0"/>
                  </a:lnTo>
                  <a:lnTo>
                    <a:pt x="22" y="0"/>
                  </a:lnTo>
                  <a:lnTo>
                    <a:pt x="34" y="0"/>
                  </a:lnTo>
                  <a:lnTo>
                    <a:pt x="48" y="2"/>
                  </a:lnTo>
                  <a:lnTo>
                    <a:pt x="48" y="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4" name="Freeform 38"/>
            <p:cNvSpPr>
              <a:spLocks/>
            </p:cNvSpPr>
            <p:nvPr/>
          </p:nvSpPr>
          <p:spPr bwMode="auto">
            <a:xfrm>
              <a:off x="6652375" y="2791246"/>
              <a:ext cx="54077" cy="37178"/>
            </a:xfrm>
            <a:custGeom>
              <a:avLst/>
              <a:gdLst>
                <a:gd name="T0" fmla="*/ 32 w 32"/>
                <a:gd name="T1" fmla="*/ 0 h 22"/>
                <a:gd name="T2" fmla="*/ 32 w 32"/>
                <a:gd name="T3" fmla="*/ 0 h 22"/>
                <a:gd name="T4" fmla="*/ 30 w 32"/>
                <a:gd name="T5" fmla="*/ 6 h 22"/>
                <a:gd name="T6" fmla="*/ 26 w 32"/>
                <a:gd name="T7" fmla="*/ 12 h 22"/>
                <a:gd name="T8" fmla="*/ 22 w 32"/>
                <a:gd name="T9" fmla="*/ 16 h 22"/>
                <a:gd name="T10" fmla="*/ 16 w 32"/>
                <a:gd name="T11" fmla="*/ 20 h 22"/>
                <a:gd name="T12" fmla="*/ 10 w 32"/>
                <a:gd name="T13" fmla="*/ 22 h 22"/>
                <a:gd name="T14" fmla="*/ 4 w 32"/>
                <a:gd name="T15" fmla="*/ 22 h 22"/>
                <a:gd name="T16" fmla="*/ 2 w 32"/>
                <a:gd name="T17" fmla="*/ 18 h 22"/>
                <a:gd name="T18" fmla="*/ 0 w 32"/>
                <a:gd name="T19" fmla="*/ 10 h 22"/>
                <a:gd name="T20" fmla="*/ 0 w 32"/>
                <a:gd name="T21" fmla="*/ 10 h 22"/>
                <a:gd name="T22" fmla="*/ 6 w 32"/>
                <a:gd name="T23" fmla="*/ 12 h 22"/>
                <a:gd name="T24" fmla="*/ 12 w 32"/>
                <a:gd name="T25" fmla="*/ 10 h 22"/>
                <a:gd name="T26" fmla="*/ 18 w 32"/>
                <a:gd name="T27" fmla="*/ 8 h 22"/>
                <a:gd name="T28" fmla="*/ 24 w 32"/>
                <a:gd name="T29" fmla="*/ 2 h 22"/>
                <a:gd name="T30" fmla="*/ 28 w 32"/>
                <a:gd name="T31" fmla="*/ 2 h 22"/>
                <a:gd name="T32" fmla="*/ 32 w 32"/>
                <a:gd name="T33" fmla="*/ 0 h 22"/>
                <a:gd name="T34" fmla="*/ 32 w 32"/>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2">
                  <a:moveTo>
                    <a:pt x="32" y="0"/>
                  </a:moveTo>
                  <a:lnTo>
                    <a:pt x="32" y="0"/>
                  </a:lnTo>
                  <a:lnTo>
                    <a:pt x="30" y="6"/>
                  </a:lnTo>
                  <a:lnTo>
                    <a:pt x="26" y="12"/>
                  </a:lnTo>
                  <a:lnTo>
                    <a:pt x="22" y="16"/>
                  </a:lnTo>
                  <a:lnTo>
                    <a:pt x="16" y="20"/>
                  </a:lnTo>
                  <a:lnTo>
                    <a:pt x="10" y="22"/>
                  </a:lnTo>
                  <a:lnTo>
                    <a:pt x="4" y="22"/>
                  </a:lnTo>
                  <a:lnTo>
                    <a:pt x="2" y="18"/>
                  </a:lnTo>
                  <a:lnTo>
                    <a:pt x="0" y="10"/>
                  </a:lnTo>
                  <a:lnTo>
                    <a:pt x="0" y="10"/>
                  </a:lnTo>
                  <a:lnTo>
                    <a:pt x="6" y="12"/>
                  </a:lnTo>
                  <a:lnTo>
                    <a:pt x="12" y="10"/>
                  </a:lnTo>
                  <a:lnTo>
                    <a:pt x="18" y="8"/>
                  </a:lnTo>
                  <a:lnTo>
                    <a:pt x="24" y="2"/>
                  </a:lnTo>
                  <a:lnTo>
                    <a:pt x="28" y="2"/>
                  </a:lnTo>
                  <a:lnTo>
                    <a:pt x="32" y="0"/>
                  </a:lnTo>
                  <a:lnTo>
                    <a:pt x="3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5" name="Freeform 39"/>
            <p:cNvSpPr>
              <a:spLocks/>
            </p:cNvSpPr>
            <p:nvPr/>
          </p:nvSpPr>
          <p:spPr bwMode="auto">
            <a:xfrm>
              <a:off x="6368470" y="2798005"/>
              <a:ext cx="94635" cy="27039"/>
            </a:xfrm>
            <a:custGeom>
              <a:avLst/>
              <a:gdLst>
                <a:gd name="T0" fmla="*/ 0 w 56"/>
                <a:gd name="T1" fmla="*/ 6 h 16"/>
                <a:gd name="T2" fmla="*/ 0 w 56"/>
                <a:gd name="T3" fmla="*/ 6 h 16"/>
                <a:gd name="T4" fmla="*/ 6 w 56"/>
                <a:gd name="T5" fmla="*/ 2 h 16"/>
                <a:gd name="T6" fmla="*/ 12 w 56"/>
                <a:gd name="T7" fmla="*/ 0 h 16"/>
                <a:gd name="T8" fmla="*/ 28 w 56"/>
                <a:gd name="T9" fmla="*/ 2 h 16"/>
                <a:gd name="T10" fmla="*/ 56 w 56"/>
                <a:gd name="T11" fmla="*/ 6 h 16"/>
                <a:gd name="T12" fmla="*/ 56 w 56"/>
                <a:gd name="T13" fmla="*/ 6 h 16"/>
                <a:gd name="T14" fmla="*/ 52 w 56"/>
                <a:gd name="T15" fmla="*/ 12 h 16"/>
                <a:gd name="T16" fmla="*/ 46 w 56"/>
                <a:gd name="T17" fmla="*/ 16 h 16"/>
                <a:gd name="T18" fmla="*/ 38 w 56"/>
                <a:gd name="T19" fmla="*/ 16 h 16"/>
                <a:gd name="T20" fmla="*/ 30 w 56"/>
                <a:gd name="T21" fmla="*/ 14 h 16"/>
                <a:gd name="T22" fmla="*/ 14 w 56"/>
                <a:gd name="T23" fmla="*/ 10 h 16"/>
                <a:gd name="T24" fmla="*/ 0 w 56"/>
                <a:gd name="T25" fmla="*/ 6 h 16"/>
                <a:gd name="T26" fmla="*/ 0 w 56"/>
                <a:gd name="T2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6">
                  <a:moveTo>
                    <a:pt x="0" y="6"/>
                  </a:moveTo>
                  <a:lnTo>
                    <a:pt x="0" y="6"/>
                  </a:lnTo>
                  <a:lnTo>
                    <a:pt x="6" y="2"/>
                  </a:lnTo>
                  <a:lnTo>
                    <a:pt x="12" y="0"/>
                  </a:lnTo>
                  <a:lnTo>
                    <a:pt x="28" y="2"/>
                  </a:lnTo>
                  <a:lnTo>
                    <a:pt x="56" y="6"/>
                  </a:lnTo>
                  <a:lnTo>
                    <a:pt x="56" y="6"/>
                  </a:lnTo>
                  <a:lnTo>
                    <a:pt x="52" y="12"/>
                  </a:lnTo>
                  <a:lnTo>
                    <a:pt x="46" y="16"/>
                  </a:lnTo>
                  <a:lnTo>
                    <a:pt x="38" y="16"/>
                  </a:lnTo>
                  <a:lnTo>
                    <a:pt x="30" y="14"/>
                  </a:lnTo>
                  <a:lnTo>
                    <a:pt x="14" y="10"/>
                  </a:lnTo>
                  <a:lnTo>
                    <a:pt x="0" y="6"/>
                  </a:lnTo>
                  <a:lnTo>
                    <a:pt x="0" y="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6" name="Freeform 40"/>
            <p:cNvSpPr>
              <a:spLocks/>
            </p:cNvSpPr>
            <p:nvPr/>
          </p:nvSpPr>
          <p:spPr bwMode="auto">
            <a:xfrm>
              <a:off x="9771967" y="2855462"/>
              <a:ext cx="37178" cy="40558"/>
            </a:xfrm>
            <a:custGeom>
              <a:avLst/>
              <a:gdLst>
                <a:gd name="T0" fmla="*/ 22 w 22"/>
                <a:gd name="T1" fmla="*/ 0 h 24"/>
                <a:gd name="T2" fmla="*/ 22 w 22"/>
                <a:gd name="T3" fmla="*/ 0 h 24"/>
                <a:gd name="T4" fmla="*/ 22 w 22"/>
                <a:gd name="T5" fmla="*/ 10 h 24"/>
                <a:gd name="T6" fmla="*/ 18 w 22"/>
                <a:gd name="T7" fmla="*/ 18 h 24"/>
                <a:gd name="T8" fmla="*/ 12 w 22"/>
                <a:gd name="T9" fmla="*/ 22 h 24"/>
                <a:gd name="T10" fmla="*/ 4 w 22"/>
                <a:gd name="T11" fmla="*/ 24 h 24"/>
                <a:gd name="T12" fmla="*/ 4 w 22"/>
                <a:gd name="T13" fmla="*/ 24 h 24"/>
                <a:gd name="T14" fmla="*/ 4 w 22"/>
                <a:gd name="T15" fmla="*/ 18 h 24"/>
                <a:gd name="T16" fmla="*/ 2 w 22"/>
                <a:gd name="T17" fmla="*/ 14 h 24"/>
                <a:gd name="T18" fmla="*/ 0 w 22"/>
                <a:gd name="T19" fmla="*/ 10 h 24"/>
                <a:gd name="T20" fmla="*/ 0 w 22"/>
                <a:gd name="T21" fmla="*/ 4 h 24"/>
                <a:gd name="T22" fmla="*/ 0 w 22"/>
                <a:gd name="T23" fmla="*/ 4 h 24"/>
                <a:gd name="T24" fmla="*/ 6 w 22"/>
                <a:gd name="T25" fmla="*/ 4 h 24"/>
                <a:gd name="T26" fmla="*/ 10 w 22"/>
                <a:gd name="T27" fmla="*/ 2 h 24"/>
                <a:gd name="T28" fmla="*/ 14 w 22"/>
                <a:gd name="T29" fmla="*/ 0 h 24"/>
                <a:gd name="T30" fmla="*/ 22 w 22"/>
                <a:gd name="T31" fmla="*/ 0 h 24"/>
                <a:gd name="T32" fmla="*/ 22 w 22"/>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4">
                  <a:moveTo>
                    <a:pt x="22" y="0"/>
                  </a:moveTo>
                  <a:lnTo>
                    <a:pt x="22" y="0"/>
                  </a:lnTo>
                  <a:lnTo>
                    <a:pt x="22" y="10"/>
                  </a:lnTo>
                  <a:lnTo>
                    <a:pt x="18" y="18"/>
                  </a:lnTo>
                  <a:lnTo>
                    <a:pt x="12" y="22"/>
                  </a:lnTo>
                  <a:lnTo>
                    <a:pt x="4" y="24"/>
                  </a:lnTo>
                  <a:lnTo>
                    <a:pt x="4" y="24"/>
                  </a:lnTo>
                  <a:lnTo>
                    <a:pt x="4" y="18"/>
                  </a:lnTo>
                  <a:lnTo>
                    <a:pt x="2" y="14"/>
                  </a:lnTo>
                  <a:lnTo>
                    <a:pt x="0" y="10"/>
                  </a:lnTo>
                  <a:lnTo>
                    <a:pt x="0" y="4"/>
                  </a:lnTo>
                  <a:lnTo>
                    <a:pt x="0" y="4"/>
                  </a:lnTo>
                  <a:lnTo>
                    <a:pt x="6" y="4"/>
                  </a:lnTo>
                  <a:lnTo>
                    <a:pt x="10" y="2"/>
                  </a:lnTo>
                  <a:lnTo>
                    <a:pt x="14" y="0"/>
                  </a:lnTo>
                  <a:lnTo>
                    <a:pt x="22" y="0"/>
                  </a:lnTo>
                  <a:lnTo>
                    <a:pt x="2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7" name="Freeform 41"/>
            <p:cNvSpPr>
              <a:spLocks/>
            </p:cNvSpPr>
            <p:nvPr/>
          </p:nvSpPr>
          <p:spPr bwMode="auto">
            <a:xfrm>
              <a:off x="9694231" y="2862222"/>
              <a:ext cx="57457" cy="87876"/>
            </a:xfrm>
            <a:custGeom>
              <a:avLst/>
              <a:gdLst>
                <a:gd name="T0" fmla="*/ 4 w 34"/>
                <a:gd name="T1" fmla="*/ 0 h 52"/>
                <a:gd name="T2" fmla="*/ 4 w 34"/>
                <a:gd name="T3" fmla="*/ 0 h 52"/>
                <a:gd name="T4" fmla="*/ 12 w 34"/>
                <a:gd name="T5" fmla="*/ 2 h 52"/>
                <a:gd name="T6" fmla="*/ 20 w 34"/>
                <a:gd name="T7" fmla="*/ 8 h 52"/>
                <a:gd name="T8" fmla="*/ 28 w 34"/>
                <a:gd name="T9" fmla="*/ 14 h 52"/>
                <a:gd name="T10" fmla="*/ 32 w 34"/>
                <a:gd name="T11" fmla="*/ 22 h 52"/>
                <a:gd name="T12" fmla="*/ 34 w 34"/>
                <a:gd name="T13" fmla="*/ 32 h 52"/>
                <a:gd name="T14" fmla="*/ 34 w 34"/>
                <a:gd name="T15" fmla="*/ 40 h 52"/>
                <a:gd name="T16" fmla="*/ 30 w 34"/>
                <a:gd name="T17" fmla="*/ 48 h 52"/>
                <a:gd name="T18" fmla="*/ 26 w 34"/>
                <a:gd name="T19" fmla="*/ 50 h 52"/>
                <a:gd name="T20" fmla="*/ 22 w 34"/>
                <a:gd name="T21" fmla="*/ 52 h 52"/>
                <a:gd name="T22" fmla="*/ 22 w 34"/>
                <a:gd name="T23" fmla="*/ 52 h 52"/>
                <a:gd name="T24" fmla="*/ 22 w 34"/>
                <a:gd name="T25" fmla="*/ 42 h 52"/>
                <a:gd name="T26" fmla="*/ 20 w 34"/>
                <a:gd name="T27" fmla="*/ 36 h 52"/>
                <a:gd name="T28" fmla="*/ 14 w 34"/>
                <a:gd name="T29" fmla="*/ 30 h 52"/>
                <a:gd name="T30" fmla="*/ 10 w 34"/>
                <a:gd name="T31" fmla="*/ 24 h 52"/>
                <a:gd name="T32" fmla="*/ 4 w 34"/>
                <a:gd name="T33" fmla="*/ 20 h 52"/>
                <a:gd name="T34" fmla="*/ 2 w 34"/>
                <a:gd name="T35" fmla="*/ 14 h 52"/>
                <a:gd name="T36" fmla="*/ 0 w 34"/>
                <a:gd name="T37" fmla="*/ 8 h 52"/>
                <a:gd name="T38" fmla="*/ 4 w 34"/>
                <a:gd name="T39" fmla="*/ 0 h 52"/>
                <a:gd name="T40" fmla="*/ 4 w 34"/>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2">
                  <a:moveTo>
                    <a:pt x="4" y="0"/>
                  </a:moveTo>
                  <a:lnTo>
                    <a:pt x="4" y="0"/>
                  </a:lnTo>
                  <a:lnTo>
                    <a:pt x="12" y="2"/>
                  </a:lnTo>
                  <a:lnTo>
                    <a:pt x="20" y="8"/>
                  </a:lnTo>
                  <a:lnTo>
                    <a:pt x="28" y="14"/>
                  </a:lnTo>
                  <a:lnTo>
                    <a:pt x="32" y="22"/>
                  </a:lnTo>
                  <a:lnTo>
                    <a:pt x="34" y="32"/>
                  </a:lnTo>
                  <a:lnTo>
                    <a:pt x="34" y="40"/>
                  </a:lnTo>
                  <a:lnTo>
                    <a:pt x="30" y="48"/>
                  </a:lnTo>
                  <a:lnTo>
                    <a:pt x="26" y="50"/>
                  </a:lnTo>
                  <a:lnTo>
                    <a:pt x="22" y="52"/>
                  </a:lnTo>
                  <a:lnTo>
                    <a:pt x="22" y="52"/>
                  </a:lnTo>
                  <a:lnTo>
                    <a:pt x="22" y="42"/>
                  </a:lnTo>
                  <a:lnTo>
                    <a:pt x="20" y="36"/>
                  </a:lnTo>
                  <a:lnTo>
                    <a:pt x="14" y="30"/>
                  </a:lnTo>
                  <a:lnTo>
                    <a:pt x="10" y="24"/>
                  </a:lnTo>
                  <a:lnTo>
                    <a:pt x="4" y="20"/>
                  </a:lnTo>
                  <a:lnTo>
                    <a:pt x="2" y="14"/>
                  </a:lnTo>
                  <a:lnTo>
                    <a:pt x="0" y="8"/>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8" name="Freeform 42"/>
            <p:cNvSpPr>
              <a:spLocks/>
            </p:cNvSpPr>
            <p:nvPr/>
          </p:nvSpPr>
          <p:spPr bwMode="auto">
            <a:xfrm>
              <a:off x="9477921" y="3169786"/>
              <a:ext cx="54077" cy="104775"/>
            </a:xfrm>
            <a:custGeom>
              <a:avLst/>
              <a:gdLst>
                <a:gd name="T0" fmla="*/ 20 w 32"/>
                <a:gd name="T1" fmla="*/ 0 h 62"/>
                <a:gd name="T2" fmla="*/ 20 w 32"/>
                <a:gd name="T3" fmla="*/ 0 h 62"/>
                <a:gd name="T4" fmla="*/ 28 w 32"/>
                <a:gd name="T5" fmla="*/ 4 h 62"/>
                <a:gd name="T6" fmla="*/ 32 w 32"/>
                <a:gd name="T7" fmla="*/ 10 h 62"/>
                <a:gd name="T8" fmla="*/ 32 w 32"/>
                <a:gd name="T9" fmla="*/ 18 h 62"/>
                <a:gd name="T10" fmla="*/ 32 w 32"/>
                <a:gd name="T11" fmla="*/ 26 h 62"/>
                <a:gd name="T12" fmla="*/ 28 w 32"/>
                <a:gd name="T13" fmla="*/ 44 h 62"/>
                <a:gd name="T14" fmla="*/ 26 w 32"/>
                <a:gd name="T15" fmla="*/ 52 h 62"/>
                <a:gd name="T16" fmla="*/ 24 w 32"/>
                <a:gd name="T17" fmla="*/ 62 h 62"/>
                <a:gd name="T18" fmla="*/ 24 w 32"/>
                <a:gd name="T19" fmla="*/ 62 h 62"/>
                <a:gd name="T20" fmla="*/ 20 w 32"/>
                <a:gd name="T21" fmla="*/ 60 h 62"/>
                <a:gd name="T22" fmla="*/ 16 w 32"/>
                <a:gd name="T23" fmla="*/ 58 h 62"/>
                <a:gd name="T24" fmla="*/ 10 w 32"/>
                <a:gd name="T25" fmla="*/ 52 h 62"/>
                <a:gd name="T26" fmla="*/ 6 w 32"/>
                <a:gd name="T27" fmla="*/ 44 h 62"/>
                <a:gd name="T28" fmla="*/ 0 w 32"/>
                <a:gd name="T29" fmla="*/ 38 h 62"/>
                <a:gd name="T30" fmla="*/ 0 w 32"/>
                <a:gd name="T31" fmla="*/ 38 h 62"/>
                <a:gd name="T32" fmla="*/ 4 w 32"/>
                <a:gd name="T33" fmla="*/ 26 h 62"/>
                <a:gd name="T34" fmla="*/ 8 w 32"/>
                <a:gd name="T35" fmla="*/ 18 h 62"/>
                <a:gd name="T36" fmla="*/ 20 w 32"/>
                <a:gd name="T37" fmla="*/ 0 h 62"/>
                <a:gd name="T38" fmla="*/ 20 w 32"/>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62">
                  <a:moveTo>
                    <a:pt x="20" y="0"/>
                  </a:moveTo>
                  <a:lnTo>
                    <a:pt x="20" y="0"/>
                  </a:lnTo>
                  <a:lnTo>
                    <a:pt x="28" y="4"/>
                  </a:lnTo>
                  <a:lnTo>
                    <a:pt x="32" y="10"/>
                  </a:lnTo>
                  <a:lnTo>
                    <a:pt x="32" y="18"/>
                  </a:lnTo>
                  <a:lnTo>
                    <a:pt x="32" y="26"/>
                  </a:lnTo>
                  <a:lnTo>
                    <a:pt x="28" y="44"/>
                  </a:lnTo>
                  <a:lnTo>
                    <a:pt x="26" y="52"/>
                  </a:lnTo>
                  <a:lnTo>
                    <a:pt x="24" y="62"/>
                  </a:lnTo>
                  <a:lnTo>
                    <a:pt x="24" y="62"/>
                  </a:lnTo>
                  <a:lnTo>
                    <a:pt x="20" y="60"/>
                  </a:lnTo>
                  <a:lnTo>
                    <a:pt x="16" y="58"/>
                  </a:lnTo>
                  <a:lnTo>
                    <a:pt x="10" y="52"/>
                  </a:lnTo>
                  <a:lnTo>
                    <a:pt x="6" y="44"/>
                  </a:lnTo>
                  <a:lnTo>
                    <a:pt x="0" y="38"/>
                  </a:lnTo>
                  <a:lnTo>
                    <a:pt x="0" y="38"/>
                  </a:lnTo>
                  <a:lnTo>
                    <a:pt x="4" y="26"/>
                  </a:lnTo>
                  <a:lnTo>
                    <a:pt x="8" y="18"/>
                  </a:lnTo>
                  <a:lnTo>
                    <a:pt x="20" y="0"/>
                  </a:lnTo>
                  <a:lnTo>
                    <a:pt x="2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39" name="Freeform 43"/>
            <p:cNvSpPr>
              <a:spLocks/>
            </p:cNvSpPr>
            <p:nvPr/>
          </p:nvSpPr>
          <p:spPr bwMode="auto">
            <a:xfrm>
              <a:off x="2921033" y="3240763"/>
              <a:ext cx="321085" cy="108155"/>
            </a:xfrm>
            <a:custGeom>
              <a:avLst/>
              <a:gdLst>
                <a:gd name="T0" fmla="*/ 190 w 190"/>
                <a:gd name="T1" fmla="*/ 56 h 64"/>
                <a:gd name="T2" fmla="*/ 190 w 190"/>
                <a:gd name="T3" fmla="*/ 56 h 64"/>
                <a:gd name="T4" fmla="*/ 182 w 190"/>
                <a:gd name="T5" fmla="*/ 62 h 64"/>
                <a:gd name="T6" fmla="*/ 172 w 190"/>
                <a:gd name="T7" fmla="*/ 64 h 64"/>
                <a:gd name="T8" fmla="*/ 162 w 190"/>
                <a:gd name="T9" fmla="*/ 64 h 64"/>
                <a:gd name="T10" fmla="*/ 152 w 190"/>
                <a:gd name="T11" fmla="*/ 62 h 64"/>
                <a:gd name="T12" fmla="*/ 132 w 190"/>
                <a:gd name="T13" fmla="*/ 60 h 64"/>
                <a:gd name="T14" fmla="*/ 122 w 190"/>
                <a:gd name="T15" fmla="*/ 60 h 64"/>
                <a:gd name="T16" fmla="*/ 112 w 190"/>
                <a:gd name="T17" fmla="*/ 60 h 64"/>
                <a:gd name="T18" fmla="*/ 112 w 190"/>
                <a:gd name="T19" fmla="*/ 60 h 64"/>
                <a:gd name="T20" fmla="*/ 112 w 190"/>
                <a:gd name="T21" fmla="*/ 54 h 64"/>
                <a:gd name="T22" fmla="*/ 112 w 190"/>
                <a:gd name="T23" fmla="*/ 48 h 64"/>
                <a:gd name="T24" fmla="*/ 110 w 190"/>
                <a:gd name="T25" fmla="*/ 44 h 64"/>
                <a:gd name="T26" fmla="*/ 106 w 190"/>
                <a:gd name="T27" fmla="*/ 38 h 64"/>
                <a:gd name="T28" fmla="*/ 92 w 190"/>
                <a:gd name="T29" fmla="*/ 28 h 64"/>
                <a:gd name="T30" fmla="*/ 76 w 190"/>
                <a:gd name="T31" fmla="*/ 20 h 64"/>
                <a:gd name="T32" fmla="*/ 56 w 190"/>
                <a:gd name="T33" fmla="*/ 14 h 64"/>
                <a:gd name="T34" fmla="*/ 36 w 190"/>
                <a:gd name="T35" fmla="*/ 12 h 64"/>
                <a:gd name="T36" fmla="*/ 26 w 190"/>
                <a:gd name="T37" fmla="*/ 14 h 64"/>
                <a:gd name="T38" fmla="*/ 16 w 190"/>
                <a:gd name="T39" fmla="*/ 16 h 64"/>
                <a:gd name="T40" fmla="*/ 8 w 190"/>
                <a:gd name="T41" fmla="*/ 18 h 64"/>
                <a:gd name="T42" fmla="*/ 0 w 190"/>
                <a:gd name="T43" fmla="*/ 24 h 64"/>
                <a:gd name="T44" fmla="*/ 0 w 190"/>
                <a:gd name="T45" fmla="*/ 24 h 64"/>
                <a:gd name="T46" fmla="*/ 10 w 190"/>
                <a:gd name="T47" fmla="*/ 14 h 64"/>
                <a:gd name="T48" fmla="*/ 22 w 190"/>
                <a:gd name="T49" fmla="*/ 8 h 64"/>
                <a:gd name="T50" fmla="*/ 34 w 190"/>
                <a:gd name="T51" fmla="*/ 2 h 64"/>
                <a:gd name="T52" fmla="*/ 46 w 190"/>
                <a:gd name="T53" fmla="*/ 0 h 64"/>
                <a:gd name="T54" fmla="*/ 60 w 190"/>
                <a:gd name="T55" fmla="*/ 0 h 64"/>
                <a:gd name="T56" fmla="*/ 72 w 190"/>
                <a:gd name="T57" fmla="*/ 2 h 64"/>
                <a:gd name="T58" fmla="*/ 86 w 190"/>
                <a:gd name="T59" fmla="*/ 4 h 64"/>
                <a:gd name="T60" fmla="*/ 100 w 190"/>
                <a:gd name="T61" fmla="*/ 8 h 64"/>
                <a:gd name="T62" fmla="*/ 126 w 190"/>
                <a:gd name="T63" fmla="*/ 20 h 64"/>
                <a:gd name="T64" fmla="*/ 150 w 190"/>
                <a:gd name="T65" fmla="*/ 32 h 64"/>
                <a:gd name="T66" fmla="*/ 190 w 190"/>
                <a:gd name="T67" fmla="*/ 56 h 64"/>
                <a:gd name="T68" fmla="*/ 190 w 190"/>
                <a:gd name="T6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64">
                  <a:moveTo>
                    <a:pt x="190" y="56"/>
                  </a:moveTo>
                  <a:lnTo>
                    <a:pt x="190" y="56"/>
                  </a:lnTo>
                  <a:lnTo>
                    <a:pt x="182" y="62"/>
                  </a:lnTo>
                  <a:lnTo>
                    <a:pt x="172" y="64"/>
                  </a:lnTo>
                  <a:lnTo>
                    <a:pt x="162" y="64"/>
                  </a:lnTo>
                  <a:lnTo>
                    <a:pt x="152" y="62"/>
                  </a:lnTo>
                  <a:lnTo>
                    <a:pt x="132" y="60"/>
                  </a:lnTo>
                  <a:lnTo>
                    <a:pt x="122" y="60"/>
                  </a:lnTo>
                  <a:lnTo>
                    <a:pt x="112" y="60"/>
                  </a:lnTo>
                  <a:lnTo>
                    <a:pt x="112" y="60"/>
                  </a:lnTo>
                  <a:lnTo>
                    <a:pt x="112" y="54"/>
                  </a:lnTo>
                  <a:lnTo>
                    <a:pt x="112" y="48"/>
                  </a:lnTo>
                  <a:lnTo>
                    <a:pt x="110" y="44"/>
                  </a:lnTo>
                  <a:lnTo>
                    <a:pt x="106" y="38"/>
                  </a:lnTo>
                  <a:lnTo>
                    <a:pt x="92" y="28"/>
                  </a:lnTo>
                  <a:lnTo>
                    <a:pt x="76" y="20"/>
                  </a:lnTo>
                  <a:lnTo>
                    <a:pt x="56" y="14"/>
                  </a:lnTo>
                  <a:lnTo>
                    <a:pt x="36" y="12"/>
                  </a:lnTo>
                  <a:lnTo>
                    <a:pt x="26" y="14"/>
                  </a:lnTo>
                  <a:lnTo>
                    <a:pt x="16" y="16"/>
                  </a:lnTo>
                  <a:lnTo>
                    <a:pt x="8" y="18"/>
                  </a:lnTo>
                  <a:lnTo>
                    <a:pt x="0" y="24"/>
                  </a:lnTo>
                  <a:lnTo>
                    <a:pt x="0" y="24"/>
                  </a:lnTo>
                  <a:lnTo>
                    <a:pt x="10" y="14"/>
                  </a:lnTo>
                  <a:lnTo>
                    <a:pt x="22" y="8"/>
                  </a:lnTo>
                  <a:lnTo>
                    <a:pt x="34" y="2"/>
                  </a:lnTo>
                  <a:lnTo>
                    <a:pt x="46" y="0"/>
                  </a:lnTo>
                  <a:lnTo>
                    <a:pt x="60" y="0"/>
                  </a:lnTo>
                  <a:lnTo>
                    <a:pt x="72" y="2"/>
                  </a:lnTo>
                  <a:lnTo>
                    <a:pt x="86" y="4"/>
                  </a:lnTo>
                  <a:lnTo>
                    <a:pt x="100" y="8"/>
                  </a:lnTo>
                  <a:lnTo>
                    <a:pt x="126" y="20"/>
                  </a:lnTo>
                  <a:lnTo>
                    <a:pt x="150" y="32"/>
                  </a:lnTo>
                  <a:lnTo>
                    <a:pt x="190" y="56"/>
                  </a:lnTo>
                  <a:lnTo>
                    <a:pt x="190" y="5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0" name="Freeform 44"/>
            <p:cNvSpPr>
              <a:spLocks/>
            </p:cNvSpPr>
            <p:nvPr/>
          </p:nvSpPr>
          <p:spPr bwMode="auto">
            <a:xfrm>
              <a:off x="3211699" y="3359058"/>
              <a:ext cx="206170" cy="54077"/>
            </a:xfrm>
            <a:custGeom>
              <a:avLst/>
              <a:gdLst>
                <a:gd name="T0" fmla="*/ 38 w 122"/>
                <a:gd name="T1" fmla="*/ 4 h 32"/>
                <a:gd name="T2" fmla="*/ 38 w 122"/>
                <a:gd name="T3" fmla="*/ 4 h 32"/>
                <a:gd name="T4" fmla="*/ 48 w 122"/>
                <a:gd name="T5" fmla="*/ 2 h 32"/>
                <a:gd name="T6" fmla="*/ 60 w 122"/>
                <a:gd name="T7" fmla="*/ 0 h 32"/>
                <a:gd name="T8" fmla="*/ 72 w 122"/>
                <a:gd name="T9" fmla="*/ 0 h 32"/>
                <a:gd name="T10" fmla="*/ 84 w 122"/>
                <a:gd name="T11" fmla="*/ 2 h 32"/>
                <a:gd name="T12" fmla="*/ 94 w 122"/>
                <a:gd name="T13" fmla="*/ 4 h 32"/>
                <a:gd name="T14" fmla="*/ 106 w 122"/>
                <a:gd name="T15" fmla="*/ 10 h 32"/>
                <a:gd name="T16" fmla="*/ 122 w 122"/>
                <a:gd name="T17" fmla="*/ 18 h 32"/>
                <a:gd name="T18" fmla="*/ 122 w 122"/>
                <a:gd name="T19" fmla="*/ 18 h 32"/>
                <a:gd name="T20" fmla="*/ 106 w 122"/>
                <a:gd name="T21" fmla="*/ 26 h 32"/>
                <a:gd name="T22" fmla="*/ 92 w 122"/>
                <a:gd name="T23" fmla="*/ 30 h 32"/>
                <a:gd name="T24" fmla="*/ 76 w 122"/>
                <a:gd name="T25" fmla="*/ 32 h 32"/>
                <a:gd name="T26" fmla="*/ 62 w 122"/>
                <a:gd name="T27" fmla="*/ 32 h 32"/>
                <a:gd name="T28" fmla="*/ 32 w 122"/>
                <a:gd name="T29" fmla="*/ 32 h 32"/>
                <a:gd name="T30" fmla="*/ 0 w 122"/>
                <a:gd name="T31" fmla="*/ 28 h 32"/>
                <a:gd name="T32" fmla="*/ 0 w 122"/>
                <a:gd name="T33" fmla="*/ 28 h 32"/>
                <a:gd name="T34" fmla="*/ 6 w 122"/>
                <a:gd name="T35" fmla="*/ 26 h 32"/>
                <a:gd name="T36" fmla="*/ 12 w 122"/>
                <a:gd name="T37" fmla="*/ 24 h 32"/>
                <a:gd name="T38" fmla="*/ 24 w 122"/>
                <a:gd name="T39" fmla="*/ 24 h 32"/>
                <a:gd name="T40" fmla="*/ 36 w 122"/>
                <a:gd name="T41" fmla="*/ 24 h 32"/>
                <a:gd name="T42" fmla="*/ 42 w 122"/>
                <a:gd name="T43" fmla="*/ 24 h 32"/>
                <a:gd name="T44" fmla="*/ 46 w 122"/>
                <a:gd name="T45" fmla="*/ 18 h 32"/>
                <a:gd name="T46" fmla="*/ 46 w 122"/>
                <a:gd name="T47" fmla="*/ 18 h 32"/>
                <a:gd name="T48" fmla="*/ 44 w 122"/>
                <a:gd name="T49" fmla="*/ 16 h 32"/>
                <a:gd name="T50" fmla="*/ 42 w 122"/>
                <a:gd name="T51" fmla="*/ 12 h 32"/>
                <a:gd name="T52" fmla="*/ 42 w 122"/>
                <a:gd name="T53" fmla="*/ 8 h 32"/>
                <a:gd name="T54" fmla="*/ 38 w 122"/>
                <a:gd name="T55" fmla="*/ 4 h 32"/>
                <a:gd name="T56" fmla="*/ 38 w 122"/>
                <a:gd name="T5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32">
                  <a:moveTo>
                    <a:pt x="38" y="4"/>
                  </a:moveTo>
                  <a:lnTo>
                    <a:pt x="38" y="4"/>
                  </a:lnTo>
                  <a:lnTo>
                    <a:pt x="48" y="2"/>
                  </a:lnTo>
                  <a:lnTo>
                    <a:pt x="60" y="0"/>
                  </a:lnTo>
                  <a:lnTo>
                    <a:pt x="72" y="0"/>
                  </a:lnTo>
                  <a:lnTo>
                    <a:pt x="84" y="2"/>
                  </a:lnTo>
                  <a:lnTo>
                    <a:pt x="94" y="4"/>
                  </a:lnTo>
                  <a:lnTo>
                    <a:pt x="106" y="10"/>
                  </a:lnTo>
                  <a:lnTo>
                    <a:pt x="122" y="18"/>
                  </a:lnTo>
                  <a:lnTo>
                    <a:pt x="122" y="18"/>
                  </a:lnTo>
                  <a:lnTo>
                    <a:pt x="106" y="26"/>
                  </a:lnTo>
                  <a:lnTo>
                    <a:pt x="92" y="30"/>
                  </a:lnTo>
                  <a:lnTo>
                    <a:pt x="76" y="32"/>
                  </a:lnTo>
                  <a:lnTo>
                    <a:pt x="62" y="32"/>
                  </a:lnTo>
                  <a:lnTo>
                    <a:pt x="32" y="32"/>
                  </a:lnTo>
                  <a:lnTo>
                    <a:pt x="0" y="28"/>
                  </a:lnTo>
                  <a:lnTo>
                    <a:pt x="0" y="28"/>
                  </a:lnTo>
                  <a:lnTo>
                    <a:pt x="6" y="26"/>
                  </a:lnTo>
                  <a:lnTo>
                    <a:pt x="12" y="24"/>
                  </a:lnTo>
                  <a:lnTo>
                    <a:pt x="24" y="24"/>
                  </a:lnTo>
                  <a:lnTo>
                    <a:pt x="36" y="24"/>
                  </a:lnTo>
                  <a:lnTo>
                    <a:pt x="42" y="24"/>
                  </a:lnTo>
                  <a:lnTo>
                    <a:pt x="46" y="18"/>
                  </a:lnTo>
                  <a:lnTo>
                    <a:pt x="46" y="18"/>
                  </a:lnTo>
                  <a:lnTo>
                    <a:pt x="44" y="16"/>
                  </a:lnTo>
                  <a:lnTo>
                    <a:pt x="42" y="12"/>
                  </a:lnTo>
                  <a:lnTo>
                    <a:pt x="42" y="8"/>
                  </a:lnTo>
                  <a:lnTo>
                    <a:pt x="38" y="4"/>
                  </a:lnTo>
                  <a:lnTo>
                    <a:pt x="38"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1" name="Freeform 45"/>
            <p:cNvSpPr>
              <a:spLocks/>
            </p:cNvSpPr>
            <p:nvPr/>
          </p:nvSpPr>
          <p:spPr bwMode="auto">
            <a:xfrm>
              <a:off x="9139937" y="3359058"/>
              <a:ext cx="64217" cy="54077"/>
            </a:xfrm>
            <a:custGeom>
              <a:avLst/>
              <a:gdLst>
                <a:gd name="T0" fmla="*/ 38 w 38"/>
                <a:gd name="T1" fmla="*/ 0 h 32"/>
                <a:gd name="T2" fmla="*/ 38 w 38"/>
                <a:gd name="T3" fmla="*/ 0 h 32"/>
                <a:gd name="T4" fmla="*/ 32 w 38"/>
                <a:gd name="T5" fmla="*/ 10 h 32"/>
                <a:gd name="T6" fmla="*/ 28 w 38"/>
                <a:gd name="T7" fmla="*/ 20 h 32"/>
                <a:gd name="T8" fmla="*/ 24 w 38"/>
                <a:gd name="T9" fmla="*/ 26 h 32"/>
                <a:gd name="T10" fmla="*/ 22 w 38"/>
                <a:gd name="T11" fmla="*/ 30 h 32"/>
                <a:gd name="T12" fmla="*/ 16 w 38"/>
                <a:gd name="T13" fmla="*/ 32 h 32"/>
                <a:gd name="T14" fmla="*/ 10 w 38"/>
                <a:gd name="T15" fmla="*/ 32 h 32"/>
                <a:gd name="T16" fmla="*/ 10 w 38"/>
                <a:gd name="T17" fmla="*/ 32 h 32"/>
                <a:gd name="T18" fmla="*/ 6 w 38"/>
                <a:gd name="T19" fmla="*/ 28 h 32"/>
                <a:gd name="T20" fmla="*/ 2 w 38"/>
                <a:gd name="T21" fmla="*/ 24 h 32"/>
                <a:gd name="T22" fmla="*/ 0 w 38"/>
                <a:gd name="T23" fmla="*/ 18 h 32"/>
                <a:gd name="T24" fmla="*/ 0 w 38"/>
                <a:gd name="T25" fmla="*/ 10 h 32"/>
                <a:gd name="T26" fmla="*/ 0 w 38"/>
                <a:gd name="T27" fmla="*/ 10 h 32"/>
                <a:gd name="T28" fmla="*/ 16 w 38"/>
                <a:gd name="T29" fmla="*/ 2 h 32"/>
                <a:gd name="T30" fmla="*/ 26 w 38"/>
                <a:gd name="T31" fmla="*/ 0 h 32"/>
                <a:gd name="T32" fmla="*/ 38 w 38"/>
                <a:gd name="T33" fmla="*/ 0 h 32"/>
                <a:gd name="T34" fmla="*/ 38 w 38"/>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32">
                  <a:moveTo>
                    <a:pt x="38" y="0"/>
                  </a:moveTo>
                  <a:lnTo>
                    <a:pt x="38" y="0"/>
                  </a:lnTo>
                  <a:lnTo>
                    <a:pt x="32" y="10"/>
                  </a:lnTo>
                  <a:lnTo>
                    <a:pt x="28" y="20"/>
                  </a:lnTo>
                  <a:lnTo>
                    <a:pt x="24" y="26"/>
                  </a:lnTo>
                  <a:lnTo>
                    <a:pt x="22" y="30"/>
                  </a:lnTo>
                  <a:lnTo>
                    <a:pt x="16" y="32"/>
                  </a:lnTo>
                  <a:lnTo>
                    <a:pt x="10" y="32"/>
                  </a:lnTo>
                  <a:lnTo>
                    <a:pt x="10" y="32"/>
                  </a:lnTo>
                  <a:lnTo>
                    <a:pt x="6" y="28"/>
                  </a:lnTo>
                  <a:lnTo>
                    <a:pt x="2" y="24"/>
                  </a:lnTo>
                  <a:lnTo>
                    <a:pt x="0" y="18"/>
                  </a:lnTo>
                  <a:lnTo>
                    <a:pt x="0" y="10"/>
                  </a:lnTo>
                  <a:lnTo>
                    <a:pt x="0" y="10"/>
                  </a:lnTo>
                  <a:lnTo>
                    <a:pt x="16" y="2"/>
                  </a:lnTo>
                  <a:lnTo>
                    <a:pt x="26" y="0"/>
                  </a:lnTo>
                  <a:lnTo>
                    <a:pt x="38" y="0"/>
                  </a:lnTo>
                  <a:lnTo>
                    <a:pt x="3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2" name="Freeform 46"/>
            <p:cNvSpPr>
              <a:spLocks/>
            </p:cNvSpPr>
            <p:nvPr/>
          </p:nvSpPr>
          <p:spPr bwMode="auto">
            <a:xfrm>
              <a:off x="3093405" y="3399616"/>
              <a:ext cx="64217" cy="23659"/>
            </a:xfrm>
            <a:custGeom>
              <a:avLst/>
              <a:gdLst>
                <a:gd name="T0" fmla="*/ 0 w 38"/>
                <a:gd name="T1" fmla="*/ 0 h 14"/>
                <a:gd name="T2" fmla="*/ 0 w 38"/>
                <a:gd name="T3" fmla="*/ 0 h 14"/>
                <a:gd name="T4" fmla="*/ 12 w 38"/>
                <a:gd name="T5" fmla="*/ 0 h 14"/>
                <a:gd name="T6" fmla="*/ 22 w 38"/>
                <a:gd name="T7" fmla="*/ 2 h 14"/>
                <a:gd name="T8" fmla="*/ 38 w 38"/>
                <a:gd name="T9" fmla="*/ 8 h 14"/>
                <a:gd name="T10" fmla="*/ 38 w 38"/>
                <a:gd name="T11" fmla="*/ 8 h 14"/>
                <a:gd name="T12" fmla="*/ 34 w 38"/>
                <a:gd name="T13" fmla="*/ 12 h 14"/>
                <a:gd name="T14" fmla="*/ 28 w 38"/>
                <a:gd name="T15" fmla="*/ 14 h 14"/>
                <a:gd name="T16" fmla="*/ 16 w 38"/>
                <a:gd name="T17" fmla="*/ 14 h 14"/>
                <a:gd name="T18" fmla="*/ 8 w 38"/>
                <a:gd name="T19" fmla="*/ 12 h 14"/>
                <a:gd name="T20" fmla="*/ 4 w 38"/>
                <a:gd name="T21" fmla="*/ 10 h 14"/>
                <a:gd name="T22" fmla="*/ 0 w 38"/>
                <a:gd name="T23" fmla="*/ 4 h 14"/>
                <a:gd name="T24" fmla="*/ 0 w 38"/>
                <a:gd name="T25" fmla="*/ 0 h 14"/>
                <a:gd name="T26" fmla="*/ 0 w 38"/>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4">
                  <a:moveTo>
                    <a:pt x="0" y="0"/>
                  </a:moveTo>
                  <a:lnTo>
                    <a:pt x="0" y="0"/>
                  </a:lnTo>
                  <a:lnTo>
                    <a:pt x="12" y="0"/>
                  </a:lnTo>
                  <a:lnTo>
                    <a:pt x="22" y="2"/>
                  </a:lnTo>
                  <a:lnTo>
                    <a:pt x="38" y="8"/>
                  </a:lnTo>
                  <a:lnTo>
                    <a:pt x="38" y="8"/>
                  </a:lnTo>
                  <a:lnTo>
                    <a:pt x="34" y="12"/>
                  </a:lnTo>
                  <a:lnTo>
                    <a:pt x="28" y="14"/>
                  </a:lnTo>
                  <a:lnTo>
                    <a:pt x="16" y="14"/>
                  </a:lnTo>
                  <a:lnTo>
                    <a:pt x="8" y="12"/>
                  </a:lnTo>
                  <a:lnTo>
                    <a:pt x="4" y="10"/>
                  </a:lnTo>
                  <a:lnTo>
                    <a:pt x="0" y="4"/>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3" name="Freeform 47"/>
            <p:cNvSpPr>
              <a:spLocks/>
            </p:cNvSpPr>
            <p:nvPr/>
          </p:nvSpPr>
          <p:spPr bwMode="auto">
            <a:xfrm>
              <a:off x="3448288" y="3399616"/>
              <a:ext cx="47318" cy="23659"/>
            </a:xfrm>
            <a:custGeom>
              <a:avLst/>
              <a:gdLst>
                <a:gd name="T0" fmla="*/ 28 w 28"/>
                <a:gd name="T1" fmla="*/ 0 h 14"/>
                <a:gd name="T2" fmla="*/ 28 w 28"/>
                <a:gd name="T3" fmla="*/ 0 h 14"/>
                <a:gd name="T4" fmla="*/ 28 w 28"/>
                <a:gd name="T5" fmla="*/ 6 h 14"/>
                <a:gd name="T6" fmla="*/ 26 w 28"/>
                <a:gd name="T7" fmla="*/ 10 h 14"/>
                <a:gd name="T8" fmla="*/ 22 w 28"/>
                <a:gd name="T9" fmla="*/ 12 h 14"/>
                <a:gd name="T10" fmla="*/ 18 w 28"/>
                <a:gd name="T11" fmla="*/ 14 h 14"/>
                <a:gd name="T12" fmla="*/ 8 w 28"/>
                <a:gd name="T13" fmla="*/ 12 h 14"/>
                <a:gd name="T14" fmla="*/ 0 w 28"/>
                <a:gd name="T15" fmla="*/ 8 h 14"/>
                <a:gd name="T16" fmla="*/ 0 w 28"/>
                <a:gd name="T17" fmla="*/ 8 h 14"/>
                <a:gd name="T18" fmla="*/ 0 w 28"/>
                <a:gd name="T19" fmla="*/ 6 h 14"/>
                <a:gd name="T20" fmla="*/ 2 w 28"/>
                <a:gd name="T21" fmla="*/ 2 h 14"/>
                <a:gd name="T22" fmla="*/ 10 w 28"/>
                <a:gd name="T23" fmla="*/ 0 h 14"/>
                <a:gd name="T24" fmla="*/ 28 w 28"/>
                <a:gd name="T25" fmla="*/ 0 h 14"/>
                <a:gd name="T26" fmla="*/ 28 w 28"/>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4">
                  <a:moveTo>
                    <a:pt x="28" y="0"/>
                  </a:moveTo>
                  <a:lnTo>
                    <a:pt x="28" y="0"/>
                  </a:lnTo>
                  <a:lnTo>
                    <a:pt x="28" y="6"/>
                  </a:lnTo>
                  <a:lnTo>
                    <a:pt x="26" y="10"/>
                  </a:lnTo>
                  <a:lnTo>
                    <a:pt x="22" y="12"/>
                  </a:lnTo>
                  <a:lnTo>
                    <a:pt x="18" y="14"/>
                  </a:lnTo>
                  <a:lnTo>
                    <a:pt x="8" y="12"/>
                  </a:lnTo>
                  <a:lnTo>
                    <a:pt x="0" y="8"/>
                  </a:lnTo>
                  <a:lnTo>
                    <a:pt x="0" y="8"/>
                  </a:lnTo>
                  <a:lnTo>
                    <a:pt x="0" y="6"/>
                  </a:lnTo>
                  <a:lnTo>
                    <a:pt x="2" y="2"/>
                  </a:lnTo>
                  <a:lnTo>
                    <a:pt x="10" y="0"/>
                  </a:lnTo>
                  <a:lnTo>
                    <a:pt x="28" y="0"/>
                  </a:lnTo>
                  <a:lnTo>
                    <a:pt x="2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4" name="Freeform 48"/>
            <p:cNvSpPr>
              <a:spLocks/>
            </p:cNvSpPr>
            <p:nvPr/>
          </p:nvSpPr>
          <p:spPr bwMode="auto">
            <a:xfrm>
              <a:off x="9525238" y="3406375"/>
              <a:ext cx="141953" cy="196031"/>
            </a:xfrm>
            <a:custGeom>
              <a:avLst/>
              <a:gdLst>
                <a:gd name="T0" fmla="*/ 10 w 84"/>
                <a:gd name="T1" fmla="*/ 0 h 116"/>
                <a:gd name="T2" fmla="*/ 10 w 84"/>
                <a:gd name="T3" fmla="*/ 0 h 116"/>
                <a:gd name="T4" fmla="*/ 18 w 84"/>
                <a:gd name="T5" fmla="*/ 0 h 116"/>
                <a:gd name="T6" fmla="*/ 24 w 84"/>
                <a:gd name="T7" fmla="*/ 4 h 116"/>
                <a:gd name="T8" fmla="*/ 28 w 84"/>
                <a:gd name="T9" fmla="*/ 8 h 116"/>
                <a:gd name="T10" fmla="*/ 30 w 84"/>
                <a:gd name="T11" fmla="*/ 12 h 116"/>
                <a:gd name="T12" fmla="*/ 36 w 84"/>
                <a:gd name="T13" fmla="*/ 24 h 116"/>
                <a:gd name="T14" fmla="*/ 38 w 84"/>
                <a:gd name="T15" fmla="*/ 28 h 116"/>
                <a:gd name="T16" fmla="*/ 42 w 84"/>
                <a:gd name="T17" fmla="*/ 32 h 116"/>
                <a:gd name="T18" fmla="*/ 42 w 84"/>
                <a:gd name="T19" fmla="*/ 32 h 116"/>
                <a:gd name="T20" fmla="*/ 36 w 84"/>
                <a:gd name="T21" fmla="*/ 50 h 116"/>
                <a:gd name="T22" fmla="*/ 28 w 84"/>
                <a:gd name="T23" fmla="*/ 66 h 116"/>
                <a:gd name="T24" fmla="*/ 28 w 84"/>
                <a:gd name="T25" fmla="*/ 66 h 116"/>
                <a:gd name="T26" fmla="*/ 30 w 84"/>
                <a:gd name="T27" fmla="*/ 72 h 116"/>
                <a:gd name="T28" fmla="*/ 32 w 84"/>
                <a:gd name="T29" fmla="*/ 78 h 116"/>
                <a:gd name="T30" fmla="*/ 34 w 84"/>
                <a:gd name="T31" fmla="*/ 82 h 116"/>
                <a:gd name="T32" fmla="*/ 38 w 84"/>
                <a:gd name="T33" fmla="*/ 86 h 116"/>
                <a:gd name="T34" fmla="*/ 46 w 84"/>
                <a:gd name="T35" fmla="*/ 90 h 116"/>
                <a:gd name="T36" fmla="*/ 56 w 84"/>
                <a:gd name="T37" fmla="*/ 92 h 116"/>
                <a:gd name="T38" fmla="*/ 66 w 84"/>
                <a:gd name="T39" fmla="*/ 94 h 116"/>
                <a:gd name="T40" fmla="*/ 74 w 84"/>
                <a:gd name="T41" fmla="*/ 98 h 116"/>
                <a:gd name="T42" fmla="*/ 78 w 84"/>
                <a:gd name="T43" fmla="*/ 102 h 116"/>
                <a:gd name="T44" fmla="*/ 82 w 84"/>
                <a:gd name="T45" fmla="*/ 106 h 116"/>
                <a:gd name="T46" fmla="*/ 84 w 84"/>
                <a:gd name="T47" fmla="*/ 110 h 116"/>
                <a:gd name="T48" fmla="*/ 84 w 84"/>
                <a:gd name="T49" fmla="*/ 116 h 116"/>
                <a:gd name="T50" fmla="*/ 84 w 84"/>
                <a:gd name="T51" fmla="*/ 116 h 116"/>
                <a:gd name="T52" fmla="*/ 76 w 84"/>
                <a:gd name="T53" fmla="*/ 112 h 116"/>
                <a:gd name="T54" fmla="*/ 66 w 84"/>
                <a:gd name="T55" fmla="*/ 108 h 116"/>
                <a:gd name="T56" fmla="*/ 54 w 84"/>
                <a:gd name="T57" fmla="*/ 108 h 116"/>
                <a:gd name="T58" fmla="*/ 42 w 84"/>
                <a:gd name="T59" fmla="*/ 112 h 116"/>
                <a:gd name="T60" fmla="*/ 42 w 84"/>
                <a:gd name="T61" fmla="*/ 112 h 116"/>
                <a:gd name="T62" fmla="*/ 30 w 84"/>
                <a:gd name="T63" fmla="*/ 102 h 116"/>
                <a:gd name="T64" fmla="*/ 20 w 84"/>
                <a:gd name="T65" fmla="*/ 90 h 116"/>
                <a:gd name="T66" fmla="*/ 10 w 84"/>
                <a:gd name="T67" fmla="*/ 80 h 116"/>
                <a:gd name="T68" fmla="*/ 4 w 84"/>
                <a:gd name="T69" fmla="*/ 66 h 116"/>
                <a:gd name="T70" fmla="*/ 0 w 84"/>
                <a:gd name="T71" fmla="*/ 52 h 116"/>
                <a:gd name="T72" fmla="*/ 0 w 84"/>
                <a:gd name="T73" fmla="*/ 36 h 116"/>
                <a:gd name="T74" fmla="*/ 2 w 84"/>
                <a:gd name="T75" fmla="*/ 20 h 116"/>
                <a:gd name="T76" fmla="*/ 10 w 84"/>
                <a:gd name="T77" fmla="*/ 0 h 116"/>
                <a:gd name="T78" fmla="*/ 10 w 84"/>
                <a:gd name="T7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 h="116">
                  <a:moveTo>
                    <a:pt x="10" y="0"/>
                  </a:moveTo>
                  <a:lnTo>
                    <a:pt x="10" y="0"/>
                  </a:lnTo>
                  <a:lnTo>
                    <a:pt x="18" y="0"/>
                  </a:lnTo>
                  <a:lnTo>
                    <a:pt x="24" y="4"/>
                  </a:lnTo>
                  <a:lnTo>
                    <a:pt x="28" y="8"/>
                  </a:lnTo>
                  <a:lnTo>
                    <a:pt x="30" y="12"/>
                  </a:lnTo>
                  <a:lnTo>
                    <a:pt x="36" y="24"/>
                  </a:lnTo>
                  <a:lnTo>
                    <a:pt x="38" y="28"/>
                  </a:lnTo>
                  <a:lnTo>
                    <a:pt x="42" y="32"/>
                  </a:lnTo>
                  <a:lnTo>
                    <a:pt x="42" y="32"/>
                  </a:lnTo>
                  <a:lnTo>
                    <a:pt x="36" y="50"/>
                  </a:lnTo>
                  <a:lnTo>
                    <a:pt x="28" y="66"/>
                  </a:lnTo>
                  <a:lnTo>
                    <a:pt x="28" y="66"/>
                  </a:lnTo>
                  <a:lnTo>
                    <a:pt x="30" y="72"/>
                  </a:lnTo>
                  <a:lnTo>
                    <a:pt x="32" y="78"/>
                  </a:lnTo>
                  <a:lnTo>
                    <a:pt x="34" y="82"/>
                  </a:lnTo>
                  <a:lnTo>
                    <a:pt x="38" y="86"/>
                  </a:lnTo>
                  <a:lnTo>
                    <a:pt x="46" y="90"/>
                  </a:lnTo>
                  <a:lnTo>
                    <a:pt x="56" y="92"/>
                  </a:lnTo>
                  <a:lnTo>
                    <a:pt x="66" y="94"/>
                  </a:lnTo>
                  <a:lnTo>
                    <a:pt x="74" y="98"/>
                  </a:lnTo>
                  <a:lnTo>
                    <a:pt x="78" y="102"/>
                  </a:lnTo>
                  <a:lnTo>
                    <a:pt x="82" y="106"/>
                  </a:lnTo>
                  <a:lnTo>
                    <a:pt x="84" y="110"/>
                  </a:lnTo>
                  <a:lnTo>
                    <a:pt x="84" y="116"/>
                  </a:lnTo>
                  <a:lnTo>
                    <a:pt x="84" y="116"/>
                  </a:lnTo>
                  <a:lnTo>
                    <a:pt x="76" y="112"/>
                  </a:lnTo>
                  <a:lnTo>
                    <a:pt x="66" y="108"/>
                  </a:lnTo>
                  <a:lnTo>
                    <a:pt x="54" y="108"/>
                  </a:lnTo>
                  <a:lnTo>
                    <a:pt x="42" y="112"/>
                  </a:lnTo>
                  <a:lnTo>
                    <a:pt x="42" y="112"/>
                  </a:lnTo>
                  <a:lnTo>
                    <a:pt x="30" y="102"/>
                  </a:lnTo>
                  <a:lnTo>
                    <a:pt x="20" y="90"/>
                  </a:lnTo>
                  <a:lnTo>
                    <a:pt x="10" y="80"/>
                  </a:lnTo>
                  <a:lnTo>
                    <a:pt x="4" y="66"/>
                  </a:lnTo>
                  <a:lnTo>
                    <a:pt x="0" y="52"/>
                  </a:lnTo>
                  <a:lnTo>
                    <a:pt x="0" y="36"/>
                  </a:lnTo>
                  <a:lnTo>
                    <a:pt x="2" y="20"/>
                  </a:lnTo>
                  <a:lnTo>
                    <a:pt x="10" y="0"/>
                  </a:lnTo>
                  <a:lnTo>
                    <a:pt x="1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5" name="Freeform 49"/>
            <p:cNvSpPr>
              <a:spLocks/>
            </p:cNvSpPr>
            <p:nvPr/>
          </p:nvSpPr>
          <p:spPr bwMode="auto">
            <a:xfrm>
              <a:off x="9684091" y="3629444"/>
              <a:ext cx="54077" cy="43938"/>
            </a:xfrm>
            <a:custGeom>
              <a:avLst/>
              <a:gdLst>
                <a:gd name="T0" fmla="*/ 0 w 32"/>
                <a:gd name="T1" fmla="*/ 4 h 26"/>
                <a:gd name="T2" fmla="*/ 0 w 32"/>
                <a:gd name="T3" fmla="*/ 4 h 26"/>
                <a:gd name="T4" fmla="*/ 4 w 32"/>
                <a:gd name="T5" fmla="*/ 0 h 26"/>
                <a:gd name="T6" fmla="*/ 10 w 32"/>
                <a:gd name="T7" fmla="*/ 0 h 26"/>
                <a:gd name="T8" fmla="*/ 14 w 32"/>
                <a:gd name="T9" fmla="*/ 2 h 26"/>
                <a:gd name="T10" fmla="*/ 18 w 32"/>
                <a:gd name="T11" fmla="*/ 6 h 26"/>
                <a:gd name="T12" fmla="*/ 26 w 32"/>
                <a:gd name="T13" fmla="*/ 16 h 26"/>
                <a:gd name="T14" fmla="*/ 28 w 32"/>
                <a:gd name="T15" fmla="*/ 20 h 26"/>
                <a:gd name="T16" fmla="*/ 32 w 32"/>
                <a:gd name="T17" fmla="*/ 22 h 26"/>
                <a:gd name="T18" fmla="*/ 32 w 32"/>
                <a:gd name="T19" fmla="*/ 22 h 26"/>
                <a:gd name="T20" fmla="*/ 28 w 32"/>
                <a:gd name="T21" fmla="*/ 26 h 26"/>
                <a:gd name="T22" fmla="*/ 22 w 32"/>
                <a:gd name="T23" fmla="*/ 26 h 26"/>
                <a:gd name="T24" fmla="*/ 18 w 32"/>
                <a:gd name="T25" fmla="*/ 24 h 26"/>
                <a:gd name="T26" fmla="*/ 14 w 32"/>
                <a:gd name="T27" fmla="*/ 20 h 26"/>
                <a:gd name="T28" fmla="*/ 6 w 32"/>
                <a:gd name="T29" fmla="*/ 12 h 26"/>
                <a:gd name="T30" fmla="*/ 0 w 32"/>
                <a:gd name="T31" fmla="*/ 4 h 26"/>
                <a:gd name="T32" fmla="*/ 0 w 32"/>
                <a:gd name="T3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6">
                  <a:moveTo>
                    <a:pt x="0" y="4"/>
                  </a:moveTo>
                  <a:lnTo>
                    <a:pt x="0" y="4"/>
                  </a:lnTo>
                  <a:lnTo>
                    <a:pt x="4" y="0"/>
                  </a:lnTo>
                  <a:lnTo>
                    <a:pt x="10" y="0"/>
                  </a:lnTo>
                  <a:lnTo>
                    <a:pt x="14" y="2"/>
                  </a:lnTo>
                  <a:lnTo>
                    <a:pt x="18" y="6"/>
                  </a:lnTo>
                  <a:lnTo>
                    <a:pt x="26" y="16"/>
                  </a:lnTo>
                  <a:lnTo>
                    <a:pt x="28" y="20"/>
                  </a:lnTo>
                  <a:lnTo>
                    <a:pt x="32" y="22"/>
                  </a:lnTo>
                  <a:lnTo>
                    <a:pt x="32" y="22"/>
                  </a:lnTo>
                  <a:lnTo>
                    <a:pt x="28" y="26"/>
                  </a:lnTo>
                  <a:lnTo>
                    <a:pt x="22" y="26"/>
                  </a:lnTo>
                  <a:lnTo>
                    <a:pt x="18" y="24"/>
                  </a:lnTo>
                  <a:lnTo>
                    <a:pt x="14" y="20"/>
                  </a:lnTo>
                  <a:lnTo>
                    <a:pt x="6" y="12"/>
                  </a:lnTo>
                  <a:lnTo>
                    <a:pt x="0" y="4"/>
                  </a:lnTo>
                  <a:lnTo>
                    <a:pt x="0"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6" name="Freeform 50"/>
            <p:cNvSpPr>
              <a:spLocks/>
            </p:cNvSpPr>
            <p:nvPr/>
          </p:nvSpPr>
          <p:spPr bwMode="auto">
            <a:xfrm>
              <a:off x="9599595" y="3649723"/>
              <a:ext cx="37178" cy="40558"/>
            </a:xfrm>
            <a:custGeom>
              <a:avLst/>
              <a:gdLst>
                <a:gd name="T0" fmla="*/ 4 w 22"/>
                <a:gd name="T1" fmla="*/ 0 h 24"/>
                <a:gd name="T2" fmla="*/ 4 w 22"/>
                <a:gd name="T3" fmla="*/ 0 h 24"/>
                <a:gd name="T4" fmla="*/ 22 w 22"/>
                <a:gd name="T5" fmla="*/ 0 h 24"/>
                <a:gd name="T6" fmla="*/ 22 w 22"/>
                <a:gd name="T7" fmla="*/ 0 h 24"/>
                <a:gd name="T8" fmla="*/ 20 w 22"/>
                <a:gd name="T9" fmla="*/ 6 h 24"/>
                <a:gd name="T10" fmla="*/ 16 w 22"/>
                <a:gd name="T11" fmla="*/ 12 h 24"/>
                <a:gd name="T12" fmla="*/ 14 w 22"/>
                <a:gd name="T13" fmla="*/ 16 h 24"/>
                <a:gd name="T14" fmla="*/ 12 w 22"/>
                <a:gd name="T15" fmla="*/ 24 h 24"/>
                <a:gd name="T16" fmla="*/ 12 w 22"/>
                <a:gd name="T17" fmla="*/ 24 h 24"/>
                <a:gd name="T18" fmla="*/ 6 w 22"/>
                <a:gd name="T19" fmla="*/ 20 h 24"/>
                <a:gd name="T20" fmla="*/ 2 w 22"/>
                <a:gd name="T21" fmla="*/ 16 h 24"/>
                <a:gd name="T22" fmla="*/ 0 w 22"/>
                <a:gd name="T23" fmla="*/ 10 h 24"/>
                <a:gd name="T24" fmla="*/ 4 w 22"/>
                <a:gd name="T25" fmla="*/ 0 h 24"/>
                <a:gd name="T26" fmla="*/ 4 w 22"/>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4" y="0"/>
                  </a:moveTo>
                  <a:lnTo>
                    <a:pt x="4" y="0"/>
                  </a:lnTo>
                  <a:lnTo>
                    <a:pt x="22" y="0"/>
                  </a:lnTo>
                  <a:lnTo>
                    <a:pt x="22" y="0"/>
                  </a:lnTo>
                  <a:lnTo>
                    <a:pt x="20" y="6"/>
                  </a:lnTo>
                  <a:lnTo>
                    <a:pt x="16" y="12"/>
                  </a:lnTo>
                  <a:lnTo>
                    <a:pt x="14" y="16"/>
                  </a:lnTo>
                  <a:lnTo>
                    <a:pt x="12" y="24"/>
                  </a:lnTo>
                  <a:lnTo>
                    <a:pt x="12" y="24"/>
                  </a:lnTo>
                  <a:lnTo>
                    <a:pt x="6" y="20"/>
                  </a:lnTo>
                  <a:lnTo>
                    <a:pt x="2" y="16"/>
                  </a:lnTo>
                  <a:lnTo>
                    <a:pt x="0" y="10"/>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7" name="Freeform 51"/>
            <p:cNvSpPr>
              <a:spLocks/>
            </p:cNvSpPr>
            <p:nvPr/>
          </p:nvSpPr>
          <p:spPr bwMode="auto">
            <a:xfrm>
              <a:off x="9464401" y="3673383"/>
              <a:ext cx="67597" cy="87876"/>
            </a:xfrm>
            <a:custGeom>
              <a:avLst/>
              <a:gdLst>
                <a:gd name="T0" fmla="*/ 36 w 40"/>
                <a:gd name="T1" fmla="*/ 0 h 52"/>
                <a:gd name="T2" fmla="*/ 36 w 40"/>
                <a:gd name="T3" fmla="*/ 0 h 52"/>
                <a:gd name="T4" fmla="*/ 40 w 40"/>
                <a:gd name="T5" fmla="*/ 8 h 52"/>
                <a:gd name="T6" fmla="*/ 38 w 40"/>
                <a:gd name="T7" fmla="*/ 18 h 52"/>
                <a:gd name="T8" fmla="*/ 36 w 40"/>
                <a:gd name="T9" fmla="*/ 26 h 52"/>
                <a:gd name="T10" fmla="*/ 30 w 40"/>
                <a:gd name="T11" fmla="*/ 32 h 52"/>
                <a:gd name="T12" fmla="*/ 24 w 40"/>
                <a:gd name="T13" fmla="*/ 40 h 52"/>
                <a:gd name="T14" fmla="*/ 16 w 40"/>
                <a:gd name="T15" fmla="*/ 46 h 52"/>
                <a:gd name="T16" fmla="*/ 8 w 40"/>
                <a:gd name="T17" fmla="*/ 50 h 52"/>
                <a:gd name="T18" fmla="*/ 0 w 40"/>
                <a:gd name="T19" fmla="*/ 52 h 52"/>
                <a:gd name="T20" fmla="*/ 0 w 40"/>
                <a:gd name="T21" fmla="*/ 52 h 52"/>
                <a:gd name="T22" fmla="*/ 2 w 40"/>
                <a:gd name="T23" fmla="*/ 44 h 52"/>
                <a:gd name="T24" fmla="*/ 6 w 40"/>
                <a:gd name="T25" fmla="*/ 36 h 52"/>
                <a:gd name="T26" fmla="*/ 16 w 40"/>
                <a:gd name="T27" fmla="*/ 24 h 52"/>
                <a:gd name="T28" fmla="*/ 26 w 40"/>
                <a:gd name="T29" fmla="*/ 14 h 52"/>
                <a:gd name="T30" fmla="*/ 36 w 40"/>
                <a:gd name="T31" fmla="*/ 0 h 52"/>
                <a:gd name="T32" fmla="*/ 36 w 4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52">
                  <a:moveTo>
                    <a:pt x="36" y="0"/>
                  </a:moveTo>
                  <a:lnTo>
                    <a:pt x="36" y="0"/>
                  </a:lnTo>
                  <a:lnTo>
                    <a:pt x="40" y="8"/>
                  </a:lnTo>
                  <a:lnTo>
                    <a:pt x="38" y="18"/>
                  </a:lnTo>
                  <a:lnTo>
                    <a:pt x="36" y="26"/>
                  </a:lnTo>
                  <a:lnTo>
                    <a:pt x="30" y="32"/>
                  </a:lnTo>
                  <a:lnTo>
                    <a:pt x="24" y="40"/>
                  </a:lnTo>
                  <a:lnTo>
                    <a:pt x="16" y="46"/>
                  </a:lnTo>
                  <a:lnTo>
                    <a:pt x="8" y="50"/>
                  </a:lnTo>
                  <a:lnTo>
                    <a:pt x="0" y="52"/>
                  </a:lnTo>
                  <a:lnTo>
                    <a:pt x="0" y="52"/>
                  </a:lnTo>
                  <a:lnTo>
                    <a:pt x="2" y="44"/>
                  </a:lnTo>
                  <a:lnTo>
                    <a:pt x="6" y="36"/>
                  </a:lnTo>
                  <a:lnTo>
                    <a:pt x="16" y="24"/>
                  </a:lnTo>
                  <a:lnTo>
                    <a:pt x="26" y="14"/>
                  </a:lnTo>
                  <a:lnTo>
                    <a:pt x="36" y="0"/>
                  </a:lnTo>
                  <a:lnTo>
                    <a:pt x="3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8" name="Freeform 52"/>
            <p:cNvSpPr>
              <a:spLocks/>
            </p:cNvSpPr>
            <p:nvPr/>
          </p:nvSpPr>
          <p:spPr bwMode="auto">
            <a:xfrm>
              <a:off x="3597001" y="3683523"/>
              <a:ext cx="40558" cy="30419"/>
            </a:xfrm>
            <a:custGeom>
              <a:avLst/>
              <a:gdLst>
                <a:gd name="T0" fmla="*/ 6 w 24"/>
                <a:gd name="T1" fmla="*/ 4 h 18"/>
                <a:gd name="T2" fmla="*/ 6 w 24"/>
                <a:gd name="T3" fmla="*/ 4 h 18"/>
                <a:gd name="T4" fmla="*/ 8 w 24"/>
                <a:gd name="T5" fmla="*/ 0 h 18"/>
                <a:gd name="T6" fmla="*/ 12 w 24"/>
                <a:gd name="T7" fmla="*/ 0 h 18"/>
                <a:gd name="T8" fmla="*/ 24 w 24"/>
                <a:gd name="T9" fmla="*/ 0 h 18"/>
                <a:gd name="T10" fmla="*/ 24 w 24"/>
                <a:gd name="T11" fmla="*/ 0 h 18"/>
                <a:gd name="T12" fmla="*/ 20 w 24"/>
                <a:gd name="T13" fmla="*/ 8 h 18"/>
                <a:gd name="T14" fmla="*/ 20 w 24"/>
                <a:gd name="T15" fmla="*/ 18 h 18"/>
                <a:gd name="T16" fmla="*/ 20 w 24"/>
                <a:gd name="T17" fmla="*/ 18 h 18"/>
                <a:gd name="T18" fmla="*/ 0 w 24"/>
                <a:gd name="T19" fmla="*/ 18 h 18"/>
                <a:gd name="T20" fmla="*/ 0 w 24"/>
                <a:gd name="T21" fmla="*/ 18 h 18"/>
                <a:gd name="T22" fmla="*/ 0 w 24"/>
                <a:gd name="T23" fmla="*/ 16 h 18"/>
                <a:gd name="T24" fmla="*/ 2 w 24"/>
                <a:gd name="T25" fmla="*/ 14 h 18"/>
                <a:gd name="T26" fmla="*/ 6 w 24"/>
                <a:gd name="T27" fmla="*/ 10 h 18"/>
                <a:gd name="T28" fmla="*/ 10 w 24"/>
                <a:gd name="T29" fmla="*/ 6 h 18"/>
                <a:gd name="T30" fmla="*/ 8 w 24"/>
                <a:gd name="T31" fmla="*/ 6 h 18"/>
                <a:gd name="T32" fmla="*/ 6 w 24"/>
                <a:gd name="T33" fmla="*/ 4 h 18"/>
                <a:gd name="T34" fmla="*/ 6 w 24"/>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8">
                  <a:moveTo>
                    <a:pt x="6" y="4"/>
                  </a:moveTo>
                  <a:lnTo>
                    <a:pt x="6" y="4"/>
                  </a:lnTo>
                  <a:lnTo>
                    <a:pt x="8" y="0"/>
                  </a:lnTo>
                  <a:lnTo>
                    <a:pt x="12" y="0"/>
                  </a:lnTo>
                  <a:lnTo>
                    <a:pt x="24" y="0"/>
                  </a:lnTo>
                  <a:lnTo>
                    <a:pt x="24" y="0"/>
                  </a:lnTo>
                  <a:lnTo>
                    <a:pt x="20" y="8"/>
                  </a:lnTo>
                  <a:lnTo>
                    <a:pt x="20" y="18"/>
                  </a:lnTo>
                  <a:lnTo>
                    <a:pt x="20" y="18"/>
                  </a:lnTo>
                  <a:lnTo>
                    <a:pt x="0" y="18"/>
                  </a:lnTo>
                  <a:lnTo>
                    <a:pt x="0" y="18"/>
                  </a:lnTo>
                  <a:lnTo>
                    <a:pt x="0" y="16"/>
                  </a:lnTo>
                  <a:lnTo>
                    <a:pt x="2" y="14"/>
                  </a:lnTo>
                  <a:lnTo>
                    <a:pt x="6" y="10"/>
                  </a:lnTo>
                  <a:lnTo>
                    <a:pt x="10" y="6"/>
                  </a:lnTo>
                  <a:lnTo>
                    <a:pt x="8" y="6"/>
                  </a:lnTo>
                  <a:lnTo>
                    <a:pt x="6" y="4"/>
                  </a:lnTo>
                  <a:lnTo>
                    <a:pt x="6"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49" name="Freeform 53"/>
            <p:cNvSpPr>
              <a:spLocks/>
            </p:cNvSpPr>
            <p:nvPr/>
          </p:nvSpPr>
          <p:spPr bwMode="auto">
            <a:xfrm>
              <a:off x="9630013" y="3697042"/>
              <a:ext cx="27039" cy="47318"/>
            </a:xfrm>
            <a:custGeom>
              <a:avLst/>
              <a:gdLst>
                <a:gd name="T0" fmla="*/ 4 w 16"/>
                <a:gd name="T1" fmla="*/ 0 h 28"/>
                <a:gd name="T2" fmla="*/ 4 w 16"/>
                <a:gd name="T3" fmla="*/ 0 h 28"/>
                <a:gd name="T4" fmla="*/ 10 w 16"/>
                <a:gd name="T5" fmla="*/ 2 h 28"/>
                <a:gd name="T6" fmla="*/ 12 w 16"/>
                <a:gd name="T7" fmla="*/ 6 h 28"/>
                <a:gd name="T8" fmla="*/ 14 w 16"/>
                <a:gd name="T9" fmla="*/ 8 h 28"/>
                <a:gd name="T10" fmla="*/ 16 w 16"/>
                <a:gd name="T11" fmla="*/ 12 h 28"/>
                <a:gd name="T12" fmla="*/ 14 w 16"/>
                <a:gd name="T13" fmla="*/ 20 h 28"/>
                <a:gd name="T14" fmla="*/ 8 w 16"/>
                <a:gd name="T15" fmla="*/ 28 h 28"/>
                <a:gd name="T16" fmla="*/ 8 w 16"/>
                <a:gd name="T17" fmla="*/ 28 h 28"/>
                <a:gd name="T18" fmla="*/ 6 w 16"/>
                <a:gd name="T19" fmla="*/ 26 h 28"/>
                <a:gd name="T20" fmla="*/ 4 w 16"/>
                <a:gd name="T21" fmla="*/ 24 h 28"/>
                <a:gd name="T22" fmla="*/ 2 w 16"/>
                <a:gd name="T23" fmla="*/ 20 h 28"/>
                <a:gd name="T24" fmla="*/ 0 w 16"/>
                <a:gd name="T25" fmla="*/ 20 h 28"/>
                <a:gd name="T26" fmla="*/ 0 w 16"/>
                <a:gd name="T27" fmla="*/ 20 h 28"/>
                <a:gd name="T28" fmla="*/ 0 w 16"/>
                <a:gd name="T29" fmla="*/ 14 h 28"/>
                <a:gd name="T30" fmla="*/ 2 w 16"/>
                <a:gd name="T31" fmla="*/ 10 h 28"/>
                <a:gd name="T32" fmla="*/ 4 w 16"/>
                <a:gd name="T33" fmla="*/ 6 h 28"/>
                <a:gd name="T34" fmla="*/ 4 w 16"/>
                <a:gd name="T35" fmla="*/ 0 h 28"/>
                <a:gd name="T36" fmla="*/ 4 w 16"/>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0"/>
                  </a:moveTo>
                  <a:lnTo>
                    <a:pt x="4" y="0"/>
                  </a:lnTo>
                  <a:lnTo>
                    <a:pt x="10" y="2"/>
                  </a:lnTo>
                  <a:lnTo>
                    <a:pt x="12" y="6"/>
                  </a:lnTo>
                  <a:lnTo>
                    <a:pt x="14" y="8"/>
                  </a:lnTo>
                  <a:lnTo>
                    <a:pt x="16" y="12"/>
                  </a:lnTo>
                  <a:lnTo>
                    <a:pt x="14" y="20"/>
                  </a:lnTo>
                  <a:lnTo>
                    <a:pt x="8" y="28"/>
                  </a:lnTo>
                  <a:lnTo>
                    <a:pt x="8" y="28"/>
                  </a:lnTo>
                  <a:lnTo>
                    <a:pt x="6" y="26"/>
                  </a:lnTo>
                  <a:lnTo>
                    <a:pt x="4" y="24"/>
                  </a:lnTo>
                  <a:lnTo>
                    <a:pt x="2" y="20"/>
                  </a:lnTo>
                  <a:lnTo>
                    <a:pt x="0" y="20"/>
                  </a:lnTo>
                  <a:lnTo>
                    <a:pt x="0" y="20"/>
                  </a:lnTo>
                  <a:lnTo>
                    <a:pt x="0" y="14"/>
                  </a:lnTo>
                  <a:lnTo>
                    <a:pt x="2" y="10"/>
                  </a:lnTo>
                  <a:lnTo>
                    <a:pt x="4" y="6"/>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0" name="Freeform 54"/>
            <p:cNvSpPr>
              <a:spLocks/>
            </p:cNvSpPr>
            <p:nvPr/>
          </p:nvSpPr>
          <p:spPr bwMode="auto">
            <a:xfrm>
              <a:off x="9630013" y="3713940"/>
              <a:ext cx="141953" cy="148713"/>
            </a:xfrm>
            <a:custGeom>
              <a:avLst/>
              <a:gdLst>
                <a:gd name="T0" fmla="*/ 60 w 84"/>
                <a:gd name="T1" fmla="*/ 0 h 88"/>
                <a:gd name="T2" fmla="*/ 60 w 84"/>
                <a:gd name="T3" fmla="*/ 0 h 88"/>
                <a:gd name="T4" fmla="*/ 68 w 84"/>
                <a:gd name="T5" fmla="*/ 16 h 88"/>
                <a:gd name="T6" fmla="*/ 76 w 84"/>
                <a:gd name="T7" fmla="*/ 32 h 88"/>
                <a:gd name="T8" fmla="*/ 80 w 84"/>
                <a:gd name="T9" fmla="*/ 50 h 88"/>
                <a:gd name="T10" fmla="*/ 84 w 84"/>
                <a:gd name="T11" fmla="*/ 70 h 88"/>
                <a:gd name="T12" fmla="*/ 84 w 84"/>
                <a:gd name="T13" fmla="*/ 70 h 88"/>
                <a:gd name="T14" fmla="*/ 72 w 84"/>
                <a:gd name="T15" fmla="*/ 62 h 88"/>
                <a:gd name="T16" fmla="*/ 66 w 84"/>
                <a:gd name="T17" fmla="*/ 62 h 88"/>
                <a:gd name="T18" fmla="*/ 64 w 84"/>
                <a:gd name="T19" fmla="*/ 62 h 88"/>
                <a:gd name="T20" fmla="*/ 60 w 84"/>
                <a:gd name="T21" fmla="*/ 66 h 88"/>
                <a:gd name="T22" fmla="*/ 60 w 84"/>
                <a:gd name="T23" fmla="*/ 66 h 88"/>
                <a:gd name="T24" fmla="*/ 60 w 84"/>
                <a:gd name="T25" fmla="*/ 70 h 88"/>
                <a:gd name="T26" fmla="*/ 62 w 84"/>
                <a:gd name="T27" fmla="*/ 74 h 88"/>
                <a:gd name="T28" fmla="*/ 66 w 84"/>
                <a:gd name="T29" fmla="*/ 78 h 88"/>
                <a:gd name="T30" fmla="*/ 70 w 84"/>
                <a:gd name="T31" fmla="*/ 80 h 88"/>
                <a:gd name="T32" fmla="*/ 70 w 84"/>
                <a:gd name="T33" fmla="*/ 80 h 88"/>
                <a:gd name="T34" fmla="*/ 66 w 84"/>
                <a:gd name="T35" fmla="*/ 84 h 88"/>
                <a:gd name="T36" fmla="*/ 60 w 84"/>
                <a:gd name="T37" fmla="*/ 86 h 88"/>
                <a:gd name="T38" fmla="*/ 46 w 84"/>
                <a:gd name="T39" fmla="*/ 88 h 88"/>
                <a:gd name="T40" fmla="*/ 46 w 84"/>
                <a:gd name="T41" fmla="*/ 88 h 88"/>
                <a:gd name="T42" fmla="*/ 40 w 84"/>
                <a:gd name="T43" fmla="*/ 78 h 88"/>
                <a:gd name="T44" fmla="*/ 36 w 84"/>
                <a:gd name="T45" fmla="*/ 68 h 88"/>
                <a:gd name="T46" fmla="*/ 32 w 84"/>
                <a:gd name="T47" fmla="*/ 56 h 88"/>
                <a:gd name="T48" fmla="*/ 28 w 84"/>
                <a:gd name="T49" fmla="*/ 46 h 88"/>
                <a:gd name="T50" fmla="*/ 28 w 84"/>
                <a:gd name="T51" fmla="*/ 46 h 88"/>
                <a:gd name="T52" fmla="*/ 18 w 84"/>
                <a:gd name="T53" fmla="*/ 46 h 88"/>
                <a:gd name="T54" fmla="*/ 14 w 84"/>
                <a:gd name="T55" fmla="*/ 48 h 88"/>
                <a:gd name="T56" fmla="*/ 8 w 84"/>
                <a:gd name="T57" fmla="*/ 52 h 88"/>
                <a:gd name="T58" fmla="*/ 0 w 84"/>
                <a:gd name="T59" fmla="*/ 52 h 88"/>
                <a:gd name="T60" fmla="*/ 0 w 84"/>
                <a:gd name="T61" fmla="*/ 52 h 88"/>
                <a:gd name="T62" fmla="*/ 4 w 84"/>
                <a:gd name="T63" fmla="*/ 42 h 88"/>
                <a:gd name="T64" fmla="*/ 8 w 84"/>
                <a:gd name="T65" fmla="*/ 32 h 88"/>
                <a:gd name="T66" fmla="*/ 8 w 84"/>
                <a:gd name="T67" fmla="*/ 32 h 88"/>
                <a:gd name="T68" fmla="*/ 18 w 84"/>
                <a:gd name="T69" fmla="*/ 36 h 88"/>
                <a:gd name="T70" fmla="*/ 28 w 84"/>
                <a:gd name="T71" fmla="*/ 36 h 88"/>
                <a:gd name="T72" fmla="*/ 36 w 84"/>
                <a:gd name="T73" fmla="*/ 34 h 88"/>
                <a:gd name="T74" fmla="*/ 44 w 84"/>
                <a:gd name="T75" fmla="*/ 30 h 88"/>
                <a:gd name="T76" fmla="*/ 50 w 84"/>
                <a:gd name="T77" fmla="*/ 26 h 88"/>
                <a:gd name="T78" fmla="*/ 56 w 84"/>
                <a:gd name="T79" fmla="*/ 18 h 88"/>
                <a:gd name="T80" fmla="*/ 58 w 84"/>
                <a:gd name="T81" fmla="*/ 10 h 88"/>
                <a:gd name="T82" fmla="*/ 60 w 84"/>
                <a:gd name="T83" fmla="*/ 0 h 88"/>
                <a:gd name="T84" fmla="*/ 60 w 84"/>
                <a:gd name="T8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88">
                  <a:moveTo>
                    <a:pt x="60" y="0"/>
                  </a:moveTo>
                  <a:lnTo>
                    <a:pt x="60" y="0"/>
                  </a:lnTo>
                  <a:lnTo>
                    <a:pt x="68" y="16"/>
                  </a:lnTo>
                  <a:lnTo>
                    <a:pt x="76" y="32"/>
                  </a:lnTo>
                  <a:lnTo>
                    <a:pt x="80" y="50"/>
                  </a:lnTo>
                  <a:lnTo>
                    <a:pt x="84" y="70"/>
                  </a:lnTo>
                  <a:lnTo>
                    <a:pt x="84" y="70"/>
                  </a:lnTo>
                  <a:lnTo>
                    <a:pt x="72" y="62"/>
                  </a:lnTo>
                  <a:lnTo>
                    <a:pt x="66" y="62"/>
                  </a:lnTo>
                  <a:lnTo>
                    <a:pt x="64" y="62"/>
                  </a:lnTo>
                  <a:lnTo>
                    <a:pt x="60" y="66"/>
                  </a:lnTo>
                  <a:lnTo>
                    <a:pt x="60" y="66"/>
                  </a:lnTo>
                  <a:lnTo>
                    <a:pt x="60" y="70"/>
                  </a:lnTo>
                  <a:lnTo>
                    <a:pt x="62" y="74"/>
                  </a:lnTo>
                  <a:lnTo>
                    <a:pt x="66" y="78"/>
                  </a:lnTo>
                  <a:lnTo>
                    <a:pt x="70" y="80"/>
                  </a:lnTo>
                  <a:lnTo>
                    <a:pt x="70" y="80"/>
                  </a:lnTo>
                  <a:lnTo>
                    <a:pt x="66" y="84"/>
                  </a:lnTo>
                  <a:lnTo>
                    <a:pt x="60" y="86"/>
                  </a:lnTo>
                  <a:lnTo>
                    <a:pt x="46" y="88"/>
                  </a:lnTo>
                  <a:lnTo>
                    <a:pt x="46" y="88"/>
                  </a:lnTo>
                  <a:lnTo>
                    <a:pt x="40" y="78"/>
                  </a:lnTo>
                  <a:lnTo>
                    <a:pt x="36" y="68"/>
                  </a:lnTo>
                  <a:lnTo>
                    <a:pt x="32" y="56"/>
                  </a:lnTo>
                  <a:lnTo>
                    <a:pt x="28" y="46"/>
                  </a:lnTo>
                  <a:lnTo>
                    <a:pt x="28" y="46"/>
                  </a:lnTo>
                  <a:lnTo>
                    <a:pt x="18" y="46"/>
                  </a:lnTo>
                  <a:lnTo>
                    <a:pt x="14" y="48"/>
                  </a:lnTo>
                  <a:lnTo>
                    <a:pt x="8" y="52"/>
                  </a:lnTo>
                  <a:lnTo>
                    <a:pt x="0" y="52"/>
                  </a:lnTo>
                  <a:lnTo>
                    <a:pt x="0" y="52"/>
                  </a:lnTo>
                  <a:lnTo>
                    <a:pt x="4" y="42"/>
                  </a:lnTo>
                  <a:lnTo>
                    <a:pt x="8" y="32"/>
                  </a:lnTo>
                  <a:lnTo>
                    <a:pt x="8" y="32"/>
                  </a:lnTo>
                  <a:lnTo>
                    <a:pt x="18" y="36"/>
                  </a:lnTo>
                  <a:lnTo>
                    <a:pt x="28" y="36"/>
                  </a:lnTo>
                  <a:lnTo>
                    <a:pt x="36" y="34"/>
                  </a:lnTo>
                  <a:lnTo>
                    <a:pt x="44" y="30"/>
                  </a:lnTo>
                  <a:lnTo>
                    <a:pt x="50" y="26"/>
                  </a:lnTo>
                  <a:lnTo>
                    <a:pt x="56" y="18"/>
                  </a:lnTo>
                  <a:lnTo>
                    <a:pt x="58" y="10"/>
                  </a:lnTo>
                  <a:lnTo>
                    <a:pt x="60" y="0"/>
                  </a:lnTo>
                  <a:lnTo>
                    <a:pt x="6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1" name="Freeform 55"/>
            <p:cNvSpPr>
              <a:spLocks/>
            </p:cNvSpPr>
            <p:nvPr/>
          </p:nvSpPr>
          <p:spPr bwMode="auto">
            <a:xfrm>
              <a:off x="8244279" y="3730839"/>
              <a:ext cx="60837" cy="118295"/>
            </a:xfrm>
            <a:custGeom>
              <a:avLst/>
              <a:gdLst>
                <a:gd name="T0" fmla="*/ 4 w 36"/>
                <a:gd name="T1" fmla="*/ 0 h 70"/>
                <a:gd name="T2" fmla="*/ 4 w 36"/>
                <a:gd name="T3" fmla="*/ 0 h 70"/>
                <a:gd name="T4" fmla="*/ 14 w 36"/>
                <a:gd name="T5" fmla="*/ 10 h 70"/>
                <a:gd name="T6" fmla="*/ 24 w 36"/>
                <a:gd name="T7" fmla="*/ 24 h 70"/>
                <a:gd name="T8" fmla="*/ 32 w 36"/>
                <a:gd name="T9" fmla="*/ 38 h 70"/>
                <a:gd name="T10" fmla="*/ 36 w 36"/>
                <a:gd name="T11" fmla="*/ 56 h 70"/>
                <a:gd name="T12" fmla="*/ 36 w 36"/>
                <a:gd name="T13" fmla="*/ 56 h 70"/>
                <a:gd name="T14" fmla="*/ 32 w 36"/>
                <a:gd name="T15" fmla="*/ 60 h 70"/>
                <a:gd name="T16" fmla="*/ 26 w 36"/>
                <a:gd name="T17" fmla="*/ 64 h 70"/>
                <a:gd name="T18" fmla="*/ 18 w 36"/>
                <a:gd name="T19" fmla="*/ 68 h 70"/>
                <a:gd name="T20" fmla="*/ 8 w 36"/>
                <a:gd name="T21" fmla="*/ 70 h 70"/>
                <a:gd name="T22" fmla="*/ 8 w 36"/>
                <a:gd name="T23" fmla="*/ 70 h 70"/>
                <a:gd name="T24" fmla="*/ 4 w 36"/>
                <a:gd name="T25" fmla="*/ 54 h 70"/>
                <a:gd name="T26" fmla="*/ 0 w 36"/>
                <a:gd name="T27" fmla="*/ 36 h 70"/>
                <a:gd name="T28" fmla="*/ 0 w 36"/>
                <a:gd name="T29" fmla="*/ 18 h 70"/>
                <a:gd name="T30" fmla="*/ 4 w 36"/>
                <a:gd name="T31" fmla="*/ 0 h 70"/>
                <a:gd name="T32" fmla="*/ 4 w 36"/>
                <a:gd name="T3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70">
                  <a:moveTo>
                    <a:pt x="4" y="0"/>
                  </a:moveTo>
                  <a:lnTo>
                    <a:pt x="4" y="0"/>
                  </a:lnTo>
                  <a:lnTo>
                    <a:pt x="14" y="10"/>
                  </a:lnTo>
                  <a:lnTo>
                    <a:pt x="24" y="24"/>
                  </a:lnTo>
                  <a:lnTo>
                    <a:pt x="32" y="38"/>
                  </a:lnTo>
                  <a:lnTo>
                    <a:pt x="36" y="56"/>
                  </a:lnTo>
                  <a:lnTo>
                    <a:pt x="36" y="56"/>
                  </a:lnTo>
                  <a:lnTo>
                    <a:pt x="32" y="60"/>
                  </a:lnTo>
                  <a:lnTo>
                    <a:pt x="26" y="64"/>
                  </a:lnTo>
                  <a:lnTo>
                    <a:pt x="18" y="68"/>
                  </a:lnTo>
                  <a:lnTo>
                    <a:pt x="8" y="70"/>
                  </a:lnTo>
                  <a:lnTo>
                    <a:pt x="8" y="70"/>
                  </a:lnTo>
                  <a:lnTo>
                    <a:pt x="4" y="54"/>
                  </a:lnTo>
                  <a:lnTo>
                    <a:pt x="0" y="36"/>
                  </a:lnTo>
                  <a:lnTo>
                    <a:pt x="0" y="18"/>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2" name="Freeform 56"/>
            <p:cNvSpPr>
              <a:spLocks/>
            </p:cNvSpPr>
            <p:nvPr/>
          </p:nvSpPr>
          <p:spPr bwMode="auto">
            <a:xfrm>
              <a:off x="9207533" y="3838994"/>
              <a:ext cx="310946" cy="361643"/>
            </a:xfrm>
            <a:custGeom>
              <a:avLst/>
              <a:gdLst>
                <a:gd name="T0" fmla="*/ 184 w 184"/>
                <a:gd name="T1" fmla="*/ 24 h 214"/>
                <a:gd name="T2" fmla="*/ 184 w 184"/>
                <a:gd name="T3" fmla="*/ 24 h 214"/>
                <a:gd name="T4" fmla="*/ 180 w 184"/>
                <a:gd name="T5" fmla="*/ 34 h 214"/>
                <a:gd name="T6" fmla="*/ 172 w 184"/>
                <a:gd name="T7" fmla="*/ 42 h 214"/>
                <a:gd name="T8" fmla="*/ 166 w 184"/>
                <a:gd name="T9" fmla="*/ 50 h 214"/>
                <a:gd name="T10" fmla="*/ 160 w 184"/>
                <a:gd name="T11" fmla="*/ 62 h 214"/>
                <a:gd name="T12" fmla="*/ 160 w 184"/>
                <a:gd name="T13" fmla="*/ 62 h 214"/>
                <a:gd name="T14" fmla="*/ 164 w 184"/>
                <a:gd name="T15" fmla="*/ 76 h 214"/>
                <a:gd name="T16" fmla="*/ 168 w 184"/>
                <a:gd name="T17" fmla="*/ 88 h 214"/>
                <a:gd name="T18" fmla="*/ 176 w 184"/>
                <a:gd name="T19" fmla="*/ 100 h 214"/>
                <a:gd name="T20" fmla="*/ 184 w 184"/>
                <a:gd name="T21" fmla="*/ 108 h 214"/>
                <a:gd name="T22" fmla="*/ 184 w 184"/>
                <a:gd name="T23" fmla="*/ 108 h 214"/>
                <a:gd name="T24" fmla="*/ 172 w 184"/>
                <a:gd name="T25" fmla="*/ 118 h 214"/>
                <a:gd name="T26" fmla="*/ 164 w 184"/>
                <a:gd name="T27" fmla="*/ 130 h 214"/>
                <a:gd name="T28" fmla="*/ 156 w 184"/>
                <a:gd name="T29" fmla="*/ 144 h 214"/>
                <a:gd name="T30" fmla="*/ 150 w 184"/>
                <a:gd name="T31" fmla="*/ 160 h 214"/>
                <a:gd name="T32" fmla="*/ 138 w 184"/>
                <a:gd name="T33" fmla="*/ 190 h 214"/>
                <a:gd name="T34" fmla="*/ 130 w 184"/>
                <a:gd name="T35" fmla="*/ 204 h 214"/>
                <a:gd name="T36" fmla="*/ 118 w 184"/>
                <a:gd name="T37" fmla="*/ 214 h 214"/>
                <a:gd name="T38" fmla="*/ 118 w 184"/>
                <a:gd name="T39" fmla="*/ 214 h 214"/>
                <a:gd name="T40" fmla="*/ 108 w 184"/>
                <a:gd name="T41" fmla="*/ 208 h 214"/>
                <a:gd name="T42" fmla="*/ 98 w 184"/>
                <a:gd name="T43" fmla="*/ 206 h 214"/>
                <a:gd name="T44" fmla="*/ 86 w 184"/>
                <a:gd name="T45" fmla="*/ 204 h 214"/>
                <a:gd name="T46" fmla="*/ 74 w 184"/>
                <a:gd name="T47" fmla="*/ 202 h 214"/>
                <a:gd name="T48" fmla="*/ 48 w 184"/>
                <a:gd name="T49" fmla="*/ 202 h 214"/>
                <a:gd name="T50" fmla="*/ 34 w 184"/>
                <a:gd name="T51" fmla="*/ 200 h 214"/>
                <a:gd name="T52" fmla="*/ 20 w 184"/>
                <a:gd name="T53" fmla="*/ 196 h 214"/>
                <a:gd name="T54" fmla="*/ 20 w 184"/>
                <a:gd name="T55" fmla="*/ 196 h 214"/>
                <a:gd name="T56" fmla="*/ 14 w 184"/>
                <a:gd name="T57" fmla="*/ 174 h 214"/>
                <a:gd name="T58" fmla="*/ 6 w 184"/>
                <a:gd name="T59" fmla="*/ 150 h 214"/>
                <a:gd name="T60" fmla="*/ 2 w 184"/>
                <a:gd name="T61" fmla="*/ 138 h 214"/>
                <a:gd name="T62" fmla="*/ 0 w 184"/>
                <a:gd name="T63" fmla="*/ 126 h 214"/>
                <a:gd name="T64" fmla="*/ 0 w 184"/>
                <a:gd name="T65" fmla="*/ 114 h 214"/>
                <a:gd name="T66" fmla="*/ 2 w 184"/>
                <a:gd name="T67" fmla="*/ 104 h 214"/>
                <a:gd name="T68" fmla="*/ 2 w 184"/>
                <a:gd name="T69" fmla="*/ 104 h 214"/>
                <a:gd name="T70" fmla="*/ 8 w 184"/>
                <a:gd name="T71" fmla="*/ 100 h 214"/>
                <a:gd name="T72" fmla="*/ 16 w 184"/>
                <a:gd name="T73" fmla="*/ 100 h 214"/>
                <a:gd name="T74" fmla="*/ 22 w 184"/>
                <a:gd name="T75" fmla="*/ 102 h 214"/>
                <a:gd name="T76" fmla="*/ 26 w 184"/>
                <a:gd name="T77" fmla="*/ 108 h 214"/>
                <a:gd name="T78" fmla="*/ 26 w 184"/>
                <a:gd name="T79" fmla="*/ 108 h 214"/>
                <a:gd name="T80" fmla="*/ 32 w 184"/>
                <a:gd name="T81" fmla="*/ 98 h 214"/>
                <a:gd name="T82" fmla="*/ 40 w 184"/>
                <a:gd name="T83" fmla="*/ 90 h 214"/>
                <a:gd name="T84" fmla="*/ 58 w 184"/>
                <a:gd name="T85" fmla="*/ 76 h 214"/>
                <a:gd name="T86" fmla="*/ 68 w 184"/>
                <a:gd name="T87" fmla="*/ 68 h 214"/>
                <a:gd name="T88" fmla="*/ 76 w 184"/>
                <a:gd name="T89" fmla="*/ 60 h 214"/>
                <a:gd name="T90" fmla="*/ 82 w 184"/>
                <a:gd name="T91" fmla="*/ 50 h 214"/>
                <a:gd name="T92" fmla="*/ 86 w 184"/>
                <a:gd name="T93" fmla="*/ 38 h 214"/>
                <a:gd name="T94" fmla="*/ 86 w 184"/>
                <a:gd name="T95" fmla="*/ 38 h 214"/>
                <a:gd name="T96" fmla="*/ 94 w 184"/>
                <a:gd name="T97" fmla="*/ 36 h 214"/>
                <a:gd name="T98" fmla="*/ 102 w 184"/>
                <a:gd name="T99" fmla="*/ 32 h 214"/>
                <a:gd name="T100" fmla="*/ 116 w 184"/>
                <a:gd name="T101" fmla="*/ 24 h 214"/>
                <a:gd name="T102" fmla="*/ 140 w 184"/>
                <a:gd name="T103" fmla="*/ 6 h 214"/>
                <a:gd name="T104" fmla="*/ 150 w 184"/>
                <a:gd name="T105" fmla="*/ 2 h 214"/>
                <a:gd name="T106" fmla="*/ 154 w 184"/>
                <a:gd name="T107" fmla="*/ 0 h 214"/>
                <a:gd name="T108" fmla="*/ 160 w 184"/>
                <a:gd name="T109" fmla="*/ 2 h 214"/>
                <a:gd name="T110" fmla="*/ 166 w 184"/>
                <a:gd name="T111" fmla="*/ 4 h 214"/>
                <a:gd name="T112" fmla="*/ 172 w 184"/>
                <a:gd name="T113" fmla="*/ 8 h 214"/>
                <a:gd name="T114" fmla="*/ 178 w 184"/>
                <a:gd name="T115" fmla="*/ 14 h 214"/>
                <a:gd name="T116" fmla="*/ 184 w 184"/>
                <a:gd name="T117" fmla="*/ 24 h 214"/>
                <a:gd name="T118" fmla="*/ 184 w 184"/>
                <a:gd name="T119" fmla="*/ 2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4" h="214">
                  <a:moveTo>
                    <a:pt x="184" y="24"/>
                  </a:moveTo>
                  <a:lnTo>
                    <a:pt x="184" y="24"/>
                  </a:lnTo>
                  <a:lnTo>
                    <a:pt x="180" y="34"/>
                  </a:lnTo>
                  <a:lnTo>
                    <a:pt x="172" y="42"/>
                  </a:lnTo>
                  <a:lnTo>
                    <a:pt x="166" y="50"/>
                  </a:lnTo>
                  <a:lnTo>
                    <a:pt x="160" y="62"/>
                  </a:lnTo>
                  <a:lnTo>
                    <a:pt x="160" y="62"/>
                  </a:lnTo>
                  <a:lnTo>
                    <a:pt x="164" y="76"/>
                  </a:lnTo>
                  <a:lnTo>
                    <a:pt x="168" y="88"/>
                  </a:lnTo>
                  <a:lnTo>
                    <a:pt x="176" y="100"/>
                  </a:lnTo>
                  <a:lnTo>
                    <a:pt x="184" y="108"/>
                  </a:lnTo>
                  <a:lnTo>
                    <a:pt x="184" y="108"/>
                  </a:lnTo>
                  <a:lnTo>
                    <a:pt x="172" y="118"/>
                  </a:lnTo>
                  <a:lnTo>
                    <a:pt x="164" y="130"/>
                  </a:lnTo>
                  <a:lnTo>
                    <a:pt x="156" y="144"/>
                  </a:lnTo>
                  <a:lnTo>
                    <a:pt x="150" y="160"/>
                  </a:lnTo>
                  <a:lnTo>
                    <a:pt x="138" y="190"/>
                  </a:lnTo>
                  <a:lnTo>
                    <a:pt x="130" y="204"/>
                  </a:lnTo>
                  <a:lnTo>
                    <a:pt x="118" y="214"/>
                  </a:lnTo>
                  <a:lnTo>
                    <a:pt x="118" y="214"/>
                  </a:lnTo>
                  <a:lnTo>
                    <a:pt x="108" y="208"/>
                  </a:lnTo>
                  <a:lnTo>
                    <a:pt x="98" y="206"/>
                  </a:lnTo>
                  <a:lnTo>
                    <a:pt x="86" y="204"/>
                  </a:lnTo>
                  <a:lnTo>
                    <a:pt x="74" y="202"/>
                  </a:lnTo>
                  <a:lnTo>
                    <a:pt x="48" y="202"/>
                  </a:lnTo>
                  <a:lnTo>
                    <a:pt x="34" y="200"/>
                  </a:lnTo>
                  <a:lnTo>
                    <a:pt x="20" y="196"/>
                  </a:lnTo>
                  <a:lnTo>
                    <a:pt x="20" y="196"/>
                  </a:lnTo>
                  <a:lnTo>
                    <a:pt x="14" y="174"/>
                  </a:lnTo>
                  <a:lnTo>
                    <a:pt x="6" y="150"/>
                  </a:lnTo>
                  <a:lnTo>
                    <a:pt x="2" y="138"/>
                  </a:lnTo>
                  <a:lnTo>
                    <a:pt x="0" y="126"/>
                  </a:lnTo>
                  <a:lnTo>
                    <a:pt x="0" y="114"/>
                  </a:lnTo>
                  <a:lnTo>
                    <a:pt x="2" y="104"/>
                  </a:lnTo>
                  <a:lnTo>
                    <a:pt x="2" y="104"/>
                  </a:lnTo>
                  <a:lnTo>
                    <a:pt x="8" y="100"/>
                  </a:lnTo>
                  <a:lnTo>
                    <a:pt x="16" y="100"/>
                  </a:lnTo>
                  <a:lnTo>
                    <a:pt x="22" y="102"/>
                  </a:lnTo>
                  <a:lnTo>
                    <a:pt x="26" y="108"/>
                  </a:lnTo>
                  <a:lnTo>
                    <a:pt x="26" y="108"/>
                  </a:lnTo>
                  <a:lnTo>
                    <a:pt x="32" y="98"/>
                  </a:lnTo>
                  <a:lnTo>
                    <a:pt x="40" y="90"/>
                  </a:lnTo>
                  <a:lnTo>
                    <a:pt x="58" y="76"/>
                  </a:lnTo>
                  <a:lnTo>
                    <a:pt x="68" y="68"/>
                  </a:lnTo>
                  <a:lnTo>
                    <a:pt x="76" y="60"/>
                  </a:lnTo>
                  <a:lnTo>
                    <a:pt x="82" y="50"/>
                  </a:lnTo>
                  <a:lnTo>
                    <a:pt x="86" y="38"/>
                  </a:lnTo>
                  <a:lnTo>
                    <a:pt x="86" y="38"/>
                  </a:lnTo>
                  <a:lnTo>
                    <a:pt x="94" y="36"/>
                  </a:lnTo>
                  <a:lnTo>
                    <a:pt x="102" y="32"/>
                  </a:lnTo>
                  <a:lnTo>
                    <a:pt x="116" y="24"/>
                  </a:lnTo>
                  <a:lnTo>
                    <a:pt x="140" y="6"/>
                  </a:lnTo>
                  <a:lnTo>
                    <a:pt x="150" y="2"/>
                  </a:lnTo>
                  <a:lnTo>
                    <a:pt x="154" y="0"/>
                  </a:lnTo>
                  <a:lnTo>
                    <a:pt x="160" y="2"/>
                  </a:lnTo>
                  <a:lnTo>
                    <a:pt x="166" y="4"/>
                  </a:lnTo>
                  <a:lnTo>
                    <a:pt x="172" y="8"/>
                  </a:lnTo>
                  <a:lnTo>
                    <a:pt x="178" y="14"/>
                  </a:lnTo>
                  <a:lnTo>
                    <a:pt x="184" y="24"/>
                  </a:lnTo>
                  <a:lnTo>
                    <a:pt x="184" y="2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3" name="Freeform 57"/>
            <p:cNvSpPr>
              <a:spLocks/>
            </p:cNvSpPr>
            <p:nvPr/>
          </p:nvSpPr>
          <p:spPr bwMode="auto">
            <a:xfrm>
              <a:off x="8754635" y="3879552"/>
              <a:ext cx="341365" cy="392061"/>
            </a:xfrm>
            <a:custGeom>
              <a:avLst/>
              <a:gdLst>
                <a:gd name="T0" fmla="*/ 0 w 202"/>
                <a:gd name="T1" fmla="*/ 0 h 232"/>
                <a:gd name="T2" fmla="*/ 0 w 202"/>
                <a:gd name="T3" fmla="*/ 0 h 232"/>
                <a:gd name="T4" fmla="*/ 12 w 202"/>
                <a:gd name="T5" fmla="*/ 0 h 232"/>
                <a:gd name="T6" fmla="*/ 24 w 202"/>
                <a:gd name="T7" fmla="*/ 2 h 232"/>
                <a:gd name="T8" fmla="*/ 34 w 202"/>
                <a:gd name="T9" fmla="*/ 4 h 232"/>
                <a:gd name="T10" fmla="*/ 42 w 202"/>
                <a:gd name="T11" fmla="*/ 10 h 232"/>
                <a:gd name="T12" fmla="*/ 60 w 202"/>
                <a:gd name="T13" fmla="*/ 22 h 232"/>
                <a:gd name="T14" fmla="*/ 74 w 202"/>
                <a:gd name="T15" fmla="*/ 38 h 232"/>
                <a:gd name="T16" fmla="*/ 90 w 202"/>
                <a:gd name="T17" fmla="*/ 56 h 232"/>
                <a:gd name="T18" fmla="*/ 106 w 202"/>
                <a:gd name="T19" fmla="*/ 72 h 232"/>
                <a:gd name="T20" fmla="*/ 114 w 202"/>
                <a:gd name="T21" fmla="*/ 78 h 232"/>
                <a:gd name="T22" fmla="*/ 124 w 202"/>
                <a:gd name="T23" fmla="*/ 84 h 232"/>
                <a:gd name="T24" fmla="*/ 134 w 202"/>
                <a:gd name="T25" fmla="*/ 90 h 232"/>
                <a:gd name="T26" fmla="*/ 144 w 202"/>
                <a:gd name="T27" fmla="*/ 92 h 232"/>
                <a:gd name="T28" fmla="*/ 144 w 202"/>
                <a:gd name="T29" fmla="*/ 92 h 232"/>
                <a:gd name="T30" fmla="*/ 146 w 202"/>
                <a:gd name="T31" fmla="*/ 102 h 232"/>
                <a:gd name="T32" fmla="*/ 148 w 202"/>
                <a:gd name="T33" fmla="*/ 110 h 232"/>
                <a:gd name="T34" fmla="*/ 152 w 202"/>
                <a:gd name="T35" fmla="*/ 120 h 232"/>
                <a:gd name="T36" fmla="*/ 158 w 202"/>
                <a:gd name="T37" fmla="*/ 128 h 232"/>
                <a:gd name="T38" fmla="*/ 172 w 202"/>
                <a:gd name="T39" fmla="*/ 146 h 232"/>
                <a:gd name="T40" fmla="*/ 186 w 202"/>
                <a:gd name="T41" fmla="*/ 162 h 232"/>
                <a:gd name="T42" fmla="*/ 198 w 202"/>
                <a:gd name="T43" fmla="*/ 180 h 232"/>
                <a:gd name="T44" fmla="*/ 200 w 202"/>
                <a:gd name="T45" fmla="*/ 188 h 232"/>
                <a:gd name="T46" fmla="*/ 202 w 202"/>
                <a:gd name="T47" fmla="*/ 196 h 232"/>
                <a:gd name="T48" fmla="*/ 202 w 202"/>
                <a:gd name="T49" fmla="*/ 206 h 232"/>
                <a:gd name="T50" fmla="*/ 198 w 202"/>
                <a:gd name="T51" fmla="*/ 214 h 232"/>
                <a:gd name="T52" fmla="*/ 192 w 202"/>
                <a:gd name="T53" fmla="*/ 224 h 232"/>
                <a:gd name="T54" fmla="*/ 182 w 202"/>
                <a:gd name="T55" fmla="*/ 232 h 232"/>
                <a:gd name="T56" fmla="*/ 182 w 202"/>
                <a:gd name="T57" fmla="*/ 232 h 232"/>
                <a:gd name="T58" fmla="*/ 168 w 202"/>
                <a:gd name="T59" fmla="*/ 222 h 232"/>
                <a:gd name="T60" fmla="*/ 154 w 202"/>
                <a:gd name="T61" fmla="*/ 210 h 232"/>
                <a:gd name="T62" fmla="*/ 140 w 202"/>
                <a:gd name="T63" fmla="*/ 196 h 232"/>
                <a:gd name="T64" fmla="*/ 130 w 202"/>
                <a:gd name="T65" fmla="*/ 182 h 232"/>
                <a:gd name="T66" fmla="*/ 108 w 202"/>
                <a:gd name="T67" fmla="*/ 152 h 232"/>
                <a:gd name="T68" fmla="*/ 88 w 202"/>
                <a:gd name="T69" fmla="*/ 120 h 232"/>
                <a:gd name="T70" fmla="*/ 68 w 202"/>
                <a:gd name="T71" fmla="*/ 88 h 232"/>
                <a:gd name="T72" fmla="*/ 48 w 202"/>
                <a:gd name="T73" fmla="*/ 56 h 232"/>
                <a:gd name="T74" fmla="*/ 26 w 202"/>
                <a:gd name="T75" fmla="*/ 26 h 232"/>
                <a:gd name="T76" fmla="*/ 14 w 202"/>
                <a:gd name="T77" fmla="*/ 12 h 232"/>
                <a:gd name="T78" fmla="*/ 0 w 202"/>
                <a:gd name="T79" fmla="*/ 0 h 232"/>
                <a:gd name="T80" fmla="*/ 0 w 202"/>
                <a:gd name="T8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232">
                  <a:moveTo>
                    <a:pt x="0" y="0"/>
                  </a:moveTo>
                  <a:lnTo>
                    <a:pt x="0" y="0"/>
                  </a:lnTo>
                  <a:lnTo>
                    <a:pt x="12" y="0"/>
                  </a:lnTo>
                  <a:lnTo>
                    <a:pt x="24" y="2"/>
                  </a:lnTo>
                  <a:lnTo>
                    <a:pt x="34" y="4"/>
                  </a:lnTo>
                  <a:lnTo>
                    <a:pt x="42" y="10"/>
                  </a:lnTo>
                  <a:lnTo>
                    <a:pt x="60" y="22"/>
                  </a:lnTo>
                  <a:lnTo>
                    <a:pt x="74" y="38"/>
                  </a:lnTo>
                  <a:lnTo>
                    <a:pt x="90" y="56"/>
                  </a:lnTo>
                  <a:lnTo>
                    <a:pt x="106" y="72"/>
                  </a:lnTo>
                  <a:lnTo>
                    <a:pt x="114" y="78"/>
                  </a:lnTo>
                  <a:lnTo>
                    <a:pt x="124" y="84"/>
                  </a:lnTo>
                  <a:lnTo>
                    <a:pt x="134" y="90"/>
                  </a:lnTo>
                  <a:lnTo>
                    <a:pt x="144" y="92"/>
                  </a:lnTo>
                  <a:lnTo>
                    <a:pt x="144" y="92"/>
                  </a:lnTo>
                  <a:lnTo>
                    <a:pt x="146" y="102"/>
                  </a:lnTo>
                  <a:lnTo>
                    <a:pt x="148" y="110"/>
                  </a:lnTo>
                  <a:lnTo>
                    <a:pt x="152" y="120"/>
                  </a:lnTo>
                  <a:lnTo>
                    <a:pt x="158" y="128"/>
                  </a:lnTo>
                  <a:lnTo>
                    <a:pt x="172" y="146"/>
                  </a:lnTo>
                  <a:lnTo>
                    <a:pt x="186" y="162"/>
                  </a:lnTo>
                  <a:lnTo>
                    <a:pt x="198" y="180"/>
                  </a:lnTo>
                  <a:lnTo>
                    <a:pt x="200" y="188"/>
                  </a:lnTo>
                  <a:lnTo>
                    <a:pt x="202" y="196"/>
                  </a:lnTo>
                  <a:lnTo>
                    <a:pt x="202" y="206"/>
                  </a:lnTo>
                  <a:lnTo>
                    <a:pt x="198" y="214"/>
                  </a:lnTo>
                  <a:lnTo>
                    <a:pt x="192" y="224"/>
                  </a:lnTo>
                  <a:lnTo>
                    <a:pt x="182" y="232"/>
                  </a:lnTo>
                  <a:lnTo>
                    <a:pt x="182" y="232"/>
                  </a:lnTo>
                  <a:lnTo>
                    <a:pt x="168" y="222"/>
                  </a:lnTo>
                  <a:lnTo>
                    <a:pt x="154" y="210"/>
                  </a:lnTo>
                  <a:lnTo>
                    <a:pt x="140" y="196"/>
                  </a:lnTo>
                  <a:lnTo>
                    <a:pt x="130" y="182"/>
                  </a:lnTo>
                  <a:lnTo>
                    <a:pt x="108" y="152"/>
                  </a:lnTo>
                  <a:lnTo>
                    <a:pt x="88" y="120"/>
                  </a:lnTo>
                  <a:lnTo>
                    <a:pt x="68" y="88"/>
                  </a:lnTo>
                  <a:lnTo>
                    <a:pt x="48" y="56"/>
                  </a:lnTo>
                  <a:lnTo>
                    <a:pt x="26" y="26"/>
                  </a:lnTo>
                  <a:lnTo>
                    <a:pt x="14" y="12"/>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4" name="Freeform 58"/>
            <p:cNvSpPr>
              <a:spLocks/>
            </p:cNvSpPr>
            <p:nvPr/>
          </p:nvSpPr>
          <p:spPr bwMode="auto">
            <a:xfrm>
              <a:off x="9805765" y="3980948"/>
              <a:ext cx="43937" cy="94635"/>
            </a:xfrm>
            <a:custGeom>
              <a:avLst/>
              <a:gdLst>
                <a:gd name="T0" fmla="*/ 26 w 26"/>
                <a:gd name="T1" fmla="*/ 0 h 56"/>
                <a:gd name="T2" fmla="*/ 26 w 26"/>
                <a:gd name="T3" fmla="*/ 0 h 56"/>
                <a:gd name="T4" fmla="*/ 18 w 26"/>
                <a:gd name="T5" fmla="*/ 6 h 56"/>
                <a:gd name="T6" fmla="*/ 16 w 26"/>
                <a:gd name="T7" fmla="*/ 12 h 56"/>
                <a:gd name="T8" fmla="*/ 14 w 26"/>
                <a:gd name="T9" fmla="*/ 18 h 56"/>
                <a:gd name="T10" fmla="*/ 16 w 26"/>
                <a:gd name="T11" fmla="*/ 26 h 56"/>
                <a:gd name="T12" fmla="*/ 18 w 26"/>
                <a:gd name="T13" fmla="*/ 40 h 56"/>
                <a:gd name="T14" fmla="*/ 18 w 26"/>
                <a:gd name="T15" fmla="*/ 48 h 56"/>
                <a:gd name="T16" fmla="*/ 16 w 26"/>
                <a:gd name="T17" fmla="*/ 56 h 56"/>
                <a:gd name="T18" fmla="*/ 16 w 26"/>
                <a:gd name="T19" fmla="*/ 56 h 56"/>
                <a:gd name="T20" fmla="*/ 12 w 26"/>
                <a:gd name="T21" fmla="*/ 56 h 56"/>
                <a:gd name="T22" fmla="*/ 8 w 26"/>
                <a:gd name="T23" fmla="*/ 54 h 56"/>
                <a:gd name="T24" fmla="*/ 4 w 26"/>
                <a:gd name="T25" fmla="*/ 46 h 56"/>
                <a:gd name="T26" fmla="*/ 0 w 26"/>
                <a:gd name="T27" fmla="*/ 38 h 56"/>
                <a:gd name="T28" fmla="*/ 0 w 26"/>
                <a:gd name="T29" fmla="*/ 28 h 56"/>
                <a:gd name="T30" fmla="*/ 4 w 26"/>
                <a:gd name="T31" fmla="*/ 18 h 56"/>
                <a:gd name="T32" fmla="*/ 8 w 26"/>
                <a:gd name="T33" fmla="*/ 10 h 56"/>
                <a:gd name="T34" fmla="*/ 16 w 26"/>
                <a:gd name="T35" fmla="*/ 4 h 56"/>
                <a:gd name="T36" fmla="*/ 26 w 26"/>
                <a:gd name="T37" fmla="*/ 0 h 56"/>
                <a:gd name="T38" fmla="*/ 26 w 26"/>
                <a:gd name="T3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6">
                  <a:moveTo>
                    <a:pt x="26" y="0"/>
                  </a:moveTo>
                  <a:lnTo>
                    <a:pt x="26" y="0"/>
                  </a:lnTo>
                  <a:lnTo>
                    <a:pt x="18" y="6"/>
                  </a:lnTo>
                  <a:lnTo>
                    <a:pt x="16" y="12"/>
                  </a:lnTo>
                  <a:lnTo>
                    <a:pt x="14" y="18"/>
                  </a:lnTo>
                  <a:lnTo>
                    <a:pt x="16" y="26"/>
                  </a:lnTo>
                  <a:lnTo>
                    <a:pt x="18" y="40"/>
                  </a:lnTo>
                  <a:lnTo>
                    <a:pt x="18" y="48"/>
                  </a:lnTo>
                  <a:lnTo>
                    <a:pt x="16" y="56"/>
                  </a:lnTo>
                  <a:lnTo>
                    <a:pt x="16" y="56"/>
                  </a:lnTo>
                  <a:lnTo>
                    <a:pt x="12" y="56"/>
                  </a:lnTo>
                  <a:lnTo>
                    <a:pt x="8" y="54"/>
                  </a:lnTo>
                  <a:lnTo>
                    <a:pt x="4" y="46"/>
                  </a:lnTo>
                  <a:lnTo>
                    <a:pt x="0" y="38"/>
                  </a:lnTo>
                  <a:lnTo>
                    <a:pt x="0" y="28"/>
                  </a:lnTo>
                  <a:lnTo>
                    <a:pt x="4" y="18"/>
                  </a:lnTo>
                  <a:lnTo>
                    <a:pt x="8" y="10"/>
                  </a:lnTo>
                  <a:lnTo>
                    <a:pt x="16" y="4"/>
                  </a:lnTo>
                  <a:lnTo>
                    <a:pt x="26" y="0"/>
                  </a:lnTo>
                  <a:lnTo>
                    <a:pt x="2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5" name="Freeform 59"/>
            <p:cNvSpPr>
              <a:spLocks/>
            </p:cNvSpPr>
            <p:nvPr/>
          </p:nvSpPr>
          <p:spPr bwMode="auto">
            <a:xfrm>
              <a:off x="9518477" y="4014746"/>
              <a:ext cx="212930" cy="250108"/>
            </a:xfrm>
            <a:custGeom>
              <a:avLst/>
              <a:gdLst>
                <a:gd name="T0" fmla="*/ 126 w 126"/>
                <a:gd name="T1" fmla="*/ 0 h 148"/>
                <a:gd name="T2" fmla="*/ 114 w 126"/>
                <a:gd name="T3" fmla="*/ 18 h 148"/>
                <a:gd name="T4" fmla="*/ 98 w 126"/>
                <a:gd name="T5" fmla="*/ 32 h 148"/>
                <a:gd name="T6" fmla="*/ 90 w 126"/>
                <a:gd name="T7" fmla="*/ 26 h 148"/>
                <a:gd name="T8" fmla="*/ 72 w 126"/>
                <a:gd name="T9" fmla="*/ 20 h 148"/>
                <a:gd name="T10" fmla="*/ 50 w 126"/>
                <a:gd name="T11" fmla="*/ 20 h 148"/>
                <a:gd name="T12" fmla="*/ 34 w 126"/>
                <a:gd name="T13" fmla="*/ 28 h 148"/>
                <a:gd name="T14" fmla="*/ 28 w 126"/>
                <a:gd name="T15" fmla="*/ 36 h 148"/>
                <a:gd name="T16" fmla="*/ 30 w 126"/>
                <a:gd name="T17" fmla="*/ 44 h 148"/>
                <a:gd name="T18" fmla="*/ 38 w 126"/>
                <a:gd name="T19" fmla="*/ 54 h 148"/>
                <a:gd name="T20" fmla="*/ 42 w 126"/>
                <a:gd name="T21" fmla="*/ 60 h 148"/>
                <a:gd name="T22" fmla="*/ 54 w 126"/>
                <a:gd name="T23" fmla="*/ 58 h 148"/>
                <a:gd name="T24" fmla="*/ 76 w 126"/>
                <a:gd name="T25" fmla="*/ 50 h 148"/>
                <a:gd name="T26" fmla="*/ 88 w 126"/>
                <a:gd name="T27" fmla="*/ 50 h 148"/>
                <a:gd name="T28" fmla="*/ 74 w 126"/>
                <a:gd name="T29" fmla="*/ 60 h 148"/>
                <a:gd name="T30" fmla="*/ 60 w 126"/>
                <a:gd name="T31" fmla="*/ 74 h 148"/>
                <a:gd name="T32" fmla="*/ 64 w 126"/>
                <a:gd name="T33" fmla="*/ 86 h 148"/>
                <a:gd name="T34" fmla="*/ 74 w 126"/>
                <a:gd name="T35" fmla="*/ 112 h 148"/>
                <a:gd name="T36" fmla="*/ 74 w 126"/>
                <a:gd name="T37" fmla="*/ 130 h 148"/>
                <a:gd name="T38" fmla="*/ 68 w 126"/>
                <a:gd name="T39" fmla="*/ 128 h 148"/>
                <a:gd name="T40" fmla="*/ 58 w 126"/>
                <a:gd name="T41" fmla="*/ 118 h 148"/>
                <a:gd name="T42" fmla="*/ 42 w 126"/>
                <a:gd name="T43" fmla="*/ 88 h 148"/>
                <a:gd name="T44" fmla="*/ 36 w 126"/>
                <a:gd name="T45" fmla="*/ 90 h 148"/>
                <a:gd name="T46" fmla="*/ 28 w 126"/>
                <a:gd name="T47" fmla="*/ 98 h 148"/>
                <a:gd name="T48" fmla="*/ 24 w 126"/>
                <a:gd name="T49" fmla="*/ 102 h 148"/>
                <a:gd name="T50" fmla="*/ 28 w 126"/>
                <a:gd name="T51" fmla="*/ 122 h 148"/>
                <a:gd name="T52" fmla="*/ 32 w 126"/>
                <a:gd name="T53" fmla="*/ 144 h 148"/>
                <a:gd name="T54" fmla="*/ 28 w 126"/>
                <a:gd name="T55" fmla="*/ 144 h 148"/>
                <a:gd name="T56" fmla="*/ 20 w 126"/>
                <a:gd name="T57" fmla="*/ 148 h 148"/>
                <a:gd name="T58" fmla="*/ 14 w 126"/>
                <a:gd name="T59" fmla="*/ 148 h 148"/>
                <a:gd name="T60" fmla="*/ 12 w 126"/>
                <a:gd name="T61" fmla="*/ 136 h 148"/>
                <a:gd name="T62" fmla="*/ 12 w 126"/>
                <a:gd name="T63" fmla="*/ 116 h 148"/>
                <a:gd name="T64" fmla="*/ 6 w 126"/>
                <a:gd name="T65" fmla="*/ 106 h 148"/>
                <a:gd name="T66" fmla="*/ 0 w 126"/>
                <a:gd name="T67" fmla="*/ 102 h 148"/>
                <a:gd name="T68" fmla="*/ 8 w 126"/>
                <a:gd name="T69" fmla="*/ 92 h 148"/>
                <a:gd name="T70" fmla="*/ 20 w 126"/>
                <a:gd name="T71" fmla="*/ 48 h 148"/>
                <a:gd name="T72" fmla="*/ 28 w 126"/>
                <a:gd name="T73" fmla="*/ 20 h 148"/>
                <a:gd name="T74" fmla="*/ 36 w 126"/>
                <a:gd name="T75" fmla="*/ 10 h 148"/>
                <a:gd name="T76" fmla="*/ 46 w 126"/>
                <a:gd name="T77" fmla="*/ 4 h 148"/>
                <a:gd name="T78" fmla="*/ 68 w 126"/>
                <a:gd name="T79" fmla="*/ 10 h 148"/>
                <a:gd name="T80" fmla="*/ 108 w 126"/>
                <a:gd name="T81" fmla="*/ 8 h 148"/>
                <a:gd name="T82" fmla="*/ 126 w 126"/>
                <a:gd name="T8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48">
                  <a:moveTo>
                    <a:pt x="126" y="0"/>
                  </a:moveTo>
                  <a:lnTo>
                    <a:pt x="126" y="0"/>
                  </a:lnTo>
                  <a:lnTo>
                    <a:pt x="122" y="10"/>
                  </a:lnTo>
                  <a:lnTo>
                    <a:pt x="114" y="18"/>
                  </a:lnTo>
                  <a:lnTo>
                    <a:pt x="106" y="26"/>
                  </a:lnTo>
                  <a:lnTo>
                    <a:pt x="98" y="32"/>
                  </a:lnTo>
                  <a:lnTo>
                    <a:pt x="98" y="32"/>
                  </a:lnTo>
                  <a:lnTo>
                    <a:pt x="90" y="26"/>
                  </a:lnTo>
                  <a:lnTo>
                    <a:pt x="82" y="22"/>
                  </a:lnTo>
                  <a:lnTo>
                    <a:pt x="72" y="20"/>
                  </a:lnTo>
                  <a:lnTo>
                    <a:pt x="60" y="18"/>
                  </a:lnTo>
                  <a:lnTo>
                    <a:pt x="50" y="20"/>
                  </a:lnTo>
                  <a:lnTo>
                    <a:pt x="42" y="22"/>
                  </a:lnTo>
                  <a:lnTo>
                    <a:pt x="34" y="28"/>
                  </a:lnTo>
                  <a:lnTo>
                    <a:pt x="28" y="36"/>
                  </a:lnTo>
                  <a:lnTo>
                    <a:pt x="28" y="36"/>
                  </a:lnTo>
                  <a:lnTo>
                    <a:pt x="28" y="42"/>
                  </a:lnTo>
                  <a:lnTo>
                    <a:pt x="30" y="44"/>
                  </a:lnTo>
                  <a:lnTo>
                    <a:pt x="34" y="50"/>
                  </a:lnTo>
                  <a:lnTo>
                    <a:pt x="38" y="54"/>
                  </a:lnTo>
                  <a:lnTo>
                    <a:pt x="40" y="56"/>
                  </a:lnTo>
                  <a:lnTo>
                    <a:pt x="42" y="60"/>
                  </a:lnTo>
                  <a:lnTo>
                    <a:pt x="42" y="60"/>
                  </a:lnTo>
                  <a:lnTo>
                    <a:pt x="54" y="58"/>
                  </a:lnTo>
                  <a:lnTo>
                    <a:pt x="64" y="54"/>
                  </a:lnTo>
                  <a:lnTo>
                    <a:pt x="76" y="50"/>
                  </a:lnTo>
                  <a:lnTo>
                    <a:pt x="88" y="50"/>
                  </a:lnTo>
                  <a:lnTo>
                    <a:pt x="88" y="50"/>
                  </a:lnTo>
                  <a:lnTo>
                    <a:pt x="82" y="56"/>
                  </a:lnTo>
                  <a:lnTo>
                    <a:pt x="74" y="60"/>
                  </a:lnTo>
                  <a:lnTo>
                    <a:pt x="66" y="66"/>
                  </a:lnTo>
                  <a:lnTo>
                    <a:pt x="60" y="74"/>
                  </a:lnTo>
                  <a:lnTo>
                    <a:pt x="60" y="74"/>
                  </a:lnTo>
                  <a:lnTo>
                    <a:pt x="64" y="86"/>
                  </a:lnTo>
                  <a:lnTo>
                    <a:pt x="70" y="98"/>
                  </a:lnTo>
                  <a:lnTo>
                    <a:pt x="74" y="112"/>
                  </a:lnTo>
                  <a:lnTo>
                    <a:pt x="76" y="120"/>
                  </a:lnTo>
                  <a:lnTo>
                    <a:pt x="74" y="130"/>
                  </a:lnTo>
                  <a:lnTo>
                    <a:pt x="74" y="130"/>
                  </a:lnTo>
                  <a:lnTo>
                    <a:pt x="68" y="128"/>
                  </a:lnTo>
                  <a:lnTo>
                    <a:pt x="62" y="124"/>
                  </a:lnTo>
                  <a:lnTo>
                    <a:pt x="58" y="118"/>
                  </a:lnTo>
                  <a:lnTo>
                    <a:pt x="54" y="114"/>
                  </a:lnTo>
                  <a:lnTo>
                    <a:pt x="42" y="88"/>
                  </a:lnTo>
                  <a:lnTo>
                    <a:pt x="42" y="88"/>
                  </a:lnTo>
                  <a:lnTo>
                    <a:pt x="36" y="90"/>
                  </a:lnTo>
                  <a:lnTo>
                    <a:pt x="32" y="94"/>
                  </a:lnTo>
                  <a:lnTo>
                    <a:pt x="28" y="98"/>
                  </a:lnTo>
                  <a:lnTo>
                    <a:pt x="24" y="102"/>
                  </a:lnTo>
                  <a:lnTo>
                    <a:pt x="24" y="102"/>
                  </a:lnTo>
                  <a:lnTo>
                    <a:pt x="26" y="112"/>
                  </a:lnTo>
                  <a:lnTo>
                    <a:pt x="28" y="122"/>
                  </a:lnTo>
                  <a:lnTo>
                    <a:pt x="32" y="132"/>
                  </a:lnTo>
                  <a:lnTo>
                    <a:pt x="32" y="144"/>
                  </a:lnTo>
                  <a:lnTo>
                    <a:pt x="32" y="144"/>
                  </a:lnTo>
                  <a:lnTo>
                    <a:pt x="28" y="144"/>
                  </a:lnTo>
                  <a:lnTo>
                    <a:pt x="24" y="146"/>
                  </a:lnTo>
                  <a:lnTo>
                    <a:pt x="20" y="148"/>
                  </a:lnTo>
                  <a:lnTo>
                    <a:pt x="14" y="148"/>
                  </a:lnTo>
                  <a:lnTo>
                    <a:pt x="14" y="148"/>
                  </a:lnTo>
                  <a:lnTo>
                    <a:pt x="12" y="142"/>
                  </a:lnTo>
                  <a:lnTo>
                    <a:pt x="12" y="136"/>
                  </a:lnTo>
                  <a:lnTo>
                    <a:pt x="12" y="122"/>
                  </a:lnTo>
                  <a:lnTo>
                    <a:pt x="12" y="116"/>
                  </a:lnTo>
                  <a:lnTo>
                    <a:pt x="10" y="110"/>
                  </a:lnTo>
                  <a:lnTo>
                    <a:pt x="6" y="106"/>
                  </a:lnTo>
                  <a:lnTo>
                    <a:pt x="0" y="102"/>
                  </a:lnTo>
                  <a:lnTo>
                    <a:pt x="0" y="102"/>
                  </a:lnTo>
                  <a:lnTo>
                    <a:pt x="4" y="96"/>
                  </a:lnTo>
                  <a:lnTo>
                    <a:pt x="8" y="92"/>
                  </a:lnTo>
                  <a:lnTo>
                    <a:pt x="14" y="78"/>
                  </a:lnTo>
                  <a:lnTo>
                    <a:pt x="20" y="48"/>
                  </a:lnTo>
                  <a:lnTo>
                    <a:pt x="22" y="34"/>
                  </a:lnTo>
                  <a:lnTo>
                    <a:pt x="28" y="20"/>
                  </a:lnTo>
                  <a:lnTo>
                    <a:pt x="30" y="16"/>
                  </a:lnTo>
                  <a:lnTo>
                    <a:pt x="36" y="10"/>
                  </a:lnTo>
                  <a:lnTo>
                    <a:pt x="40" y="6"/>
                  </a:lnTo>
                  <a:lnTo>
                    <a:pt x="46" y="4"/>
                  </a:lnTo>
                  <a:lnTo>
                    <a:pt x="46" y="4"/>
                  </a:lnTo>
                  <a:lnTo>
                    <a:pt x="68" y="10"/>
                  </a:lnTo>
                  <a:lnTo>
                    <a:pt x="88" y="10"/>
                  </a:lnTo>
                  <a:lnTo>
                    <a:pt x="108" y="8"/>
                  </a:lnTo>
                  <a:lnTo>
                    <a:pt x="126" y="0"/>
                  </a:lnTo>
                  <a:lnTo>
                    <a:pt x="12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6" name="Freeform 60"/>
            <p:cNvSpPr>
              <a:spLocks/>
            </p:cNvSpPr>
            <p:nvPr/>
          </p:nvSpPr>
          <p:spPr bwMode="auto">
            <a:xfrm>
              <a:off x="9927439" y="4092483"/>
              <a:ext cx="638790" cy="365022"/>
            </a:xfrm>
            <a:custGeom>
              <a:avLst/>
              <a:gdLst>
                <a:gd name="T0" fmla="*/ 42 w 378"/>
                <a:gd name="T1" fmla="*/ 0 h 216"/>
                <a:gd name="T2" fmla="*/ 52 w 378"/>
                <a:gd name="T3" fmla="*/ 14 h 216"/>
                <a:gd name="T4" fmla="*/ 64 w 378"/>
                <a:gd name="T5" fmla="*/ 48 h 216"/>
                <a:gd name="T6" fmla="*/ 74 w 378"/>
                <a:gd name="T7" fmla="*/ 60 h 216"/>
                <a:gd name="T8" fmla="*/ 80 w 378"/>
                <a:gd name="T9" fmla="*/ 54 h 216"/>
                <a:gd name="T10" fmla="*/ 102 w 378"/>
                <a:gd name="T11" fmla="*/ 38 h 216"/>
                <a:gd name="T12" fmla="*/ 130 w 378"/>
                <a:gd name="T13" fmla="*/ 18 h 216"/>
                <a:gd name="T14" fmla="*/ 180 w 378"/>
                <a:gd name="T15" fmla="*/ 40 h 216"/>
                <a:gd name="T16" fmla="*/ 256 w 378"/>
                <a:gd name="T17" fmla="*/ 72 h 216"/>
                <a:gd name="T18" fmla="*/ 296 w 378"/>
                <a:gd name="T19" fmla="*/ 102 h 216"/>
                <a:gd name="T20" fmla="*/ 312 w 378"/>
                <a:gd name="T21" fmla="*/ 120 h 216"/>
                <a:gd name="T22" fmla="*/ 312 w 378"/>
                <a:gd name="T23" fmla="*/ 126 h 216"/>
                <a:gd name="T24" fmla="*/ 308 w 378"/>
                <a:gd name="T25" fmla="*/ 132 h 216"/>
                <a:gd name="T26" fmla="*/ 304 w 378"/>
                <a:gd name="T27" fmla="*/ 134 h 216"/>
                <a:gd name="T28" fmla="*/ 318 w 378"/>
                <a:gd name="T29" fmla="*/ 158 h 216"/>
                <a:gd name="T30" fmla="*/ 356 w 378"/>
                <a:gd name="T31" fmla="*/ 198 h 216"/>
                <a:gd name="T32" fmla="*/ 378 w 378"/>
                <a:gd name="T33" fmla="*/ 214 h 216"/>
                <a:gd name="T34" fmla="*/ 354 w 378"/>
                <a:gd name="T35" fmla="*/ 214 h 216"/>
                <a:gd name="T36" fmla="*/ 330 w 378"/>
                <a:gd name="T37" fmla="*/ 204 h 216"/>
                <a:gd name="T38" fmla="*/ 290 w 378"/>
                <a:gd name="T39" fmla="*/ 170 h 216"/>
                <a:gd name="T40" fmla="*/ 272 w 378"/>
                <a:gd name="T41" fmla="*/ 154 h 216"/>
                <a:gd name="T42" fmla="*/ 254 w 378"/>
                <a:gd name="T43" fmla="*/ 148 h 216"/>
                <a:gd name="T44" fmla="*/ 236 w 378"/>
                <a:gd name="T45" fmla="*/ 156 h 216"/>
                <a:gd name="T46" fmla="*/ 220 w 378"/>
                <a:gd name="T47" fmla="*/ 182 h 216"/>
                <a:gd name="T48" fmla="*/ 204 w 378"/>
                <a:gd name="T49" fmla="*/ 180 h 216"/>
                <a:gd name="T50" fmla="*/ 180 w 378"/>
                <a:gd name="T51" fmla="*/ 170 h 216"/>
                <a:gd name="T52" fmla="*/ 162 w 378"/>
                <a:gd name="T53" fmla="*/ 160 h 216"/>
                <a:gd name="T54" fmla="*/ 140 w 378"/>
                <a:gd name="T55" fmla="*/ 152 h 216"/>
                <a:gd name="T56" fmla="*/ 126 w 378"/>
                <a:gd name="T57" fmla="*/ 154 h 216"/>
                <a:gd name="T58" fmla="*/ 136 w 378"/>
                <a:gd name="T59" fmla="*/ 142 h 216"/>
                <a:gd name="T60" fmla="*/ 150 w 378"/>
                <a:gd name="T61" fmla="*/ 134 h 216"/>
                <a:gd name="T62" fmla="*/ 142 w 378"/>
                <a:gd name="T63" fmla="*/ 120 h 216"/>
                <a:gd name="T64" fmla="*/ 120 w 378"/>
                <a:gd name="T65" fmla="*/ 94 h 216"/>
                <a:gd name="T66" fmla="*/ 90 w 378"/>
                <a:gd name="T67" fmla="*/ 78 h 216"/>
                <a:gd name="T68" fmla="*/ 54 w 378"/>
                <a:gd name="T69" fmla="*/ 68 h 216"/>
                <a:gd name="T70" fmla="*/ 32 w 378"/>
                <a:gd name="T71" fmla="*/ 64 h 216"/>
                <a:gd name="T72" fmla="*/ 28 w 378"/>
                <a:gd name="T73" fmla="*/ 56 h 216"/>
                <a:gd name="T74" fmla="*/ 28 w 378"/>
                <a:gd name="T75" fmla="*/ 50 h 216"/>
                <a:gd name="T76" fmla="*/ 32 w 378"/>
                <a:gd name="T77" fmla="*/ 42 h 216"/>
                <a:gd name="T78" fmla="*/ 42 w 378"/>
                <a:gd name="T79" fmla="*/ 36 h 216"/>
                <a:gd name="T80" fmla="*/ 24 w 378"/>
                <a:gd name="T81" fmla="*/ 22 h 216"/>
                <a:gd name="T82" fmla="*/ 0 w 378"/>
                <a:gd name="T83" fmla="*/ 14 h 216"/>
                <a:gd name="T84" fmla="*/ 18 w 378"/>
                <a:gd name="T85" fmla="*/ 2 h 216"/>
                <a:gd name="T86" fmla="*/ 42 w 378"/>
                <a:gd name="T8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8" h="216">
                  <a:moveTo>
                    <a:pt x="42" y="0"/>
                  </a:moveTo>
                  <a:lnTo>
                    <a:pt x="42" y="0"/>
                  </a:lnTo>
                  <a:lnTo>
                    <a:pt x="48" y="6"/>
                  </a:lnTo>
                  <a:lnTo>
                    <a:pt x="52" y="14"/>
                  </a:lnTo>
                  <a:lnTo>
                    <a:pt x="58" y="30"/>
                  </a:lnTo>
                  <a:lnTo>
                    <a:pt x="64" y="48"/>
                  </a:lnTo>
                  <a:lnTo>
                    <a:pt x="68" y="54"/>
                  </a:lnTo>
                  <a:lnTo>
                    <a:pt x="74" y="60"/>
                  </a:lnTo>
                  <a:lnTo>
                    <a:pt x="74" y="60"/>
                  </a:lnTo>
                  <a:lnTo>
                    <a:pt x="80" y="54"/>
                  </a:lnTo>
                  <a:lnTo>
                    <a:pt x="86" y="48"/>
                  </a:lnTo>
                  <a:lnTo>
                    <a:pt x="102" y="38"/>
                  </a:lnTo>
                  <a:lnTo>
                    <a:pt x="116" y="28"/>
                  </a:lnTo>
                  <a:lnTo>
                    <a:pt x="130" y="18"/>
                  </a:lnTo>
                  <a:lnTo>
                    <a:pt x="130" y="18"/>
                  </a:lnTo>
                  <a:lnTo>
                    <a:pt x="180" y="40"/>
                  </a:lnTo>
                  <a:lnTo>
                    <a:pt x="232" y="60"/>
                  </a:lnTo>
                  <a:lnTo>
                    <a:pt x="256" y="72"/>
                  </a:lnTo>
                  <a:lnTo>
                    <a:pt x="276" y="86"/>
                  </a:lnTo>
                  <a:lnTo>
                    <a:pt x="296" y="102"/>
                  </a:lnTo>
                  <a:lnTo>
                    <a:pt x="304" y="110"/>
                  </a:lnTo>
                  <a:lnTo>
                    <a:pt x="312" y="120"/>
                  </a:lnTo>
                  <a:lnTo>
                    <a:pt x="312" y="120"/>
                  </a:lnTo>
                  <a:lnTo>
                    <a:pt x="312" y="126"/>
                  </a:lnTo>
                  <a:lnTo>
                    <a:pt x="310" y="130"/>
                  </a:lnTo>
                  <a:lnTo>
                    <a:pt x="308" y="132"/>
                  </a:lnTo>
                  <a:lnTo>
                    <a:pt x="304" y="134"/>
                  </a:lnTo>
                  <a:lnTo>
                    <a:pt x="304" y="134"/>
                  </a:lnTo>
                  <a:lnTo>
                    <a:pt x="310" y="148"/>
                  </a:lnTo>
                  <a:lnTo>
                    <a:pt x="318" y="158"/>
                  </a:lnTo>
                  <a:lnTo>
                    <a:pt x="334" y="180"/>
                  </a:lnTo>
                  <a:lnTo>
                    <a:pt x="356" y="198"/>
                  </a:lnTo>
                  <a:lnTo>
                    <a:pt x="378" y="214"/>
                  </a:lnTo>
                  <a:lnTo>
                    <a:pt x="378" y="214"/>
                  </a:lnTo>
                  <a:lnTo>
                    <a:pt x="366" y="216"/>
                  </a:lnTo>
                  <a:lnTo>
                    <a:pt x="354" y="214"/>
                  </a:lnTo>
                  <a:lnTo>
                    <a:pt x="342" y="210"/>
                  </a:lnTo>
                  <a:lnTo>
                    <a:pt x="330" y="204"/>
                  </a:lnTo>
                  <a:lnTo>
                    <a:pt x="310" y="188"/>
                  </a:lnTo>
                  <a:lnTo>
                    <a:pt x="290" y="170"/>
                  </a:lnTo>
                  <a:lnTo>
                    <a:pt x="280" y="162"/>
                  </a:lnTo>
                  <a:lnTo>
                    <a:pt x="272" y="154"/>
                  </a:lnTo>
                  <a:lnTo>
                    <a:pt x="262" y="150"/>
                  </a:lnTo>
                  <a:lnTo>
                    <a:pt x="254" y="148"/>
                  </a:lnTo>
                  <a:lnTo>
                    <a:pt x="244" y="150"/>
                  </a:lnTo>
                  <a:lnTo>
                    <a:pt x="236" y="156"/>
                  </a:lnTo>
                  <a:lnTo>
                    <a:pt x="228" y="166"/>
                  </a:lnTo>
                  <a:lnTo>
                    <a:pt x="220" y="182"/>
                  </a:lnTo>
                  <a:lnTo>
                    <a:pt x="220" y="182"/>
                  </a:lnTo>
                  <a:lnTo>
                    <a:pt x="204" y="180"/>
                  </a:lnTo>
                  <a:lnTo>
                    <a:pt x="192" y="176"/>
                  </a:lnTo>
                  <a:lnTo>
                    <a:pt x="180" y="170"/>
                  </a:lnTo>
                  <a:lnTo>
                    <a:pt x="172" y="164"/>
                  </a:lnTo>
                  <a:lnTo>
                    <a:pt x="162" y="160"/>
                  </a:lnTo>
                  <a:lnTo>
                    <a:pt x="152" y="154"/>
                  </a:lnTo>
                  <a:lnTo>
                    <a:pt x="140" y="152"/>
                  </a:lnTo>
                  <a:lnTo>
                    <a:pt x="126" y="154"/>
                  </a:lnTo>
                  <a:lnTo>
                    <a:pt x="126" y="154"/>
                  </a:lnTo>
                  <a:lnTo>
                    <a:pt x="130" y="148"/>
                  </a:lnTo>
                  <a:lnTo>
                    <a:pt x="136" y="142"/>
                  </a:lnTo>
                  <a:lnTo>
                    <a:pt x="144" y="140"/>
                  </a:lnTo>
                  <a:lnTo>
                    <a:pt x="150" y="134"/>
                  </a:lnTo>
                  <a:lnTo>
                    <a:pt x="150" y="134"/>
                  </a:lnTo>
                  <a:lnTo>
                    <a:pt x="142" y="120"/>
                  </a:lnTo>
                  <a:lnTo>
                    <a:pt x="132" y="106"/>
                  </a:lnTo>
                  <a:lnTo>
                    <a:pt x="120" y="94"/>
                  </a:lnTo>
                  <a:lnTo>
                    <a:pt x="106" y="84"/>
                  </a:lnTo>
                  <a:lnTo>
                    <a:pt x="90" y="78"/>
                  </a:lnTo>
                  <a:lnTo>
                    <a:pt x="72" y="72"/>
                  </a:lnTo>
                  <a:lnTo>
                    <a:pt x="54" y="68"/>
                  </a:lnTo>
                  <a:lnTo>
                    <a:pt x="32" y="64"/>
                  </a:lnTo>
                  <a:lnTo>
                    <a:pt x="32" y="64"/>
                  </a:lnTo>
                  <a:lnTo>
                    <a:pt x="32" y="58"/>
                  </a:lnTo>
                  <a:lnTo>
                    <a:pt x="28" y="56"/>
                  </a:lnTo>
                  <a:lnTo>
                    <a:pt x="28" y="56"/>
                  </a:lnTo>
                  <a:lnTo>
                    <a:pt x="28" y="50"/>
                  </a:lnTo>
                  <a:lnTo>
                    <a:pt x="28" y="46"/>
                  </a:lnTo>
                  <a:lnTo>
                    <a:pt x="32" y="42"/>
                  </a:lnTo>
                  <a:lnTo>
                    <a:pt x="42" y="36"/>
                  </a:lnTo>
                  <a:lnTo>
                    <a:pt x="42" y="36"/>
                  </a:lnTo>
                  <a:lnTo>
                    <a:pt x="34" y="28"/>
                  </a:lnTo>
                  <a:lnTo>
                    <a:pt x="24" y="22"/>
                  </a:lnTo>
                  <a:lnTo>
                    <a:pt x="0" y="14"/>
                  </a:lnTo>
                  <a:lnTo>
                    <a:pt x="0" y="14"/>
                  </a:lnTo>
                  <a:lnTo>
                    <a:pt x="8" y="8"/>
                  </a:lnTo>
                  <a:lnTo>
                    <a:pt x="18" y="2"/>
                  </a:lnTo>
                  <a:lnTo>
                    <a:pt x="28" y="0"/>
                  </a:lnTo>
                  <a:lnTo>
                    <a:pt x="42" y="0"/>
                  </a:lnTo>
                  <a:lnTo>
                    <a:pt x="4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7" name="Freeform 61"/>
            <p:cNvSpPr>
              <a:spLocks/>
            </p:cNvSpPr>
            <p:nvPr/>
          </p:nvSpPr>
          <p:spPr bwMode="auto">
            <a:xfrm>
              <a:off x="10559469" y="4170219"/>
              <a:ext cx="77736" cy="64217"/>
            </a:xfrm>
            <a:custGeom>
              <a:avLst/>
              <a:gdLst>
                <a:gd name="T0" fmla="*/ 0 w 46"/>
                <a:gd name="T1" fmla="*/ 0 h 38"/>
                <a:gd name="T2" fmla="*/ 0 w 46"/>
                <a:gd name="T3" fmla="*/ 0 h 38"/>
                <a:gd name="T4" fmla="*/ 6 w 46"/>
                <a:gd name="T5" fmla="*/ 0 h 38"/>
                <a:gd name="T6" fmla="*/ 12 w 46"/>
                <a:gd name="T7" fmla="*/ 0 h 38"/>
                <a:gd name="T8" fmla="*/ 20 w 46"/>
                <a:gd name="T9" fmla="*/ 2 h 38"/>
                <a:gd name="T10" fmla="*/ 28 w 46"/>
                <a:gd name="T11" fmla="*/ 8 h 38"/>
                <a:gd name="T12" fmla="*/ 34 w 46"/>
                <a:gd name="T13" fmla="*/ 14 h 38"/>
                <a:gd name="T14" fmla="*/ 40 w 46"/>
                <a:gd name="T15" fmla="*/ 20 h 38"/>
                <a:gd name="T16" fmla="*/ 44 w 46"/>
                <a:gd name="T17" fmla="*/ 28 h 38"/>
                <a:gd name="T18" fmla="*/ 46 w 46"/>
                <a:gd name="T19" fmla="*/ 38 h 38"/>
                <a:gd name="T20" fmla="*/ 46 w 46"/>
                <a:gd name="T21" fmla="*/ 38 h 38"/>
                <a:gd name="T22" fmla="*/ 26 w 46"/>
                <a:gd name="T23" fmla="*/ 16 h 38"/>
                <a:gd name="T24" fmla="*/ 14 w 46"/>
                <a:gd name="T25" fmla="*/ 6 h 38"/>
                <a:gd name="T26" fmla="*/ 6 w 46"/>
                <a:gd name="T27" fmla="*/ 2 h 38"/>
                <a:gd name="T28" fmla="*/ 0 w 46"/>
                <a:gd name="T29" fmla="*/ 0 h 38"/>
                <a:gd name="T30" fmla="*/ 0 w 46"/>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38">
                  <a:moveTo>
                    <a:pt x="0" y="0"/>
                  </a:moveTo>
                  <a:lnTo>
                    <a:pt x="0" y="0"/>
                  </a:lnTo>
                  <a:lnTo>
                    <a:pt x="6" y="0"/>
                  </a:lnTo>
                  <a:lnTo>
                    <a:pt x="12" y="0"/>
                  </a:lnTo>
                  <a:lnTo>
                    <a:pt x="20" y="2"/>
                  </a:lnTo>
                  <a:lnTo>
                    <a:pt x="28" y="8"/>
                  </a:lnTo>
                  <a:lnTo>
                    <a:pt x="34" y="14"/>
                  </a:lnTo>
                  <a:lnTo>
                    <a:pt x="40" y="20"/>
                  </a:lnTo>
                  <a:lnTo>
                    <a:pt x="44" y="28"/>
                  </a:lnTo>
                  <a:lnTo>
                    <a:pt x="46" y="38"/>
                  </a:lnTo>
                  <a:lnTo>
                    <a:pt x="46" y="38"/>
                  </a:lnTo>
                  <a:lnTo>
                    <a:pt x="26" y="16"/>
                  </a:lnTo>
                  <a:lnTo>
                    <a:pt x="14" y="6"/>
                  </a:lnTo>
                  <a:lnTo>
                    <a:pt x="6" y="2"/>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8" name="Freeform 62"/>
            <p:cNvSpPr>
              <a:spLocks/>
            </p:cNvSpPr>
            <p:nvPr/>
          </p:nvSpPr>
          <p:spPr bwMode="auto">
            <a:xfrm>
              <a:off x="9826044" y="4170219"/>
              <a:ext cx="70977" cy="23659"/>
            </a:xfrm>
            <a:custGeom>
              <a:avLst/>
              <a:gdLst>
                <a:gd name="T0" fmla="*/ 0 w 42"/>
                <a:gd name="T1" fmla="*/ 0 h 14"/>
                <a:gd name="T2" fmla="*/ 0 w 42"/>
                <a:gd name="T3" fmla="*/ 0 h 14"/>
                <a:gd name="T4" fmla="*/ 12 w 42"/>
                <a:gd name="T5" fmla="*/ 0 h 14"/>
                <a:gd name="T6" fmla="*/ 22 w 42"/>
                <a:gd name="T7" fmla="*/ 2 h 14"/>
                <a:gd name="T8" fmla="*/ 30 w 42"/>
                <a:gd name="T9" fmla="*/ 4 h 14"/>
                <a:gd name="T10" fmla="*/ 42 w 42"/>
                <a:gd name="T11" fmla="*/ 4 h 14"/>
                <a:gd name="T12" fmla="*/ 42 w 42"/>
                <a:gd name="T13" fmla="*/ 4 h 14"/>
                <a:gd name="T14" fmla="*/ 38 w 42"/>
                <a:gd name="T15" fmla="*/ 8 h 14"/>
                <a:gd name="T16" fmla="*/ 32 w 42"/>
                <a:gd name="T17" fmla="*/ 12 h 14"/>
                <a:gd name="T18" fmla="*/ 26 w 42"/>
                <a:gd name="T19" fmla="*/ 12 h 14"/>
                <a:gd name="T20" fmla="*/ 18 w 42"/>
                <a:gd name="T21" fmla="*/ 14 h 14"/>
                <a:gd name="T22" fmla="*/ 12 w 42"/>
                <a:gd name="T23" fmla="*/ 12 h 14"/>
                <a:gd name="T24" fmla="*/ 6 w 42"/>
                <a:gd name="T25" fmla="*/ 10 h 14"/>
                <a:gd name="T26" fmla="*/ 2 w 42"/>
                <a:gd name="T27" fmla="*/ 6 h 14"/>
                <a:gd name="T28" fmla="*/ 0 w 42"/>
                <a:gd name="T29" fmla="*/ 0 h 14"/>
                <a:gd name="T30" fmla="*/ 0 w 4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4">
                  <a:moveTo>
                    <a:pt x="0" y="0"/>
                  </a:moveTo>
                  <a:lnTo>
                    <a:pt x="0" y="0"/>
                  </a:lnTo>
                  <a:lnTo>
                    <a:pt x="12" y="0"/>
                  </a:lnTo>
                  <a:lnTo>
                    <a:pt x="22" y="2"/>
                  </a:lnTo>
                  <a:lnTo>
                    <a:pt x="30" y="4"/>
                  </a:lnTo>
                  <a:lnTo>
                    <a:pt x="42" y="4"/>
                  </a:lnTo>
                  <a:lnTo>
                    <a:pt x="42" y="4"/>
                  </a:lnTo>
                  <a:lnTo>
                    <a:pt x="38" y="8"/>
                  </a:lnTo>
                  <a:lnTo>
                    <a:pt x="32" y="12"/>
                  </a:lnTo>
                  <a:lnTo>
                    <a:pt x="26" y="12"/>
                  </a:lnTo>
                  <a:lnTo>
                    <a:pt x="18" y="14"/>
                  </a:lnTo>
                  <a:lnTo>
                    <a:pt x="12" y="12"/>
                  </a:lnTo>
                  <a:lnTo>
                    <a:pt x="6" y="10"/>
                  </a:lnTo>
                  <a:lnTo>
                    <a:pt x="2" y="6"/>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59" name="Freeform 63"/>
            <p:cNvSpPr>
              <a:spLocks/>
            </p:cNvSpPr>
            <p:nvPr/>
          </p:nvSpPr>
          <p:spPr bwMode="auto">
            <a:xfrm>
              <a:off x="10502011" y="4224295"/>
              <a:ext cx="104775" cy="74355"/>
            </a:xfrm>
            <a:custGeom>
              <a:avLst/>
              <a:gdLst>
                <a:gd name="T0" fmla="*/ 60 w 62"/>
                <a:gd name="T1" fmla="*/ 0 h 44"/>
                <a:gd name="T2" fmla="*/ 60 w 62"/>
                <a:gd name="T3" fmla="*/ 0 h 44"/>
                <a:gd name="T4" fmla="*/ 62 w 62"/>
                <a:gd name="T5" fmla="*/ 6 h 44"/>
                <a:gd name="T6" fmla="*/ 62 w 62"/>
                <a:gd name="T7" fmla="*/ 10 h 44"/>
                <a:gd name="T8" fmla="*/ 60 w 62"/>
                <a:gd name="T9" fmla="*/ 20 h 44"/>
                <a:gd name="T10" fmla="*/ 52 w 62"/>
                <a:gd name="T11" fmla="*/ 30 h 44"/>
                <a:gd name="T12" fmla="*/ 44 w 62"/>
                <a:gd name="T13" fmla="*/ 38 h 44"/>
                <a:gd name="T14" fmla="*/ 34 w 62"/>
                <a:gd name="T15" fmla="*/ 42 h 44"/>
                <a:gd name="T16" fmla="*/ 22 w 62"/>
                <a:gd name="T17" fmla="*/ 44 h 44"/>
                <a:gd name="T18" fmla="*/ 10 w 62"/>
                <a:gd name="T19" fmla="*/ 44 h 44"/>
                <a:gd name="T20" fmla="*/ 0 w 62"/>
                <a:gd name="T21" fmla="*/ 38 h 44"/>
                <a:gd name="T22" fmla="*/ 0 w 62"/>
                <a:gd name="T23" fmla="*/ 38 h 44"/>
                <a:gd name="T24" fmla="*/ 18 w 62"/>
                <a:gd name="T25" fmla="*/ 30 h 44"/>
                <a:gd name="T26" fmla="*/ 36 w 62"/>
                <a:gd name="T27" fmla="*/ 24 h 44"/>
                <a:gd name="T28" fmla="*/ 44 w 62"/>
                <a:gd name="T29" fmla="*/ 20 h 44"/>
                <a:gd name="T30" fmla="*/ 50 w 62"/>
                <a:gd name="T31" fmla="*/ 16 h 44"/>
                <a:gd name="T32" fmla="*/ 56 w 62"/>
                <a:gd name="T33" fmla="*/ 8 h 44"/>
                <a:gd name="T34" fmla="*/ 60 w 62"/>
                <a:gd name="T35" fmla="*/ 0 h 44"/>
                <a:gd name="T36" fmla="*/ 60 w 62"/>
                <a:gd name="T3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44">
                  <a:moveTo>
                    <a:pt x="60" y="0"/>
                  </a:moveTo>
                  <a:lnTo>
                    <a:pt x="60" y="0"/>
                  </a:lnTo>
                  <a:lnTo>
                    <a:pt x="62" y="6"/>
                  </a:lnTo>
                  <a:lnTo>
                    <a:pt x="62" y="10"/>
                  </a:lnTo>
                  <a:lnTo>
                    <a:pt x="60" y="20"/>
                  </a:lnTo>
                  <a:lnTo>
                    <a:pt x="52" y="30"/>
                  </a:lnTo>
                  <a:lnTo>
                    <a:pt x="44" y="38"/>
                  </a:lnTo>
                  <a:lnTo>
                    <a:pt x="34" y="42"/>
                  </a:lnTo>
                  <a:lnTo>
                    <a:pt x="22" y="44"/>
                  </a:lnTo>
                  <a:lnTo>
                    <a:pt x="10" y="44"/>
                  </a:lnTo>
                  <a:lnTo>
                    <a:pt x="0" y="38"/>
                  </a:lnTo>
                  <a:lnTo>
                    <a:pt x="0" y="38"/>
                  </a:lnTo>
                  <a:lnTo>
                    <a:pt x="18" y="30"/>
                  </a:lnTo>
                  <a:lnTo>
                    <a:pt x="36" y="24"/>
                  </a:lnTo>
                  <a:lnTo>
                    <a:pt x="44" y="20"/>
                  </a:lnTo>
                  <a:lnTo>
                    <a:pt x="50" y="16"/>
                  </a:lnTo>
                  <a:lnTo>
                    <a:pt x="56" y="8"/>
                  </a:lnTo>
                  <a:lnTo>
                    <a:pt x="60" y="0"/>
                  </a:lnTo>
                  <a:lnTo>
                    <a:pt x="6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0" name="Freeform 64"/>
            <p:cNvSpPr>
              <a:spLocks/>
            </p:cNvSpPr>
            <p:nvPr/>
          </p:nvSpPr>
          <p:spPr bwMode="auto">
            <a:xfrm>
              <a:off x="10667624" y="4264855"/>
              <a:ext cx="33798" cy="64217"/>
            </a:xfrm>
            <a:custGeom>
              <a:avLst/>
              <a:gdLst>
                <a:gd name="T0" fmla="*/ 0 w 20"/>
                <a:gd name="T1" fmla="*/ 0 h 38"/>
                <a:gd name="T2" fmla="*/ 0 w 20"/>
                <a:gd name="T3" fmla="*/ 0 h 38"/>
                <a:gd name="T4" fmla="*/ 6 w 20"/>
                <a:gd name="T5" fmla="*/ 10 h 38"/>
                <a:gd name="T6" fmla="*/ 14 w 20"/>
                <a:gd name="T7" fmla="*/ 20 h 38"/>
                <a:gd name="T8" fmla="*/ 20 w 20"/>
                <a:gd name="T9" fmla="*/ 28 h 38"/>
                <a:gd name="T10" fmla="*/ 20 w 20"/>
                <a:gd name="T11" fmla="*/ 32 h 38"/>
                <a:gd name="T12" fmla="*/ 18 w 20"/>
                <a:gd name="T13" fmla="*/ 38 h 38"/>
                <a:gd name="T14" fmla="*/ 18 w 20"/>
                <a:gd name="T15" fmla="*/ 38 h 38"/>
                <a:gd name="T16" fmla="*/ 10 w 20"/>
                <a:gd name="T17" fmla="*/ 32 h 38"/>
                <a:gd name="T18" fmla="*/ 6 w 20"/>
                <a:gd name="T19" fmla="*/ 24 h 38"/>
                <a:gd name="T20" fmla="*/ 2 w 20"/>
                <a:gd name="T21" fmla="*/ 12 h 38"/>
                <a:gd name="T22" fmla="*/ 0 w 20"/>
                <a:gd name="T23" fmla="*/ 0 h 38"/>
                <a:gd name="T24" fmla="*/ 0 w 20"/>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8">
                  <a:moveTo>
                    <a:pt x="0" y="0"/>
                  </a:moveTo>
                  <a:lnTo>
                    <a:pt x="0" y="0"/>
                  </a:lnTo>
                  <a:lnTo>
                    <a:pt x="6" y="10"/>
                  </a:lnTo>
                  <a:lnTo>
                    <a:pt x="14" y="20"/>
                  </a:lnTo>
                  <a:lnTo>
                    <a:pt x="20" y="28"/>
                  </a:lnTo>
                  <a:lnTo>
                    <a:pt x="20" y="32"/>
                  </a:lnTo>
                  <a:lnTo>
                    <a:pt x="18" y="38"/>
                  </a:lnTo>
                  <a:lnTo>
                    <a:pt x="18" y="38"/>
                  </a:lnTo>
                  <a:lnTo>
                    <a:pt x="10" y="32"/>
                  </a:lnTo>
                  <a:lnTo>
                    <a:pt x="6" y="24"/>
                  </a:lnTo>
                  <a:lnTo>
                    <a:pt x="2" y="12"/>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1" name="Freeform 65"/>
            <p:cNvSpPr>
              <a:spLocks/>
            </p:cNvSpPr>
            <p:nvPr/>
          </p:nvSpPr>
          <p:spPr bwMode="auto">
            <a:xfrm>
              <a:off x="9085859" y="4288512"/>
              <a:ext cx="314325" cy="74355"/>
            </a:xfrm>
            <a:custGeom>
              <a:avLst/>
              <a:gdLst>
                <a:gd name="T0" fmla="*/ 186 w 186"/>
                <a:gd name="T1" fmla="*/ 42 h 44"/>
                <a:gd name="T2" fmla="*/ 186 w 186"/>
                <a:gd name="T3" fmla="*/ 42 h 44"/>
                <a:gd name="T4" fmla="*/ 164 w 186"/>
                <a:gd name="T5" fmla="*/ 44 h 44"/>
                <a:gd name="T6" fmla="*/ 140 w 186"/>
                <a:gd name="T7" fmla="*/ 44 h 44"/>
                <a:gd name="T8" fmla="*/ 114 w 186"/>
                <a:gd name="T9" fmla="*/ 42 h 44"/>
                <a:gd name="T10" fmla="*/ 88 w 186"/>
                <a:gd name="T11" fmla="*/ 38 h 44"/>
                <a:gd name="T12" fmla="*/ 62 w 186"/>
                <a:gd name="T13" fmla="*/ 34 h 44"/>
                <a:gd name="T14" fmla="*/ 38 w 186"/>
                <a:gd name="T15" fmla="*/ 28 h 44"/>
                <a:gd name="T16" fmla="*/ 18 w 186"/>
                <a:gd name="T17" fmla="*/ 20 h 44"/>
                <a:gd name="T18" fmla="*/ 0 w 186"/>
                <a:gd name="T19" fmla="*/ 10 h 44"/>
                <a:gd name="T20" fmla="*/ 0 w 186"/>
                <a:gd name="T21" fmla="*/ 10 h 44"/>
                <a:gd name="T22" fmla="*/ 6 w 186"/>
                <a:gd name="T23" fmla="*/ 4 h 44"/>
                <a:gd name="T24" fmla="*/ 14 w 186"/>
                <a:gd name="T25" fmla="*/ 2 h 44"/>
                <a:gd name="T26" fmla="*/ 20 w 186"/>
                <a:gd name="T27" fmla="*/ 0 h 44"/>
                <a:gd name="T28" fmla="*/ 28 w 186"/>
                <a:gd name="T29" fmla="*/ 0 h 44"/>
                <a:gd name="T30" fmla="*/ 42 w 186"/>
                <a:gd name="T31" fmla="*/ 4 h 44"/>
                <a:gd name="T32" fmla="*/ 56 w 186"/>
                <a:gd name="T33" fmla="*/ 8 h 44"/>
                <a:gd name="T34" fmla="*/ 70 w 186"/>
                <a:gd name="T35" fmla="*/ 14 h 44"/>
                <a:gd name="T36" fmla="*/ 84 w 186"/>
                <a:gd name="T37" fmla="*/ 16 h 44"/>
                <a:gd name="T38" fmla="*/ 90 w 186"/>
                <a:gd name="T39" fmla="*/ 16 h 44"/>
                <a:gd name="T40" fmla="*/ 98 w 186"/>
                <a:gd name="T41" fmla="*/ 16 h 44"/>
                <a:gd name="T42" fmla="*/ 104 w 186"/>
                <a:gd name="T43" fmla="*/ 14 h 44"/>
                <a:gd name="T44" fmla="*/ 112 w 186"/>
                <a:gd name="T45" fmla="*/ 10 h 44"/>
                <a:gd name="T46" fmla="*/ 112 w 186"/>
                <a:gd name="T47" fmla="*/ 10 h 44"/>
                <a:gd name="T48" fmla="*/ 130 w 186"/>
                <a:gd name="T49" fmla="*/ 18 h 44"/>
                <a:gd name="T50" fmla="*/ 148 w 186"/>
                <a:gd name="T51" fmla="*/ 26 h 44"/>
                <a:gd name="T52" fmla="*/ 166 w 186"/>
                <a:gd name="T53" fmla="*/ 36 h 44"/>
                <a:gd name="T54" fmla="*/ 186 w 186"/>
                <a:gd name="T55" fmla="*/ 42 h 44"/>
                <a:gd name="T56" fmla="*/ 186 w 186"/>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44">
                  <a:moveTo>
                    <a:pt x="186" y="42"/>
                  </a:moveTo>
                  <a:lnTo>
                    <a:pt x="186" y="42"/>
                  </a:lnTo>
                  <a:lnTo>
                    <a:pt x="164" y="44"/>
                  </a:lnTo>
                  <a:lnTo>
                    <a:pt x="140" y="44"/>
                  </a:lnTo>
                  <a:lnTo>
                    <a:pt x="114" y="42"/>
                  </a:lnTo>
                  <a:lnTo>
                    <a:pt x="88" y="38"/>
                  </a:lnTo>
                  <a:lnTo>
                    <a:pt x="62" y="34"/>
                  </a:lnTo>
                  <a:lnTo>
                    <a:pt x="38" y="28"/>
                  </a:lnTo>
                  <a:lnTo>
                    <a:pt x="18" y="20"/>
                  </a:lnTo>
                  <a:lnTo>
                    <a:pt x="0" y="10"/>
                  </a:lnTo>
                  <a:lnTo>
                    <a:pt x="0" y="10"/>
                  </a:lnTo>
                  <a:lnTo>
                    <a:pt x="6" y="4"/>
                  </a:lnTo>
                  <a:lnTo>
                    <a:pt x="14" y="2"/>
                  </a:lnTo>
                  <a:lnTo>
                    <a:pt x="20" y="0"/>
                  </a:lnTo>
                  <a:lnTo>
                    <a:pt x="28" y="0"/>
                  </a:lnTo>
                  <a:lnTo>
                    <a:pt x="42" y="4"/>
                  </a:lnTo>
                  <a:lnTo>
                    <a:pt x="56" y="8"/>
                  </a:lnTo>
                  <a:lnTo>
                    <a:pt x="70" y="14"/>
                  </a:lnTo>
                  <a:lnTo>
                    <a:pt x="84" y="16"/>
                  </a:lnTo>
                  <a:lnTo>
                    <a:pt x="90" y="16"/>
                  </a:lnTo>
                  <a:lnTo>
                    <a:pt x="98" y="16"/>
                  </a:lnTo>
                  <a:lnTo>
                    <a:pt x="104" y="14"/>
                  </a:lnTo>
                  <a:lnTo>
                    <a:pt x="112" y="10"/>
                  </a:lnTo>
                  <a:lnTo>
                    <a:pt x="112" y="10"/>
                  </a:lnTo>
                  <a:lnTo>
                    <a:pt x="130" y="18"/>
                  </a:lnTo>
                  <a:lnTo>
                    <a:pt x="148" y="26"/>
                  </a:lnTo>
                  <a:lnTo>
                    <a:pt x="166" y="36"/>
                  </a:lnTo>
                  <a:lnTo>
                    <a:pt x="186" y="42"/>
                  </a:lnTo>
                  <a:lnTo>
                    <a:pt x="186" y="4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2" name="Freeform 66"/>
            <p:cNvSpPr>
              <a:spLocks/>
            </p:cNvSpPr>
            <p:nvPr/>
          </p:nvSpPr>
          <p:spPr bwMode="auto">
            <a:xfrm>
              <a:off x="9559037" y="4359490"/>
              <a:ext cx="77736" cy="30419"/>
            </a:xfrm>
            <a:custGeom>
              <a:avLst/>
              <a:gdLst>
                <a:gd name="T0" fmla="*/ 46 w 46"/>
                <a:gd name="T1" fmla="*/ 10 h 18"/>
                <a:gd name="T2" fmla="*/ 46 w 46"/>
                <a:gd name="T3" fmla="*/ 10 h 18"/>
                <a:gd name="T4" fmla="*/ 38 w 46"/>
                <a:gd name="T5" fmla="*/ 14 h 18"/>
                <a:gd name="T6" fmla="*/ 28 w 46"/>
                <a:gd name="T7" fmla="*/ 16 h 18"/>
                <a:gd name="T8" fmla="*/ 8 w 46"/>
                <a:gd name="T9" fmla="*/ 18 h 18"/>
                <a:gd name="T10" fmla="*/ 8 w 46"/>
                <a:gd name="T11" fmla="*/ 18 h 18"/>
                <a:gd name="T12" fmla="*/ 6 w 46"/>
                <a:gd name="T13" fmla="*/ 12 h 18"/>
                <a:gd name="T14" fmla="*/ 2 w 46"/>
                <a:gd name="T15" fmla="*/ 10 h 18"/>
                <a:gd name="T16" fmla="*/ 0 w 46"/>
                <a:gd name="T17" fmla="*/ 10 h 18"/>
                <a:gd name="T18" fmla="*/ 0 w 46"/>
                <a:gd name="T19" fmla="*/ 10 h 18"/>
                <a:gd name="T20" fmla="*/ 2 w 46"/>
                <a:gd name="T21" fmla="*/ 4 h 18"/>
                <a:gd name="T22" fmla="*/ 8 w 46"/>
                <a:gd name="T23" fmla="*/ 0 h 18"/>
                <a:gd name="T24" fmla="*/ 14 w 46"/>
                <a:gd name="T25" fmla="*/ 0 h 18"/>
                <a:gd name="T26" fmla="*/ 20 w 46"/>
                <a:gd name="T27" fmla="*/ 2 h 18"/>
                <a:gd name="T28" fmla="*/ 34 w 46"/>
                <a:gd name="T29" fmla="*/ 6 h 18"/>
                <a:gd name="T30" fmla="*/ 40 w 46"/>
                <a:gd name="T31" fmla="*/ 8 h 18"/>
                <a:gd name="T32" fmla="*/ 46 w 46"/>
                <a:gd name="T33" fmla="*/ 10 h 18"/>
                <a:gd name="T34" fmla="*/ 46 w 46"/>
                <a:gd name="T35"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18">
                  <a:moveTo>
                    <a:pt x="46" y="10"/>
                  </a:moveTo>
                  <a:lnTo>
                    <a:pt x="46" y="10"/>
                  </a:lnTo>
                  <a:lnTo>
                    <a:pt x="38" y="14"/>
                  </a:lnTo>
                  <a:lnTo>
                    <a:pt x="28" y="16"/>
                  </a:lnTo>
                  <a:lnTo>
                    <a:pt x="8" y="18"/>
                  </a:lnTo>
                  <a:lnTo>
                    <a:pt x="8" y="18"/>
                  </a:lnTo>
                  <a:lnTo>
                    <a:pt x="6" y="12"/>
                  </a:lnTo>
                  <a:lnTo>
                    <a:pt x="2" y="10"/>
                  </a:lnTo>
                  <a:lnTo>
                    <a:pt x="0" y="10"/>
                  </a:lnTo>
                  <a:lnTo>
                    <a:pt x="0" y="10"/>
                  </a:lnTo>
                  <a:lnTo>
                    <a:pt x="2" y="4"/>
                  </a:lnTo>
                  <a:lnTo>
                    <a:pt x="8" y="0"/>
                  </a:lnTo>
                  <a:lnTo>
                    <a:pt x="14" y="0"/>
                  </a:lnTo>
                  <a:lnTo>
                    <a:pt x="20" y="2"/>
                  </a:lnTo>
                  <a:lnTo>
                    <a:pt x="34" y="6"/>
                  </a:lnTo>
                  <a:lnTo>
                    <a:pt x="40" y="8"/>
                  </a:lnTo>
                  <a:lnTo>
                    <a:pt x="46" y="10"/>
                  </a:lnTo>
                  <a:lnTo>
                    <a:pt x="46" y="1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3" name="Freeform 67"/>
            <p:cNvSpPr>
              <a:spLocks/>
            </p:cNvSpPr>
            <p:nvPr/>
          </p:nvSpPr>
          <p:spPr bwMode="auto">
            <a:xfrm>
              <a:off x="9440742" y="4366250"/>
              <a:ext cx="70977" cy="23659"/>
            </a:xfrm>
            <a:custGeom>
              <a:avLst/>
              <a:gdLst>
                <a:gd name="T0" fmla="*/ 42 w 42"/>
                <a:gd name="T1" fmla="*/ 6 h 14"/>
                <a:gd name="T2" fmla="*/ 42 w 42"/>
                <a:gd name="T3" fmla="*/ 6 h 14"/>
                <a:gd name="T4" fmla="*/ 32 w 42"/>
                <a:gd name="T5" fmla="*/ 10 h 14"/>
                <a:gd name="T6" fmla="*/ 22 w 42"/>
                <a:gd name="T7" fmla="*/ 14 h 14"/>
                <a:gd name="T8" fmla="*/ 10 w 42"/>
                <a:gd name="T9" fmla="*/ 14 h 14"/>
                <a:gd name="T10" fmla="*/ 0 w 42"/>
                <a:gd name="T11" fmla="*/ 10 h 14"/>
                <a:gd name="T12" fmla="*/ 0 w 42"/>
                <a:gd name="T13" fmla="*/ 10 h 14"/>
                <a:gd name="T14" fmla="*/ 2 w 42"/>
                <a:gd name="T15" fmla="*/ 6 h 14"/>
                <a:gd name="T16" fmla="*/ 6 w 42"/>
                <a:gd name="T17" fmla="*/ 2 h 14"/>
                <a:gd name="T18" fmla="*/ 12 w 42"/>
                <a:gd name="T19" fmla="*/ 0 h 14"/>
                <a:gd name="T20" fmla="*/ 18 w 42"/>
                <a:gd name="T21" fmla="*/ 0 h 14"/>
                <a:gd name="T22" fmla="*/ 32 w 42"/>
                <a:gd name="T23" fmla="*/ 2 h 14"/>
                <a:gd name="T24" fmla="*/ 42 w 42"/>
                <a:gd name="T25" fmla="*/ 6 h 14"/>
                <a:gd name="T26" fmla="*/ 42 w 42"/>
                <a:gd name="T2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14">
                  <a:moveTo>
                    <a:pt x="42" y="6"/>
                  </a:moveTo>
                  <a:lnTo>
                    <a:pt x="42" y="6"/>
                  </a:lnTo>
                  <a:lnTo>
                    <a:pt x="32" y="10"/>
                  </a:lnTo>
                  <a:lnTo>
                    <a:pt x="22" y="14"/>
                  </a:lnTo>
                  <a:lnTo>
                    <a:pt x="10" y="14"/>
                  </a:lnTo>
                  <a:lnTo>
                    <a:pt x="0" y="10"/>
                  </a:lnTo>
                  <a:lnTo>
                    <a:pt x="0" y="10"/>
                  </a:lnTo>
                  <a:lnTo>
                    <a:pt x="2" y="6"/>
                  </a:lnTo>
                  <a:lnTo>
                    <a:pt x="6" y="2"/>
                  </a:lnTo>
                  <a:lnTo>
                    <a:pt x="12" y="0"/>
                  </a:lnTo>
                  <a:lnTo>
                    <a:pt x="18" y="0"/>
                  </a:lnTo>
                  <a:lnTo>
                    <a:pt x="32" y="2"/>
                  </a:lnTo>
                  <a:lnTo>
                    <a:pt x="42" y="6"/>
                  </a:lnTo>
                  <a:lnTo>
                    <a:pt x="42" y="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4" name="Freeform 68"/>
            <p:cNvSpPr>
              <a:spLocks/>
            </p:cNvSpPr>
            <p:nvPr/>
          </p:nvSpPr>
          <p:spPr bwMode="auto">
            <a:xfrm>
              <a:off x="9660432" y="4369629"/>
              <a:ext cx="125054" cy="60837"/>
            </a:xfrm>
            <a:custGeom>
              <a:avLst/>
              <a:gdLst>
                <a:gd name="T0" fmla="*/ 74 w 74"/>
                <a:gd name="T1" fmla="*/ 4 h 36"/>
                <a:gd name="T2" fmla="*/ 74 w 74"/>
                <a:gd name="T3" fmla="*/ 4 h 36"/>
                <a:gd name="T4" fmla="*/ 64 w 74"/>
                <a:gd name="T5" fmla="*/ 6 h 36"/>
                <a:gd name="T6" fmla="*/ 54 w 74"/>
                <a:gd name="T7" fmla="*/ 10 h 36"/>
                <a:gd name="T8" fmla="*/ 36 w 74"/>
                <a:gd name="T9" fmla="*/ 18 h 36"/>
                <a:gd name="T10" fmla="*/ 20 w 74"/>
                <a:gd name="T11" fmla="*/ 28 h 36"/>
                <a:gd name="T12" fmla="*/ 10 w 74"/>
                <a:gd name="T13" fmla="*/ 32 h 36"/>
                <a:gd name="T14" fmla="*/ 0 w 74"/>
                <a:gd name="T15" fmla="*/ 36 h 36"/>
                <a:gd name="T16" fmla="*/ 0 w 74"/>
                <a:gd name="T17" fmla="*/ 36 h 36"/>
                <a:gd name="T18" fmla="*/ 4 w 74"/>
                <a:gd name="T19" fmla="*/ 26 h 36"/>
                <a:gd name="T20" fmla="*/ 12 w 74"/>
                <a:gd name="T21" fmla="*/ 18 h 36"/>
                <a:gd name="T22" fmla="*/ 18 w 74"/>
                <a:gd name="T23" fmla="*/ 10 h 36"/>
                <a:gd name="T24" fmla="*/ 28 w 74"/>
                <a:gd name="T25" fmla="*/ 6 h 36"/>
                <a:gd name="T26" fmla="*/ 38 w 74"/>
                <a:gd name="T27" fmla="*/ 2 h 36"/>
                <a:gd name="T28" fmla="*/ 50 w 74"/>
                <a:gd name="T29" fmla="*/ 0 h 36"/>
                <a:gd name="T30" fmla="*/ 62 w 74"/>
                <a:gd name="T31" fmla="*/ 0 h 36"/>
                <a:gd name="T32" fmla="*/ 74 w 74"/>
                <a:gd name="T33" fmla="*/ 4 h 36"/>
                <a:gd name="T34" fmla="*/ 74 w 74"/>
                <a:gd name="T3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36">
                  <a:moveTo>
                    <a:pt x="74" y="4"/>
                  </a:moveTo>
                  <a:lnTo>
                    <a:pt x="74" y="4"/>
                  </a:lnTo>
                  <a:lnTo>
                    <a:pt x="64" y="6"/>
                  </a:lnTo>
                  <a:lnTo>
                    <a:pt x="54" y="10"/>
                  </a:lnTo>
                  <a:lnTo>
                    <a:pt x="36" y="18"/>
                  </a:lnTo>
                  <a:lnTo>
                    <a:pt x="20" y="28"/>
                  </a:lnTo>
                  <a:lnTo>
                    <a:pt x="10" y="32"/>
                  </a:lnTo>
                  <a:lnTo>
                    <a:pt x="0" y="36"/>
                  </a:lnTo>
                  <a:lnTo>
                    <a:pt x="0" y="36"/>
                  </a:lnTo>
                  <a:lnTo>
                    <a:pt x="4" y="26"/>
                  </a:lnTo>
                  <a:lnTo>
                    <a:pt x="12" y="18"/>
                  </a:lnTo>
                  <a:lnTo>
                    <a:pt x="18" y="10"/>
                  </a:lnTo>
                  <a:lnTo>
                    <a:pt x="28" y="6"/>
                  </a:lnTo>
                  <a:lnTo>
                    <a:pt x="38" y="2"/>
                  </a:lnTo>
                  <a:lnTo>
                    <a:pt x="50" y="0"/>
                  </a:lnTo>
                  <a:lnTo>
                    <a:pt x="62" y="0"/>
                  </a:lnTo>
                  <a:lnTo>
                    <a:pt x="74" y="4"/>
                  </a:lnTo>
                  <a:lnTo>
                    <a:pt x="74"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5" name="Freeform 69"/>
            <p:cNvSpPr>
              <a:spLocks/>
            </p:cNvSpPr>
            <p:nvPr/>
          </p:nvSpPr>
          <p:spPr bwMode="auto">
            <a:xfrm>
              <a:off x="9227812" y="4471025"/>
              <a:ext cx="1284339" cy="990292"/>
            </a:xfrm>
            <a:custGeom>
              <a:avLst/>
              <a:gdLst>
                <a:gd name="T0" fmla="*/ 628 w 760"/>
                <a:gd name="T1" fmla="*/ 18 h 586"/>
                <a:gd name="T2" fmla="*/ 668 w 760"/>
                <a:gd name="T3" fmla="*/ 104 h 586"/>
                <a:gd name="T4" fmla="*/ 662 w 760"/>
                <a:gd name="T5" fmla="*/ 144 h 586"/>
                <a:gd name="T6" fmla="*/ 710 w 760"/>
                <a:gd name="T7" fmla="*/ 220 h 586"/>
                <a:gd name="T8" fmla="*/ 760 w 760"/>
                <a:gd name="T9" fmla="*/ 298 h 586"/>
                <a:gd name="T10" fmla="*/ 740 w 760"/>
                <a:gd name="T11" fmla="*/ 388 h 586"/>
                <a:gd name="T12" fmla="*/ 692 w 760"/>
                <a:gd name="T13" fmla="*/ 450 h 586"/>
                <a:gd name="T14" fmla="*/ 598 w 760"/>
                <a:gd name="T15" fmla="*/ 546 h 586"/>
                <a:gd name="T16" fmla="*/ 566 w 760"/>
                <a:gd name="T17" fmla="*/ 558 h 586"/>
                <a:gd name="T18" fmla="*/ 528 w 760"/>
                <a:gd name="T19" fmla="*/ 574 h 586"/>
                <a:gd name="T20" fmla="*/ 504 w 760"/>
                <a:gd name="T21" fmla="*/ 576 h 586"/>
                <a:gd name="T22" fmla="*/ 476 w 760"/>
                <a:gd name="T23" fmla="*/ 574 h 586"/>
                <a:gd name="T24" fmla="*/ 436 w 760"/>
                <a:gd name="T25" fmla="*/ 564 h 586"/>
                <a:gd name="T26" fmla="*/ 426 w 760"/>
                <a:gd name="T27" fmla="*/ 538 h 586"/>
                <a:gd name="T28" fmla="*/ 420 w 760"/>
                <a:gd name="T29" fmla="*/ 498 h 586"/>
                <a:gd name="T30" fmla="*/ 410 w 760"/>
                <a:gd name="T31" fmla="*/ 490 h 586"/>
                <a:gd name="T32" fmla="*/ 400 w 760"/>
                <a:gd name="T33" fmla="*/ 502 h 586"/>
                <a:gd name="T34" fmla="*/ 402 w 760"/>
                <a:gd name="T35" fmla="*/ 490 h 586"/>
                <a:gd name="T36" fmla="*/ 424 w 760"/>
                <a:gd name="T37" fmla="*/ 460 h 586"/>
                <a:gd name="T38" fmla="*/ 402 w 760"/>
                <a:gd name="T39" fmla="*/ 464 h 586"/>
                <a:gd name="T40" fmla="*/ 372 w 760"/>
                <a:gd name="T41" fmla="*/ 494 h 586"/>
                <a:gd name="T42" fmla="*/ 334 w 760"/>
                <a:gd name="T43" fmla="*/ 438 h 586"/>
                <a:gd name="T44" fmla="*/ 256 w 760"/>
                <a:gd name="T45" fmla="*/ 432 h 586"/>
                <a:gd name="T46" fmla="*/ 208 w 760"/>
                <a:gd name="T47" fmla="*/ 450 h 586"/>
                <a:gd name="T48" fmla="*/ 144 w 760"/>
                <a:gd name="T49" fmla="*/ 472 h 586"/>
                <a:gd name="T50" fmla="*/ 92 w 760"/>
                <a:gd name="T51" fmla="*/ 474 h 586"/>
                <a:gd name="T52" fmla="*/ 32 w 760"/>
                <a:gd name="T53" fmla="*/ 496 h 586"/>
                <a:gd name="T54" fmla="*/ 0 w 760"/>
                <a:gd name="T55" fmla="*/ 484 h 586"/>
                <a:gd name="T56" fmla="*/ 22 w 760"/>
                <a:gd name="T57" fmla="*/ 446 h 586"/>
                <a:gd name="T58" fmla="*/ 26 w 760"/>
                <a:gd name="T59" fmla="*/ 420 h 586"/>
                <a:gd name="T60" fmla="*/ 18 w 760"/>
                <a:gd name="T61" fmla="*/ 386 h 586"/>
                <a:gd name="T62" fmla="*/ 30 w 760"/>
                <a:gd name="T63" fmla="*/ 262 h 586"/>
                <a:gd name="T64" fmla="*/ 60 w 760"/>
                <a:gd name="T65" fmla="*/ 216 h 586"/>
                <a:gd name="T66" fmla="*/ 182 w 760"/>
                <a:gd name="T67" fmla="*/ 174 h 586"/>
                <a:gd name="T68" fmla="*/ 214 w 760"/>
                <a:gd name="T69" fmla="*/ 134 h 586"/>
                <a:gd name="T70" fmla="*/ 232 w 760"/>
                <a:gd name="T71" fmla="*/ 124 h 586"/>
                <a:gd name="T72" fmla="*/ 244 w 760"/>
                <a:gd name="T73" fmla="*/ 118 h 586"/>
                <a:gd name="T74" fmla="*/ 276 w 760"/>
                <a:gd name="T75" fmla="*/ 78 h 586"/>
                <a:gd name="T76" fmla="*/ 324 w 760"/>
                <a:gd name="T77" fmla="*/ 60 h 586"/>
                <a:gd name="T78" fmla="*/ 354 w 760"/>
                <a:gd name="T79" fmla="*/ 84 h 586"/>
                <a:gd name="T80" fmla="*/ 386 w 760"/>
                <a:gd name="T81" fmla="*/ 38 h 586"/>
                <a:gd name="T82" fmla="*/ 442 w 760"/>
                <a:gd name="T83" fmla="*/ 8 h 586"/>
                <a:gd name="T84" fmla="*/ 498 w 760"/>
                <a:gd name="T85" fmla="*/ 28 h 586"/>
                <a:gd name="T86" fmla="*/ 474 w 760"/>
                <a:gd name="T87" fmla="*/ 64 h 586"/>
                <a:gd name="T88" fmla="*/ 496 w 760"/>
                <a:gd name="T89" fmla="*/ 100 h 586"/>
                <a:gd name="T90" fmla="*/ 550 w 760"/>
                <a:gd name="T91" fmla="*/ 140 h 586"/>
                <a:gd name="T92" fmla="*/ 574 w 760"/>
                <a:gd name="T93" fmla="*/ 124 h 586"/>
                <a:gd name="T94" fmla="*/ 594 w 760"/>
                <a:gd name="T95" fmla="*/ 76 h 586"/>
                <a:gd name="T96" fmla="*/ 612 w 760"/>
                <a:gd name="T97" fmla="*/ 1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0" h="586">
                  <a:moveTo>
                    <a:pt x="624" y="0"/>
                  </a:moveTo>
                  <a:lnTo>
                    <a:pt x="624" y="0"/>
                  </a:lnTo>
                  <a:lnTo>
                    <a:pt x="626" y="10"/>
                  </a:lnTo>
                  <a:lnTo>
                    <a:pt x="628" y="18"/>
                  </a:lnTo>
                  <a:lnTo>
                    <a:pt x="636" y="36"/>
                  </a:lnTo>
                  <a:lnTo>
                    <a:pt x="656" y="70"/>
                  </a:lnTo>
                  <a:lnTo>
                    <a:pt x="664" y="86"/>
                  </a:lnTo>
                  <a:lnTo>
                    <a:pt x="668" y="104"/>
                  </a:lnTo>
                  <a:lnTo>
                    <a:pt x="670" y="114"/>
                  </a:lnTo>
                  <a:lnTo>
                    <a:pt x="668" y="122"/>
                  </a:lnTo>
                  <a:lnTo>
                    <a:pt x="666" y="132"/>
                  </a:lnTo>
                  <a:lnTo>
                    <a:pt x="662" y="144"/>
                  </a:lnTo>
                  <a:lnTo>
                    <a:pt x="662" y="144"/>
                  </a:lnTo>
                  <a:lnTo>
                    <a:pt x="676" y="160"/>
                  </a:lnTo>
                  <a:lnTo>
                    <a:pt x="688" y="180"/>
                  </a:lnTo>
                  <a:lnTo>
                    <a:pt x="710" y="220"/>
                  </a:lnTo>
                  <a:lnTo>
                    <a:pt x="732" y="260"/>
                  </a:lnTo>
                  <a:lnTo>
                    <a:pt x="746" y="280"/>
                  </a:lnTo>
                  <a:lnTo>
                    <a:pt x="760" y="298"/>
                  </a:lnTo>
                  <a:lnTo>
                    <a:pt x="760" y="298"/>
                  </a:lnTo>
                  <a:lnTo>
                    <a:pt x="758" y="324"/>
                  </a:lnTo>
                  <a:lnTo>
                    <a:pt x="754" y="346"/>
                  </a:lnTo>
                  <a:lnTo>
                    <a:pt x="748" y="368"/>
                  </a:lnTo>
                  <a:lnTo>
                    <a:pt x="740" y="388"/>
                  </a:lnTo>
                  <a:lnTo>
                    <a:pt x="730" y="404"/>
                  </a:lnTo>
                  <a:lnTo>
                    <a:pt x="718" y="420"/>
                  </a:lnTo>
                  <a:lnTo>
                    <a:pt x="706" y="436"/>
                  </a:lnTo>
                  <a:lnTo>
                    <a:pt x="692" y="450"/>
                  </a:lnTo>
                  <a:lnTo>
                    <a:pt x="664" y="476"/>
                  </a:lnTo>
                  <a:lnTo>
                    <a:pt x="636" y="502"/>
                  </a:lnTo>
                  <a:lnTo>
                    <a:pt x="610" y="530"/>
                  </a:lnTo>
                  <a:lnTo>
                    <a:pt x="598" y="546"/>
                  </a:lnTo>
                  <a:lnTo>
                    <a:pt x="586" y="562"/>
                  </a:lnTo>
                  <a:lnTo>
                    <a:pt x="586" y="562"/>
                  </a:lnTo>
                  <a:lnTo>
                    <a:pt x="576" y="560"/>
                  </a:lnTo>
                  <a:lnTo>
                    <a:pt x="566" y="558"/>
                  </a:lnTo>
                  <a:lnTo>
                    <a:pt x="556" y="560"/>
                  </a:lnTo>
                  <a:lnTo>
                    <a:pt x="546" y="564"/>
                  </a:lnTo>
                  <a:lnTo>
                    <a:pt x="536" y="568"/>
                  </a:lnTo>
                  <a:lnTo>
                    <a:pt x="528" y="574"/>
                  </a:lnTo>
                  <a:lnTo>
                    <a:pt x="522" y="580"/>
                  </a:lnTo>
                  <a:lnTo>
                    <a:pt x="516" y="586"/>
                  </a:lnTo>
                  <a:lnTo>
                    <a:pt x="516" y="586"/>
                  </a:lnTo>
                  <a:lnTo>
                    <a:pt x="504" y="576"/>
                  </a:lnTo>
                  <a:lnTo>
                    <a:pt x="494" y="562"/>
                  </a:lnTo>
                  <a:lnTo>
                    <a:pt x="494" y="562"/>
                  </a:lnTo>
                  <a:lnTo>
                    <a:pt x="486" y="570"/>
                  </a:lnTo>
                  <a:lnTo>
                    <a:pt x="476" y="574"/>
                  </a:lnTo>
                  <a:lnTo>
                    <a:pt x="466" y="574"/>
                  </a:lnTo>
                  <a:lnTo>
                    <a:pt x="456" y="572"/>
                  </a:lnTo>
                  <a:lnTo>
                    <a:pt x="446" y="570"/>
                  </a:lnTo>
                  <a:lnTo>
                    <a:pt x="436" y="564"/>
                  </a:lnTo>
                  <a:lnTo>
                    <a:pt x="418" y="554"/>
                  </a:lnTo>
                  <a:lnTo>
                    <a:pt x="418" y="554"/>
                  </a:lnTo>
                  <a:lnTo>
                    <a:pt x="424" y="546"/>
                  </a:lnTo>
                  <a:lnTo>
                    <a:pt x="426" y="538"/>
                  </a:lnTo>
                  <a:lnTo>
                    <a:pt x="426" y="530"/>
                  </a:lnTo>
                  <a:lnTo>
                    <a:pt x="426" y="524"/>
                  </a:lnTo>
                  <a:lnTo>
                    <a:pt x="422" y="508"/>
                  </a:lnTo>
                  <a:lnTo>
                    <a:pt x="420" y="498"/>
                  </a:lnTo>
                  <a:lnTo>
                    <a:pt x="418" y="488"/>
                  </a:lnTo>
                  <a:lnTo>
                    <a:pt x="418" y="488"/>
                  </a:lnTo>
                  <a:lnTo>
                    <a:pt x="414" y="488"/>
                  </a:lnTo>
                  <a:lnTo>
                    <a:pt x="410" y="490"/>
                  </a:lnTo>
                  <a:lnTo>
                    <a:pt x="408" y="492"/>
                  </a:lnTo>
                  <a:lnTo>
                    <a:pt x="406" y="494"/>
                  </a:lnTo>
                  <a:lnTo>
                    <a:pt x="404" y="502"/>
                  </a:lnTo>
                  <a:lnTo>
                    <a:pt x="400" y="502"/>
                  </a:lnTo>
                  <a:lnTo>
                    <a:pt x="396" y="502"/>
                  </a:lnTo>
                  <a:lnTo>
                    <a:pt x="396" y="502"/>
                  </a:lnTo>
                  <a:lnTo>
                    <a:pt x="398" y="496"/>
                  </a:lnTo>
                  <a:lnTo>
                    <a:pt x="402" y="490"/>
                  </a:lnTo>
                  <a:lnTo>
                    <a:pt x="410" y="482"/>
                  </a:lnTo>
                  <a:lnTo>
                    <a:pt x="418" y="472"/>
                  </a:lnTo>
                  <a:lnTo>
                    <a:pt x="422" y="468"/>
                  </a:lnTo>
                  <a:lnTo>
                    <a:pt x="424" y="460"/>
                  </a:lnTo>
                  <a:lnTo>
                    <a:pt x="424" y="460"/>
                  </a:lnTo>
                  <a:lnTo>
                    <a:pt x="418" y="460"/>
                  </a:lnTo>
                  <a:lnTo>
                    <a:pt x="410" y="462"/>
                  </a:lnTo>
                  <a:lnTo>
                    <a:pt x="402" y="464"/>
                  </a:lnTo>
                  <a:lnTo>
                    <a:pt x="396" y="468"/>
                  </a:lnTo>
                  <a:lnTo>
                    <a:pt x="382" y="480"/>
                  </a:lnTo>
                  <a:lnTo>
                    <a:pt x="372" y="494"/>
                  </a:lnTo>
                  <a:lnTo>
                    <a:pt x="372" y="494"/>
                  </a:lnTo>
                  <a:lnTo>
                    <a:pt x="364" y="474"/>
                  </a:lnTo>
                  <a:lnTo>
                    <a:pt x="356" y="460"/>
                  </a:lnTo>
                  <a:lnTo>
                    <a:pt x="346" y="448"/>
                  </a:lnTo>
                  <a:lnTo>
                    <a:pt x="334" y="438"/>
                  </a:lnTo>
                  <a:lnTo>
                    <a:pt x="320" y="432"/>
                  </a:lnTo>
                  <a:lnTo>
                    <a:pt x="302" y="430"/>
                  </a:lnTo>
                  <a:lnTo>
                    <a:pt x="280" y="430"/>
                  </a:lnTo>
                  <a:lnTo>
                    <a:pt x="256" y="432"/>
                  </a:lnTo>
                  <a:lnTo>
                    <a:pt x="256" y="432"/>
                  </a:lnTo>
                  <a:lnTo>
                    <a:pt x="244" y="436"/>
                  </a:lnTo>
                  <a:lnTo>
                    <a:pt x="232" y="440"/>
                  </a:lnTo>
                  <a:lnTo>
                    <a:pt x="208" y="450"/>
                  </a:lnTo>
                  <a:lnTo>
                    <a:pt x="184" y="460"/>
                  </a:lnTo>
                  <a:lnTo>
                    <a:pt x="158" y="470"/>
                  </a:lnTo>
                  <a:lnTo>
                    <a:pt x="158" y="470"/>
                  </a:lnTo>
                  <a:lnTo>
                    <a:pt x="144" y="472"/>
                  </a:lnTo>
                  <a:lnTo>
                    <a:pt x="126" y="472"/>
                  </a:lnTo>
                  <a:lnTo>
                    <a:pt x="110" y="472"/>
                  </a:lnTo>
                  <a:lnTo>
                    <a:pt x="92" y="474"/>
                  </a:lnTo>
                  <a:lnTo>
                    <a:pt x="92" y="474"/>
                  </a:lnTo>
                  <a:lnTo>
                    <a:pt x="78" y="478"/>
                  </a:lnTo>
                  <a:lnTo>
                    <a:pt x="66" y="484"/>
                  </a:lnTo>
                  <a:lnTo>
                    <a:pt x="44" y="494"/>
                  </a:lnTo>
                  <a:lnTo>
                    <a:pt x="32" y="496"/>
                  </a:lnTo>
                  <a:lnTo>
                    <a:pt x="22" y="496"/>
                  </a:lnTo>
                  <a:lnTo>
                    <a:pt x="12" y="492"/>
                  </a:lnTo>
                  <a:lnTo>
                    <a:pt x="0" y="484"/>
                  </a:lnTo>
                  <a:lnTo>
                    <a:pt x="0" y="484"/>
                  </a:lnTo>
                  <a:lnTo>
                    <a:pt x="0" y="476"/>
                  </a:lnTo>
                  <a:lnTo>
                    <a:pt x="4" y="470"/>
                  </a:lnTo>
                  <a:lnTo>
                    <a:pt x="12" y="458"/>
                  </a:lnTo>
                  <a:lnTo>
                    <a:pt x="22" y="446"/>
                  </a:lnTo>
                  <a:lnTo>
                    <a:pt x="26" y="438"/>
                  </a:lnTo>
                  <a:lnTo>
                    <a:pt x="28" y="428"/>
                  </a:lnTo>
                  <a:lnTo>
                    <a:pt x="28" y="428"/>
                  </a:lnTo>
                  <a:lnTo>
                    <a:pt x="26" y="420"/>
                  </a:lnTo>
                  <a:lnTo>
                    <a:pt x="24" y="410"/>
                  </a:lnTo>
                  <a:lnTo>
                    <a:pt x="20" y="398"/>
                  </a:lnTo>
                  <a:lnTo>
                    <a:pt x="18" y="386"/>
                  </a:lnTo>
                  <a:lnTo>
                    <a:pt x="18" y="386"/>
                  </a:lnTo>
                  <a:lnTo>
                    <a:pt x="18" y="366"/>
                  </a:lnTo>
                  <a:lnTo>
                    <a:pt x="18" y="344"/>
                  </a:lnTo>
                  <a:lnTo>
                    <a:pt x="22" y="302"/>
                  </a:lnTo>
                  <a:lnTo>
                    <a:pt x="30" y="262"/>
                  </a:lnTo>
                  <a:lnTo>
                    <a:pt x="36" y="228"/>
                  </a:lnTo>
                  <a:lnTo>
                    <a:pt x="36" y="228"/>
                  </a:lnTo>
                  <a:lnTo>
                    <a:pt x="48" y="222"/>
                  </a:lnTo>
                  <a:lnTo>
                    <a:pt x="60" y="216"/>
                  </a:lnTo>
                  <a:lnTo>
                    <a:pt x="88" y="206"/>
                  </a:lnTo>
                  <a:lnTo>
                    <a:pt x="144" y="190"/>
                  </a:lnTo>
                  <a:lnTo>
                    <a:pt x="170" y="180"/>
                  </a:lnTo>
                  <a:lnTo>
                    <a:pt x="182" y="174"/>
                  </a:lnTo>
                  <a:lnTo>
                    <a:pt x="192" y="166"/>
                  </a:lnTo>
                  <a:lnTo>
                    <a:pt x="202" y="156"/>
                  </a:lnTo>
                  <a:lnTo>
                    <a:pt x="208" y="146"/>
                  </a:lnTo>
                  <a:lnTo>
                    <a:pt x="214" y="134"/>
                  </a:lnTo>
                  <a:lnTo>
                    <a:pt x="218" y="120"/>
                  </a:lnTo>
                  <a:lnTo>
                    <a:pt x="218" y="120"/>
                  </a:lnTo>
                  <a:lnTo>
                    <a:pt x="226" y="122"/>
                  </a:lnTo>
                  <a:lnTo>
                    <a:pt x="232" y="124"/>
                  </a:lnTo>
                  <a:lnTo>
                    <a:pt x="236" y="128"/>
                  </a:lnTo>
                  <a:lnTo>
                    <a:pt x="242" y="130"/>
                  </a:lnTo>
                  <a:lnTo>
                    <a:pt x="242" y="130"/>
                  </a:lnTo>
                  <a:lnTo>
                    <a:pt x="244" y="118"/>
                  </a:lnTo>
                  <a:lnTo>
                    <a:pt x="250" y="108"/>
                  </a:lnTo>
                  <a:lnTo>
                    <a:pt x="258" y="98"/>
                  </a:lnTo>
                  <a:lnTo>
                    <a:pt x="266" y="88"/>
                  </a:lnTo>
                  <a:lnTo>
                    <a:pt x="276" y="78"/>
                  </a:lnTo>
                  <a:lnTo>
                    <a:pt x="288" y="70"/>
                  </a:lnTo>
                  <a:lnTo>
                    <a:pt x="312" y="56"/>
                  </a:lnTo>
                  <a:lnTo>
                    <a:pt x="312" y="56"/>
                  </a:lnTo>
                  <a:lnTo>
                    <a:pt x="324" y="60"/>
                  </a:lnTo>
                  <a:lnTo>
                    <a:pt x="334" y="68"/>
                  </a:lnTo>
                  <a:lnTo>
                    <a:pt x="344" y="76"/>
                  </a:lnTo>
                  <a:lnTo>
                    <a:pt x="354" y="84"/>
                  </a:lnTo>
                  <a:lnTo>
                    <a:pt x="354" y="84"/>
                  </a:lnTo>
                  <a:lnTo>
                    <a:pt x="358" y="70"/>
                  </a:lnTo>
                  <a:lnTo>
                    <a:pt x="366" y="60"/>
                  </a:lnTo>
                  <a:lnTo>
                    <a:pt x="374" y="48"/>
                  </a:lnTo>
                  <a:lnTo>
                    <a:pt x="386" y="38"/>
                  </a:lnTo>
                  <a:lnTo>
                    <a:pt x="398" y="28"/>
                  </a:lnTo>
                  <a:lnTo>
                    <a:pt x="412" y="20"/>
                  </a:lnTo>
                  <a:lnTo>
                    <a:pt x="426" y="14"/>
                  </a:lnTo>
                  <a:lnTo>
                    <a:pt x="442" y="8"/>
                  </a:lnTo>
                  <a:lnTo>
                    <a:pt x="442" y="8"/>
                  </a:lnTo>
                  <a:lnTo>
                    <a:pt x="472" y="16"/>
                  </a:lnTo>
                  <a:lnTo>
                    <a:pt x="486" y="20"/>
                  </a:lnTo>
                  <a:lnTo>
                    <a:pt x="498" y="28"/>
                  </a:lnTo>
                  <a:lnTo>
                    <a:pt x="498" y="28"/>
                  </a:lnTo>
                  <a:lnTo>
                    <a:pt x="486" y="46"/>
                  </a:lnTo>
                  <a:lnTo>
                    <a:pt x="480" y="54"/>
                  </a:lnTo>
                  <a:lnTo>
                    <a:pt x="474" y="64"/>
                  </a:lnTo>
                  <a:lnTo>
                    <a:pt x="474" y="64"/>
                  </a:lnTo>
                  <a:lnTo>
                    <a:pt x="480" y="78"/>
                  </a:lnTo>
                  <a:lnTo>
                    <a:pt x="486" y="90"/>
                  </a:lnTo>
                  <a:lnTo>
                    <a:pt x="496" y="100"/>
                  </a:lnTo>
                  <a:lnTo>
                    <a:pt x="508" y="106"/>
                  </a:lnTo>
                  <a:lnTo>
                    <a:pt x="530" y="120"/>
                  </a:lnTo>
                  <a:lnTo>
                    <a:pt x="540" y="128"/>
                  </a:lnTo>
                  <a:lnTo>
                    <a:pt x="550" y="140"/>
                  </a:lnTo>
                  <a:lnTo>
                    <a:pt x="550" y="140"/>
                  </a:lnTo>
                  <a:lnTo>
                    <a:pt x="560" y="136"/>
                  </a:lnTo>
                  <a:lnTo>
                    <a:pt x="568" y="130"/>
                  </a:lnTo>
                  <a:lnTo>
                    <a:pt x="574" y="124"/>
                  </a:lnTo>
                  <a:lnTo>
                    <a:pt x="580" y="116"/>
                  </a:lnTo>
                  <a:lnTo>
                    <a:pt x="584" y="106"/>
                  </a:lnTo>
                  <a:lnTo>
                    <a:pt x="588" y="98"/>
                  </a:lnTo>
                  <a:lnTo>
                    <a:pt x="594" y="76"/>
                  </a:lnTo>
                  <a:lnTo>
                    <a:pt x="598" y="54"/>
                  </a:lnTo>
                  <a:lnTo>
                    <a:pt x="604" y="32"/>
                  </a:lnTo>
                  <a:lnTo>
                    <a:pt x="608" y="22"/>
                  </a:lnTo>
                  <a:lnTo>
                    <a:pt x="612" y="14"/>
                  </a:lnTo>
                  <a:lnTo>
                    <a:pt x="618" y="6"/>
                  </a:lnTo>
                  <a:lnTo>
                    <a:pt x="624" y="0"/>
                  </a:lnTo>
                  <a:lnTo>
                    <a:pt x="62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6" name="Freeform 70"/>
            <p:cNvSpPr>
              <a:spLocks/>
            </p:cNvSpPr>
            <p:nvPr/>
          </p:nvSpPr>
          <p:spPr bwMode="auto">
            <a:xfrm>
              <a:off x="7024158" y="4508202"/>
              <a:ext cx="226449" cy="463039"/>
            </a:xfrm>
            <a:custGeom>
              <a:avLst/>
              <a:gdLst>
                <a:gd name="T0" fmla="*/ 120 w 134"/>
                <a:gd name="T1" fmla="*/ 0 h 274"/>
                <a:gd name="T2" fmla="*/ 120 w 134"/>
                <a:gd name="T3" fmla="*/ 0 h 274"/>
                <a:gd name="T4" fmla="*/ 128 w 134"/>
                <a:gd name="T5" fmla="*/ 16 h 274"/>
                <a:gd name="T6" fmla="*/ 132 w 134"/>
                <a:gd name="T7" fmla="*/ 32 h 274"/>
                <a:gd name="T8" fmla="*/ 134 w 134"/>
                <a:gd name="T9" fmla="*/ 50 h 274"/>
                <a:gd name="T10" fmla="*/ 132 w 134"/>
                <a:gd name="T11" fmla="*/ 66 h 274"/>
                <a:gd name="T12" fmla="*/ 130 w 134"/>
                <a:gd name="T13" fmla="*/ 82 h 274"/>
                <a:gd name="T14" fmla="*/ 126 w 134"/>
                <a:gd name="T15" fmla="*/ 98 h 274"/>
                <a:gd name="T16" fmla="*/ 116 w 134"/>
                <a:gd name="T17" fmla="*/ 132 h 274"/>
                <a:gd name="T18" fmla="*/ 88 w 134"/>
                <a:gd name="T19" fmla="*/ 198 h 274"/>
                <a:gd name="T20" fmla="*/ 76 w 134"/>
                <a:gd name="T21" fmla="*/ 232 h 274"/>
                <a:gd name="T22" fmla="*/ 72 w 134"/>
                <a:gd name="T23" fmla="*/ 250 h 274"/>
                <a:gd name="T24" fmla="*/ 70 w 134"/>
                <a:gd name="T25" fmla="*/ 266 h 274"/>
                <a:gd name="T26" fmla="*/ 70 w 134"/>
                <a:gd name="T27" fmla="*/ 266 h 274"/>
                <a:gd name="T28" fmla="*/ 52 w 134"/>
                <a:gd name="T29" fmla="*/ 270 h 274"/>
                <a:gd name="T30" fmla="*/ 38 w 134"/>
                <a:gd name="T31" fmla="*/ 272 h 274"/>
                <a:gd name="T32" fmla="*/ 30 w 134"/>
                <a:gd name="T33" fmla="*/ 274 h 274"/>
                <a:gd name="T34" fmla="*/ 24 w 134"/>
                <a:gd name="T35" fmla="*/ 272 h 274"/>
                <a:gd name="T36" fmla="*/ 16 w 134"/>
                <a:gd name="T37" fmla="*/ 270 h 274"/>
                <a:gd name="T38" fmla="*/ 8 w 134"/>
                <a:gd name="T39" fmla="*/ 266 h 274"/>
                <a:gd name="T40" fmla="*/ 8 w 134"/>
                <a:gd name="T41" fmla="*/ 266 h 274"/>
                <a:gd name="T42" fmla="*/ 4 w 134"/>
                <a:gd name="T43" fmla="*/ 250 h 274"/>
                <a:gd name="T44" fmla="*/ 0 w 134"/>
                <a:gd name="T45" fmla="*/ 236 h 274"/>
                <a:gd name="T46" fmla="*/ 0 w 134"/>
                <a:gd name="T47" fmla="*/ 220 h 274"/>
                <a:gd name="T48" fmla="*/ 2 w 134"/>
                <a:gd name="T49" fmla="*/ 206 h 274"/>
                <a:gd name="T50" fmla="*/ 6 w 134"/>
                <a:gd name="T51" fmla="*/ 194 h 274"/>
                <a:gd name="T52" fmla="*/ 12 w 134"/>
                <a:gd name="T53" fmla="*/ 180 h 274"/>
                <a:gd name="T54" fmla="*/ 20 w 134"/>
                <a:gd name="T55" fmla="*/ 170 h 274"/>
                <a:gd name="T56" fmla="*/ 28 w 134"/>
                <a:gd name="T57" fmla="*/ 158 h 274"/>
                <a:gd name="T58" fmla="*/ 28 w 134"/>
                <a:gd name="T59" fmla="*/ 158 h 274"/>
                <a:gd name="T60" fmla="*/ 26 w 134"/>
                <a:gd name="T61" fmla="*/ 140 h 274"/>
                <a:gd name="T62" fmla="*/ 22 w 134"/>
                <a:gd name="T63" fmla="*/ 120 h 274"/>
                <a:gd name="T64" fmla="*/ 22 w 134"/>
                <a:gd name="T65" fmla="*/ 112 h 274"/>
                <a:gd name="T66" fmla="*/ 22 w 134"/>
                <a:gd name="T67" fmla="*/ 102 h 274"/>
                <a:gd name="T68" fmla="*/ 26 w 134"/>
                <a:gd name="T69" fmla="*/ 96 h 274"/>
                <a:gd name="T70" fmla="*/ 32 w 134"/>
                <a:gd name="T71" fmla="*/ 90 h 274"/>
                <a:gd name="T72" fmla="*/ 32 w 134"/>
                <a:gd name="T73" fmla="*/ 90 h 274"/>
                <a:gd name="T74" fmla="*/ 44 w 134"/>
                <a:gd name="T75" fmla="*/ 80 h 274"/>
                <a:gd name="T76" fmla="*/ 58 w 134"/>
                <a:gd name="T77" fmla="*/ 72 h 274"/>
                <a:gd name="T78" fmla="*/ 86 w 134"/>
                <a:gd name="T79" fmla="*/ 54 h 274"/>
                <a:gd name="T80" fmla="*/ 98 w 134"/>
                <a:gd name="T81" fmla="*/ 44 h 274"/>
                <a:gd name="T82" fmla="*/ 108 w 134"/>
                <a:gd name="T83" fmla="*/ 32 h 274"/>
                <a:gd name="T84" fmla="*/ 116 w 134"/>
                <a:gd name="T85" fmla="*/ 18 h 274"/>
                <a:gd name="T86" fmla="*/ 120 w 134"/>
                <a:gd name="T87" fmla="*/ 0 h 274"/>
                <a:gd name="T88" fmla="*/ 120 w 134"/>
                <a:gd name="T89"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4" h="274">
                  <a:moveTo>
                    <a:pt x="120" y="0"/>
                  </a:moveTo>
                  <a:lnTo>
                    <a:pt x="120" y="0"/>
                  </a:lnTo>
                  <a:lnTo>
                    <a:pt x="128" y="16"/>
                  </a:lnTo>
                  <a:lnTo>
                    <a:pt x="132" y="32"/>
                  </a:lnTo>
                  <a:lnTo>
                    <a:pt x="134" y="50"/>
                  </a:lnTo>
                  <a:lnTo>
                    <a:pt x="132" y="66"/>
                  </a:lnTo>
                  <a:lnTo>
                    <a:pt x="130" y="82"/>
                  </a:lnTo>
                  <a:lnTo>
                    <a:pt x="126" y="98"/>
                  </a:lnTo>
                  <a:lnTo>
                    <a:pt x="116" y="132"/>
                  </a:lnTo>
                  <a:lnTo>
                    <a:pt x="88" y="198"/>
                  </a:lnTo>
                  <a:lnTo>
                    <a:pt x="76" y="232"/>
                  </a:lnTo>
                  <a:lnTo>
                    <a:pt x="72" y="250"/>
                  </a:lnTo>
                  <a:lnTo>
                    <a:pt x="70" y="266"/>
                  </a:lnTo>
                  <a:lnTo>
                    <a:pt x="70" y="266"/>
                  </a:lnTo>
                  <a:lnTo>
                    <a:pt x="52" y="270"/>
                  </a:lnTo>
                  <a:lnTo>
                    <a:pt x="38" y="272"/>
                  </a:lnTo>
                  <a:lnTo>
                    <a:pt x="30" y="274"/>
                  </a:lnTo>
                  <a:lnTo>
                    <a:pt x="24" y="272"/>
                  </a:lnTo>
                  <a:lnTo>
                    <a:pt x="16" y="270"/>
                  </a:lnTo>
                  <a:lnTo>
                    <a:pt x="8" y="266"/>
                  </a:lnTo>
                  <a:lnTo>
                    <a:pt x="8" y="266"/>
                  </a:lnTo>
                  <a:lnTo>
                    <a:pt x="4" y="250"/>
                  </a:lnTo>
                  <a:lnTo>
                    <a:pt x="0" y="236"/>
                  </a:lnTo>
                  <a:lnTo>
                    <a:pt x="0" y="220"/>
                  </a:lnTo>
                  <a:lnTo>
                    <a:pt x="2" y="206"/>
                  </a:lnTo>
                  <a:lnTo>
                    <a:pt x="6" y="194"/>
                  </a:lnTo>
                  <a:lnTo>
                    <a:pt x="12" y="180"/>
                  </a:lnTo>
                  <a:lnTo>
                    <a:pt x="20" y="170"/>
                  </a:lnTo>
                  <a:lnTo>
                    <a:pt x="28" y="158"/>
                  </a:lnTo>
                  <a:lnTo>
                    <a:pt x="28" y="158"/>
                  </a:lnTo>
                  <a:lnTo>
                    <a:pt x="26" y="140"/>
                  </a:lnTo>
                  <a:lnTo>
                    <a:pt x="22" y="120"/>
                  </a:lnTo>
                  <a:lnTo>
                    <a:pt x="22" y="112"/>
                  </a:lnTo>
                  <a:lnTo>
                    <a:pt x="22" y="102"/>
                  </a:lnTo>
                  <a:lnTo>
                    <a:pt x="26" y="96"/>
                  </a:lnTo>
                  <a:lnTo>
                    <a:pt x="32" y="90"/>
                  </a:lnTo>
                  <a:lnTo>
                    <a:pt x="32" y="90"/>
                  </a:lnTo>
                  <a:lnTo>
                    <a:pt x="44" y="80"/>
                  </a:lnTo>
                  <a:lnTo>
                    <a:pt x="58" y="72"/>
                  </a:lnTo>
                  <a:lnTo>
                    <a:pt x="86" y="54"/>
                  </a:lnTo>
                  <a:lnTo>
                    <a:pt x="98" y="44"/>
                  </a:lnTo>
                  <a:lnTo>
                    <a:pt x="108" y="32"/>
                  </a:lnTo>
                  <a:lnTo>
                    <a:pt x="116" y="18"/>
                  </a:lnTo>
                  <a:lnTo>
                    <a:pt x="120" y="0"/>
                  </a:lnTo>
                  <a:lnTo>
                    <a:pt x="12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7" name="Freeform 71"/>
            <p:cNvSpPr>
              <a:spLocks/>
            </p:cNvSpPr>
            <p:nvPr/>
          </p:nvSpPr>
          <p:spPr bwMode="auto">
            <a:xfrm>
              <a:off x="11407807" y="4660295"/>
              <a:ext cx="47318" cy="20279"/>
            </a:xfrm>
            <a:custGeom>
              <a:avLst/>
              <a:gdLst>
                <a:gd name="T0" fmla="*/ 0 w 28"/>
                <a:gd name="T1" fmla="*/ 0 h 12"/>
                <a:gd name="T2" fmla="*/ 0 w 28"/>
                <a:gd name="T3" fmla="*/ 0 h 12"/>
                <a:gd name="T4" fmla="*/ 28 w 28"/>
                <a:gd name="T5" fmla="*/ 0 h 12"/>
                <a:gd name="T6" fmla="*/ 28 w 28"/>
                <a:gd name="T7" fmla="*/ 0 h 12"/>
                <a:gd name="T8" fmla="*/ 22 w 28"/>
                <a:gd name="T9" fmla="*/ 6 h 12"/>
                <a:gd name="T10" fmla="*/ 12 w 28"/>
                <a:gd name="T11" fmla="*/ 10 h 12"/>
                <a:gd name="T12" fmla="*/ 8 w 28"/>
                <a:gd name="T13" fmla="*/ 12 h 12"/>
                <a:gd name="T14" fmla="*/ 4 w 28"/>
                <a:gd name="T15" fmla="*/ 10 h 12"/>
                <a:gd name="T16" fmla="*/ 2 w 28"/>
                <a:gd name="T17" fmla="*/ 6 h 12"/>
                <a:gd name="T18" fmla="*/ 0 w 28"/>
                <a:gd name="T19" fmla="*/ 0 h 12"/>
                <a:gd name="T20" fmla="*/ 0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0" y="0"/>
                  </a:moveTo>
                  <a:lnTo>
                    <a:pt x="0" y="0"/>
                  </a:lnTo>
                  <a:lnTo>
                    <a:pt x="28" y="0"/>
                  </a:lnTo>
                  <a:lnTo>
                    <a:pt x="28" y="0"/>
                  </a:lnTo>
                  <a:lnTo>
                    <a:pt x="22" y="6"/>
                  </a:lnTo>
                  <a:lnTo>
                    <a:pt x="12" y="10"/>
                  </a:lnTo>
                  <a:lnTo>
                    <a:pt x="8" y="12"/>
                  </a:lnTo>
                  <a:lnTo>
                    <a:pt x="4" y="10"/>
                  </a:lnTo>
                  <a:lnTo>
                    <a:pt x="2" y="6"/>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8" name="Freeform 72"/>
            <p:cNvSpPr>
              <a:spLocks/>
            </p:cNvSpPr>
            <p:nvPr/>
          </p:nvSpPr>
          <p:spPr bwMode="auto">
            <a:xfrm>
              <a:off x="11363869" y="4683954"/>
              <a:ext cx="43937" cy="37178"/>
            </a:xfrm>
            <a:custGeom>
              <a:avLst/>
              <a:gdLst>
                <a:gd name="T0" fmla="*/ 2 w 26"/>
                <a:gd name="T1" fmla="*/ 0 h 22"/>
                <a:gd name="T2" fmla="*/ 2 w 26"/>
                <a:gd name="T3" fmla="*/ 0 h 22"/>
                <a:gd name="T4" fmla="*/ 8 w 26"/>
                <a:gd name="T5" fmla="*/ 2 h 22"/>
                <a:gd name="T6" fmla="*/ 14 w 26"/>
                <a:gd name="T7" fmla="*/ 4 h 22"/>
                <a:gd name="T8" fmla="*/ 18 w 26"/>
                <a:gd name="T9" fmla="*/ 8 h 22"/>
                <a:gd name="T10" fmla="*/ 26 w 26"/>
                <a:gd name="T11" fmla="*/ 8 h 22"/>
                <a:gd name="T12" fmla="*/ 26 w 26"/>
                <a:gd name="T13" fmla="*/ 8 h 22"/>
                <a:gd name="T14" fmla="*/ 22 w 26"/>
                <a:gd name="T15" fmla="*/ 14 h 22"/>
                <a:gd name="T16" fmla="*/ 18 w 26"/>
                <a:gd name="T17" fmla="*/ 18 h 22"/>
                <a:gd name="T18" fmla="*/ 10 w 26"/>
                <a:gd name="T19" fmla="*/ 20 h 22"/>
                <a:gd name="T20" fmla="*/ 2 w 26"/>
                <a:gd name="T21" fmla="*/ 22 h 22"/>
                <a:gd name="T22" fmla="*/ 2 w 26"/>
                <a:gd name="T23" fmla="*/ 22 h 22"/>
                <a:gd name="T24" fmla="*/ 2 w 26"/>
                <a:gd name="T25" fmla="*/ 16 h 22"/>
                <a:gd name="T26" fmla="*/ 0 w 26"/>
                <a:gd name="T27" fmla="*/ 10 h 22"/>
                <a:gd name="T28" fmla="*/ 0 w 26"/>
                <a:gd name="T29" fmla="*/ 4 h 22"/>
                <a:gd name="T30" fmla="*/ 2 w 26"/>
                <a:gd name="T31" fmla="*/ 0 h 22"/>
                <a:gd name="T32" fmla="*/ 2 w 2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2" y="0"/>
                  </a:moveTo>
                  <a:lnTo>
                    <a:pt x="2" y="0"/>
                  </a:lnTo>
                  <a:lnTo>
                    <a:pt x="8" y="2"/>
                  </a:lnTo>
                  <a:lnTo>
                    <a:pt x="14" y="4"/>
                  </a:lnTo>
                  <a:lnTo>
                    <a:pt x="18" y="8"/>
                  </a:lnTo>
                  <a:lnTo>
                    <a:pt x="26" y="8"/>
                  </a:lnTo>
                  <a:lnTo>
                    <a:pt x="26" y="8"/>
                  </a:lnTo>
                  <a:lnTo>
                    <a:pt x="22" y="14"/>
                  </a:lnTo>
                  <a:lnTo>
                    <a:pt x="18" y="18"/>
                  </a:lnTo>
                  <a:lnTo>
                    <a:pt x="10" y="20"/>
                  </a:lnTo>
                  <a:lnTo>
                    <a:pt x="2" y="22"/>
                  </a:lnTo>
                  <a:lnTo>
                    <a:pt x="2" y="22"/>
                  </a:lnTo>
                  <a:lnTo>
                    <a:pt x="2" y="16"/>
                  </a:lnTo>
                  <a:lnTo>
                    <a:pt x="0" y="10"/>
                  </a:lnTo>
                  <a:lnTo>
                    <a:pt x="0" y="4"/>
                  </a:lnTo>
                  <a:lnTo>
                    <a:pt x="2" y="0"/>
                  </a:lnTo>
                  <a:lnTo>
                    <a:pt x="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69" name="Freeform 73"/>
            <p:cNvSpPr>
              <a:spLocks/>
            </p:cNvSpPr>
            <p:nvPr/>
          </p:nvSpPr>
          <p:spPr bwMode="auto">
            <a:xfrm>
              <a:off x="10897452" y="4744791"/>
              <a:ext cx="94635" cy="125054"/>
            </a:xfrm>
            <a:custGeom>
              <a:avLst/>
              <a:gdLst>
                <a:gd name="T0" fmla="*/ 0 w 56"/>
                <a:gd name="T1" fmla="*/ 0 h 74"/>
                <a:gd name="T2" fmla="*/ 0 w 56"/>
                <a:gd name="T3" fmla="*/ 0 h 74"/>
                <a:gd name="T4" fmla="*/ 28 w 56"/>
                <a:gd name="T5" fmla="*/ 38 h 74"/>
                <a:gd name="T6" fmla="*/ 42 w 56"/>
                <a:gd name="T7" fmla="*/ 56 h 74"/>
                <a:gd name="T8" fmla="*/ 56 w 56"/>
                <a:gd name="T9" fmla="*/ 74 h 74"/>
                <a:gd name="T10" fmla="*/ 56 w 56"/>
                <a:gd name="T11" fmla="*/ 74 h 74"/>
                <a:gd name="T12" fmla="*/ 36 w 56"/>
                <a:gd name="T13" fmla="*/ 62 h 74"/>
                <a:gd name="T14" fmla="*/ 26 w 56"/>
                <a:gd name="T15" fmla="*/ 54 h 74"/>
                <a:gd name="T16" fmla="*/ 18 w 56"/>
                <a:gd name="T17" fmla="*/ 46 h 74"/>
                <a:gd name="T18" fmla="*/ 10 w 56"/>
                <a:gd name="T19" fmla="*/ 38 h 74"/>
                <a:gd name="T20" fmla="*/ 6 w 56"/>
                <a:gd name="T21" fmla="*/ 28 h 74"/>
                <a:gd name="T22" fmla="*/ 2 w 56"/>
                <a:gd name="T23" fmla="*/ 14 h 74"/>
                <a:gd name="T24" fmla="*/ 0 w 56"/>
                <a:gd name="T25" fmla="*/ 0 h 74"/>
                <a:gd name="T26" fmla="*/ 0 w 56"/>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74">
                  <a:moveTo>
                    <a:pt x="0" y="0"/>
                  </a:moveTo>
                  <a:lnTo>
                    <a:pt x="0" y="0"/>
                  </a:lnTo>
                  <a:lnTo>
                    <a:pt x="28" y="38"/>
                  </a:lnTo>
                  <a:lnTo>
                    <a:pt x="42" y="56"/>
                  </a:lnTo>
                  <a:lnTo>
                    <a:pt x="56" y="74"/>
                  </a:lnTo>
                  <a:lnTo>
                    <a:pt x="56" y="74"/>
                  </a:lnTo>
                  <a:lnTo>
                    <a:pt x="36" y="62"/>
                  </a:lnTo>
                  <a:lnTo>
                    <a:pt x="26" y="54"/>
                  </a:lnTo>
                  <a:lnTo>
                    <a:pt x="18" y="46"/>
                  </a:lnTo>
                  <a:lnTo>
                    <a:pt x="10" y="38"/>
                  </a:lnTo>
                  <a:lnTo>
                    <a:pt x="6" y="28"/>
                  </a:lnTo>
                  <a:lnTo>
                    <a:pt x="2" y="14"/>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0" name="Freeform 74"/>
            <p:cNvSpPr>
              <a:spLocks/>
            </p:cNvSpPr>
            <p:nvPr/>
          </p:nvSpPr>
          <p:spPr bwMode="auto">
            <a:xfrm>
              <a:off x="10904211" y="5312604"/>
              <a:ext cx="172372" cy="226449"/>
            </a:xfrm>
            <a:custGeom>
              <a:avLst/>
              <a:gdLst>
                <a:gd name="T0" fmla="*/ 56 w 102"/>
                <a:gd name="T1" fmla="*/ 0 h 134"/>
                <a:gd name="T2" fmla="*/ 56 w 102"/>
                <a:gd name="T3" fmla="*/ 0 h 134"/>
                <a:gd name="T4" fmla="*/ 60 w 102"/>
                <a:gd name="T5" fmla="*/ 2 h 134"/>
                <a:gd name="T6" fmla="*/ 62 w 102"/>
                <a:gd name="T7" fmla="*/ 8 h 134"/>
                <a:gd name="T8" fmla="*/ 66 w 102"/>
                <a:gd name="T9" fmla="*/ 18 h 134"/>
                <a:gd name="T10" fmla="*/ 72 w 102"/>
                <a:gd name="T11" fmla="*/ 44 h 134"/>
                <a:gd name="T12" fmla="*/ 76 w 102"/>
                <a:gd name="T13" fmla="*/ 56 h 134"/>
                <a:gd name="T14" fmla="*/ 78 w 102"/>
                <a:gd name="T15" fmla="*/ 60 h 134"/>
                <a:gd name="T16" fmla="*/ 82 w 102"/>
                <a:gd name="T17" fmla="*/ 64 h 134"/>
                <a:gd name="T18" fmla="*/ 86 w 102"/>
                <a:gd name="T19" fmla="*/ 66 h 134"/>
                <a:gd name="T20" fmla="*/ 90 w 102"/>
                <a:gd name="T21" fmla="*/ 66 h 134"/>
                <a:gd name="T22" fmla="*/ 96 w 102"/>
                <a:gd name="T23" fmla="*/ 64 h 134"/>
                <a:gd name="T24" fmla="*/ 102 w 102"/>
                <a:gd name="T25" fmla="*/ 60 h 134"/>
                <a:gd name="T26" fmla="*/ 102 w 102"/>
                <a:gd name="T27" fmla="*/ 60 h 134"/>
                <a:gd name="T28" fmla="*/ 98 w 102"/>
                <a:gd name="T29" fmla="*/ 72 h 134"/>
                <a:gd name="T30" fmla="*/ 88 w 102"/>
                <a:gd name="T31" fmla="*/ 84 h 134"/>
                <a:gd name="T32" fmla="*/ 76 w 102"/>
                <a:gd name="T33" fmla="*/ 96 h 134"/>
                <a:gd name="T34" fmla="*/ 62 w 102"/>
                <a:gd name="T35" fmla="*/ 108 h 134"/>
                <a:gd name="T36" fmla="*/ 46 w 102"/>
                <a:gd name="T37" fmla="*/ 118 h 134"/>
                <a:gd name="T38" fmla="*/ 30 w 102"/>
                <a:gd name="T39" fmla="*/ 126 h 134"/>
                <a:gd name="T40" fmla="*/ 14 w 102"/>
                <a:gd name="T41" fmla="*/ 132 h 134"/>
                <a:gd name="T42" fmla="*/ 0 w 102"/>
                <a:gd name="T43" fmla="*/ 134 h 134"/>
                <a:gd name="T44" fmla="*/ 0 w 102"/>
                <a:gd name="T45" fmla="*/ 134 h 134"/>
                <a:gd name="T46" fmla="*/ 12 w 102"/>
                <a:gd name="T47" fmla="*/ 126 h 134"/>
                <a:gd name="T48" fmla="*/ 24 w 102"/>
                <a:gd name="T49" fmla="*/ 116 h 134"/>
                <a:gd name="T50" fmla="*/ 24 w 102"/>
                <a:gd name="T51" fmla="*/ 116 h 134"/>
                <a:gd name="T52" fmla="*/ 20 w 102"/>
                <a:gd name="T53" fmla="*/ 110 h 134"/>
                <a:gd name="T54" fmla="*/ 18 w 102"/>
                <a:gd name="T55" fmla="*/ 106 h 134"/>
                <a:gd name="T56" fmla="*/ 14 w 102"/>
                <a:gd name="T57" fmla="*/ 100 h 134"/>
                <a:gd name="T58" fmla="*/ 14 w 102"/>
                <a:gd name="T59" fmla="*/ 92 h 134"/>
                <a:gd name="T60" fmla="*/ 14 w 102"/>
                <a:gd name="T61" fmla="*/ 92 h 134"/>
                <a:gd name="T62" fmla="*/ 26 w 102"/>
                <a:gd name="T63" fmla="*/ 86 h 134"/>
                <a:gd name="T64" fmla="*/ 38 w 102"/>
                <a:gd name="T65" fmla="*/ 80 h 134"/>
                <a:gd name="T66" fmla="*/ 46 w 102"/>
                <a:gd name="T67" fmla="*/ 70 h 134"/>
                <a:gd name="T68" fmla="*/ 54 w 102"/>
                <a:gd name="T69" fmla="*/ 60 h 134"/>
                <a:gd name="T70" fmla="*/ 58 w 102"/>
                <a:gd name="T71" fmla="*/ 48 h 134"/>
                <a:gd name="T72" fmla="*/ 60 w 102"/>
                <a:gd name="T73" fmla="*/ 34 h 134"/>
                <a:gd name="T74" fmla="*/ 60 w 102"/>
                <a:gd name="T75" fmla="*/ 18 h 134"/>
                <a:gd name="T76" fmla="*/ 56 w 102"/>
                <a:gd name="T77" fmla="*/ 0 h 134"/>
                <a:gd name="T78" fmla="*/ 56 w 102"/>
                <a:gd name="T7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134">
                  <a:moveTo>
                    <a:pt x="56" y="0"/>
                  </a:moveTo>
                  <a:lnTo>
                    <a:pt x="56" y="0"/>
                  </a:lnTo>
                  <a:lnTo>
                    <a:pt x="60" y="2"/>
                  </a:lnTo>
                  <a:lnTo>
                    <a:pt x="62" y="8"/>
                  </a:lnTo>
                  <a:lnTo>
                    <a:pt x="66" y="18"/>
                  </a:lnTo>
                  <a:lnTo>
                    <a:pt x="72" y="44"/>
                  </a:lnTo>
                  <a:lnTo>
                    <a:pt x="76" y="56"/>
                  </a:lnTo>
                  <a:lnTo>
                    <a:pt x="78" y="60"/>
                  </a:lnTo>
                  <a:lnTo>
                    <a:pt x="82" y="64"/>
                  </a:lnTo>
                  <a:lnTo>
                    <a:pt x="86" y="66"/>
                  </a:lnTo>
                  <a:lnTo>
                    <a:pt x="90" y="66"/>
                  </a:lnTo>
                  <a:lnTo>
                    <a:pt x="96" y="64"/>
                  </a:lnTo>
                  <a:lnTo>
                    <a:pt x="102" y="60"/>
                  </a:lnTo>
                  <a:lnTo>
                    <a:pt x="102" y="60"/>
                  </a:lnTo>
                  <a:lnTo>
                    <a:pt x="98" y="72"/>
                  </a:lnTo>
                  <a:lnTo>
                    <a:pt x="88" y="84"/>
                  </a:lnTo>
                  <a:lnTo>
                    <a:pt x="76" y="96"/>
                  </a:lnTo>
                  <a:lnTo>
                    <a:pt x="62" y="108"/>
                  </a:lnTo>
                  <a:lnTo>
                    <a:pt x="46" y="118"/>
                  </a:lnTo>
                  <a:lnTo>
                    <a:pt x="30" y="126"/>
                  </a:lnTo>
                  <a:lnTo>
                    <a:pt x="14" y="132"/>
                  </a:lnTo>
                  <a:lnTo>
                    <a:pt x="0" y="134"/>
                  </a:lnTo>
                  <a:lnTo>
                    <a:pt x="0" y="134"/>
                  </a:lnTo>
                  <a:lnTo>
                    <a:pt x="12" y="126"/>
                  </a:lnTo>
                  <a:lnTo>
                    <a:pt x="24" y="116"/>
                  </a:lnTo>
                  <a:lnTo>
                    <a:pt x="24" y="116"/>
                  </a:lnTo>
                  <a:lnTo>
                    <a:pt x="20" y="110"/>
                  </a:lnTo>
                  <a:lnTo>
                    <a:pt x="18" y="106"/>
                  </a:lnTo>
                  <a:lnTo>
                    <a:pt x="14" y="100"/>
                  </a:lnTo>
                  <a:lnTo>
                    <a:pt x="14" y="92"/>
                  </a:lnTo>
                  <a:lnTo>
                    <a:pt x="14" y="92"/>
                  </a:lnTo>
                  <a:lnTo>
                    <a:pt x="26" y="86"/>
                  </a:lnTo>
                  <a:lnTo>
                    <a:pt x="38" y="80"/>
                  </a:lnTo>
                  <a:lnTo>
                    <a:pt x="46" y="70"/>
                  </a:lnTo>
                  <a:lnTo>
                    <a:pt x="54" y="60"/>
                  </a:lnTo>
                  <a:lnTo>
                    <a:pt x="58" y="48"/>
                  </a:lnTo>
                  <a:lnTo>
                    <a:pt x="60" y="34"/>
                  </a:lnTo>
                  <a:lnTo>
                    <a:pt x="60" y="18"/>
                  </a:lnTo>
                  <a:lnTo>
                    <a:pt x="56" y="0"/>
                  </a:lnTo>
                  <a:lnTo>
                    <a:pt x="5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1" name="Freeform 75"/>
            <p:cNvSpPr>
              <a:spLocks/>
            </p:cNvSpPr>
            <p:nvPr/>
          </p:nvSpPr>
          <p:spPr bwMode="auto">
            <a:xfrm>
              <a:off x="10542569" y="5515394"/>
              <a:ext cx="331224" cy="199410"/>
            </a:xfrm>
            <a:custGeom>
              <a:avLst/>
              <a:gdLst>
                <a:gd name="T0" fmla="*/ 182 w 196"/>
                <a:gd name="T1" fmla="*/ 0 h 118"/>
                <a:gd name="T2" fmla="*/ 182 w 196"/>
                <a:gd name="T3" fmla="*/ 0 h 118"/>
                <a:gd name="T4" fmla="*/ 190 w 196"/>
                <a:gd name="T5" fmla="*/ 10 h 118"/>
                <a:gd name="T6" fmla="*/ 194 w 196"/>
                <a:gd name="T7" fmla="*/ 16 h 118"/>
                <a:gd name="T8" fmla="*/ 196 w 196"/>
                <a:gd name="T9" fmla="*/ 24 h 118"/>
                <a:gd name="T10" fmla="*/ 196 w 196"/>
                <a:gd name="T11" fmla="*/ 24 h 118"/>
                <a:gd name="T12" fmla="*/ 172 w 196"/>
                <a:gd name="T13" fmla="*/ 36 h 118"/>
                <a:gd name="T14" fmla="*/ 150 w 196"/>
                <a:gd name="T15" fmla="*/ 52 h 118"/>
                <a:gd name="T16" fmla="*/ 106 w 196"/>
                <a:gd name="T17" fmla="*/ 86 h 118"/>
                <a:gd name="T18" fmla="*/ 84 w 196"/>
                <a:gd name="T19" fmla="*/ 100 h 118"/>
                <a:gd name="T20" fmla="*/ 72 w 196"/>
                <a:gd name="T21" fmla="*/ 106 h 118"/>
                <a:gd name="T22" fmla="*/ 60 w 196"/>
                <a:gd name="T23" fmla="*/ 112 h 118"/>
                <a:gd name="T24" fmla="*/ 46 w 196"/>
                <a:gd name="T25" fmla="*/ 116 h 118"/>
                <a:gd name="T26" fmla="*/ 32 w 196"/>
                <a:gd name="T27" fmla="*/ 118 h 118"/>
                <a:gd name="T28" fmla="*/ 16 w 196"/>
                <a:gd name="T29" fmla="*/ 118 h 118"/>
                <a:gd name="T30" fmla="*/ 0 w 196"/>
                <a:gd name="T31" fmla="*/ 118 h 118"/>
                <a:gd name="T32" fmla="*/ 0 w 196"/>
                <a:gd name="T33" fmla="*/ 118 h 118"/>
                <a:gd name="T34" fmla="*/ 8 w 196"/>
                <a:gd name="T35" fmla="*/ 108 h 118"/>
                <a:gd name="T36" fmla="*/ 18 w 196"/>
                <a:gd name="T37" fmla="*/ 98 h 118"/>
                <a:gd name="T38" fmla="*/ 40 w 196"/>
                <a:gd name="T39" fmla="*/ 84 h 118"/>
                <a:gd name="T40" fmla="*/ 66 w 196"/>
                <a:gd name="T41" fmla="*/ 70 h 118"/>
                <a:gd name="T42" fmla="*/ 90 w 196"/>
                <a:gd name="T43" fmla="*/ 60 h 118"/>
                <a:gd name="T44" fmla="*/ 116 w 196"/>
                <a:gd name="T45" fmla="*/ 48 h 118"/>
                <a:gd name="T46" fmla="*/ 142 w 196"/>
                <a:gd name="T47" fmla="*/ 36 h 118"/>
                <a:gd name="T48" fmla="*/ 164 w 196"/>
                <a:gd name="T49" fmla="*/ 20 h 118"/>
                <a:gd name="T50" fmla="*/ 172 w 196"/>
                <a:gd name="T51" fmla="*/ 12 h 118"/>
                <a:gd name="T52" fmla="*/ 182 w 196"/>
                <a:gd name="T53" fmla="*/ 0 h 118"/>
                <a:gd name="T54" fmla="*/ 182 w 196"/>
                <a:gd name="T5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6" h="118">
                  <a:moveTo>
                    <a:pt x="182" y="0"/>
                  </a:moveTo>
                  <a:lnTo>
                    <a:pt x="182" y="0"/>
                  </a:lnTo>
                  <a:lnTo>
                    <a:pt x="190" y="10"/>
                  </a:lnTo>
                  <a:lnTo>
                    <a:pt x="194" y="16"/>
                  </a:lnTo>
                  <a:lnTo>
                    <a:pt x="196" y="24"/>
                  </a:lnTo>
                  <a:lnTo>
                    <a:pt x="196" y="24"/>
                  </a:lnTo>
                  <a:lnTo>
                    <a:pt x="172" y="36"/>
                  </a:lnTo>
                  <a:lnTo>
                    <a:pt x="150" y="52"/>
                  </a:lnTo>
                  <a:lnTo>
                    <a:pt x="106" y="86"/>
                  </a:lnTo>
                  <a:lnTo>
                    <a:pt x="84" y="100"/>
                  </a:lnTo>
                  <a:lnTo>
                    <a:pt x="72" y="106"/>
                  </a:lnTo>
                  <a:lnTo>
                    <a:pt x="60" y="112"/>
                  </a:lnTo>
                  <a:lnTo>
                    <a:pt x="46" y="116"/>
                  </a:lnTo>
                  <a:lnTo>
                    <a:pt x="32" y="118"/>
                  </a:lnTo>
                  <a:lnTo>
                    <a:pt x="16" y="118"/>
                  </a:lnTo>
                  <a:lnTo>
                    <a:pt x="0" y="118"/>
                  </a:lnTo>
                  <a:lnTo>
                    <a:pt x="0" y="118"/>
                  </a:lnTo>
                  <a:lnTo>
                    <a:pt x="8" y="108"/>
                  </a:lnTo>
                  <a:lnTo>
                    <a:pt x="18" y="98"/>
                  </a:lnTo>
                  <a:lnTo>
                    <a:pt x="40" y="84"/>
                  </a:lnTo>
                  <a:lnTo>
                    <a:pt x="66" y="70"/>
                  </a:lnTo>
                  <a:lnTo>
                    <a:pt x="90" y="60"/>
                  </a:lnTo>
                  <a:lnTo>
                    <a:pt x="116" y="48"/>
                  </a:lnTo>
                  <a:lnTo>
                    <a:pt x="142" y="36"/>
                  </a:lnTo>
                  <a:lnTo>
                    <a:pt x="164" y="20"/>
                  </a:lnTo>
                  <a:lnTo>
                    <a:pt x="172" y="12"/>
                  </a:lnTo>
                  <a:lnTo>
                    <a:pt x="182" y="0"/>
                  </a:lnTo>
                  <a:lnTo>
                    <a:pt x="18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2" name="Freeform 76"/>
            <p:cNvSpPr>
              <a:spLocks/>
            </p:cNvSpPr>
            <p:nvPr/>
          </p:nvSpPr>
          <p:spPr bwMode="auto">
            <a:xfrm>
              <a:off x="9991654" y="5525534"/>
              <a:ext cx="108155" cy="87876"/>
            </a:xfrm>
            <a:custGeom>
              <a:avLst/>
              <a:gdLst>
                <a:gd name="T0" fmla="*/ 8 w 64"/>
                <a:gd name="T1" fmla="*/ 0 h 52"/>
                <a:gd name="T2" fmla="*/ 8 w 64"/>
                <a:gd name="T3" fmla="*/ 0 h 52"/>
                <a:gd name="T4" fmla="*/ 22 w 64"/>
                <a:gd name="T5" fmla="*/ 4 h 52"/>
                <a:gd name="T6" fmla="*/ 36 w 64"/>
                <a:gd name="T7" fmla="*/ 8 h 52"/>
                <a:gd name="T8" fmla="*/ 50 w 64"/>
                <a:gd name="T9" fmla="*/ 8 h 52"/>
                <a:gd name="T10" fmla="*/ 64 w 64"/>
                <a:gd name="T11" fmla="*/ 4 h 52"/>
                <a:gd name="T12" fmla="*/ 64 w 64"/>
                <a:gd name="T13" fmla="*/ 4 h 52"/>
                <a:gd name="T14" fmla="*/ 64 w 64"/>
                <a:gd name="T15" fmla="*/ 14 h 52"/>
                <a:gd name="T16" fmla="*/ 60 w 64"/>
                <a:gd name="T17" fmla="*/ 22 h 52"/>
                <a:gd name="T18" fmla="*/ 54 w 64"/>
                <a:gd name="T19" fmla="*/ 32 h 52"/>
                <a:gd name="T20" fmla="*/ 44 w 64"/>
                <a:gd name="T21" fmla="*/ 40 h 52"/>
                <a:gd name="T22" fmla="*/ 34 w 64"/>
                <a:gd name="T23" fmla="*/ 46 h 52"/>
                <a:gd name="T24" fmla="*/ 22 w 64"/>
                <a:gd name="T25" fmla="*/ 50 h 52"/>
                <a:gd name="T26" fmla="*/ 10 w 64"/>
                <a:gd name="T27" fmla="*/ 52 h 52"/>
                <a:gd name="T28" fmla="*/ 0 w 64"/>
                <a:gd name="T29" fmla="*/ 50 h 52"/>
                <a:gd name="T30" fmla="*/ 0 w 64"/>
                <a:gd name="T31" fmla="*/ 50 h 52"/>
                <a:gd name="T32" fmla="*/ 8 w 64"/>
                <a:gd name="T33" fmla="*/ 28 h 52"/>
                <a:gd name="T34" fmla="*/ 10 w 64"/>
                <a:gd name="T35" fmla="*/ 16 h 52"/>
                <a:gd name="T36" fmla="*/ 8 w 64"/>
                <a:gd name="T37" fmla="*/ 0 h 52"/>
                <a:gd name="T38" fmla="*/ 8 w 64"/>
                <a:gd name="T3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52">
                  <a:moveTo>
                    <a:pt x="8" y="0"/>
                  </a:moveTo>
                  <a:lnTo>
                    <a:pt x="8" y="0"/>
                  </a:lnTo>
                  <a:lnTo>
                    <a:pt x="22" y="4"/>
                  </a:lnTo>
                  <a:lnTo>
                    <a:pt x="36" y="8"/>
                  </a:lnTo>
                  <a:lnTo>
                    <a:pt x="50" y="8"/>
                  </a:lnTo>
                  <a:lnTo>
                    <a:pt x="64" y="4"/>
                  </a:lnTo>
                  <a:lnTo>
                    <a:pt x="64" y="4"/>
                  </a:lnTo>
                  <a:lnTo>
                    <a:pt x="64" y="14"/>
                  </a:lnTo>
                  <a:lnTo>
                    <a:pt x="60" y="22"/>
                  </a:lnTo>
                  <a:lnTo>
                    <a:pt x="54" y="32"/>
                  </a:lnTo>
                  <a:lnTo>
                    <a:pt x="44" y="40"/>
                  </a:lnTo>
                  <a:lnTo>
                    <a:pt x="34" y="46"/>
                  </a:lnTo>
                  <a:lnTo>
                    <a:pt x="22" y="50"/>
                  </a:lnTo>
                  <a:lnTo>
                    <a:pt x="10" y="52"/>
                  </a:lnTo>
                  <a:lnTo>
                    <a:pt x="0" y="50"/>
                  </a:lnTo>
                  <a:lnTo>
                    <a:pt x="0" y="50"/>
                  </a:lnTo>
                  <a:lnTo>
                    <a:pt x="8" y="28"/>
                  </a:lnTo>
                  <a:lnTo>
                    <a:pt x="10" y="16"/>
                  </a:lnTo>
                  <a:lnTo>
                    <a:pt x="8" y="0"/>
                  </a:lnTo>
                  <a:lnTo>
                    <a:pt x="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3" name="Freeform 77"/>
            <p:cNvSpPr>
              <a:spLocks/>
            </p:cNvSpPr>
            <p:nvPr/>
          </p:nvSpPr>
          <p:spPr bwMode="auto">
            <a:xfrm>
              <a:off x="3934984" y="5873657"/>
              <a:ext cx="94635" cy="43938"/>
            </a:xfrm>
            <a:custGeom>
              <a:avLst/>
              <a:gdLst>
                <a:gd name="T0" fmla="*/ 34 w 56"/>
                <a:gd name="T1" fmla="*/ 8 h 26"/>
                <a:gd name="T2" fmla="*/ 34 w 56"/>
                <a:gd name="T3" fmla="*/ 8 h 26"/>
                <a:gd name="T4" fmla="*/ 30 w 56"/>
                <a:gd name="T5" fmla="*/ 8 h 26"/>
                <a:gd name="T6" fmla="*/ 26 w 56"/>
                <a:gd name="T7" fmla="*/ 8 h 26"/>
                <a:gd name="T8" fmla="*/ 24 w 56"/>
                <a:gd name="T9" fmla="*/ 12 h 26"/>
                <a:gd name="T10" fmla="*/ 22 w 56"/>
                <a:gd name="T11" fmla="*/ 18 h 26"/>
                <a:gd name="T12" fmla="*/ 20 w 56"/>
                <a:gd name="T13" fmla="*/ 22 h 26"/>
                <a:gd name="T14" fmla="*/ 20 w 56"/>
                <a:gd name="T15" fmla="*/ 22 h 26"/>
                <a:gd name="T16" fmla="*/ 14 w 56"/>
                <a:gd name="T17" fmla="*/ 22 h 26"/>
                <a:gd name="T18" fmla="*/ 10 w 56"/>
                <a:gd name="T19" fmla="*/ 20 h 26"/>
                <a:gd name="T20" fmla="*/ 6 w 56"/>
                <a:gd name="T21" fmla="*/ 18 h 26"/>
                <a:gd name="T22" fmla="*/ 0 w 56"/>
                <a:gd name="T23" fmla="*/ 18 h 26"/>
                <a:gd name="T24" fmla="*/ 0 w 56"/>
                <a:gd name="T25" fmla="*/ 18 h 26"/>
                <a:gd name="T26" fmla="*/ 4 w 56"/>
                <a:gd name="T27" fmla="*/ 14 h 26"/>
                <a:gd name="T28" fmla="*/ 8 w 56"/>
                <a:gd name="T29" fmla="*/ 12 h 26"/>
                <a:gd name="T30" fmla="*/ 8 w 56"/>
                <a:gd name="T31" fmla="*/ 10 h 26"/>
                <a:gd name="T32" fmla="*/ 6 w 56"/>
                <a:gd name="T33" fmla="*/ 8 h 26"/>
                <a:gd name="T34" fmla="*/ 6 w 56"/>
                <a:gd name="T35" fmla="*/ 8 h 26"/>
                <a:gd name="T36" fmla="*/ 10 w 56"/>
                <a:gd name="T37" fmla="*/ 4 h 26"/>
                <a:gd name="T38" fmla="*/ 16 w 56"/>
                <a:gd name="T39" fmla="*/ 2 h 26"/>
                <a:gd name="T40" fmla="*/ 22 w 56"/>
                <a:gd name="T41" fmla="*/ 0 h 26"/>
                <a:gd name="T42" fmla="*/ 28 w 56"/>
                <a:gd name="T43" fmla="*/ 2 h 26"/>
                <a:gd name="T44" fmla="*/ 42 w 56"/>
                <a:gd name="T45" fmla="*/ 4 h 26"/>
                <a:gd name="T46" fmla="*/ 56 w 56"/>
                <a:gd name="T47" fmla="*/ 8 h 26"/>
                <a:gd name="T48" fmla="*/ 56 w 56"/>
                <a:gd name="T49" fmla="*/ 8 h 26"/>
                <a:gd name="T50" fmla="*/ 50 w 56"/>
                <a:gd name="T51" fmla="*/ 14 h 26"/>
                <a:gd name="T52" fmla="*/ 44 w 56"/>
                <a:gd name="T53" fmla="*/ 20 h 26"/>
                <a:gd name="T54" fmla="*/ 36 w 56"/>
                <a:gd name="T55" fmla="*/ 26 h 26"/>
                <a:gd name="T56" fmla="*/ 30 w 56"/>
                <a:gd name="T57" fmla="*/ 26 h 26"/>
                <a:gd name="T58" fmla="*/ 24 w 56"/>
                <a:gd name="T59" fmla="*/ 26 h 26"/>
                <a:gd name="T60" fmla="*/ 24 w 56"/>
                <a:gd name="T61" fmla="*/ 26 h 26"/>
                <a:gd name="T62" fmla="*/ 24 w 56"/>
                <a:gd name="T63" fmla="*/ 22 h 26"/>
                <a:gd name="T64" fmla="*/ 24 w 56"/>
                <a:gd name="T65" fmla="*/ 20 h 26"/>
                <a:gd name="T66" fmla="*/ 28 w 56"/>
                <a:gd name="T67" fmla="*/ 16 h 26"/>
                <a:gd name="T68" fmla="*/ 32 w 56"/>
                <a:gd name="T69" fmla="*/ 12 h 26"/>
                <a:gd name="T70" fmla="*/ 32 w 56"/>
                <a:gd name="T71" fmla="*/ 10 h 26"/>
                <a:gd name="T72" fmla="*/ 34 w 56"/>
                <a:gd name="T73" fmla="*/ 8 h 26"/>
                <a:gd name="T74" fmla="*/ 34 w 56"/>
                <a:gd name="T75"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26">
                  <a:moveTo>
                    <a:pt x="34" y="8"/>
                  </a:moveTo>
                  <a:lnTo>
                    <a:pt x="34" y="8"/>
                  </a:lnTo>
                  <a:lnTo>
                    <a:pt x="30" y="8"/>
                  </a:lnTo>
                  <a:lnTo>
                    <a:pt x="26" y="8"/>
                  </a:lnTo>
                  <a:lnTo>
                    <a:pt x="24" y="12"/>
                  </a:lnTo>
                  <a:lnTo>
                    <a:pt x="22" y="18"/>
                  </a:lnTo>
                  <a:lnTo>
                    <a:pt x="20" y="22"/>
                  </a:lnTo>
                  <a:lnTo>
                    <a:pt x="20" y="22"/>
                  </a:lnTo>
                  <a:lnTo>
                    <a:pt x="14" y="22"/>
                  </a:lnTo>
                  <a:lnTo>
                    <a:pt x="10" y="20"/>
                  </a:lnTo>
                  <a:lnTo>
                    <a:pt x="6" y="18"/>
                  </a:lnTo>
                  <a:lnTo>
                    <a:pt x="0" y="18"/>
                  </a:lnTo>
                  <a:lnTo>
                    <a:pt x="0" y="18"/>
                  </a:lnTo>
                  <a:lnTo>
                    <a:pt x="4" y="14"/>
                  </a:lnTo>
                  <a:lnTo>
                    <a:pt x="8" y="12"/>
                  </a:lnTo>
                  <a:lnTo>
                    <a:pt x="8" y="10"/>
                  </a:lnTo>
                  <a:lnTo>
                    <a:pt x="6" y="8"/>
                  </a:lnTo>
                  <a:lnTo>
                    <a:pt x="6" y="8"/>
                  </a:lnTo>
                  <a:lnTo>
                    <a:pt x="10" y="4"/>
                  </a:lnTo>
                  <a:lnTo>
                    <a:pt x="16" y="2"/>
                  </a:lnTo>
                  <a:lnTo>
                    <a:pt x="22" y="0"/>
                  </a:lnTo>
                  <a:lnTo>
                    <a:pt x="28" y="2"/>
                  </a:lnTo>
                  <a:lnTo>
                    <a:pt x="42" y="4"/>
                  </a:lnTo>
                  <a:lnTo>
                    <a:pt x="56" y="8"/>
                  </a:lnTo>
                  <a:lnTo>
                    <a:pt x="56" y="8"/>
                  </a:lnTo>
                  <a:lnTo>
                    <a:pt x="50" y="14"/>
                  </a:lnTo>
                  <a:lnTo>
                    <a:pt x="44" y="20"/>
                  </a:lnTo>
                  <a:lnTo>
                    <a:pt x="36" y="26"/>
                  </a:lnTo>
                  <a:lnTo>
                    <a:pt x="30" y="26"/>
                  </a:lnTo>
                  <a:lnTo>
                    <a:pt x="24" y="26"/>
                  </a:lnTo>
                  <a:lnTo>
                    <a:pt x="24" y="26"/>
                  </a:lnTo>
                  <a:lnTo>
                    <a:pt x="24" y="22"/>
                  </a:lnTo>
                  <a:lnTo>
                    <a:pt x="24" y="20"/>
                  </a:lnTo>
                  <a:lnTo>
                    <a:pt x="28" y="16"/>
                  </a:lnTo>
                  <a:lnTo>
                    <a:pt x="32" y="12"/>
                  </a:lnTo>
                  <a:lnTo>
                    <a:pt x="32" y="10"/>
                  </a:lnTo>
                  <a:lnTo>
                    <a:pt x="34" y="8"/>
                  </a:lnTo>
                  <a:lnTo>
                    <a:pt x="34" y="8"/>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4" name="Freeform 78"/>
            <p:cNvSpPr>
              <a:spLocks/>
            </p:cNvSpPr>
            <p:nvPr/>
          </p:nvSpPr>
          <p:spPr bwMode="auto">
            <a:xfrm>
              <a:off x="3722053" y="5934494"/>
              <a:ext cx="175752" cy="84496"/>
            </a:xfrm>
            <a:custGeom>
              <a:avLst/>
              <a:gdLst>
                <a:gd name="T0" fmla="*/ 10 w 104"/>
                <a:gd name="T1" fmla="*/ 0 h 50"/>
                <a:gd name="T2" fmla="*/ 10 w 104"/>
                <a:gd name="T3" fmla="*/ 0 h 50"/>
                <a:gd name="T4" fmla="*/ 24 w 104"/>
                <a:gd name="T5" fmla="*/ 2 h 50"/>
                <a:gd name="T6" fmla="*/ 36 w 104"/>
                <a:gd name="T7" fmla="*/ 8 h 50"/>
                <a:gd name="T8" fmla="*/ 46 w 104"/>
                <a:gd name="T9" fmla="*/ 14 h 50"/>
                <a:gd name="T10" fmla="*/ 56 w 104"/>
                <a:gd name="T11" fmla="*/ 22 h 50"/>
                <a:gd name="T12" fmla="*/ 66 w 104"/>
                <a:gd name="T13" fmla="*/ 28 h 50"/>
                <a:gd name="T14" fmla="*/ 76 w 104"/>
                <a:gd name="T15" fmla="*/ 34 h 50"/>
                <a:gd name="T16" fmla="*/ 88 w 104"/>
                <a:gd name="T17" fmla="*/ 40 h 50"/>
                <a:gd name="T18" fmla="*/ 104 w 104"/>
                <a:gd name="T19" fmla="*/ 42 h 50"/>
                <a:gd name="T20" fmla="*/ 104 w 104"/>
                <a:gd name="T21" fmla="*/ 42 h 50"/>
                <a:gd name="T22" fmla="*/ 90 w 104"/>
                <a:gd name="T23" fmla="*/ 46 h 50"/>
                <a:gd name="T24" fmla="*/ 76 w 104"/>
                <a:gd name="T25" fmla="*/ 48 h 50"/>
                <a:gd name="T26" fmla="*/ 60 w 104"/>
                <a:gd name="T27" fmla="*/ 50 h 50"/>
                <a:gd name="T28" fmla="*/ 46 w 104"/>
                <a:gd name="T29" fmla="*/ 48 h 50"/>
                <a:gd name="T30" fmla="*/ 34 w 104"/>
                <a:gd name="T31" fmla="*/ 46 h 50"/>
                <a:gd name="T32" fmla="*/ 22 w 104"/>
                <a:gd name="T33" fmla="*/ 42 h 50"/>
                <a:gd name="T34" fmla="*/ 10 w 104"/>
                <a:gd name="T35" fmla="*/ 36 h 50"/>
                <a:gd name="T36" fmla="*/ 0 w 104"/>
                <a:gd name="T37" fmla="*/ 28 h 50"/>
                <a:gd name="T38" fmla="*/ 0 w 104"/>
                <a:gd name="T39" fmla="*/ 28 h 50"/>
                <a:gd name="T40" fmla="*/ 4 w 104"/>
                <a:gd name="T41" fmla="*/ 12 h 50"/>
                <a:gd name="T42" fmla="*/ 10 w 104"/>
                <a:gd name="T43" fmla="*/ 0 h 50"/>
                <a:gd name="T44" fmla="*/ 10 w 104"/>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50">
                  <a:moveTo>
                    <a:pt x="10" y="0"/>
                  </a:moveTo>
                  <a:lnTo>
                    <a:pt x="10" y="0"/>
                  </a:lnTo>
                  <a:lnTo>
                    <a:pt x="24" y="2"/>
                  </a:lnTo>
                  <a:lnTo>
                    <a:pt x="36" y="8"/>
                  </a:lnTo>
                  <a:lnTo>
                    <a:pt x="46" y="14"/>
                  </a:lnTo>
                  <a:lnTo>
                    <a:pt x="56" y="22"/>
                  </a:lnTo>
                  <a:lnTo>
                    <a:pt x="66" y="28"/>
                  </a:lnTo>
                  <a:lnTo>
                    <a:pt x="76" y="34"/>
                  </a:lnTo>
                  <a:lnTo>
                    <a:pt x="88" y="40"/>
                  </a:lnTo>
                  <a:lnTo>
                    <a:pt x="104" y="42"/>
                  </a:lnTo>
                  <a:lnTo>
                    <a:pt x="104" y="42"/>
                  </a:lnTo>
                  <a:lnTo>
                    <a:pt x="90" y="46"/>
                  </a:lnTo>
                  <a:lnTo>
                    <a:pt x="76" y="48"/>
                  </a:lnTo>
                  <a:lnTo>
                    <a:pt x="60" y="50"/>
                  </a:lnTo>
                  <a:lnTo>
                    <a:pt x="46" y="48"/>
                  </a:lnTo>
                  <a:lnTo>
                    <a:pt x="34" y="46"/>
                  </a:lnTo>
                  <a:lnTo>
                    <a:pt x="22" y="42"/>
                  </a:lnTo>
                  <a:lnTo>
                    <a:pt x="10" y="36"/>
                  </a:lnTo>
                  <a:lnTo>
                    <a:pt x="0" y="28"/>
                  </a:lnTo>
                  <a:lnTo>
                    <a:pt x="0" y="28"/>
                  </a:lnTo>
                  <a:lnTo>
                    <a:pt x="4" y="12"/>
                  </a:lnTo>
                  <a:lnTo>
                    <a:pt x="10" y="0"/>
                  </a:lnTo>
                  <a:lnTo>
                    <a:pt x="1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5" name="Freeform 79"/>
            <p:cNvSpPr>
              <a:spLocks/>
            </p:cNvSpPr>
            <p:nvPr/>
          </p:nvSpPr>
          <p:spPr bwMode="auto">
            <a:xfrm>
              <a:off x="3117062" y="3146126"/>
              <a:ext cx="30419" cy="47318"/>
            </a:xfrm>
            <a:custGeom>
              <a:avLst/>
              <a:gdLst>
                <a:gd name="T0" fmla="*/ 0 w 18"/>
                <a:gd name="T1" fmla="*/ 14 h 28"/>
                <a:gd name="T2" fmla="*/ 0 w 18"/>
                <a:gd name="T3" fmla="*/ 14 h 28"/>
                <a:gd name="T4" fmla="*/ 2 w 18"/>
                <a:gd name="T5" fmla="*/ 10 h 28"/>
                <a:gd name="T6" fmla="*/ 4 w 18"/>
                <a:gd name="T7" fmla="*/ 4 h 28"/>
                <a:gd name="T8" fmla="*/ 8 w 18"/>
                <a:gd name="T9" fmla="*/ 0 h 28"/>
                <a:gd name="T10" fmla="*/ 10 w 18"/>
                <a:gd name="T11" fmla="*/ 0 h 28"/>
                <a:gd name="T12" fmla="*/ 14 w 18"/>
                <a:gd name="T13" fmla="*/ 0 h 28"/>
                <a:gd name="T14" fmla="*/ 14 w 18"/>
                <a:gd name="T15" fmla="*/ 0 h 28"/>
                <a:gd name="T16" fmla="*/ 14 w 18"/>
                <a:gd name="T17" fmla="*/ 10 h 28"/>
                <a:gd name="T18" fmla="*/ 12 w 18"/>
                <a:gd name="T19" fmla="*/ 12 h 28"/>
                <a:gd name="T20" fmla="*/ 10 w 18"/>
                <a:gd name="T21" fmla="*/ 14 h 28"/>
                <a:gd name="T22" fmla="*/ 10 w 18"/>
                <a:gd name="T23" fmla="*/ 14 h 28"/>
                <a:gd name="T24" fmla="*/ 12 w 18"/>
                <a:gd name="T25" fmla="*/ 18 h 28"/>
                <a:gd name="T26" fmla="*/ 16 w 18"/>
                <a:gd name="T27" fmla="*/ 20 h 28"/>
                <a:gd name="T28" fmla="*/ 18 w 18"/>
                <a:gd name="T29" fmla="*/ 24 h 28"/>
                <a:gd name="T30" fmla="*/ 18 w 18"/>
                <a:gd name="T31" fmla="*/ 28 h 28"/>
                <a:gd name="T32" fmla="*/ 18 w 18"/>
                <a:gd name="T33" fmla="*/ 28 h 28"/>
                <a:gd name="T34" fmla="*/ 14 w 18"/>
                <a:gd name="T35" fmla="*/ 26 h 28"/>
                <a:gd name="T36" fmla="*/ 10 w 18"/>
                <a:gd name="T37" fmla="*/ 22 h 28"/>
                <a:gd name="T38" fmla="*/ 6 w 18"/>
                <a:gd name="T39" fmla="*/ 18 h 28"/>
                <a:gd name="T40" fmla="*/ 0 w 18"/>
                <a:gd name="T41" fmla="*/ 14 h 28"/>
                <a:gd name="T42" fmla="*/ 0 w 18"/>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8">
                  <a:moveTo>
                    <a:pt x="0" y="14"/>
                  </a:moveTo>
                  <a:lnTo>
                    <a:pt x="0" y="14"/>
                  </a:lnTo>
                  <a:lnTo>
                    <a:pt x="2" y="10"/>
                  </a:lnTo>
                  <a:lnTo>
                    <a:pt x="4" y="4"/>
                  </a:lnTo>
                  <a:lnTo>
                    <a:pt x="8" y="0"/>
                  </a:lnTo>
                  <a:lnTo>
                    <a:pt x="10" y="0"/>
                  </a:lnTo>
                  <a:lnTo>
                    <a:pt x="14" y="0"/>
                  </a:lnTo>
                  <a:lnTo>
                    <a:pt x="14" y="0"/>
                  </a:lnTo>
                  <a:lnTo>
                    <a:pt x="14" y="10"/>
                  </a:lnTo>
                  <a:lnTo>
                    <a:pt x="12" y="12"/>
                  </a:lnTo>
                  <a:lnTo>
                    <a:pt x="10" y="14"/>
                  </a:lnTo>
                  <a:lnTo>
                    <a:pt x="10" y="14"/>
                  </a:lnTo>
                  <a:lnTo>
                    <a:pt x="12" y="18"/>
                  </a:lnTo>
                  <a:lnTo>
                    <a:pt x="16" y="20"/>
                  </a:lnTo>
                  <a:lnTo>
                    <a:pt x="18" y="24"/>
                  </a:lnTo>
                  <a:lnTo>
                    <a:pt x="18" y="28"/>
                  </a:lnTo>
                  <a:lnTo>
                    <a:pt x="18" y="28"/>
                  </a:lnTo>
                  <a:lnTo>
                    <a:pt x="14" y="26"/>
                  </a:lnTo>
                  <a:lnTo>
                    <a:pt x="10" y="22"/>
                  </a:lnTo>
                  <a:lnTo>
                    <a:pt x="6" y="18"/>
                  </a:lnTo>
                  <a:lnTo>
                    <a:pt x="0" y="14"/>
                  </a:lnTo>
                  <a:lnTo>
                    <a:pt x="0" y="1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6" name="Freeform 80"/>
            <p:cNvSpPr>
              <a:spLocks/>
            </p:cNvSpPr>
            <p:nvPr/>
          </p:nvSpPr>
          <p:spPr bwMode="auto">
            <a:xfrm>
              <a:off x="11039748" y="4602834"/>
              <a:ext cx="30419" cy="64217"/>
            </a:xfrm>
            <a:custGeom>
              <a:avLst/>
              <a:gdLst>
                <a:gd name="T0" fmla="*/ 0 w 18"/>
                <a:gd name="T1" fmla="*/ 0 h 38"/>
                <a:gd name="T2" fmla="*/ 0 w 18"/>
                <a:gd name="T3" fmla="*/ 0 h 38"/>
                <a:gd name="T4" fmla="*/ 6 w 18"/>
                <a:gd name="T5" fmla="*/ 8 h 38"/>
                <a:gd name="T6" fmla="*/ 10 w 18"/>
                <a:gd name="T7" fmla="*/ 18 h 38"/>
                <a:gd name="T8" fmla="*/ 18 w 18"/>
                <a:gd name="T9" fmla="*/ 38 h 38"/>
                <a:gd name="T10" fmla="*/ 18 w 18"/>
                <a:gd name="T11" fmla="*/ 38 h 38"/>
                <a:gd name="T12" fmla="*/ 10 w 18"/>
                <a:gd name="T13" fmla="*/ 32 h 38"/>
                <a:gd name="T14" fmla="*/ 4 w 18"/>
                <a:gd name="T15" fmla="*/ 24 h 38"/>
                <a:gd name="T16" fmla="*/ 0 w 18"/>
                <a:gd name="T17" fmla="*/ 14 h 38"/>
                <a:gd name="T18" fmla="*/ 0 w 18"/>
                <a:gd name="T19" fmla="*/ 0 h 38"/>
                <a:gd name="T20" fmla="*/ 0 w 18"/>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8">
                  <a:moveTo>
                    <a:pt x="0" y="0"/>
                  </a:moveTo>
                  <a:lnTo>
                    <a:pt x="0" y="0"/>
                  </a:lnTo>
                  <a:lnTo>
                    <a:pt x="6" y="8"/>
                  </a:lnTo>
                  <a:lnTo>
                    <a:pt x="10" y="18"/>
                  </a:lnTo>
                  <a:lnTo>
                    <a:pt x="18" y="38"/>
                  </a:lnTo>
                  <a:lnTo>
                    <a:pt x="18" y="38"/>
                  </a:lnTo>
                  <a:lnTo>
                    <a:pt x="10" y="32"/>
                  </a:lnTo>
                  <a:lnTo>
                    <a:pt x="4" y="24"/>
                  </a:lnTo>
                  <a:lnTo>
                    <a:pt x="0" y="14"/>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7" name="Freeform 6"/>
            <p:cNvSpPr>
              <a:spLocks/>
            </p:cNvSpPr>
            <p:nvPr/>
          </p:nvSpPr>
          <p:spPr bwMode="auto">
            <a:xfrm>
              <a:off x="3840349" y="1287218"/>
              <a:ext cx="638790" cy="182512"/>
            </a:xfrm>
            <a:custGeom>
              <a:avLst/>
              <a:gdLst>
                <a:gd name="T0" fmla="*/ 378 w 378"/>
                <a:gd name="T1" fmla="*/ 0 h 108"/>
                <a:gd name="T2" fmla="*/ 346 w 378"/>
                <a:gd name="T3" fmla="*/ 18 h 108"/>
                <a:gd name="T4" fmla="*/ 274 w 378"/>
                <a:gd name="T5" fmla="*/ 44 h 108"/>
                <a:gd name="T6" fmla="*/ 198 w 378"/>
                <a:gd name="T7" fmla="*/ 64 h 108"/>
                <a:gd name="T8" fmla="*/ 126 w 378"/>
                <a:gd name="T9" fmla="*/ 90 h 108"/>
                <a:gd name="T10" fmla="*/ 94 w 378"/>
                <a:gd name="T11" fmla="*/ 108 h 108"/>
                <a:gd name="T12" fmla="*/ 90 w 378"/>
                <a:gd name="T13" fmla="*/ 104 h 108"/>
                <a:gd name="T14" fmla="*/ 74 w 378"/>
                <a:gd name="T15" fmla="*/ 96 h 108"/>
                <a:gd name="T16" fmla="*/ 50 w 378"/>
                <a:gd name="T17" fmla="*/ 96 h 108"/>
                <a:gd name="T18" fmla="*/ 24 w 378"/>
                <a:gd name="T19" fmla="*/ 98 h 108"/>
                <a:gd name="T20" fmla="*/ 0 w 378"/>
                <a:gd name="T21" fmla="*/ 90 h 108"/>
                <a:gd name="T22" fmla="*/ 8 w 378"/>
                <a:gd name="T23" fmla="*/ 88 h 108"/>
                <a:gd name="T24" fmla="*/ 38 w 378"/>
                <a:gd name="T25" fmla="*/ 88 h 108"/>
                <a:gd name="T26" fmla="*/ 58 w 378"/>
                <a:gd name="T27" fmla="*/ 88 h 108"/>
                <a:gd name="T28" fmla="*/ 76 w 378"/>
                <a:gd name="T29" fmla="*/ 80 h 108"/>
                <a:gd name="T30" fmla="*/ 74 w 378"/>
                <a:gd name="T31" fmla="*/ 76 h 108"/>
                <a:gd name="T32" fmla="*/ 64 w 378"/>
                <a:gd name="T33" fmla="*/ 70 h 108"/>
                <a:gd name="T34" fmla="*/ 56 w 378"/>
                <a:gd name="T35" fmla="*/ 70 h 108"/>
                <a:gd name="T36" fmla="*/ 64 w 378"/>
                <a:gd name="T37" fmla="*/ 66 h 108"/>
                <a:gd name="T38" fmla="*/ 72 w 378"/>
                <a:gd name="T39" fmla="*/ 68 h 108"/>
                <a:gd name="T40" fmla="*/ 88 w 378"/>
                <a:gd name="T41" fmla="*/ 72 h 108"/>
                <a:gd name="T42" fmla="*/ 94 w 378"/>
                <a:gd name="T43" fmla="*/ 70 h 108"/>
                <a:gd name="T44" fmla="*/ 98 w 378"/>
                <a:gd name="T45" fmla="*/ 64 h 108"/>
                <a:gd name="T46" fmla="*/ 92 w 378"/>
                <a:gd name="T47" fmla="*/ 58 h 108"/>
                <a:gd name="T48" fmla="*/ 86 w 378"/>
                <a:gd name="T49" fmla="*/ 50 h 108"/>
                <a:gd name="T50" fmla="*/ 90 w 378"/>
                <a:gd name="T51" fmla="*/ 48 h 108"/>
                <a:gd name="T52" fmla="*/ 114 w 378"/>
                <a:gd name="T53" fmla="*/ 44 h 108"/>
                <a:gd name="T54" fmla="*/ 158 w 378"/>
                <a:gd name="T55" fmla="*/ 48 h 108"/>
                <a:gd name="T56" fmla="*/ 186 w 378"/>
                <a:gd name="T57" fmla="*/ 44 h 108"/>
                <a:gd name="T58" fmla="*/ 196 w 378"/>
                <a:gd name="T59" fmla="*/ 38 h 108"/>
                <a:gd name="T60" fmla="*/ 188 w 378"/>
                <a:gd name="T61" fmla="*/ 34 h 108"/>
                <a:gd name="T62" fmla="*/ 156 w 378"/>
                <a:gd name="T63" fmla="*/ 32 h 108"/>
                <a:gd name="T64" fmla="*/ 116 w 378"/>
                <a:gd name="T65" fmla="*/ 30 h 108"/>
                <a:gd name="T66" fmla="*/ 104 w 378"/>
                <a:gd name="T67" fmla="*/ 28 h 108"/>
                <a:gd name="T68" fmla="*/ 162 w 378"/>
                <a:gd name="T69" fmla="*/ 18 h 108"/>
                <a:gd name="T70" fmla="*/ 308 w 378"/>
                <a:gd name="T71" fmla="*/ 8 h 108"/>
                <a:gd name="T72" fmla="*/ 378 w 378"/>
                <a:gd name="T73"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8" h="108">
                  <a:moveTo>
                    <a:pt x="378" y="0"/>
                  </a:moveTo>
                  <a:lnTo>
                    <a:pt x="378" y="0"/>
                  </a:lnTo>
                  <a:lnTo>
                    <a:pt x="362" y="10"/>
                  </a:lnTo>
                  <a:lnTo>
                    <a:pt x="346" y="18"/>
                  </a:lnTo>
                  <a:lnTo>
                    <a:pt x="312" y="32"/>
                  </a:lnTo>
                  <a:lnTo>
                    <a:pt x="274" y="44"/>
                  </a:lnTo>
                  <a:lnTo>
                    <a:pt x="236" y="54"/>
                  </a:lnTo>
                  <a:lnTo>
                    <a:pt x="198" y="64"/>
                  </a:lnTo>
                  <a:lnTo>
                    <a:pt x="160" y="76"/>
                  </a:lnTo>
                  <a:lnTo>
                    <a:pt x="126" y="90"/>
                  </a:lnTo>
                  <a:lnTo>
                    <a:pt x="110" y="98"/>
                  </a:lnTo>
                  <a:lnTo>
                    <a:pt x="94" y="108"/>
                  </a:lnTo>
                  <a:lnTo>
                    <a:pt x="94" y="108"/>
                  </a:lnTo>
                  <a:lnTo>
                    <a:pt x="90" y="104"/>
                  </a:lnTo>
                  <a:lnTo>
                    <a:pt x="86" y="100"/>
                  </a:lnTo>
                  <a:lnTo>
                    <a:pt x="74" y="96"/>
                  </a:lnTo>
                  <a:lnTo>
                    <a:pt x="62" y="96"/>
                  </a:lnTo>
                  <a:lnTo>
                    <a:pt x="50" y="96"/>
                  </a:lnTo>
                  <a:lnTo>
                    <a:pt x="36" y="98"/>
                  </a:lnTo>
                  <a:lnTo>
                    <a:pt x="24" y="98"/>
                  </a:lnTo>
                  <a:lnTo>
                    <a:pt x="12" y="96"/>
                  </a:lnTo>
                  <a:lnTo>
                    <a:pt x="0" y="90"/>
                  </a:lnTo>
                  <a:lnTo>
                    <a:pt x="0" y="90"/>
                  </a:lnTo>
                  <a:lnTo>
                    <a:pt x="8" y="88"/>
                  </a:lnTo>
                  <a:lnTo>
                    <a:pt x="18" y="88"/>
                  </a:lnTo>
                  <a:lnTo>
                    <a:pt x="38" y="88"/>
                  </a:lnTo>
                  <a:lnTo>
                    <a:pt x="48" y="88"/>
                  </a:lnTo>
                  <a:lnTo>
                    <a:pt x="58" y="88"/>
                  </a:lnTo>
                  <a:lnTo>
                    <a:pt x="68" y="84"/>
                  </a:lnTo>
                  <a:lnTo>
                    <a:pt x="76" y="80"/>
                  </a:lnTo>
                  <a:lnTo>
                    <a:pt x="76" y="80"/>
                  </a:lnTo>
                  <a:lnTo>
                    <a:pt x="74" y="76"/>
                  </a:lnTo>
                  <a:lnTo>
                    <a:pt x="70" y="72"/>
                  </a:lnTo>
                  <a:lnTo>
                    <a:pt x="64" y="70"/>
                  </a:lnTo>
                  <a:lnTo>
                    <a:pt x="56" y="70"/>
                  </a:lnTo>
                  <a:lnTo>
                    <a:pt x="56" y="70"/>
                  </a:lnTo>
                  <a:lnTo>
                    <a:pt x="60" y="66"/>
                  </a:lnTo>
                  <a:lnTo>
                    <a:pt x="64" y="66"/>
                  </a:lnTo>
                  <a:lnTo>
                    <a:pt x="68" y="66"/>
                  </a:lnTo>
                  <a:lnTo>
                    <a:pt x="72" y="68"/>
                  </a:lnTo>
                  <a:lnTo>
                    <a:pt x="84" y="72"/>
                  </a:lnTo>
                  <a:lnTo>
                    <a:pt x="88" y="72"/>
                  </a:lnTo>
                  <a:lnTo>
                    <a:pt x="94" y="70"/>
                  </a:lnTo>
                  <a:lnTo>
                    <a:pt x="94" y="70"/>
                  </a:lnTo>
                  <a:lnTo>
                    <a:pt x="98" y="68"/>
                  </a:lnTo>
                  <a:lnTo>
                    <a:pt x="98" y="64"/>
                  </a:lnTo>
                  <a:lnTo>
                    <a:pt x="96" y="60"/>
                  </a:lnTo>
                  <a:lnTo>
                    <a:pt x="92" y="58"/>
                  </a:lnTo>
                  <a:lnTo>
                    <a:pt x="86" y="52"/>
                  </a:lnTo>
                  <a:lnTo>
                    <a:pt x="86" y="50"/>
                  </a:lnTo>
                  <a:lnTo>
                    <a:pt x="90" y="48"/>
                  </a:lnTo>
                  <a:lnTo>
                    <a:pt x="90" y="48"/>
                  </a:lnTo>
                  <a:lnTo>
                    <a:pt x="100" y="44"/>
                  </a:lnTo>
                  <a:lnTo>
                    <a:pt x="114" y="44"/>
                  </a:lnTo>
                  <a:lnTo>
                    <a:pt x="144" y="48"/>
                  </a:lnTo>
                  <a:lnTo>
                    <a:pt x="158" y="48"/>
                  </a:lnTo>
                  <a:lnTo>
                    <a:pt x="174" y="48"/>
                  </a:lnTo>
                  <a:lnTo>
                    <a:pt x="186" y="44"/>
                  </a:lnTo>
                  <a:lnTo>
                    <a:pt x="192" y="42"/>
                  </a:lnTo>
                  <a:lnTo>
                    <a:pt x="196" y="38"/>
                  </a:lnTo>
                  <a:lnTo>
                    <a:pt x="196" y="38"/>
                  </a:lnTo>
                  <a:lnTo>
                    <a:pt x="188" y="34"/>
                  </a:lnTo>
                  <a:lnTo>
                    <a:pt x="180" y="32"/>
                  </a:lnTo>
                  <a:lnTo>
                    <a:pt x="156" y="32"/>
                  </a:lnTo>
                  <a:lnTo>
                    <a:pt x="130" y="32"/>
                  </a:lnTo>
                  <a:lnTo>
                    <a:pt x="116" y="30"/>
                  </a:lnTo>
                  <a:lnTo>
                    <a:pt x="104" y="28"/>
                  </a:lnTo>
                  <a:lnTo>
                    <a:pt x="104" y="28"/>
                  </a:lnTo>
                  <a:lnTo>
                    <a:pt x="130" y="24"/>
                  </a:lnTo>
                  <a:lnTo>
                    <a:pt x="162" y="18"/>
                  </a:lnTo>
                  <a:lnTo>
                    <a:pt x="232" y="12"/>
                  </a:lnTo>
                  <a:lnTo>
                    <a:pt x="308" y="8"/>
                  </a:lnTo>
                  <a:lnTo>
                    <a:pt x="344" y="4"/>
                  </a:lnTo>
                  <a:lnTo>
                    <a:pt x="378" y="0"/>
                  </a:lnTo>
                  <a:lnTo>
                    <a:pt x="37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8" name="Freeform 7"/>
            <p:cNvSpPr>
              <a:spLocks/>
            </p:cNvSpPr>
            <p:nvPr/>
          </p:nvSpPr>
          <p:spPr bwMode="auto">
            <a:xfrm>
              <a:off x="4235791" y="1290598"/>
              <a:ext cx="1237021" cy="652309"/>
            </a:xfrm>
            <a:custGeom>
              <a:avLst/>
              <a:gdLst>
                <a:gd name="T0" fmla="*/ 720 w 732"/>
                <a:gd name="T1" fmla="*/ 30 h 386"/>
                <a:gd name="T2" fmla="*/ 664 w 732"/>
                <a:gd name="T3" fmla="*/ 46 h 386"/>
                <a:gd name="T4" fmla="*/ 636 w 732"/>
                <a:gd name="T5" fmla="*/ 64 h 386"/>
                <a:gd name="T6" fmla="*/ 636 w 732"/>
                <a:gd name="T7" fmla="*/ 72 h 386"/>
                <a:gd name="T8" fmla="*/ 642 w 732"/>
                <a:gd name="T9" fmla="*/ 82 h 386"/>
                <a:gd name="T10" fmla="*/ 610 w 732"/>
                <a:gd name="T11" fmla="*/ 120 h 386"/>
                <a:gd name="T12" fmla="*/ 568 w 732"/>
                <a:gd name="T13" fmla="*/ 148 h 386"/>
                <a:gd name="T14" fmla="*/ 530 w 732"/>
                <a:gd name="T15" fmla="*/ 148 h 386"/>
                <a:gd name="T16" fmla="*/ 532 w 732"/>
                <a:gd name="T17" fmla="*/ 162 h 386"/>
                <a:gd name="T18" fmla="*/ 564 w 732"/>
                <a:gd name="T19" fmla="*/ 180 h 386"/>
                <a:gd name="T20" fmla="*/ 578 w 732"/>
                <a:gd name="T21" fmla="*/ 190 h 386"/>
                <a:gd name="T22" fmla="*/ 554 w 732"/>
                <a:gd name="T23" fmla="*/ 196 h 386"/>
                <a:gd name="T24" fmla="*/ 526 w 732"/>
                <a:gd name="T25" fmla="*/ 178 h 386"/>
                <a:gd name="T26" fmla="*/ 512 w 732"/>
                <a:gd name="T27" fmla="*/ 180 h 386"/>
                <a:gd name="T28" fmla="*/ 512 w 732"/>
                <a:gd name="T29" fmla="*/ 192 h 386"/>
                <a:gd name="T30" fmla="*/ 498 w 732"/>
                <a:gd name="T31" fmla="*/ 200 h 386"/>
                <a:gd name="T32" fmla="*/ 508 w 732"/>
                <a:gd name="T33" fmla="*/ 208 h 386"/>
                <a:gd name="T34" fmla="*/ 532 w 732"/>
                <a:gd name="T35" fmla="*/ 206 h 386"/>
                <a:gd name="T36" fmla="*/ 550 w 732"/>
                <a:gd name="T37" fmla="*/ 214 h 386"/>
                <a:gd name="T38" fmla="*/ 522 w 732"/>
                <a:gd name="T39" fmla="*/ 224 h 386"/>
                <a:gd name="T40" fmla="*/ 460 w 732"/>
                <a:gd name="T41" fmla="*/ 228 h 386"/>
                <a:gd name="T42" fmla="*/ 428 w 732"/>
                <a:gd name="T43" fmla="*/ 232 h 386"/>
                <a:gd name="T44" fmla="*/ 392 w 732"/>
                <a:gd name="T45" fmla="*/ 250 h 386"/>
                <a:gd name="T46" fmla="*/ 358 w 732"/>
                <a:gd name="T47" fmla="*/ 274 h 386"/>
                <a:gd name="T48" fmla="*/ 334 w 732"/>
                <a:gd name="T49" fmla="*/ 280 h 386"/>
                <a:gd name="T50" fmla="*/ 284 w 732"/>
                <a:gd name="T51" fmla="*/ 290 h 386"/>
                <a:gd name="T52" fmla="*/ 260 w 732"/>
                <a:gd name="T53" fmla="*/ 302 h 386"/>
                <a:gd name="T54" fmla="*/ 230 w 732"/>
                <a:gd name="T55" fmla="*/ 336 h 386"/>
                <a:gd name="T56" fmla="*/ 204 w 732"/>
                <a:gd name="T57" fmla="*/ 376 h 386"/>
                <a:gd name="T58" fmla="*/ 188 w 732"/>
                <a:gd name="T59" fmla="*/ 384 h 386"/>
                <a:gd name="T60" fmla="*/ 170 w 732"/>
                <a:gd name="T61" fmla="*/ 386 h 386"/>
                <a:gd name="T62" fmla="*/ 144 w 732"/>
                <a:gd name="T63" fmla="*/ 376 h 386"/>
                <a:gd name="T64" fmla="*/ 120 w 732"/>
                <a:gd name="T65" fmla="*/ 350 h 386"/>
                <a:gd name="T66" fmla="*/ 108 w 732"/>
                <a:gd name="T67" fmla="*/ 292 h 386"/>
                <a:gd name="T68" fmla="*/ 116 w 732"/>
                <a:gd name="T69" fmla="*/ 262 h 386"/>
                <a:gd name="T70" fmla="*/ 158 w 732"/>
                <a:gd name="T71" fmla="*/ 224 h 386"/>
                <a:gd name="T72" fmla="*/ 170 w 732"/>
                <a:gd name="T73" fmla="*/ 204 h 386"/>
                <a:gd name="T74" fmla="*/ 164 w 732"/>
                <a:gd name="T75" fmla="*/ 184 h 386"/>
                <a:gd name="T76" fmla="*/ 144 w 732"/>
                <a:gd name="T77" fmla="*/ 172 h 386"/>
                <a:gd name="T78" fmla="*/ 142 w 732"/>
                <a:gd name="T79" fmla="*/ 136 h 386"/>
                <a:gd name="T80" fmla="*/ 122 w 732"/>
                <a:gd name="T81" fmla="*/ 114 h 386"/>
                <a:gd name="T82" fmla="*/ 76 w 732"/>
                <a:gd name="T83" fmla="*/ 100 h 386"/>
                <a:gd name="T84" fmla="*/ 0 w 732"/>
                <a:gd name="T85" fmla="*/ 92 h 386"/>
                <a:gd name="T86" fmla="*/ 4 w 732"/>
                <a:gd name="T87" fmla="*/ 80 h 386"/>
                <a:gd name="T88" fmla="*/ 0 w 732"/>
                <a:gd name="T89" fmla="*/ 74 h 386"/>
                <a:gd name="T90" fmla="*/ 46 w 732"/>
                <a:gd name="T91" fmla="*/ 68 h 386"/>
                <a:gd name="T92" fmla="*/ 130 w 732"/>
                <a:gd name="T93" fmla="*/ 36 h 386"/>
                <a:gd name="T94" fmla="*/ 168 w 732"/>
                <a:gd name="T95" fmla="*/ 22 h 386"/>
                <a:gd name="T96" fmla="*/ 228 w 732"/>
                <a:gd name="T97" fmla="*/ 20 h 386"/>
                <a:gd name="T98" fmla="*/ 298 w 732"/>
                <a:gd name="T99" fmla="*/ 26 h 386"/>
                <a:gd name="T100" fmla="*/ 380 w 732"/>
                <a:gd name="T101" fmla="*/ 16 h 386"/>
                <a:gd name="T102" fmla="*/ 462 w 732"/>
                <a:gd name="T103" fmla="*/ 4 h 386"/>
                <a:gd name="T104" fmla="*/ 542 w 732"/>
                <a:gd name="T105" fmla="*/ 0 h 386"/>
                <a:gd name="T106" fmla="*/ 622 w 732"/>
                <a:gd name="T107" fmla="*/ 8 h 386"/>
                <a:gd name="T108" fmla="*/ 670 w 732"/>
                <a:gd name="T109" fmla="*/ 26 h 386"/>
                <a:gd name="T110" fmla="*/ 714 w 732"/>
                <a:gd name="T111" fmla="*/ 2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386">
                  <a:moveTo>
                    <a:pt x="732" y="22"/>
                  </a:moveTo>
                  <a:lnTo>
                    <a:pt x="732" y="22"/>
                  </a:lnTo>
                  <a:lnTo>
                    <a:pt x="720" y="30"/>
                  </a:lnTo>
                  <a:lnTo>
                    <a:pt x="708" y="34"/>
                  </a:lnTo>
                  <a:lnTo>
                    <a:pt x="678" y="42"/>
                  </a:lnTo>
                  <a:lnTo>
                    <a:pt x="664" y="46"/>
                  </a:lnTo>
                  <a:lnTo>
                    <a:pt x="652" y="50"/>
                  </a:lnTo>
                  <a:lnTo>
                    <a:pt x="640" y="58"/>
                  </a:lnTo>
                  <a:lnTo>
                    <a:pt x="636" y="64"/>
                  </a:lnTo>
                  <a:lnTo>
                    <a:pt x="634" y="68"/>
                  </a:lnTo>
                  <a:lnTo>
                    <a:pt x="634" y="68"/>
                  </a:lnTo>
                  <a:lnTo>
                    <a:pt x="636" y="72"/>
                  </a:lnTo>
                  <a:lnTo>
                    <a:pt x="638" y="76"/>
                  </a:lnTo>
                  <a:lnTo>
                    <a:pt x="640" y="80"/>
                  </a:lnTo>
                  <a:lnTo>
                    <a:pt x="642" y="82"/>
                  </a:lnTo>
                  <a:lnTo>
                    <a:pt x="642" y="82"/>
                  </a:lnTo>
                  <a:lnTo>
                    <a:pt x="622" y="108"/>
                  </a:lnTo>
                  <a:lnTo>
                    <a:pt x="610" y="120"/>
                  </a:lnTo>
                  <a:lnTo>
                    <a:pt x="598" y="132"/>
                  </a:lnTo>
                  <a:lnTo>
                    <a:pt x="584" y="142"/>
                  </a:lnTo>
                  <a:lnTo>
                    <a:pt x="568" y="148"/>
                  </a:lnTo>
                  <a:lnTo>
                    <a:pt x="550" y="150"/>
                  </a:lnTo>
                  <a:lnTo>
                    <a:pt x="540" y="150"/>
                  </a:lnTo>
                  <a:lnTo>
                    <a:pt x="530" y="148"/>
                  </a:lnTo>
                  <a:lnTo>
                    <a:pt x="530" y="148"/>
                  </a:lnTo>
                  <a:lnTo>
                    <a:pt x="530" y="156"/>
                  </a:lnTo>
                  <a:lnTo>
                    <a:pt x="532" y="162"/>
                  </a:lnTo>
                  <a:lnTo>
                    <a:pt x="538" y="166"/>
                  </a:lnTo>
                  <a:lnTo>
                    <a:pt x="546" y="170"/>
                  </a:lnTo>
                  <a:lnTo>
                    <a:pt x="564" y="180"/>
                  </a:lnTo>
                  <a:lnTo>
                    <a:pt x="572" y="184"/>
                  </a:lnTo>
                  <a:lnTo>
                    <a:pt x="578" y="190"/>
                  </a:lnTo>
                  <a:lnTo>
                    <a:pt x="578" y="190"/>
                  </a:lnTo>
                  <a:lnTo>
                    <a:pt x="570" y="196"/>
                  </a:lnTo>
                  <a:lnTo>
                    <a:pt x="562" y="198"/>
                  </a:lnTo>
                  <a:lnTo>
                    <a:pt x="554" y="196"/>
                  </a:lnTo>
                  <a:lnTo>
                    <a:pt x="548" y="192"/>
                  </a:lnTo>
                  <a:lnTo>
                    <a:pt x="534" y="182"/>
                  </a:lnTo>
                  <a:lnTo>
                    <a:pt x="526" y="178"/>
                  </a:lnTo>
                  <a:lnTo>
                    <a:pt x="516" y="176"/>
                  </a:lnTo>
                  <a:lnTo>
                    <a:pt x="516" y="176"/>
                  </a:lnTo>
                  <a:lnTo>
                    <a:pt x="512" y="180"/>
                  </a:lnTo>
                  <a:lnTo>
                    <a:pt x="510" y="182"/>
                  </a:lnTo>
                  <a:lnTo>
                    <a:pt x="512" y="190"/>
                  </a:lnTo>
                  <a:lnTo>
                    <a:pt x="512" y="192"/>
                  </a:lnTo>
                  <a:lnTo>
                    <a:pt x="512" y="196"/>
                  </a:lnTo>
                  <a:lnTo>
                    <a:pt x="506" y="198"/>
                  </a:lnTo>
                  <a:lnTo>
                    <a:pt x="498" y="200"/>
                  </a:lnTo>
                  <a:lnTo>
                    <a:pt x="498" y="200"/>
                  </a:lnTo>
                  <a:lnTo>
                    <a:pt x="502" y="206"/>
                  </a:lnTo>
                  <a:lnTo>
                    <a:pt x="508" y="208"/>
                  </a:lnTo>
                  <a:lnTo>
                    <a:pt x="516" y="208"/>
                  </a:lnTo>
                  <a:lnTo>
                    <a:pt x="524" y="206"/>
                  </a:lnTo>
                  <a:lnTo>
                    <a:pt x="532" y="206"/>
                  </a:lnTo>
                  <a:lnTo>
                    <a:pt x="538" y="204"/>
                  </a:lnTo>
                  <a:lnTo>
                    <a:pt x="544" y="208"/>
                  </a:lnTo>
                  <a:lnTo>
                    <a:pt x="550" y="214"/>
                  </a:lnTo>
                  <a:lnTo>
                    <a:pt x="550" y="214"/>
                  </a:lnTo>
                  <a:lnTo>
                    <a:pt x="536" y="220"/>
                  </a:lnTo>
                  <a:lnTo>
                    <a:pt x="522" y="224"/>
                  </a:lnTo>
                  <a:lnTo>
                    <a:pt x="506" y="226"/>
                  </a:lnTo>
                  <a:lnTo>
                    <a:pt x="490" y="228"/>
                  </a:lnTo>
                  <a:lnTo>
                    <a:pt x="460" y="228"/>
                  </a:lnTo>
                  <a:lnTo>
                    <a:pt x="444" y="230"/>
                  </a:lnTo>
                  <a:lnTo>
                    <a:pt x="428" y="232"/>
                  </a:lnTo>
                  <a:lnTo>
                    <a:pt x="428" y="232"/>
                  </a:lnTo>
                  <a:lnTo>
                    <a:pt x="418" y="234"/>
                  </a:lnTo>
                  <a:lnTo>
                    <a:pt x="408" y="240"/>
                  </a:lnTo>
                  <a:lnTo>
                    <a:pt x="392" y="250"/>
                  </a:lnTo>
                  <a:lnTo>
                    <a:pt x="376" y="264"/>
                  </a:lnTo>
                  <a:lnTo>
                    <a:pt x="368" y="270"/>
                  </a:lnTo>
                  <a:lnTo>
                    <a:pt x="358" y="274"/>
                  </a:lnTo>
                  <a:lnTo>
                    <a:pt x="358" y="274"/>
                  </a:lnTo>
                  <a:lnTo>
                    <a:pt x="346" y="278"/>
                  </a:lnTo>
                  <a:lnTo>
                    <a:pt x="334" y="280"/>
                  </a:lnTo>
                  <a:lnTo>
                    <a:pt x="308" y="284"/>
                  </a:lnTo>
                  <a:lnTo>
                    <a:pt x="296" y="286"/>
                  </a:lnTo>
                  <a:lnTo>
                    <a:pt x="284" y="290"/>
                  </a:lnTo>
                  <a:lnTo>
                    <a:pt x="272" y="294"/>
                  </a:lnTo>
                  <a:lnTo>
                    <a:pt x="260" y="302"/>
                  </a:lnTo>
                  <a:lnTo>
                    <a:pt x="260" y="302"/>
                  </a:lnTo>
                  <a:lnTo>
                    <a:pt x="250" y="310"/>
                  </a:lnTo>
                  <a:lnTo>
                    <a:pt x="242" y="318"/>
                  </a:lnTo>
                  <a:lnTo>
                    <a:pt x="230" y="336"/>
                  </a:lnTo>
                  <a:lnTo>
                    <a:pt x="218" y="356"/>
                  </a:lnTo>
                  <a:lnTo>
                    <a:pt x="204" y="376"/>
                  </a:lnTo>
                  <a:lnTo>
                    <a:pt x="204" y="376"/>
                  </a:lnTo>
                  <a:lnTo>
                    <a:pt x="198" y="378"/>
                  </a:lnTo>
                  <a:lnTo>
                    <a:pt x="192" y="380"/>
                  </a:lnTo>
                  <a:lnTo>
                    <a:pt x="188" y="384"/>
                  </a:lnTo>
                  <a:lnTo>
                    <a:pt x="182" y="386"/>
                  </a:lnTo>
                  <a:lnTo>
                    <a:pt x="182" y="386"/>
                  </a:lnTo>
                  <a:lnTo>
                    <a:pt x="170" y="386"/>
                  </a:lnTo>
                  <a:lnTo>
                    <a:pt x="160" y="384"/>
                  </a:lnTo>
                  <a:lnTo>
                    <a:pt x="152" y="382"/>
                  </a:lnTo>
                  <a:lnTo>
                    <a:pt x="144" y="376"/>
                  </a:lnTo>
                  <a:lnTo>
                    <a:pt x="136" y="372"/>
                  </a:lnTo>
                  <a:lnTo>
                    <a:pt x="130" y="364"/>
                  </a:lnTo>
                  <a:lnTo>
                    <a:pt x="120" y="350"/>
                  </a:lnTo>
                  <a:lnTo>
                    <a:pt x="114" y="332"/>
                  </a:lnTo>
                  <a:lnTo>
                    <a:pt x="110" y="312"/>
                  </a:lnTo>
                  <a:lnTo>
                    <a:pt x="108" y="292"/>
                  </a:lnTo>
                  <a:lnTo>
                    <a:pt x="106" y="274"/>
                  </a:lnTo>
                  <a:lnTo>
                    <a:pt x="106" y="274"/>
                  </a:lnTo>
                  <a:lnTo>
                    <a:pt x="116" y="262"/>
                  </a:lnTo>
                  <a:lnTo>
                    <a:pt x="130" y="250"/>
                  </a:lnTo>
                  <a:lnTo>
                    <a:pt x="146" y="238"/>
                  </a:lnTo>
                  <a:lnTo>
                    <a:pt x="158" y="224"/>
                  </a:lnTo>
                  <a:lnTo>
                    <a:pt x="164" y="218"/>
                  </a:lnTo>
                  <a:lnTo>
                    <a:pt x="168" y="210"/>
                  </a:lnTo>
                  <a:lnTo>
                    <a:pt x="170" y="204"/>
                  </a:lnTo>
                  <a:lnTo>
                    <a:pt x="170" y="198"/>
                  </a:lnTo>
                  <a:lnTo>
                    <a:pt x="168" y="190"/>
                  </a:lnTo>
                  <a:lnTo>
                    <a:pt x="164" y="184"/>
                  </a:lnTo>
                  <a:lnTo>
                    <a:pt x="156" y="178"/>
                  </a:lnTo>
                  <a:lnTo>
                    <a:pt x="144" y="172"/>
                  </a:lnTo>
                  <a:lnTo>
                    <a:pt x="144" y="172"/>
                  </a:lnTo>
                  <a:lnTo>
                    <a:pt x="146" y="158"/>
                  </a:lnTo>
                  <a:lnTo>
                    <a:pt x="144" y="146"/>
                  </a:lnTo>
                  <a:lnTo>
                    <a:pt x="142" y="136"/>
                  </a:lnTo>
                  <a:lnTo>
                    <a:pt x="136" y="126"/>
                  </a:lnTo>
                  <a:lnTo>
                    <a:pt x="130" y="120"/>
                  </a:lnTo>
                  <a:lnTo>
                    <a:pt x="122" y="114"/>
                  </a:lnTo>
                  <a:lnTo>
                    <a:pt x="112" y="108"/>
                  </a:lnTo>
                  <a:lnTo>
                    <a:pt x="100" y="106"/>
                  </a:lnTo>
                  <a:lnTo>
                    <a:pt x="76" y="100"/>
                  </a:lnTo>
                  <a:lnTo>
                    <a:pt x="50" y="96"/>
                  </a:lnTo>
                  <a:lnTo>
                    <a:pt x="0" y="92"/>
                  </a:lnTo>
                  <a:lnTo>
                    <a:pt x="0" y="92"/>
                  </a:lnTo>
                  <a:lnTo>
                    <a:pt x="0" y="88"/>
                  </a:lnTo>
                  <a:lnTo>
                    <a:pt x="0" y="86"/>
                  </a:lnTo>
                  <a:lnTo>
                    <a:pt x="4" y="80"/>
                  </a:lnTo>
                  <a:lnTo>
                    <a:pt x="6" y="76"/>
                  </a:lnTo>
                  <a:lnTo>
                    <a:pt x="4" y="74"/>
                  </a:lnTo>
                  <a:lnTo>
                    <a:pt x="0" y="74"/>
                  </a:lnTo>
                  <a:lnTo>
                    <a:pt x="0" y="74"/>
                  </a:lnTo>
                  <a:lnTo>
                    <a:pt x="24" y="72"/>
                  </a:lnTo>
                  <a:lnTo>
                    <a:pt x="46" y="68"/>
                  </a:lnTo>
                  <a:lnTo>
                    <a:pt x="68" y="62"/>
                  </a:lnTo>
                  <a:lnTo>
                    <a:pt x="90" y="54"/>
                  </a:lnTo>
                  <a:lnTo>
                    <a:pt x="130" y="36"/>
                  </a:lnTo>
                  <a:lnTo>
                    <a:pt x="150" y="28"/>
                  </a:lnTo>
                  <a:lnTo>
                    <a:pt x="168" y="22"/>
                  </a:lnTo>
                  <a:lnTo>
                    <a:pt x="168" y="22"/>
                  </a:lnTo>
                  <a:lnTo>
                    <a:pt x="182" y="20"/>
                  </a:lnTo>
                  <a:lnTo>
                    <a:pt x="198" y="18"/>
                  </a:lnTo>
                  <a:lnTo>
                    <a:pt x="228" y="20"/>
                  </a:lnTo>
                  <a:lnTo>
                    <a:pt x="260" y="24"/>
                  </a:lnTo>
                  <a:lnTo>
                    <a:pt x="298" y="26"/>
                  </a:lnTo>
                  <a:lnTo>
                    <a:pt x="298" y="26"/>
                  </a:lnTo>
                  <a:lnTo>
                    <a:pt x="318" y="26"/>
                  </a:lnTo>
                  <a:lnTo>
                    <a:pt x="338" y="24"/>
                  </a:lnTo>
                  <a:lnTo>
                    <a:pt x="380" y="16"/>
                  </a:lnTo>
                  <a:lnTo>
                    <a:pt x="420" y="8"/>
                  </a:lnTo>
                  <a:lnTo>
                    <a:pt x="440" y="6"/>
                  </a:lnTo>
                  <a:lnTo>
                    <a:pt x="462" y="4"/>
                  </a:lnTo>
                  <a:lnTo>
                    <a:pt x="462" y="4"/>
                  </a:lnTo>
                  <a:lnTo>
                    <a:pt x="514" y="2"/>
                  </a:lnTo>
                  <a:lnTo>
                    <a:pt x="542" y="0"/>
                  </a:lnTo>
                  <a:lnTo>
                    <a:pt x="570" y="2"/>
                  </a:lnTo>
                  <a:lnTo>
                    <a:pt x="596" y="4"/>
                  </a:lnTo>
                  <a:lnTo>
                    <a:pt x="622" y="8"/>
                  </a:lnTo>
                  <a:lnTo>
                    <a:pt x="648" y="16"/>
                  </a:lnTo>
                  <a:lnTo>
                    <a:pt x="670" y="26"/>
                  </a:lnTo>
                  <a:lnTo>
                    <a:pt x="670" y="26"/>
                  </a:lnTo>
                  <a:lnTo>
                    <a:pt x="686" y="26"/>
                  </a:lnTo>
                  <a:lnTo>
                    <a:pt x="700" y="24"/>
                  </a:lnTo>
                  <a:lnTo>
                    <a:pt x="714" y="22"/>
                  </a:lnTo>
                  <a:lnTo>
                    <a:pt x="732" y="22"/>
                  </a:lnTo>
                  <a:lnTo>
                    <a:pt x="732" y="2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79" name="Freeform 8"/>
            <p:cNvSpPr>
              <a:spLocks/>
            </p:cNvSpPr>
            <p:nvPr/>
          </p:nvSpPr>
          <p:spPr bwMode="auto">
            <a:xfrm>
              <a:off x="3793032" y="1337916"/>
              <a:ext cx="135194" cy="50698"/>
            </a:xfrm>
            <a:custGeom>
              <a:avLst/>
              <a:gdLst>
                <a:gd name="T0" fmla="*/ 80 w 80"/>
                <a:gd name="T1" fmla="*/ 8 h 30"/>
                <a:gd name="T2" fmla="*/ 80 w 80"/>
                <a:gd name="T3" fmla="*/ 8 h 30"/>
                <a:gd name="T4" fmla="*/ 74 w 80"/>
                <a:gd name="T5" fmla="*/ 16 h 30"/>
                <a:gd name="T6" fmla="*/ 66 w 80"/>
                <a:gd name="T7" fmla="*/ 22 h 30"/>
                <a:gd name="T8" fmla="*/ 56 w 80"/>
                <a:gd name="T9" fmla="*/ 26 h 30"/>
                <a:gd name="T10" fmla="*/ 46 w 80"/>
                <a:gd name="T11" fmla="*/ 30 h 30"/>
                <a:gd name="T12" fmla="*/ 34 w 80"/>
                <a:gd name="T13" fmla="*/ 30 h 30"/>
                <a:gd name="T14" fmla="*/ 24 w 80"/>
                <a:gd name="T15" fmla="*/ 30 h 30"/>
                <a:gd name="T16" fmla="*/ 12 w 80"/>
                <a:gd name="T17" fmla="*/ 26 h 30"/>
                <a:gd name="T18" fmla="*/ 0 w 80"/>
                <a:gd name="T19" fmla="*/ 22 h 30"/>
                <a:gd name="T20" fmla="*/ 0 w 80"/>
                <a:gd name="T21" fmla="*/ 22 h 30"/>
                <a:gd name="T22" fmla="*/ 18 w 80"/>
                <a:gd name="T23" fmla="*/ 12 h 30"/>
                <a:gd name="T24" fmla="*/ 28 w 80"/>
                <a:gd name="T25" fmla="*/ 6 h 30"/>
                <a:gd name="T26" fmla="*/ 38 w 80"/>
                <a:gd name="T27" fmla="*/ 2 h 30"/>
                <a:gd name="T28" fmla="*/ 50 w 80"/>
                <a:gd name="T29" fmla="*/ 0 h 30"/>
                <a:gd name="T30" fmla="*/ 60 w 80"/>
                <a:gd name="T31" fmla="*/ 0 h 30"/>
                <a:gd name="T32" fmla="*/ 70 w 80"/>
                <a:gd name="T33" fmla="*/ 2 h 30"/>
                <a:gd name="T34" fmla="*/ 80 w 80"/>
                <a:gd name="T35" fmla="*/ 8 h 30"/>
                <a:gd name="T36" fmla="*/ 80 w 80"/>
                <a:gd name="T37"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30">
                  <a:moveTo>
                    <a:pt x="80" y="8"/>
                  </a:moveTo>
                  <a:lnTo>
                    <a:pt x="80" y="8"/>
                  </a:lnTo>
                  <a:lnTo>
                    <a:pt x="74" y="16"/>
                  </a:lnTo>
                  <a:lnTo>
                    <a:pt x="66" y="22"/>
                  </a:lnTo>
                  <a:lnTo>
                    <a:pt x="56" y="26"/>
                  </a:lnTo>
                  <a:lnTo>
                    <a:pt x="46" y="30"/>
                  </a:lnTo>
                  <a:lnTo>
                    <a:pt x="34" y="30"/>
                  </a:lnTo>
                  <a:lnTo>
                    <a:pt x="24" y="30"/>
                  </a:lnTo>
                  <a:lnTo>
                    <a:pt x="12" y="26"/>
                  </a:lnTo>
                  <a:lnTo>
                    <a:pt x="0" y="22"/>
                  </a:lnTo>
                  <a:lnTo>
                    <a:pt x="0" y="22"/>
                  </a:lnTo>
                  <a:lnTo>
                    <a:pt x="18" y="12"/>
                  </a:lnTo>
                  <a:lnTo>
                    <a:pt x="28" y="6"/>
                  </a:lnTo>
                  <a:lnTo>
                    <a:pt x="38" y="2"/>
                  </a:lnTo>
                  <a:lnTo>
                    <a:pt x="50" y="0"/>
                  </a:lnTo>
                  <a:lnTo>
                    <a:pt x="60" y="0"/>
                  </a:lnTo>
                  <a:lnTo>
                    <a:pt x="70" y="2"/>
                  </a:lnTo>
                  <a:lnTo>
                    <a:pt x="80" y="8"/>
                  </a:lnTo>
                  <a:lnTo>
                    <a:pt x="80" y="8"/>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0" name="Freeform 10"/>
            <p:cNvSpPr>
              <a:spLocks/>
            </p:cNvSpPr>
            <p:nvPr/>
          </p:nvSpPr>
          <p:spPr bwMode="auto">
            <a:xfrm>
              <a:off x="5976408" y="1368334"/>
              <a:ext cx="337984" cy="125054"/>
            </a:xfrm>
            <a:custGeom>
              <a:avLst/>
              <a:gdLst>
                <a:gd name="T0" fmla="*/ 74 w 200"/>
                <a:gd name="T1" fmla="*/ 42 h 74"/>
                <a:gd name="T2" fmla="*/ 68 w 200"/>
                <a:gd name="T3" fmla="*/ 38 h 74"/>
                <a:gd name="T4" fmla="*/ 56 w 200"/>
                <a:gd name="T5" fmla="*/ 38 h 74"/>
                <a:gd name="T6" fmla="*/ 50 w 200"/>
                <a:gd name="T7" fmla="*/ 32 h 74"/>
                <a:gd name="T8" fmla="*/ 46 w 200"/>
                <a:gd name="T9" fmla="*/ 38 h 74"/>
                <a:gd name="T10" fmla="*/ 34 w 200"/>
                <a:gd name="T11" fmla="*/ 40 h 74"/>
                <a:gd name="T12" fmla="*/ 10 w 200"/>
                <a:gd name="T13" fmla="*/ 30 h 74"/>
                <a:gd name="T14" fmla="*/ 0 w 200"/>
                <a:gd name="T15" fmla="*/ 22 h 74"/>
                <a:gd name="T16" fmla="*/ 8 w 200"/>
                <a:gd name="T17" fmla="*/ 14 h 74"/>
                <a:gd name="T18" fmla="*/ 18 w 200"/>
                <a:gd name="T19" fmla="*/ 12 h 74"/>
                <a:gd name="T20" fmla="*/ 46 w 200"/>
                <a:gd name="T21" fmla="*/ 16 h 74"/>
                <a:gd name="T22" fmla="*/ 74 w 200"/>
                <a:gd name="T23" fmla="*/ 18 h 74"/>
                <a:gd name="T24" fmla="*/ 84 w 200"/>
                <a:gd name="T25" fmla="*/ 16 h 74"/>
                <a:gd name="T26" fmla="*/ 92 w 200"/>
                <a:gd name="T27" fmla="*/ 8 h 74"/>
                <a:gd name="T28" fmla="*/ 98 w 200"/>
                <a:gd name="T29" fmla="*/ 8 h 74"/>
                <a:gd name="T30" fmla="*/ 102 w 200"/>
                <a:gd name="T31" fmla="*/ 12 h 74"/>
                <a:gd name="T32" fmla="*/ 104 w 200"/>
                <a:gd name="T33" fmla="*/ 22 h 74"/>
                <a:gd name="T34" fmla="*/ 106 w 200"/>
                <a:gd name="T35" fmla="*/ 28 h 74"/>
                <a:gd name="T36" fmla="*/ 110 w 200"/>
                <a:gd name="T37" fmla="*/ 20 h 74"/>
                <a:gd name="T38" fmla="*/ 120 w 200"/>
                <a:gd name="T39" fmla="*/ 6 h 74"/>
                <a:gd name="T40" fmla="*/ 126 w 200"/>
                <a:gd name="T41" fmla="*/ 0 h 74"/>
                <a:gd name="T42" fmla="*/ 138 w 200"/>
                <a:gd name="T43" fmla="*/ 8 h 74"/>
                <a:gd name="T44" fmla="*/ 158 w 200"/>
                <a:gd name="T45" fmla="*/ 10 h 74"/>
                <a:gd name="T46" fmla="*/ 200 w 200"/>
                <a:gd name="T47" fmla="*/ 8 h 74"/>
                <a:gd name="T48" fmla="*/ 196 w 200"/>
                <a:gd name="T49" fmla="*/ 18 h 74"/>
                <a:gd name="T50" fmla="*/ 180 w 200"/>
                <a:gd name="T51" fmla="*/ 26 h 74"/>
                <a:gd name="T52" fmla="*/ 146 w 200"/>
                <a:gd name="T53" fmla="*/ 24 h 74"/>
                <a:gd name="T54" fmla="*/ 126 w 200"/>
                <a:gd name="T55" fmla="*/ 18 h 74"/>
                <a:gd name="T56" fmla="*/ 134 w 200"/>
                <a:gd name="T57" fmla="*/ 30 h 74"/>
                <a:gd name="T58" fmla="*/ 148 w 200"/>
                <a:gd name="T59" fmla="*/ 38 h 74"/>
                <a:gd name="T60" fmla="*/ 176 w 200"/>
                <a:gd name="T61" fmla="*/ 50 h 74"/>
                <a:gd name="T62" fmla="*/ 172 w 200"/>
                <a:gd name="T63" fmla="*/ 56 h 74"/>
                <a:gd name="T64" fmla="*/ 162 w 200"/>
                <a:gd name="T65" fmla="*/ 56 h 74"/>
                <a:gd name="T66" fmla="*/ 152 w 200"/>
                <a:gd name="T67" fmla="*/ 52 h 74"/>
                <a:gd name="T68" fmla="*/ 138 w 200"/>
                <a:gd name="T69" fmla="*/ 52 h 74"/>
                <a:gd name="T70" fmla="*/ 130 w 200"/>
                <a:gd name="T71" fmla="*/ 56 h 74"/>
                <a:gd name="T72" fmla="*/ 134 w 200"/>
                <a:gd name="T73" fmla="*/ 46 h 74"/>
                <a:gd name="T74" fmla="*/ 130 w 200"/>
                <a:gd name="T75" fmla="*/ 38 h 74"/>
                <a:gd name="T76" fmla="*/ 122 w 200"/>
                <a:gd name="T77" fmla="*/ 34 h 74"/>
                <a:gd name="T78" fmla="*/ 112 w 200"/>
                <a:gd name="T79" fmla="*/ 32 h 74"/>
                <a:gd name="T80" fmla="*/ 104 w 200"/>
                <a:gd name="T81" fmla="*/ 42 h 74"/>
                <a:gd name="T82" fmla="*/ 86 w 200"/>
                <a:gd name="T83" fmla="*/ 62 h 74"/>
                <a:gd name="T84" fmla="*/ 78 w 200"/>
                <a:gd name="T85" fmla="*/ 74 h 74"/>
                <a:gd name="T86" fmla="*/ 56 w 200"/>
                <a:gd name="T87" fmla="*/ 62 h 74"/>
                <a:gd name="T88" fmla="*/ 40 w 200"/>
                <a:gd name="T89" fmla="*/ 52 h 74"/>
                <a:gd name="T90" fmla="*/ 36 w 200"/>
                <a:gd name="T91" fmla="*/ 46 h 74"/>
                <a:gd name="T92" fmla="*/ 58 w 200"/>
                <a:gd name="T93" fmla="*/ 46 h 74"/>
                <a:gd name="T94" fmla="*/ 74 w 200"/>
                <a:gd name="T95" fmla="*/ 4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0" h="74">
                  <a:moveTo>
                    <a:pt x="74" y="42"/>
                  </a:moveTo>
                  <a:lnTo>
                    <a:pt x="74" y="42"/>
                  </a:lnTo>
                  <a:lnTo>
                    <a:pt x="72" y="40"/>
                  </a:lnTo>
                  <a:lnTo>
                    <a:pt x="68" y="38"/>
                  </a:lnTo>
                  <a:lnTo>
                    <a:pt x="62" y="38"/>
                  </a:lnTo>
                  <a:lnTo>
                    <a:pt x="56" y="38"/>
                  </a:lnTo>
                  <a:lnTo>
                    <a:pt x="54" y="36"/>
                  </a:lnTo>
                  <a:lnTo>
                    <a:pt x="50" y="32"/>
                  </a:lnTo>
                  <a:lnTo>
                    <a:pt x="50" y="32"/>
                  </a:lnTo>
                  <a:lnTo>
                    <a:pt x="46" y="38"/>
                  </a:lnTo>
                  <a:lnTo>
                    <a:pt x="40" y="40"/>
                  </a:lnTo>
                  <a:lnTo>
                    <a:pt x="34" y="40"/>
                  </a:lnTo>
                  <a:lnTo>
                    <a:pt x="26" y="38"/>
                  </a:lnTo>
                  <a:lnTo>
                    <a:pt x="10" y="30"/>
                  </a:lnTo>
                  <a:lnTo>
                    <a:pt x="0" y="22"/>
                  </a:lnTo>
                  <a:lnTo>
                    <a:pt x="0" y="22"/>
                  </a:lnTo>
                  <a:lnTo>
                    <a:pt x="4" y="18"/>
                  </a:lnTo>
                  <a:lnTo>
                    <a:pt x="8" y="14"/>
                  </a:lnTo>
                  <a:lnTo>
                    <a:pt x="12" y="12"/>
                  </a:lnTo>
                  <a:lnTo>
                    <a:pt x="18" y="12"/>
                  </a:lnTo>
                  <a:lnTo>
                    <a:pt x="32" y="12"/>
                  </a:lnTo>
                  <a:lnTo>
                    <a:pt x="46" y="16"/>
                  </a:lnTo>
                  <a:lnTo>
                    <a:pt x="60" y="18"/>
                  </a:lnTo>
                  <a:lnTo>
                    <a:pt x="74" y="18"/>
                  </a:lnTo>
                  <a:lnTo>
                    <a:pt x="80" y="18"/>
                  </a:lnTo>
                  <a:lnTo>
                    <a:pt x="84" y="16"/>
                  </a:lnTo>
                  <a:lnTo>
                    <a:pt x="90" y="14"/>
                  </a:lnTo>
                  <a:lnTo>
                    <a:pt x="92" y="8"/>
                  </a:lnTo>
                  <a:lnTo>
                    <a:pt x="92" y="8"/>
                  </a:lnTo>
                  <a:lnTo>
                    <a:pt x="98" y="8"/>
                  </a:lnTo>
                  <a:lnTo>
                    <a:pt x="100" y="10"/>
                  </a:lnTo>
                  <a:lnTo>
                    <a:pt x="102" y="12"/>
                  </a:lnTo>
                  <a:lnTo>
                    <a:pt x="102" y="16"/>
                  </a:lnTo>
                  <a:lnTo>
                    <a:pt x="104" y="22"/>
                  </a:lnTo>
                  <a:lnTo>
                    <a:pt x="104" y="26"/>
                  </a:lnTo>
                  <a:lnTo>
                    <a:pt x="106" y="28"/>
                  </a:lnTo>
                  <a:lnTo>
                    <a:pt x="106" y="28"/>
                  </a:lnTo>
                  <a:lnTo>
                    <a:pt x="110" y="20"/>
                  </a:lnTo>
                  <a:lnTo>
                    <a:pt x="116" y="12"/>
                  </a:lnTo>
                  <a:lnTo>
                    <a:pt x="120" y="6"/>
                  </a:lnTo>
                  <a:lnTo>
                    <a:pt x="126" y="0"/>
                  </a:lnTo>
                  <a:lnTo>
                    <a:pt x="126" y="0"/>
                  </a:lnTo>
                  <a:lnTo>
                    <a:pt x="130" y="4"/>
                  </a:lnTo>
                  <a:lnTo>
                    <a:pt x="138" y="8"/>
                  </a:lnTo>
                  <a:lnTo>
                    <a:pt x="148" y="8"/>
                  </a:lnTo>
                  <a:lnTo>
                    <a:pt x="158" y="10"/>
                  </a:lnTo>
                  <a:lnTo>
                    <a:pt x="178" y="8"/>
                  </a:lnTo>
                  <a:lnTo>
                    <a:pt x="200" y="8"/>
                  </a:lnTo>
                  <a:lnTo>
                    <a:pt x="200" y="8"/>
                  </a:lnTo>
                  <a:lnTo>
                    <a:pt x="196" y="18"/>
                  </a:lnTo>
                  <a:lnTo>
                    <a:pt x="188" y="24"/>
                  </a:lnTo>
                  <a:lnTo>
                    <a:pt x="180" y="26"/>
                  </a:lnTo>
                  <a:lnTo>
                    <a:pt x="168" y="26"/>
                  </a:lnTo>
                  <a:lnTo>
                    <a:pt x="146" y="24"/>
                  </a:lnTo>
                  <a:lnTo>
                    <a:pt x="126" y="18"/>
                  </a:lnTo>
                  <a:lnTo>
                    <a:pt x="126" y="18"/>
                  </a:lnTo>
                  <a:lnTo>
                    <a:pt x="128" y="24"/>
                  </a:lnTo>
                  <a:lnTo>
                    <a:pt x="134" y="30"/>
                  </a:lnTo>
                  <a:lnTo>
                    <a:pt x="140" y="34"/>
                  </a:lnTo>
                  <a:lnTo>
                    <a:pt x="148" y="38"/>
                  </a:lnTo>
                  <a:lnTo>
                    <a:pt x="162" y="44"/>
                  </a:lnTo>
                  <a:lnTo>
                    <a:pt x="176" y="50"/>
                  </a:lnTo>
                  <a:lnTo>
                    <a:pt x="176" y="50"/>
                  </a:lnTo>
                  <a:lnTo>
                    <a:pt x="172" y="56"/>
                  </a:lnTo>
                  <a:lnTo>
                    <a:pt x="168" y="56"/>
                  </a:lnTo>
                  <a:lnTo>
                    <a:pt x="162" y="56"/>
                  </a:lnTo>
                  <a:lnTo>
                    <a:pt x="158" y="54"/>
                  </a:lnTo>
                  <a:lnTo>
                    <a:pt x="152" y="52"/>
                  </a:lnTo>
                  <a:lnTo>
                    <a:pt x="146" y="52"/>
                  </a:lnTo>
                  <a:lnTo>
                    <a:pt x="138" y="52"/>
                  </a:lnTo>
                  <a:lnTo>
                    <a:pt x="130" y="56"/>
                  </a:lnTo>
                  <a:lnTo>
                    <a:pt x="130" y="56"/>
                  </a:lnTo>
                  <a:lnTo>
                    <a:pt x="132" y="52"/>
                  </a:lnTo>
                  <a:lnTo>
                    <a:pt x="134" y="46"/>
                  </a:lnTo>
                  <a:lnTo>
                    <a:pt x="134" y="42"/>
                  </a:lnTo>
                  <a:lnTo>
                    <a:pt x="130" y="38"/>
                  </a:lnTo>
                  <a:lnTo>
                    <a:pt x="128" y="36"/>
                  </a:lnTo>
                  <a:lnTo>
                    <a:pt x="122" y="34"/>
                  </a:lnTo>
                  <a:lnTo>
                    <a:pt x="118" y="32"/>
                  </a:lnTo>
                  <a:lnTo>
                    <a:pt x="112" y="32"/>
                  </a:lnTo>
                  <a:lnTo>
                    <a:pt x="112" y="32"/>
                  </a:lnTo>
                  <a:lnTo>
                    <a:pt x="104" y="42"/>
                  </a:lnTo>
                  <a:lnTo>
                    <a:pt x="94" y="52"/>
                  </a:lnTo>
                  <a:lnTo>
                    <a:pt x="86" y="62"/>
                  </a:lnTo>
                  <a:lnTo>
                    <a:pt x="78" y="74"/>
                  </a:lnTo>
                  <a:lnTo>
                    <a:pt x="78" y="74"/>
                  </a:lnTo>
                  <a:lnTo>
                    <a:pt x="68" y="68"/>
                  </a:lnTo>
                  <a:lnTo>
                    <a:pt x="56" y="62"/>
                  </a:lnTo>
                  <a:lnTo>
                    <a:pt x="44" y="56"/>
                  </a:lnTo>
                  <a:lnTo>
                    <a:pt x="40" y="52"/>
                  </a:lnTo>
                  <a:lnTo>
                    <a:pt x="36" y="46"/>
                  </a:lnTo>
                  <a:lnTo>
                    <a:pt x="36" y="46"/>
                  </a:lnTo>
                  <a:lnTo>
                    <a:pt x="48" y="46"/>
                  </a:lnTo>
                  <a:lnTo>
                    <a:pt x="58" y="46"/>
                  </a:lnTo>
                  <a:lnTo>
                    <a:pt x="74" y="42"/>
                  </a:lnTo>
                  <a:lnTo>
                    <a:pt x="74" y="4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1" name="Freeform 11"/>
            <p:cNvSpPr>
              <a:spLocks/>
            </p:cNvSpPr>
            <p:nvPr/>
          </p:nvSpPr>
          <p:spPr bwMode="auto">
            <a:xfrm>
              <a:off x="3708536" y="1459590"/>
              <a:ext cx="267007" cy="54077"/>
            </a:xfrm>
            <a:custGeom>
              <a:avLst/>
              <a:gdLst>
                <a:gd name="T0" fmla="*/ 158 w 158"/>
                <a:gd name="T1" fmla="*/ 16 h 32"/>
                <a:gd name="T2" fmla="*/ 158 w 158"/>
                <a:gd name="T3" fmla="*/ 16 h 32"/>
                <a:gd name="T4" fmla="*/ 152 w 158"/>
                <a:gd name="T5" fmla="*/ 22 h 32"/>
                <a:gd name="T6" fmla="*/ 144 w 158"/>
                <a:gd name="T7" fmla="*/ 26 h 32"/>
                <a:gd name="T8" fmla="*/ 136 w 158"/>
                <a:gd name="T9" fmla="*/ 28 h 32"/>
                <a:gd name="T10" fmla="*/ 128 w 158"/>
                <a:gd name="T11" fmla="*/ 30 h 32"/>
                <a:gd name="T12" fmla="*/ 110 w 158"/>
                <a:gd name="T13" fmla="*/ 32 h 32"/>
                <a:gd name="T14" fmla="*/ 88 w 158"/>
                <a:gd name="T15" fmla="*/ 30 h 32"/>
                <a:gd name="T16" fmla="*/ 44 w 158"/>
                <a:gd name="T17" fmla="*/ 26 h 32"/>
                <a:gd name="T18" fmla="*/ 22 w 158"/>
                <a:gd name="T19" fmla="*/ 24 h 32"/>
                <a:gd name="T20" fmla="*/ 0 w 158"/>
                <a:gd name="T21" fmla="*/ 24 h 32"/>
                <a:gd name="T22" fmla="*/ 0 w 158"/>
                <a:gd name="T23" fmla="*/ 24 h 32"/>
                <a:gd name="T24" fmla="*/ 4 w 158"/>
                <a:gd name="T25" fmla="*/ 12 h 32"/>
                <a:gd name="T26" fmla="*/ 10 w 158"/>
                <a:gd name="T27" fmla="*/ 4 h 32"/>
                <a:gd name="T28" fmla="*/ 18 w 158"/>
                <a:gd name="T29" fmla="*/ 0 h 32"/>
                <a:gd name="T30" fmla="*/ 30 w 158"/>
                <a:gd name="T31" fmla="*/ 0 h 32"/>
                <a:gd name="T32" fmla="*/ 40 w 158"/>
                <a:gd name="T33" fmla="*/ 0 h 32"/>
                <a:gd name="T34" fmla="*/ 50 w 158"/>
                <a:gd name="T35" fmla="*/ 4 h 32"/>
                <a:gd name="T36" fmla="*/ 60 w 158"/>
                <a:gd name="T37" fmla="*/ 10 h 32"/>
                <a:gd name="T38" fmla="*/ 70 w 158"/>
                <a:gd name="T39" fmla="*/ 16 h 32"/>
                <a:gd name="T40" fmla="*/ 70 w 158"/>
                <a:gd name="T41" fmla="*/ 16 h 32"/>
                <a:gd name="T42" fmla="*/ 90 w 158"/>
                <a:gd name="T43" fmla="*/ 12 h 32"/>
                <a:gd name="T44" fmla="*/ 114 w 158"/>
                <a:gd name="T45" fmla="*/ 10 h 32"/>
                <a:gd name="T46" fmla="*/ 138 w 158"/>
                <a:gd name="T47" fmla="*/ 12 h 32"/>
                <a:gd name="T48" fmla="*/ 148 w 158"/>
                <a:gd name="T49" fmla="*/ 12 h 32"/>
                <a:gd name="T50" fmla="*/ 158 w 158"/>
                <a:gd name="T51" fmla="*/ 16 h 32"/>
                <a:gd name="T52" fmla="*/ 158 w 158"/>
                <a:gd name="T53"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32">
                  <a:moveTo>
                    <a:pt x="158" y="16"/>
                  </a:moveTo>
                  <a:lnTo>
                    <a:pt x="158" y="16"/>
                  </a:lnTo>
                  <a:lnTo>
                    <a:pt x="152" y="22"/>
                  </a:lnTo>
                  <a:lnTo>
                    <a:pt x="144" y="26"/>
                  </a:lnTo>
                  <a:lnTo>
                    <a:pt x="136" y="28"/>
                  </a:lnTo>
                  <a:lnTo>
                    <a:pt x="128" y="30"/>
                  </a:lnTo>
                  <a:lnTo>
                    <a:pt x="110" y="32"/>
                  </a:lnTo>
                  <a:lnTo>
                    <a:pt x="88" y="30"/>
                  </a:lnTo>
                  <a:lnTo>
                    <a:pt x="44" y="26"/>
                  </a:lnTo>
                  <a:lnTo>
                    <a:pt x="22" y="24"/>
                  </a:lnTo>
                  <a:lnTo>
                    <a:pt x="0" y="24"/>
                  </a:lnTo>
                  <a:lnTo>
                    <a:pt x="0" y="24"/>
                  </a:lnTo>
                  <a:lnTo>
                    <a:pt x="4" y="12"/>
                  </a:lnTo>
                  <a:lnTo>
                    <a:pt x="10" y="4"/>
                  </a:lnTo>
                  <a:lnTo>
                    <a:pt x="18" y="0"/>
                  </a:lnTo>
                  <a:lnTo>
                    <a:pt x="30" y="0"/>
                  </a:lnTo>
                  <a:lnTo>
                    <a:pt x="40" y="0"/>
                  </a:lnTo>
                  <a:lnTo>
                    <a:pt x="50" y="4"/>
                  </a:lnTo>
                  <a:lnTo>
                    <a:pt x="60" y="10"/>
                  </a:lnTo>
                  <a:lnTo>
                    <a:pt x="70" y="16"/>
                  </a:lnTo>
                  <a:lnTo>
                    <a:pt x="70" y="16"/>
                  </a:lnTo>
                  <a:lnTo>
                    <a:pt x="90" y="12"/>
                  </a:lnTo>
                  <a:lnTo>
                    <a:pt x="114" y="10"/>
                  </a:lnTo>
                  <a:lnTo>
                    <a:pt x="138" y="12"/>
                  </a:lnTo>
                  <a:lnTo>
                    <a:pt x="148" y="12"/>
                  </a:lnTo>
                  <a:lnTo>
                    <a:pt x="158" y="16"/>
                  </a:lnTo>
                  <a:lnTo>
                    <a:pt x="158" y="1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2" name="Freeform 12"/>
            <p:cNvSpPr>
              <a:spLocks/>
            </p:cNvSpPr>
            <p:nvPr/>
          </p:nvSpPr>
          <p:spPr bwMode="auto">
            <a:xfrm>
              <a:off x="6953181" y="1473109"/>
              <a:ext cx="290666" cy="162232"/>
            </a:xfrm>
            <a:custGeom>
              <a:avLst/>
              <a:gdLst>
                <a:gd name="T0" fmla="*/ 172 w 172"/>
                <a:gd name="T1" fmla="*/ 2 h 96"/>
                <a:gd name="T2" fmla="*/ 172 w 172"/>
                <a:gd name="T3" fmla="*/ 2 h 96"/>
                <a:gd name="T4" fmla="*/ 154 w 172"/>
                <a:gd name="T5" fmla="*/ 10 h 96"/>
                <a:gd name="T6" fmla="*/ 136 w 172"/>
                <a:gd name="T7" fmla="*/ 14 h 96"/>
                <a:gd name="T8" fmla="*/ 98 w 172"/>
                <a:gd name="T9" fmla="*/ 24 h 96"/>
                <a:gd name="T10" fmla="*/ 80 w 172"/>
                <a:gd name="T11" fmla="*/ 30 h 96"/>
                <a:gd name="T12" fmla="*/ 66 w 172"/>
                <a:gd name="T13" fmla="*/ 40 h 96"/>
                <a:gd name="T14" fmla="*/ 58 w 172"/>
                <a:gd name="T15" fmla="*/ 46 h 96"/>
                <a:gd name="T16" fmla="*/ 54 w 172"/>
                <a:gd name="T17" fmla="*/ 52 h 96"/>
                <a:gd name="T18" fmla="*/ 50 w 172"/>
                <a:gd name="T19" fmla="*/ 60 h 96"/>
                <a:gd name="T20" fmla="*/ 46 w 172"/>
                <a:gd name="T21" fmla="*/ 68 h 96"/>
                <a:gd name="T22" fmla="*/ 46 w 172"/>
                <a:gd name="T23" fmla="*/ 68 h 96"/>
                <a:gd name="T24" fmla="*/ 46 w 172"/>
                <a:gd name="T25" fmla="*/ 74 h 96"/>
                <a:gd name="T26" fmla="*/ 46 w 172"/>
                <a:gd name="T27" fmla="*/ 78 h 96"/>
                <a:gd name="T28" fmla="*/ 48 w 172"/>
                <a:gd name="T29" fmla="*/ 82 h 96"/>
                <a:gd name="T30" fmla="*/ 50 w 172"/>
                <a:gd name="T31" fmla="*/ 84 h 96"/>
                <a:gd name="T32" fmla="*/ 58 w 172"/>
                <a:gd name="T33" fmla="*/ 88 h 96"/>
                <a:gd name="T34" fmla="*/ 64 w 172"/>
                <a:gd name="T35" fmla="*/ 92 h 96"/>
                <a:gd name="T36" fmla="*/ 64 w 172"/>
                <a:gd name="T37" fmla="*/ 92 h 96"/>
                <a:gd name="T38" fmla="*/ 56 w 172"/>
                <a:gd name="T39" fmla="*/ 96 h 96"/>
                <a:gd name="T40" fmla="*/ 48 w 172"/>
                <a:gd name="T41" fmla="*/ 96 h 96"/>
                <a:gd name="T42" fmla="*/ 40 w 172"/>
                <a:gd name="T43" fmla="*/ 94 h 96"/>
                <a:gd name="T44" fmla="*/ 32 w 172"/>
                <a:gd name="T45" fmla="*/ 92 h 96"/>
                <a:gd name="T46" fmla="*/ 16 w 172"/>
                <a:gd name="T47" fmla="*/ 84 h 96"/>
                <a:gd name="T48" fmla="*/ 8 w 172"/>
                <a:gd name="T49" fmla="*/ 82 h 96"/>
                <a:gd name="T50" fmla="*/ 0 w 172"/>
                <a:gd name="T51" fmla="*/ 82 h 96"/>
                <a:gd name="T52" fmla="*/ 0 w 172"/>
                <a:gd name="T53" fmla="*/ 82 h 96"/>
                <a:gd name="T54" fmla="*/ 0 w 172"/>
                <a:gd name="T55" fmla="*/ 70 h 96"/>
                <a:gd name="T56" fmla="*/ 4 w 172"/>
                <a:gd name="T57" fmla="*/ 60 h 96"/>
                <a:gd name="T58" fmla="*/ 10 w 172"/>
                <a:gd name="T59" fmla="*/ 52 h 96"/>
                <a:gd name="T60" fmla="*/ 18 w 172"/>
                <a:gd name="T61" fmla="*/ 42 h 96"/>
                <a:gd name="T62" fmla="*/ 26 w 172"/>
                <a:gd name="T63" fmla="*/ 34 h 96"/>
                <a:gd name="T64" fmla="*/ 36 w 172"/>
                <a:gd name="T65" fmla="*/ 28 h 96"/>
                <a:gd name="T66" fmla="*/ 48 w 172"/>
                <a:gd name="T67" fmla="*/ 22 h 96"/>
                <a:gd name="T68" fmla="*/ 60 w 172"/>
                <a:gd name="T69" fmla="*/ 16 h 96"/>
                <a:gd name="T70" fmla="*/ 86 w 172"/>
                <a:gd name="T71" fmla="*/ 8 h 96"/>
                <a:gd name="T72" fmla="*/ 116 w 172"/>
                <a:gd name="T73" fmla="*/ 2 h 96"/>
                <a:gd name="T74" fmla="*/ 144 w 172"/>
                <a:gd name="T75" fmla="*/ 0 h 96"/>
                <a:gd name="T76" fmla="*/ 172 w 172"/>
                <a:gd name="T77" fmla="*/ 2 h 96"/>
                <a:gd name="T78" fmla="*/ 172 w 172"/>
                <a:gd name="T79" fmla="*/ 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96">
                  <a:moveTo>
                    <a:pt x="172" y="2"/>
                  </a:moveTo>
                  <a:lnTo>
                    <a:pt x="172" y="2"/>
                  </a:lnTo>
                  <a:lnTo>
                    <a:pt x="154" y="10"/>
                  </a:lnTo>
                  <a:lnTo>
                    <a:pt x="136" y="14"/>
                  </a:lnTo>
                  <a:lnTo>
                    <a:pt x="98" y="24"/>
                  </a:lnTo>
                  <a:lnTo>
                    <a:pt x="80" y="30"/>
                  </a:lnTo>
                  <a:lnTo>
                    <a:pt x="66" y="40"/>
                  </a:lnTo>
                  <a:lnTo>
                    <a:pt x="58" y="46"/>
                  </a:lnTo>
                  <a:lnTo>
                    <a:pt x="54" y="52"/>
                  </a:lnTo>
                  <a:lnTo>
                    <a:pt x="50" y="60"/>
                  </a:lnTo>
                  <a:lnTo>
                    <a:pt x="46" y="68"/>
                  </a:lnTo>
                  <a:lnTo>
                    <a:pt x="46" y="68"/>
                  </a:lnTo>
                  <a:lnTo>
                    <a:pt x="46" y="74"/>
                  </a:lnTo>
                  <a:lnTo>
                    <a:pt x="46" y="78"/>
                  </a:lnTo>
                  <a:lnTo>
                    <a:pt x="48" y="82"/>
                  </a:lnTo>
                  <a:lnTo>
                    <a:pt x="50" y="84"/>
                  </a:lnTo>
                  <a:lnTo>
                    <a:pt x="58" y="88"/>
                  </a:lnTo>
                  <a:lnTo>
                    <a:pt x="64" y="92"/>
                  </a:lnTo>
                  <a:lnTo>
                    <a:pt x="64" y="92"/>
                  </a:lnTo>
                  <a:lnTo>
                    <a:pt x="56" y="96"/>
                  </a:lnTo>
                  <a:lnTo>
                    <a:pt x="48" y="96"/>
                  </a:lnTo>
                  <a:lnTo>
                    <a:pt x="40" y="94"/>
                  </a:lnTo>
                  <a:lnTo>
                    <a:pt x="32" y="92"/>
                  </a:lnTo>
                  <a:lnTo>
                    <a:pt x="16" y="84"/>
                  </a:lnTo>
                  <a:lnTo>
                    <a:pt x="8" y="82"/>
                  </a:lnTo>
                  <a:lnTo>
                    <a:pt x="0" y="82"/>
                  </a:lnTo>
                  <a:lnTo>
                    <a:pt x="0" y="82"/>
                  </a:lnTo>
                  <a:lnTo>
                    <a:pt x="0" y="70"/>
                  </a:lnTo>
                  <a:lnTo>
                    <a:pt x="4" y="60"/>
                  </a:lnTo>
                  <a:lnTo>
                    <a:pt x="10" y="52"/>
                  </a:lnTo>
                  <a:lnTo>
                    <a:pt x="18" y="42"/>
                  </a:lnTo>
                  <a:lnTo>
                    <a:pt x="26" y="34"/>
                  </a:lnTo>
                  <a:lnTo>
                    <a:pt x="36" y="28"/>
                  </a:lnTo>
                  <a:lnTo>
                    <a:pt x="48" y="22"/>
                  </a:lnTo>
                  <a:lnTo>
                    <a:pt x="60" y="16"/>
                  </a:lnTo>
                  <a:lnTo>
                    <a:pt x="86" y="8"/>
                  </a:lnTo>
                  <a:lnTo>
                    <a:pt x="116" y="2"/>
                  </a:lnTo>
                  <a:lnTo>
                    <a:pt x="144" y="0"/>
                  </a:lnTo>
                  <a:lnTo>
                    <a:pt x="172" y="2"/>
                  </a:lnTo>
                  <a:lnTo>
                    <a:pt x="172" y="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3" name="Freeform 13"/>
            <p:cNvSpPr>
              <a:spLocks/>
            </p:cNvSpPr>
            <p:nvPr/>
          </p:nvSpPr>
          <p:spPr bwMode="auto">
            <a:xfrm>
              <a:off x="2850057" y="1513667"/>
              <a:ext cx="267007" cy="84496"/>
            </a:xfrm>
            <a:custGeom>
              <a:avLst/>
              <a:gdLst>
                <a:gd name="T0" fmla="*/ 0 w 158"/>
                <a:gd name="T1" fmla="*/ 44 h 50"/>
                <a:gd name="T2" fmla="*/ 0 w 158"/>
                <a:gd name="T3" fmla="*/ 44 h 50"/>
                <a:gd name="T4" fmla="*/ 34 w 158"/>
                <a:gd name="T5" fmla="*/ 22 h 50"/>
                <a:gd name="T6" fmla="*/ 52 w 158"/>
                <a:gd name="T7" fmla="*/ 14 h 50"/>
                <a:gd name="T8" fmla="*/ 72 w 158"/>
                <a:gd name="T9" fmla="*/ 6 h 50"/>
                <a:gd name="T10" fmla="*/ 92 w 158"/>
                <a:gd name="T11" fmla="*/ 0 h 50"/>
                <a:gd name="T12" fmla="*/ 114 w 158"/>
                <a:gd name="T13" fmla="*/ 0 h 50"/>
                <a:gd name="T14" fmla="*/ 124 w 158"/>
                <a:gd name="T15" fmla="*/ 0 h 50"/>
                <a:gd name="T16" fmla="*/ 136 w 158"/>
                <a:gd name="T17" fmla="*/ 2 h 50"/>
                <a:gd name="T18" fmla="*/ 146 w 158"/>
                <a:gd name="T19" fmla="*/ 6 h 50"/>
                <a:gd name="T20" fmla="*/ 158 w 158"/>
                <a:gd name="T21" fmla="*/ 12 h 50"/>
                <a:gd name="T22" fmla="*/ 158 w 158"/>
                <a:gd name="T23" fmla="*/ 12 h 50"/>
                <a:gd name="T24" fmla="*/ 136 w 158"/>
                <a:gd name="T25" fmla="*/ 14 h 50"/>
                <a:gd name="T26" fmla="*/ 114 w 158"/>
                <a:gd name="T27" fmla="*/ 20 h 50"/>
                <a:gd name="T28" fmla="*/ 72 w 158"/>
                <a:gd name="T29" fmla="*/ 38 h 50"/>
                <a:gd name="T30" fmla="*/ 52 w 158"/>
                <a:gd name="T31" fmla="*/ 46 h 50"/>
                <a:gd name="T32" fmla="*/ 34 w 158"/>
                <a:gd name="T33" fmla="*/ 50 h 50"/>
                <a:gd name="T34" fmla="*/ 24 w 158"/>
                <a:gd name="T35" fmla="*/ 50 h 50"/>
                <a:gd name="T36" fmla="*/ 16 w 158"/>
                <a:gd name="T37" fmla="*/ 50 h 50"/>
                <a:gd name="T38" fmla="*/ 8 w 158"/>
                <a:gd name="T39" fmla="*/ 48 h 50"/>
                <a:gd name="T40" fmla="*/ 0 w 158"/>
                <a:gd name="T41" fmla="*/ 44 h 50"/>
                <a:gd name="T42" fmla="*/ 0 w 158"/>
                <a:gd name="T43" fmla="*/ 4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50">
                  <a:moveTo>
                    <a:pt x="0" y="44"/>
                  </a:moveTo>
                  <a:lnTo>
                    <a:pt x="0" y="44"/>
                  </a:lnTo>
                  <a:lnTo>
                    <a:pt x="34" y="22"/>
                  </a:lnTo>
                  <a:lnTo>
                    <a:pt x="52" y="14"/>
                  </a:lnTo>
                  <a:lnTo>
                    <a:pt x="72" y="6"/>
                  </a:lnTo>
                  <a:lnTo>
                    <a:pt x="92" y="0"/>
                  </a:lnTo>
                  <a:lnTo>
                    <a:pt x="114" y="0"/>
                  </a:lnTo>
                  <a:lnTo>
                    <a:pt x="124" y="0"/>
                  </a:lnTo>
                  <a:lnTo>
                    <a:pt x="136" y="2"/>
                  </a:lnTo>
                  <a:lnTo>
                    <a:pt x="146" y="6"/>
                  </a:lnTo>
                  <a:lnTo>
                    <a:pt x="158" y="12"/>
                  </a:lnTo>
                  <a:lnTo>
                    <a:pt x="158" y="12"/>
                  </a:lnTo>
                  <a:lnTo>
                    <a:pt x="136" y="14"/>
                  </a:lnTo>
                  <a:lnTo>
                    <a:pt x="114" y="20"/>
                  </a:lnTo>
                  <a:lnTo>
                    <a:pt x="72" y="38"/>
                  </a:lnTo>
                  <a:lnTo>
                    <a:pt x="52" y="46"/>
                  </a:lnTo>
                  <a:lnTo>
                    <a:pt x="34" y="50"/>
                  </a:lnTo>
                  <a:lnTo>
                    <a:pt x="24" y="50"/>
                  </a:lnTo>
                  <a:lnTo>
                    <a:pt x="16" y="50"/>
                  </a:lnTo>
                  <a:lnTo>
                    <a:pt x="8" y="48"/>
                  </a:lnTo>
                  <a:lnTo>
                    <a:pt x="0" y="44"/>
                  </a:lnTo>
                  <a:lnTo>
                    <a:pt x="0" y="4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4" name="Freeform 14"/>
            <p:cNvSpPr>
              <a:spLocks/>
            </p:cNvSpPr>
            <p:nvPr/>
          </p:nvSpPr>
          <p:spPr bwMode="auto">
            <a:xfrm>
              <a:off x="3394211" y="1523807"/>
              <a:ext cx="141953" cy="67597"/>
            </a:xfrm>
            <a:custGeom>
              <a:avLst/>
              <a:gdLst>
                <a:gd name="T0" fmla="*/ 84 w 84"/>
                <a:gd name="T1" fmla="*/ 0 h 40"/>
                <a:gd name="T2" fmla="*/ 84 w 84"/>
                <a:gd name="T3" fmla="*/ 0 h 40"/>
                <a:gd name="T4" fmla="*/ 78 w 84"/>
                <a:gd name="T5" fmla="*/ 14 h 40"/>
                <a:gd name="T6" fmla="*/ 70 w 84"/>
                <a:gd name="T7" fmla="*/ 24 h 40"/>
                <a:gd name="T8" fmla="*/ 60 w 84"/>
                <a:gd name="T9" fmla="*/ 32 h 40"/>
                <a:gd name="T10" fmla="*/ 48 w 84"/>
                <a:gd name="T11" fmla="*/ 38 h 40"/>
                <a:gd name="T12" fmla="*/ 36 w 84"/>
                <a:gd name="T13" fmla="*/ 40 h 40"/>
                <a:gd name="T14" fmla="*/ 22 w 84"/>
                <a:gd name="T15" fmla="*/ 38 h 40"/>
                <a:gd name="T16" fmla="*/ 10 w 84"/>
                <a:gd name="T17" fmla="*/ 32 h 40"/>
                <a:gd name="T18" fmla="*/ 0 w 84"/>
                <a:gd name="T19" fmla="*/ 24 h 40"/>
                <a:gd name="T20" fmla="*/ 0 w 84"/>
                <a:gd name="T21" fmla="*/ 24 h 40"/>
                <a:gd name="T22" fmla="*/ 10 w 84"/>
                <a:gd name="T23" fmla="*/ 24 h 40"/>
                <a:gd name="T24" fmla="*/ 20 w 84"/>
                <a:gd name="T25" fmla="*/ 22 h 40"/>
                <a:gd name="T26" fmla="*/ 38 w 84"/>
                <a:gd name="T27" fmla="*/ 14 h 40"/>
                <a:gd name="T28" fmla="*/ 58 w 84"/>
                <a:gd name="T29" fmla="*/ 6 h 40"/>
                <a:gd name="T30" fmla="*/ 70 w 84"/>
                <a:gd name="T31" fmla="*/ 2 h 40"/>
                <a:gd name="T32" fmla="*/ 84 w 84"/>
                <a:gd name="T33" fmla="*/ 0 h 40"/>
                <a:gd name="T34" fmla="*/ 84 w 84"/>
                <a:gd name="T3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 h="40">
                  <a:moveTo>
                    <a:pt x="84" y="0"/>
                  </a:moveTo>
                  <a:lnTo>
                    <a:pt x="84" y="0"/>
                  </a:lnTo>
                  <a:lnTo>
                    <a:pt x="78" y="14"/>
                  </a:lnTo>
                  <a:lnTo>
                    <a:pt x="70" y="24"/>
                  </a:lnTo>
                  <a:lnTo>
                    <a:pt x="60" y="32"/>
                  </a:lnTo>
                  <a:lnTo>
                    <a:pt x="48" y="38"/>
                  </a:lnTo>
                  <a:lnTo>
                    <a:pt x="36" y="40"/>
                  </a:lnTo>
                  <a:lnTo>
                    <a:pt x="22" y="38"/>
                  </a:lnTo>
                  <a:lnTo>
                    <a:pt x="10" y="32"/>
                  </a:lnTo>
                  <a:lnTo>
                    <a:pt x="0" y="24"/>
                  </a:lnTo>
                  <a:lnTo>
                    <a:pt x="0" y="24"/>
                  </a:lnTo>
                  <a:lnTo>
                    <a:pt x="10" y="24"/>
                  </a:lnTo>
                  <a:lnTo>
                    <a:pt x="20" y="22"/>
                  </a:lnTo>
                  <a:lnTo>
                    <a:pt x="38" y="14"/>
                  </a:lnTo>
                  <a:lnTo>
                    <a:pt x="58" y="6"/>
                  </a:lnTo>
                  <a:lnTo>
                    <a:pt x="70" y="2"/>
                  </a:lnTo>
                  <a:lnTo>
                    <a:pt x="84" y="0"/>
                  </a:lnTo>
                  <a:lnTo>
                    <a:pt x="8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5" name="Freeform 15"/>
            <p:cNvSpPr>
              <a:spLocks/>
            </p:cNvSpPr>
            <p:nvPr/>
          </p:nvSpPr>
          <p:spPr bwMode="auto">
            <a:xfrm>
              <a:off x="3556443" y="1527186"/>
              <a:ext cx="111535" cy="43938"/>
            </a:xfrm>
            <a:custGeom>
              <a:avLst/>
              <a:gdLst>
                <a:gd name="T0" fmla="*/ 66 w 66"/>
                <a:gd name="T1" fmla="*/ 4 h 26"/>
                <a:gd name="T2" fmla="*/ 66 w 66"/>
                <a:gd name="T3" fmla="*/ 4 h 26"/>
                <a:gd name="T4" fmla="*/ 62 w 66"/>
                <a:gd name="T5" fmla="*/ 10 h 26"/>
                <a:gd name="T6" fmla="*/ 54 w 66"/>
                <a:gd name="T7" fmla="*/ 14 h 26"/>
                <a:gd name="T8" fmla="*/ 46 w 66"/>
                <a:gd name="T9" fmla="*/ 16 h 26"/>
                <a:gd name="T10" fmla="*/ 36 w 66"/>
                <a:gd name="T11" fmla="*/ 18 h 26"/>
                <a:gd name="T12" fmla="*/ 18 w 66"/>
                <a:gd name="T13" fmla="*/ 20 h 26"/>
                <a:gd name="T14" fmla="*/ 8 w 66"/>
                <a:gd name="T15" fmla="*/ 22 h 26"/>
                <a:gd name="T16" fmla="*/ 2 w 66"/>
                <a:gd name="T17" fmla="*/ 26 h 26"/>
                <a:gd name="T18" fmla="*/ 2 w 66"/>
                <a:gd name="T19" fmla="*/ 26 h 26"/>
                <a:gd name="T20" fmla="*/ 0 w 66"/>
                <a:gd name="T21" fmla="*/ 22 h 26"/>
                <a:gd name="T22" fmla="*/ 0 w 66"/>
                <a:gd name="T23" fmla="*/ 20 h 26"/>
                <a:gd name="T24" fmla="*/ 4 w 66"/>
                <a:gd name="T25" fmla="*/ 12 h 26"/>
                <a:gd name="T26" fmla="*/ 12 w 66"/>
                <a:gd name="T27" fmla="*/ 6 h 26"/>
                <a:gd name="T28" fmla="*/ 22 w 66"/>
                <a:gd name="T29" fmla="*/ 2 h 26"/>
                <a:gd name="T30" fmla="*/ 34 w 66"/>
                <a:gd name="T31" fmla="*/ 0 h 26"/>
                <a:gd name="T32" fmla="*/ 46 w 66"/>
                <a:gd name="T33" fmla="*/ 0 h 26"/>
                <a:gd name="T34" fmla="*/ 56 w 66"/>
                <a:gd name="T35" fmla="*/ 0 h 26"/>
                <a:gd name="T36" fmla="*/ 66 w 66"/>
                <a:gd name="T37" fmla="*/ 4 h 26"/>
                <a:gd name="T38" fmla="*/ 66 w 66"/>
                <a:gd name="T3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26">
                  <a:moveTo>
                    <a:pt x="66" y="4"/>
                  </a:moveTo>
                  <a:lnTo>
                    <a:pt x="66" y="4"/>
                  </a:lnTo>
                  <a:lnTo>
                    <a:pt x="62" y="10"/>
                  </a:lnTo>
                  <a:lnTo>
                    <a:pt x="54" y="14"/>
                  </a:lnTo>
                  <a:lnTo>
                    <a:pt x="46" y="16"/>
                  </a:lnTo>
                  <a:lnTo>
                    <a:pt x="36" y="18"/>
                  </a:lnTo>
                  <a:lnTo>
                    <a:pt x="18" y="20"/>
                  </a:lnTo>
                  <a:lnTo>
                    <a:pt x="8" y="22"/>
                  </a:lnTo>
                  <a:lnTo>
                    <a:pt x="2" y="26"/>
                  </a:lnTo>
                  <a:lnTo>
                    <a:pt x="2" y="26"/>
                  </a:lnTo>
                  <a:lnTo>
                    <a:pt x="0" y="22"/>
                  </a:lnTo>
                  <a:lnTo>
                    <a:pt x="0" y="20"/>
                  </a:lnTo>
                  <a:lnTo>
                    <a:pt x="4" y="12"/>
                  </a:lnTo>
                  <a:lnTo>
                    <a:pt x="12" y="6"/>
                  </a:lnTo>
                  <a:lnTo>
                    <a:pt x="22" y="2"/>
                  </a:lnTo>
                  <a:lnTo>
                    <a:pt x="34" y="0"/>
                  </a:lnTo>
                  <a:lnTo>
                    <a:pt x="46" y="0"/>
                  </a:lnTo>
                  <a:lnTo>
                    <a:pt x="56" y="0"/>
                  </a:lnTo>
                  <a:lnTo>
                    <a:pt x="66" y="4"/>
                  </a:lnTo>
                  <a:lnTo>
                    <a:pt x="66"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6" name="Freeform 16"/>
            <p:cNvSpPr>
              <a:spLocks/>
            </p:cNvSpPr>
            <p:nvPr/>
          </p:nvSpPr>
          <p:spPr bwMode="auto">
            <a:xfrm>
              <a:off x="3654458" y="1533945"/>
              <a:ext cx="510356" cy="351503"/>
            </a:xfrm>
            <a:custGeom>
              <a:avLst/>
              <a:gdLst>
                <a:gd name="T0" fmla="*/ 74 w 302"/>
                <a:gd name="T1" fmla="*/ 2 h 208"/>
                <a:gd name="T2" fmla="*/ 68 w 302"/>
                <a:gd name="T3" fmla="*/ 12 h 208"/>
                <a:gd name="T4" fmla="*/ 54 w 302"/>
                <a:gd name="T5" fmla="*/ 32 h 208"/>
                <a:gd name="T6" fmla="*/ 80 w 302"/>
                <a:gd name="T7" fmla="*/ 18 h 208"/>
                <a:gd name="T8" fmla="*/ 126 w 302"/>
                <a:gd name="T9" fmla="*/ 8 h 208"/>
                <a:gd name="T10" fmla="*/ 158 w 302"/>
                <a:gd name="T11" fmla="*/ 20 h 208"/>
                <a:gd name="T12" fmla="*/ 172 w 302"/>
                <a:gd name="T13" fmla="*/ 32 h 208"/>
                <a:gd name="T14" fmla="*/ 192 w 302"/>
                <a:gd name="T15" fmla="*/ 24 h 208"/>
                <a:gd name="T16" fmla="*/ 202 w 302"/>
                <a:gd name="T17" fmla="*/ 32 h 208"/>
                <a:gd name="T18" fmla="*/ 226 w 302"/>
                <a:gd name="T19" fmla="*/ 50 h 208"/>
                <a:gd name="T20" fmla="*/ 264 w 302"/>
                <a:gd name="T21" fmla="*/ 64 h 208"/>
                <a:gd name="T22" fmla="*/ 262 w 302"/>
                <a:gd name="T23" fmla="*/ 86 h 208"/>
                <a:gd name="T24" fmla="*/ 278 w 302"/>
                <a:gd name="T25" fmla="*/ 106 h 208"/>
                <a:gd name="T26" fmla="*/ 302 w 302"/>
                <a:gd name="T27" fmla="*/ 120 h 208"/>
                <a:gd name="T28" fmla="*/ 284 w 302"/>
                <a:gd name="T29" fmla="*/ 148 h 208"/>
                <a:gd name="T30" fmla="*/ 266 w 302"/>
                <a:gd name="T31" fmla="*/ 142 h 208"/>
                <a:gd name="T32" fmla="*/ 238 w 302"/>
                <a:gd name="T33" fmla="*/ 132 h 208"/>
                <a:gd name="T34" fmla="*/ 222 w 302"/>
                <a:gd name="T35" fmla="*/ 140 h 208"/>
                <a:gd name="T36" fmla="*/ 236 w 302"/>
                <a:gd name="T37" fmla="*/ 172 h 208"/>
                <a:gd name="T38" fmla="*/ 228 w 302"/>
                <a:gd name="T39" fmla="*/ 190 h 208"/>
                <a:gd name="T40" fmla="*/ 200 w 302"/>
                <a:gd name="T41" fmla="*/ 178 h 208"/>
                <a:gd name="T42" fmla="*/ 180 w 302"/>
                <a:gd name="T43" fmla="*/ 182 h 208"/>
                <a:gd name="T44" fmla="*/ 192 w 302"/>
                <a:gd name="T45" fmla="*/ 192 h 208"/>
                <a:gd name="T46" fmla="*/ 208 w 302"/>
                <a:gd name="T47" fmla="*/ 200 h 208"/>
                <a:gd name="T48" fmla="*/ 190 w 302"/>
                <a:gd name="T49" fmla="*/ 208 h 208"/>
                <a:gd name="T50" fmla="*/ 158 w 302"/>
                <a:gd name="T51" fmla="*/ 198 h 208"/>
                <a:gd name="T52" fmla="*/ 130 w 302"/>
                <a:gd name="T53" fmla="*/ 168 h 208"/>
                <a:gd name="T54" fmla="*/ 114 w 302"/>
                <a:gd name="T55" fmla="*/ 158 h 208"/>
                <a:gd name="T56" fmla="*/ 74 w 302"/>
                <a:gd name="T57" fmla="*/ 166 h 208"/>
                <a:gd name="T58" fmla="*/ 60 w 302"/>
                <a:gd name="T59" fmla="*/ 162 h 208"/>
                <a:gd name="T60" fmla="*/ 84 w 302"/>
                <a:gd name="T61" fmla="*/ 152 h 208"/>
                <a:gd name="T62" fmla="*/ 126 w 302"/>
                <a:gd name="T63" fmla="*/ 148 h 208"/>
                <a:gd name="T64" fmla="*/ 150 w 302"/>
                <a:gd name="T65" fmla="*/ 136 h 208"/>
                <a:gd name="T66" fmla="*/ 158 w 302"/>
                <a:gd name="T67" fmla="*/ 126 h 208"/>
                <a:gd name="T68" fmla="*/ 196 w 302"/>
                <a:gd name="T69" fmla="*/ 132 h 208"/>
                <a:gd name="T70" fmla="*/ 208 w 302"/>
                <a:gd name="T71" fmla="*/ 126 h 208"/>
                <a:gd name="T72" fmla="*/ 172 w 302"/>
                <a:gd name="T73" fmla="*/ 88 h 208"/>
                <a:gd name="T74" fmla="*/ 134 w 302"/>
                <a:gd name="T75" fmla="*/ 50 h 208"/>
                <a:gd name="T76" fmla="*/ 104 w 302"/>
                <a:gd name="T77" fmla="*/ 60 h 208"/>
                <a:gd name="T78" fmla="*/ 32 w 302"/>
                <a:gd name="T79" fmla="*/ 56 h 208"/>
                <a:gd name="T80" fmla="*/ 4 w 302"/>
                <a:gd name="T81" fmla="*/ 40 h 208"/>
                <a:gd name="T82" fmla="*/ 26 w 302"/>
                <a:gd name="T83" fmla="*/ 16 h 208"/>
                <a:gd name="T84" fmla="*/ 68 w 302"/>
                <a:gd name="T8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208">
                  <a:moveTo>
                    <a:pt x="68" y="0"/>
                  </a:moveTo>
                  <a:lnTo>
                    <a:pt x="68" y="0"/>
                  </a:lnTo>
                  <a:lnTo>
                    <a:pt x="74" y="2"/>
                  </a:lnTo>
                  <a:lnTo>
                    <a:pt x="76" y="4"/>
                  </a:lnTo>
                  <a:lnTo>
                    <a:pt x="74" y="8"/>
                  </a:lnTo>
                  <a:lnTo>
                    <a:pt x="68" y="12"/>
                  </a:lnTo>
                  <a:lnTo>
                    <a:pt x="58" y="20"/>
                  </a:lnTo>
                  <a:lnTo>
                    <a:pt x="56" y="26"/>
                  </a:lnTo>
                  <a:lnTo>
                    <a:pt x="54" y="32"/>
                  </a:lnTo>
                  <a:lnTo>
                    <a:pt x="54" y="32"/>
                  </a:lnTo>
                  <a:lnTo>
                    <a:pt x="66" y="26"/>
                  </a:lnTo>
                  <a:lnTo>
                    <a:pt x="80" y="18"/>
                  </a:lnTo>
                  <a:lnTo>
                    <a:pt x="94" y="14"/>
                  </a:lnTo>
                  <a:lnTo>
                    <a:pt x="110" y="10"/>
                  </a:lnTo>
                  <a:lnTo>
                    <a:pt x="126" y="8"/>
                  </a:lnTo>
                  <a:lnTo>
                    <a:pt x="142" y="12"/>
                  </a:lnTo>
                  <a:lnTo>
                    <a:pt x="150" y="16"/>
                  </a:lnTo>
                  <a:lnTo>
                    <a:pt x="158" y="20"/>
                  </a:lnTo>
                  <a:lnTo>
                    <a:pt x="164" y="24"/>
                  </a:lnTo>
                  <a:lnTo>
                    <a:pt x="172" y="32"/>
                  </a:lnTo>
                  <a:lnTo>
                    <a:pt x="172" y="32"/>
                  </a:lnTo>
                  <a:lnTo>
                    <a:pt x="180" y="30"/>
                  </a:lnTo>
                  <a:lnTo>
                    <a:pt x="186" y="28"/>
                  </a:lnTo>
                  <a:lnTo>
                    <a:pt x="192" y="24"/>
                  </a:lnTo>
                  <a:lnTo>
                    <a:pt x="200" y="22"/>
                  </a:lnTo>
                  <a:lnTo>
                    <a:pt x="200" y="22"/>
                  </a:lnTo>
                  <a:lnTo>
                    <a:pt x="202" y="32"/>
                  </a:lnTo>
                  <a:lnTo>
                    <a:pt x="208" y="40"/>
                  </a:lnTo>
                  <a:lnTo>
                    <a:pt x="216" y="46"/>
                  </a:lnTo>
                  <a:lnTo>
                    <a:pt x="226" y="50"/>
                  </a:lnTo>
                  <a:lnTo>
                    <a:pt x="246" y="56"/>
                  </a:lnTo>
                  <a:lnTo>
                    <a:pt x="256" y="60"/>
                  </a:lnTo>
                  <a:lnTo>
                    <a:pt x="264" y="64"/>
                  </a:lnTo>
                  <a:lnTo>
                    <a:pt x="264" y="64"/>
                  </a:lnTo>
                  <a:lnTo>
                    <a:pt x="260" y="76"/>
                  </a:lnTo>
                  <a:lnTo>
                    <a:pt x="262" y="86"/>
                  </a:lnTo>
                  <a:lnTo>
                    <a:pt x="264" y="94"/>
                  </a:lnTo>
                  <a:lnTo>
                    <a:pt x="270" y="100"/>
                  </a:lnTo>
                  <a:lnTo>
                    <a:pt x="278" y="106"/>
                  </a:lnTo>
                  <a:lnTo>
                    <a:pt x="286" y="112"/>
                  </a:lnTo>
                  <a:lnTo>
                    <a:pt x="302" y="120"/>
                  </a:lnTo>
                  <a:lnTo>
                    <a:pt x="302" y="120"/>
                  </a:lnTo>
                  <a:lnTo>
                    <a:pt x="300" y="130"/>
                  </a:lnTo>
                  <a:lnTo>
                    <a:pt x="294" y="136"/>
                  </a:lnTo>
                  <a:lnTo>
                    <a:pt x="284" y="148"/>
                  </a:lnTo>
                  <a:lnTo>
                    <a:pt x="284" y="148"/>
                  </a:lnTo>
                  <a:lnTo>
                    <a:pt x="274" y="146"/>
                  </a:lnTo>
                  <a:lnTo>
                    <a:pt x="266" y="142"/>
                  </a:lnTo>
                  <a:lnTo>
                    <a:pt x="252" y="136"/>
                  </a:lnTo>
                  <a:lnTo>
                    <a:pt x="244" y="132"/>
                  </a:lnTo>
                  <a:lnTo>
                    <a:pt x="238" y="132"/>
                  </a:lnTo>
                  <a:lnTo>
                    <a:pt x="230" y="134"/>
                  </a:lnTo>
                  <a:lnTo>
                    <a:pt x="222" y="140"/>
                  </a:lnTo>
                  <a:lnTo>
                    <a:pt x="222" y="140"/>
                  </a:lnTo>
                  <a:lnTo>
                    <a:pt x="230" y="152"/>
                  </a:lnTo>
                  <a:lnTo>
                    <a:pt x="234" y="164"/>
                  </a:lnTo>
                  <a:lnTo>
                    <a:pt x="236" y="172"/>
                  </a:lnTo>
                  <a:lnTo>
                    <a:pt x="234" y="178"/>
                  </a:lnTo>
                  <a:lnTo>
                    <a:pt x="232" y="184"/>
                  </a:lnTo>
                  <a:lnTo>
                    <a:pt x="228" y="190"/>
                  </a:lnTo>
                  <a:lnTo>
                    <a:pt x="228" y="190"/>
                  </a:lnTo>
                  <a:lnTo>
                    <a:pt x="206" y="180"/>
                  </a:lnTo>
                  <a:lnTo>
                    <a:pt x="200" y="178"/>
                  </a:lnTo>
                  <a:lnTo>
                    <a:pt x="194" y="176"/>
                  </a:lnTo>
                  <a:lnTo>
                    <a:pt x="186" y="178"/>
                  </a:lnTo>
                  <a:lnTo>
                    <a:pt x="180" y="182"/>
                  </a:lnTo>
                  <a:lnTo>
                    <a:pt x="180" y="182"/>
                  </a:lnTo>
                  <a:lnTo>
                    <a:pt x="186" y="188"/>
                  </a:lnTo>
                  <a:lnTo>
                    <a:pt x="192" y="192"/>
                  </a:lnTo>
                  <a:lnTo>
                    <a:pt x="200" y="196"/>
                  </a:lnTo>
                  <a:lnTo>
                    <a:pt x="208" y="200"/>
                  </a:lnTo>
                  <a:lnTo>
                    <a:pt x="208" y="200"/>
                  </a:lnTo>
                  <a:lnTo>
                    <a:pt x="202" y="204"/>
                  </a:lnTo>
                  <a:lnTo>
                    <a:pt x="196" y="206"/>
                  </a:lnTo>
                  <a:lnTo>
                    <a:pt x="190" y="208"/>
                  </a:lnTo>
                  <a:lnTo>
                    <a:pt x="184" y="208"/>
                  </a:lnTo>
                  <a:lnTo>
                    <a:pt x="170" y="204"/>
                  </a:lnTo>
                  <a:lnTo>
                    <a:pt x="158" y="198"/>
                  </a:lnTo>
                  <a:lnTo>
                    <a:pt x="148" y="190"/>
                  </a:lnTo>
                  <a:lnTo>
                    <a:pt x="138" y="180"/>
                  </a:lnTo>
                  <a:lnTo>
                    <a:pt x="130" y="168"/>
                  </a:lnTo>
                  <a:lnTo>
                    <a:pt x="124" y="158"/>
                  </a:lnTo>
                  <a:lnTo>
                    <a:pt x="124" y="158"/>
                  </a:lnTo>
                  <a:lnTo>
                    <a:pt x="114" y="158"/>
                  </a:lnTo>
                  <a:lnTo>
                    <a:pt x="106" y="158"/>
                  </a:lnTo>
                  <a:lnTo>
                    <a:pt x="90" y="162"/>
                  </a:lnTo>
                  <a:lnTo>
                    <a:pt x="74" y="166"/>
                  </a:lnTo>
                  <a:lnTo>
                    <a:pt x="68" y="166"/>
                  </a:lnTo>
                  <a:lnTo>
                    <a:pt x="60" y="162"/>
                  </a:lnTo>
                  <a:lnTo>
                    <a:pt x="60" y="162"/>
                  </a:lnTo>
                  <a:lnTo>
                    <a:pt x="64" y="158"/>
                  </a:lnTo>
                  <a:lnTo>
                    <a:pt x="70" y="156"/>
                  </a:lnTo>
                  <a:lnTo>
                    <a:pt x="84" y="152"/>
                  </a:lnTo>
                  <a:lnTo>
                    <a:pt x="98" y="150"/>
                  </a:lnTo>
                  <a:lnTo>
                    <a:pt x="112" y="148"/>
                  </a:lnTo>
                  <a:lnTo>
                    <a:pt x="126" y="148"/>
                  </a:lnTo>
                  <a:lnTo>
                    <a:pt x="138" y="144"/>
                  </a:lnTo>
                  <a:lnTo>
                    <a:pt x="144" y="140"/>
                  </a:lnTo>
                  <a:lnTo>
                    <a:pt x="150" y="136"/>
                  </a:lnTo>
                  <a:lnTo>
                    <a:pt x="154" y="132"/>
                  </a:lnTo>
                  <a:lnTo>
                    <a:pt x="158" y="126"/>
                  </a:lnTo>
                  <a:lnTo>
                    <a:pt x="158" y="126"/>
                  </a:lnTo>
                  <a:lnTo>
                    <a:pt x="170" y="130"/>
                  </a:lnTo>
                  <a:lnTo>
                    <a:pt x="184" y="132"/>
                  </a:lnTo>
                  <a:lnTo>
                    <a:pt x="196" y="132"/>
                  </a:lnTo>
                  <a:lnTo>
                    <a:pt x="202" y="128"/>
                  </a:lnTo>
                  <a:lnTo>
                    <a:pt x="208" y="126"/>
                  </a:lnTo>
                  <a:lnTo>
                    <a:pt x="208" y="126"/>
                  </a:lnTo>
                  <a:lnTo>
                    <a:pt x="198" y="118"/>
                  </a:lnTo>
                  <a:lnTo>
                    <a:pt x="188" y="108"/>
                  </a:lnTo>
                  <a:lnTo>
                    <a:pt x="172" y="88"/>
                  </a:lnTo>
                  <a:lnTo>
                    <a:pt x="156" y="66"/>
                  </a:lnTo>
                  <a:lnTo>
                    <a:pt x="146" y="58"/>
                  </a:lnTo>
                  <a:lnTo>
                    <a:pt x="134" y="50"/>
                  </a:lnTo>
                  <a:lnTo>
                    <a:pt x="134" y="50"/>
                  </a:lnTo>
                  <a:lnTo>
                    <a:pt x="120" y="56"/>
                  </a:lnTo>
                  <a:lnTo>
                    <a:pt x="104" y="60"/>
                  </a:lnTo>
                  <a:lnTo>
                    <a:pt x="86" y="62"/>
                  </a:lnTo>
                  <a:lnTo>
                    <a:pt x="68" y="60"/>
                  </a:lnTo>
                  <a:lnTo>
                    <a:pt x="32" y="56"/>
                  </a:lnTo>
                  <a:lnTo>
                    <a:pt x="0" y="50"/>
                  </a:lnTo>
                  <a:lnTo>
                    <a:pt x="0" y="50"/>
                  </a:lnTo>
                  <a:lnTo>
                    <a:pt x="4" y="40"/>
                  </a:lnTo>
                  <a:lnTo>
                    <a:pt x="10" y="30"/>
                  </a:lnTo>
                  <a:lnTo>
                    <a:pt x="16" y="22"/>
                  </a:lnTo>
                  <a:lnTo>
                    <a:pt x="26" y="16"/>
                  </a:lnTo>
                  <a:lnTo>
                    <a:pt x="34" y="10"/>
                  </a:lnTo>
                  <a:lnTo>
                    <a:pt x="46" y="6"/>
                  </a:lnTo>
                  <a:lnTo>
                    <a:pt x="68" y="0"/>
                  </a:lnTo>
                  <a:lnTo>
                    <a:pt x="6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7" name="Freeform 17"/>
            <p:cNvSpPr>
              <a:spLocks/>
            </p:cNvSpPr>
            <p:nvPr/>
          </p:nvSpPr>
          <p:spPr bwMode="auto">
            <a:xfrm>
              <a:off x="2961591" y="1547465"/>
              <a:ext cx="368401" cy="138573"/>
            </a:xfrm>
            <a:custGeom>
              <a:avLst/>
              <a:gdLst>
                <a:gd name="T0" fmla="*/ 152 w 218"/>
                <a:gd name="T1" fmla="*/ 0 h 82"/>
                <a:gd name="T2" fmla="*/ 158 w 218"/>
                <a:gd name="T3" fmla="*/ 6 h 82"/>
                <a:gd name="T4" fmla="*/ 160 w 218"/>
                <a:gd name="T5" fmla="*/ 18 h 82"/>
                <a:gd name="T6" fmla="*/ 162 w 218"/>
                <a:gd name="T7" fmla="*/ 24 h 82"/>
                <a:gd name="T8" fmla="*/ 170 w 218"/>
                <a:gd name="T9" fmla="*/ 22 h 82"/>
                <a:gd name="T10" fmla="*/ 182 w 218"/>
                <a:gd name="T11" fmla="*/ 10 h 82"/>
                <a:gd name="T12" fmla="*/ 192 w 218"/>
                <a:gd name="T13" fmla="*/ 2 h 82"/>
                <a:gd name="T14" fmla="*/ 208 w 218"/>
                <a:gd name="T15" fmla="*/ 0 h 82"/>
                <a:gd name="T16" fmla="*/ 206 w 218"/>
                <a:gd name="T17" fmla="*/ 10 h 82"/>
                <a:gd name="T18" fmla="*/ 198 w 218"/>
                <a:gd name="T19" fmla="*/ 28 h 82"/>
                <a:gd name="T20" fmla="*/ 190 w 218"/>
                <a:gd name="T21" fmla="*/ 34 h 82"/>
                <a:gd name="T22" fmla="*/ 194 w 218"/>
                <a:gd name="T23" fmla="*/ 40 h 82"/>
                <a:gd name="T24" fmla="*/ 210 w 218"/>
                <a:gd name="T25" fmla="*/ 48 h 82"/>
                <a:gd name="T26" fmla="*/ 218 w 218"/>
                <a:gd name="T27" fmla="*/ 52 h 82"/>
                <a:gd name="T28" fmla="*/ 200 w 218"/>
                <a:gd name="T29" fmla="*/ 64 h 82"/>
                <a:gd name="T30" fmla="*/ 178 w 218"/>
                <a:gd name="T31" fmla="*/ 72 h 82"/>
                <a:gd name="T32" fmla="*/ 154 w 218"/>
                <a:gd name="T33" fmla="*/ 72 h 82"/>
                <a:gd name="T34" fmla="*/ 130 w 218"/>
                <a:gd name="T35" fmla="*/ 66 h 82"/>
                <a:gd name="T36" fmla="*/ 114 w 218"/>
                <a:gd name="T37" fmla="*/ 74 h 82"/>
                <a:gd name="T38" fmla="*/ 82 w 218"/>
                <a:gd name="T39" fmla="*/ 82 h 82"/>
                <a:gd name="T40" fmla="*/ 46 w 218"/>
                <a:gd name="T41" fmla="*/ 80 h 82"/>
                <a:gd name="T42" fmla="*/ 14 w 218"/>
                <a:gd name="T43" fmla="*/ 68 h 82"/>
                <a:gd name="T44" fmla="*/ 0 w 218"/>
                <a:gd name="T45" fmla="*/ 62 h 82"/>
                <a:gd name="T46" fmla="*/ 12 w 218"/>
                <a:gd name="T47" fmla="*/ 56 h 82"/>
                <a:gd name="T48" fmla="*/ 50 w 218"/>
                <a:gd name="T49" fmla="*/ 56 h 82"/>
                <a:gd name="T50" fmla="*/ 64 w 218"/>
                <a:gd name="T51" fmla="*/ 52 h 82"/>
                <a:gd name="T52" fmla="*/ 62 w 218"/>
                <a:gd name="T53" fmla="*/ 46 h 82"/>
                <a:gd name="T54" fmla="*/ 52 w 218"/>
                <a:gd name="T55" fmla="*/ 42 h 82"/>
                <a:gd name="T56" fmla="*/ 28 w 218"/>
                <a:gd name="T57" fmla="*/ 42 h 82"/>
                <a:gd name="T58" fmla="*/ 14 w 218"/>
                <a:gd name="T59" fmla="*/ 42 h 82"/>
                <a:gd name="T60" fmla="*/ 10 w 218"/>
                <a:gd name="T61" fmla="*/ 40 h 82"/>
                <a:gd name="T62" fmla="*/ 30 w 218"/>
                <a:gd name="T63" fmla="*/ 36 h 82"/>
                <a:gd name="T64" fmla="*/ 36 w 218"/>
                <a:gd name="T65" fmla="*/ 34 h 82"/>
                <a:gd name="T66" fmla="*/ 34 w 218"/>
                <a:gd name="T67" fmla="*/ 28 h 82"/>
                <a:gd name="T68" fmla="*/ 22 w 218"/>
                <a:gd name="T69" fmla="*/ 24 h 82"/>
                <a:gd name="T70" fmla="*/ 14 w 218"/>
                <a:gd name="T71" fmla="*/ 24 h 82"/>
                <a:gd name="T72" fmla="*/ 28 w 218"/>
                <a:gd name="T73" fmla="*/ 12 h 82"/>
                <a:gd name="T74" fmla="*/ 44 w 218"/>
                <a:gd name="T75" fmla="*/ 4 h 82"/>
                <a:gd name="T76" fmla="*/ 84 w 218"/>
                <a:gd name="T77" fmla="*/ 6 h 82"/>
                <a:gd name="T78" fmla="*/ 124 w 218"/>
                <a:gd name="T79" fmla="*/ 10 h 82"/>
                <a:gd name="T80" fmla="*/ 146 w 218"/>
                <a:gd name="T81" fmla="*/ 4 h 82"/>
                <a:gd name="T82" fmla="*/ 152 w 218"/>
                <a:gd name="T8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8" h="82">
                  <a:moveTo>
                    <a:pt x="152" y="0"/>
                  </a:moveTo>
                  <a:lnTo>
                    <a:pt x="152" y="0"/>
                  </a:lnTo>
                  <a:lnTo>
                    <a:pt x="156" y="4"/>
                  </a:lnTo>
                  <a:lnTo>
                    <a:pt x="158" y="6"/>
                  </a:lnTo>
                  <a:lnTo>
                    <a:pt x="160" y="12"/>
                  </a:lnTo>
                  <a:lnTo>
                    <a:pt x="160" y="18"/>
                  </a:lnTo>
                  <a:lnTo>
                    <a:pt x="160" y="20"/>
                  </a:lnTo>
                  <a:lnTo>
                    <a:pt x="162" y="24"/>
                  </a:lnTo>
                  <a:lnTo>
                    <a:pt x="162" y="24"/>
                  </a:lnTo>
                  <a:lnTo>
                    <a:pt x="170" y="22"/>
                  </a:lnTo>
                  <a:lnTo>
                    <a:pt x="174" y="20"/>
                  </a:lnTo>
                  <a:lnTo>
                    <a:pt x="182" y="10"/>
                  </a:lnTo>
                  <a:lnTo>
                    <a:pt x="188" y="6"/>
                  </a:lnTo>
                  <a:lnTo>
                    <a:pt x="192" y="2"/>
                  </a:lnTo>
                  <a:lnTo>
                    <a:pt x="200" y="0"/>
                  </a:lnTo>
                  <a:lnTo>
                    <a:pt x="208" y="0"/>
                  </a:lnTo>
                  <a:lnTo>
                    <a:pt x="208" y="0"/>
                  </a:lnTo>
                  <a:lnTo>
                    <a:pt x="206" y="10"/>
                  </a:lnTo>
                  <a:lnTo>
                    <a:pt x="202" y="20"/>
                  </a:lnTo>
                  <a:lnTo>
                    <a:pt x="198" y="28"/>
                  </a:lnTo>
                  <a:lnTo>
                    <a:pt x="190" y="34"/>
                  </a:lnTo>
                  <a:lnTo>
                    <a:pt x="190" y="34"/>
                  </a:lnTo>
                  <a:lnTo>
                    <a:pt x="192" y="38"/>
                  </a:lnTo>
                  <a:lnTo>
                    <a:pt x="194" y="40"/>
                  </a:lnTo>
                  <a:lnTo>
                    <a:pt x="202" y="44"/>
                  </a:lnTo>
                  <a:lnTo>
                    <a:pt x="210" y="48"/>
                  </a:lnTo>
                  <a:lnTo>
                    <a:pt x="218" y="52"/>
                  </a:lnTo>
                  <a:lnTo>
                    <a:pt x="218" y="52"/>
                  </a:lnTo>
                  <a:lnTo>
                    <a:pt x="210" y="58"/>
                  </a:lnTo>
                  <a:lnTo>
                    <a:pt x="200" y="64"/>
                  </a:lnTo>
                  <a:lnTo>
                    <a:pt x="190" y="68"/>
                  </a:lnTo>
                  <a:lnTo>
                    <a:pt x="178" y="72"/>
                  </a:lnTo>
                  <a:lnTo>
                    <a:pt x="166" y="74"/>
                  </a:lnTo>
                  <a:lnTo>
                    <a:pt x="154" y="72"/>
                  </a:lnTo>
                  <a:lnTo>
                    <a:pt x="142" y="70"/>
                  </a:lnTo>
                  <a:lnTo>
                    <a:pt x="130" y="66"/>
                  </a:lnTo>
                  <a:lnTo>
                    <a:pt x="130" y="66"/>
                  </a:lnTo>
                  <a:lnTo>
                    <a:pt x="114" y="74"/>
                  </a:lnTo>
                  <a:lnTo>
                    <a:pt x="98" y="80"/>
                  </a:lnTo>
                  <a:lnTo>
                    <a:pt x="82" y="82"/>
                  </a:lnTo>
                  <a:lnTo>
                    <a:pt x="64" y="82"/>
                  </a:lnTo>
                  <a:lnTo>
                    <a:pt x="46" y="80"/>
                  </a:lnTo>
                  <a:lnTo>
                    <a:pt x="30" y="74"/>
                  </a:lnTo>
                  <a:lnTo>
                    <a:pt x="14" y="68"/>
                  </a:lnTo>
                  <a:lnTo>
                    <a:pt x="0" y="62"/>
                  </a:lnTo>
                  <a:lnTo>
                    <a:pt x="0" y="62"/>
                  </a:lnTo>
                  <a:lnTo>
                    <a:pt x="4" y="58"/>
                  </a:lnTo>
                  <a:lnTo>
                    <a:pt x="12" y="56"/>
                  </a:lnTo>
                  <a:lnTo>
                    <a:pt x="32" y="56"/>
                  </a:lnTo>
                  <a:lnTo>
                    <a:pt x="50" y="56"/>
                  </a:lnTo>
                  <a:lnTo>
                    <a:pt x="58" y="56"/>
                  </a:lnTo>
                  <a:lnTo>
                    <a:pt x="64" y="52"/>
                  </a:lnTo>
                  <a:lnTo>
                    <a:pt x="64" y="52"/>
                  </a:lnTo>
                  <a:lnTo>
                    <a:pt x="62" y="46"/>
                  </a:lnTo>
                  <a:lnTo>
                    <a:pt x="58" y="44"/>
                  </a:lnTo>
                  <a:lnTo>
                    <a:pt x="52" y="42"/>
                  </a:lnTo>
                  <a:lnTo>
                    <a:pt x="44" y="42"/>
                  </a:lnTo>
                  <a:lnTo>
                    <a:pt x="28" y="42"/>
                  </a:lnTo>
                  <a:lnTo>
                    <a:pt x="14" y="42"/>
                  </a:lnTo>
                  <a:lnTo>
                    <a:pt x="14" y="42"/>
                  </a:lnTo>
                  <a:lnTo>
                    <a:pt x="10" y="40"/>
                  </a:lnTo>
                  <a:lnTo>
                    <a:pt x="10" y="40"/>
                  </a:lnTo>
                  <a:lnTo>
                    <a:pt x="18" y="38"/>
                  </a:lnTo>
                  <a:lnTo>
                    <a:pt x="30" y="36"/>
                  </a:lnTo>
                  <a:lnTo>
                    <a:pt x="34" y="36"/>
                  </a:lnTo>
                  <a:lnTo>
                    <a:pt x="36" y="34"/>
                  </a:lnTo>
                  <a:lnTo>
                    <a:pt x="36" y="34"/>
                  </a:lnTo>
                  <a:lnTo>
                    <a:pt x="34" y="28"/>
                  </a:lnTo>
                  <a:lnTo>
                    <a:pt x="28" y="24"/>
                  </a:lnTo>
                  <a:lnTo>
                    <a:pt x="22" y="24"/>
                  </a:lnTo>
                  <a:lnTo>
                    <a:pt x="14" y="24"/>
                  </a:lnTo>
                  <a:lnTo>
                    <a:pt x="14" y="24"/>
                  </a:lnTo>
                  <a:lnTo>
                    <a:pt x="20" y="16"/>
                  </a:lnTo>
                  <a:lnTo>
                    <a:pt x="28" y="12"/>
                  </a:lnTo>
                  <a:lnTo>
                    <a:pt x="36" y="8"/>
                  </a:lnTo>
                  <a:lnTo>
                    <a:pt x="44" y="4"/>
                  </a:lnTo>
                  <a:lnTo>
                    <a:pt x="64" y="4"/>
                  </a:lnTo>
                  <a:lnTo>
                    <a:pt x="84" y="6"/>
                  </a:lnTo>
                  <a:lnTo>
                    <a:pt x="104" y="8"/>
                  </a:lnTo>
                  <a:lnTo>
                    <a:pt x="124" y="10"/>
                  </a:lnTo>
                  <a:lnTo>
                    <a:pt x="140" y="8"/>
                  </a:lnTo>
                  <a:lnTo>
                    <a:pt x="146" y="4"/>
                  </a:lnTo>
                  <a:lnTo>
                    <a:pt x="152" y="0"/>
                  </a:lnTo>
                  <a:lnTo>
                    <a:pt x="15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8" name="Freeform 19"/>
            <p:cNvSpPr>
              <a:spLocks/>
            </p:cNvSpPr>
            <p:nvPr/>
          </p:nvSpPr>
          <p:spPr bwMode="auto">
            <a:xfrm>
              <a:off x="3360413" y="1652240"/>
              <a:ext cx="81116" cy="33798"/>
            </a:xfrm>
            <a:custGeom>
              <a:avLst/>
              <a:gdLst>
                <a:gd name="T0" fmla="*/ 48 w 48"/>
                <a:gd name="T1" fmla="*/ 4 h 20"/>
                <a:gd name="T2" fmla="*/ 48 w 48"/>
                <a:gd name="T3" fmla="*/ 4 h 20"/>
                <a:gd name="T4" fmla="*/ 36 w 48"/>
                <a:gd name="T5" fmla="*/ 12 h 20"/>
                <a:gd name="T6" fmla="*/ 24 w 48"/>
                <a:gd name="T7" fmla="*/ 18 h 20"/>
                <a:gd name="T8" fmla="*/ 18 w 48"/>
                <a:gd name="T9" fmla="*/ 20 h 20"/>
                <a:gd name="T10" fmla="*/ 12 w 48"/>
                <a:gd name="T11" fmla="*/ 20 h 20"/>
                <a:gd name="T12" fmla="*/ 6 w 48"/>
                <a:gd name="T13" fmla="*/ 18 h 20"/>
                <a:gd name="T14" fmla="*/ 0 w 48"/>
                <a:gd name="T15" fmla="*/ 14 h 20"/>
                <a:gd name="T16" fmla="*/ 0 w 48"/>
                <a:gd name="T17" fmla="*/ 14 h 20"/>
                <a:gd name="T18" fmla="*/ 10 w 48"/>
                <a:gd name="T19" fmla="*/ 6 h 20"/>
                <a:gd name="T20" fmla="*/ 22 w 48"/>
                <a:gd name="T21" fmla="*/ 0 h 20"/>
                <a:gd name="T22" fmla="*/ 34 w 48"/>
                <a:gd name="T23" fmla="*/ 0 h 20"/>
                <a:gd name="T24" fmla="*/ 40 w 48"/>
                <a:gd name="T25" fmla="*/ 2 h 20"/>
                <a:gd name="T26" fmla="*/ 48 w 48"/>
                <a:gd name="T27" fmla="*/ 4 h 20"/>
                <a:gd name="T28" fmla="*/ 48 w 48"/>
                <a:gd name="T29"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0">
                  <a:moveTo>
                    <a:pt x="48" y="4"/>
                  </a:moveTo>
                  <a:lnTo>
                    <a:pt x="48" y="4"/>
                  </a:lnTo>
                  <a:lnTo>
                    <a:pt x="36" y="12"/>
                  </a:lnTo>
                  <a:lnTo>
                    <a:pt x="24" y="18"/>
                  </a:lnTo>
                  <a:lnTo>
                    <a:pt x="18" y="20"/>
                  </a:lnTo>
                  <a:lnTo>
                    <a:pt x="12" y="20"/>
                  </a:lnTo>
                  <a:lnTo>
                    <a:pt x="6" y="18"/>
                  </a:lnTo>
                  <a:lnTo>
                    <a:pt x="0" y="14"/>
                  </a:lnTo>
                  <a:lnTo>
                    <a:pt x="0" y="14"/>
                  </a:lnTo>
                  <a:lnTo>
                    <a:pt x="10" y="6"/>
                  </a:lnTo>
                  <a:lnTo>
                    <a:pt x="22" y="0"/>
                  </a:lnTo>
                  <a:lnTo>
                    <a:pt x="34" y="0"/>
                  </a:lnTo>
                  <a:lnTo>
                    <a:pt x="40" y="2"/>
                  </a:lnTo>
                  <a:lnTo>
                    <a:pt x="48" y="4"/>
                  </a:lnTo>
                  <a:lnTo>
                    <a:pt x="48"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89" name="Freeform 20"/>
            <p:cNvSpPr>
              <a:spLocks/>
            </p:cNvSpPr>
            <p:nvPr/>
          </p:nvSpPr>
          <p:spPr bwMode="auto">
            <a:xfrm>
              <a:off x="5141588" y="1767155"/>
              <a:ext cx="219690" cy="70977"/>
            </a:xfrm>
            <a:custGeom>
              <a:avLst/>
              <a:gdLst>
                <a:gd name="T0" fmla="*/ 130 w 130"/>
                <a:gd name="T1" fmla="*/ 10 h 42"/>
                <a:gd name="T2" fmla="*/ 130 w 130"/>
                <a:gd name="T3" fmla="*/ 10 h 42"/>
                <a:gd name="T4" fmla="*/ 116 w 130"/>
                <a:gd name="T5" fmla="*/ 24 h 42"/>
                <a:gd name="T6" fmla="*/ 102 w 130"/>
                <a:gd name="T7" fmla="*/ 32 h 42"/>
                <a:gd name="T8" fmla="*/ 84 w 130"/>
                <a:gd name="T9" fmla="*/ 38 h 42"/>
                <a:gd name="T10" fmla="*/ 68 w 130"/>
                <a:gd name="T11" fmla="*/ 40 h 42"/>
                <a:gd name="T12" fmla="*/ 48 w 130"/>
                <a:gd name="T13" fmla="*/ 42 h 42"/>
                <a:gd name="T14" fmla="*/ 32 w 130"/>
                <a:gd name="T15" fmla="*/ 40 h 42"/>
                <a:gd name="T16" fmla="*/ 14 w 130"/>
                <a:gd name="T17" fmla="*/ 38 h 42"/>
                <a:gd name="T18" fmla="*/ 0 w 130"/>
                <a:gd name="T19" fmla="*/ 34 h 42"/>
                <a:gd name="T20" fmla="*/ 0 w 130"/>
                <a:gd name="T21" fmla="*/ 34 h 42"/>
                <a:gd name="T22" fmla="*/ 4 w 130"/>
                <a:gd name="T23" fmla="*/ 26 h 42"/>
                <a:gd name="T24" fmla="*/ 10 w 130"/>
                <a:gd name="T25" fmla="*/ 20 h 42"/>
                <a:gd name="T26" fmla="*/ 16 w 130"/>
                <a:gd name="T27" fmla="*/ 16 h 42"/>
                <a:gd name="T28" fmla="*/ 24 w 130"/>
                <a:gd name="T29" fmla="*/ 10 h 42"/>
                <a:gd name="T30" fmla="*/ 40 w 130"/>
                <a:gd name="T31" fmla="*/ 4 h 42"/>
                <a:gd name="T32" fmla="*/ 60 w 130"/>
                <a:gd name="T33" fmla="*/ 0 h 42"/>
                <a:gd name="T34" fmla="*/ 80 w 130"/>
                <a:gd name="T35" fmla="*/ 0 h 42"/>
                <a:gd name="T36" fmla="*/ 98 w 130"/>
                <a:gd name="T37" fmla="*/ 0 h 42"/>
                <a:gd name="T38" fmla="*/ 116 w 130"/>
                <a:gd name="T39" fmla="*/ 4 h 42"/>
                <a:gd name="T40" fmla="*/ 130 w 130"/>
                <a:gd name="T41" fmla="*/ 10 h 42"/>
                <a:gd name="T42" fmla="*/ 130 w 130"/>
                <a:gd name="T43"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42">
                  <a:moveTo>
                    <a:pt x="130" y="10"/>
                  </a:moveTo>
                  <a:lnTo>
                    <a:pt x="130" y="10"/>
                  </a:lnTo>
                  <a:lnTo>
                    <a:pt x="116" y="24"/>
                  </a:lnTo>
                  <a:lnTo>
                    <a:pt x="102" y="32"/>
                  </a:lnTo>
                  <a:lnTo>
                    <a:pt x="84" y="38"/>
                  </a:lnTo>
                  <a:lnTo>
                    <a:pt x="68" y="40"/>
                  </a:lnTo>
                  <a:lnTo>
                    <a:pt x="48" y="42"/>
                  </a:lnTo>
                  <a:lnTo>
                    <a:pt x="32" y="40"/>
                  </a:lnTo>
                  <a:lnTo>
                    <a:pt x="14" y="38"/>
                  </a:lnTo>
                  <a:lnTo>
                    <a:pt x="0" y="34"/>
                  </a:lnTo>
                  <a:lnTo>
                    <a:pt x="0" y="34"/>
                  </a:lnTo>
                  <a:lnTo>
                    <a:pt x="4" y="26"/>
                  </a:lnTo>
                  <a:lnTo>
                    <a:pt x="10" y="20"/>
                  </a:lnTo>
                  <a:lnTo>
                    <a:pt x="16" y="16"/>
                  </a:lnTo>
                  <a:lnTo>
                    <a:pt x="24" y="10"/>
                  </a:lnTo>
                  <a:lnTo>
                    <a:pt x="40" y="4"/>
                  </a:lnTo>
                  <a:lnTo>
                    <a:pt x="60" y="0"/>
                  </a:lnTo>
                  <a:lnTo>
                    <a:pt x="80" y="0"/>
                  </a:lnTo>
                  <a:lnTo>
                    <a:pt x="98" y="0"/>
                  </a:lnTo>
                  <a:lnTo>
                    <a:pt x="116" y="4"/>
                  </a:lnTo>
                  <a:lnTo>
                    <a:pt x="130" y="10"/>
                  </a:lnTo>
                  <a:lnTo>
                    <a:pt x="130" y="1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0" name="Freeform 21"/>
            <p:cNvSpPr>
              <a:spLocks/>
            </p:cNvSpPr>
            <p:nvPr/>
          </p:nvSpPr>
          <p:spPr bwMode="auto">
            <a:xfrm>
              <a:off x="3539545" y="1790814"/>
              <a:ext cx="118294" cy="57457"/>
            </a:xfrm>
            <a:custGeom>
              <a:avLst/>
              <a:gdLst>
                <a:gd name="T0" fmla="*/ 68 w 70"/>
                <a:gd name="T1" fmla="*/ 34 h 34"/>
                <a:gd name="T2" fmla="*/ 68 w 70"/>
                <a:gd name="T3" fmla="*/ 34 h 34"/>
                <a:gd name="T4" fmla="*/ 60 w 70"/>
                <a:gd name="T5" fmla="*/ 28 h 34"/>
                <a:gd name="T6" fmla="*/ 52 w 70"/>
                <a:gd name="T7" fmla="*/ 26 h 34"/>
                <a:gd name="T8" fmla="*/ 44 w 70"/>
                <a:gd name="T9" fmla="*/ 24 h 34"/>
                <a:gd name="T10" fmla="*/ 38 w 70"/>
                <a:gd name="T11" fmla="*/ 22 h 34"/>
                <a:gd name="T12" fmla="*/ 20 w 70"/>
                <a:gd name="T13" fmla="*/ 24 h 34"/>
                <a:gd name="T14" fmla="*/ 2 w 70"/>
                <a:gd name="T15" fmla="*/ 30 h 34"/>
                <a:gd name="T16" fmla="*/ 2 w 70"/>
                <a:gd name="T17" fmla="*/ 30 h 34"/>
                <a:gd name="T18" fmla="*/ 0 w 70"/>
                <a:gd name="T19" fmla="*/ 22 h 34"/>
                <a:gd name="T20" fmla="*/ 2 w 70"/>
                <a:gd name="T21" fmla="*/ 16 h 34"/>
                <a:gd name="T22" fmla="*/ 4 w 70"/>
                <a:gd name="T23" fmla="*/ 12 h 34"/>
                <a:gd name="T24" fmla="*/ 8 w 70"/>
                <a:gd name="T25" fmla="*/ 8 h 34"/>
                <a:gd name="T26" fmla="*/ 14 w 70"/>
                <a:gd name="T27" fmla="*/ 4 h 34"/>
                <a:gd name="T28" fmla="*/ 22 w 70"/>
                <a:gd name="T29" fmla="*/ 2 h 34"/>
                <a:gd name="T30" fmla="*/ 36 w 70"/>
                <a:gd name="T31" fmla="*/ 0 h 34"/>
                <a:gd name="T32" fmla="*/ 52 w 70"/>
                <a:gd name="T33" fmla="*/ 2 h 34"/>
                <a:gd name="T34" fmla="*/ 58 w 70"/>
                <a:gd name="T35" fmla="*/ 4 h 34"/>
                <a:gd name="T36" fmla="*/ 62 w 70"/>
                <a:gd name="T37" fmla="*/ 8 h 34"/>
                <a:gd name="T38" fmla="*/ 66 w 70"/>
                <a:gd name="T39" fmla="*/ 12 h 34"/>
                <a:gd name="T40" fmla="*/ 70 w 70"/>
                <a:gd name="T41" fmla="*/ 18 h 34"/>
                <a:gd name="T42" fmla="*/ 70 w 70"/>
                <a:gd name="T43" fmla="*/ 26 h 34"/>
                <a:gd name="T44" fmla="*/ 68 w 70"/>
                <a:gd name="T45" fmla="*/ 34 h 34"/>
                <a:gd name="T46" fmla="*/ 68 w 70"/>
                <a:gd name="T4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34">
                  <a:moveTo>
                    <a:pt x="68" y="34"/>
                  </a:moveTo>
                  <a:lnTo>
                    <a:pt x="68" y="34"/>
                  </a:lnTo>
                  <a:lnTo>
                    <a:pt x="60" y="28"/>
                  </a:lnTo>
                  <a:lnTo>
                    <a:pt x="52" y="26"/>
                  </a:lnTo>
                  <a:lnTo>
                    <a:pt x="44" y="24"/>
                  </a:lnTo>
                  <a:lnTo>
                    <a:pt x="38" y="22"/>
                  </a:lnTo>
                  <a:lnTo>
                    <a:pt x="20" y="24"/>
                  </a:lnTo>
                  <a:lnTo>
                    <a:pt x="2" y="30"/>
                  </a:lnTo>
                  <a:lnTo>
                    <a:pt x="2" y="30"/>
                  </a:lnTo>
                  <a:lnTo>
                    <a:pt x="0" y="22"/>
                  </a:lnTo>
                  <a:lnTo>
                    <a:pt x="2" y="16"/>
                  </a:lnTo>
                  <a:lnTo>
                    <a:pt x="4" y="12"/>
                  </a:lnTo>
                  <a:lnTo>
                    <a:pt x="8" y="8"/>
                  </a:lnTo>
                  <a:lnTo>
                    <a:pt x="14" y="4"/>
                  </a:lnTo>
                  <a:lnTo>
                    <a:pt x="22" y="2"/>
                  </a:lnTo>
                  <a:lnTo>
                    <a:pt x="36" y="0"/>
                  </a:lnTo>
                  <a:lnTo>
                    <a:pt x="52" y="2"/>
                  </a:lnTo>
                  <a:lnTo>
                    <a:pt x="58" y="4"/>
                  </a:lnTo>
                  <a:lnTo>
                    <a:pt x="62" y="8"/>
                  </a:lnTo>
                  <a:lnTo>
                    <a:pt x="66" y="12"/>
                  </a:lnTo>
                  <a:lnTo>
                    <a:pt x="70" y="18"/>
                  </a:lnTo>
                  <a:lnTo>
                    <a:pt x="70" y="26"/>
                  </a:lnTo>
                  <a:lnTo>
                    <a:pt x="68" y="34"/>
                  </a:lnTo>
                  <a:lnTo>
                    <a:pt x="68" y="3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1" name="Freeform 22"/>
            <p:cNvSpPr>
              <a:spLocks/>
            </p:cNvSpPr>
            <p:nvPr/>
          </p:nvSpPr>
          <p:spPr bwMode="auto">
            <a:xfrm>
              <a:off x="1535302" y="2020643"/>
              <a:ext cx="77736" cy="30419"/>
            </a:xfrm>
            <a:custGeom>
              <a:avLst/>
              <a:gdLst>
                <a:gd name="T0" fmla="*/ 46 w 46"/>
                <a:gd name="T1" fmla="*/ 0 h 18"/>
                <a:gd name="T2" fmla="*/ 46 w 46"/>
                <a:gd name="T3" fmla="*/ 0 h 18"/>
                <a:gd name="T4" fmla="*/ 42 w 46"/>
                <a:gd name="T5" fmla="*/ 4 h 18"/>
                <a:gd name="T6" fmla="*/ 38 w 46"/>
                <a:gd name="T7" fmla="*/ 8 h 18"/>
                <a:gd name="T8" fmla="*/ 26 w 46"/>
                <a:gd name="T9" fmla="*/ 12 h 18"/>
                <a:gd name="T10" fmla="*/ 12 w 46"/>
                <a:gd name="T11" fmla="*/ 14 h 18"/>
                <a:gd name="T12" fmla="*/ 0 w 46"/>
                <a:gd name="T13" fmla="*/ 18 h 18"/>
                <a:gd name="T14" fmla="*/ 0 w 46"/>
                <a:gd name="T15" fmla="*/ 18 h 18"/>
                <a:gd name="T16" fmla="*/ 4 w 46"/>
                <a:gd name="T17" fmla="*/ 14 h 18"/>
                <a:gd name="T18" fmla="*/ 8 w 46"/>
                <a:gd name="T19" fmla="*/ 10 h 18"/>
                <a:gd name="T20" fmla="*/ 20 w 46"/>
                <a:gd name="T21" fmla="*/ 6 h 18"/>
                <a:gd name="T22" fmla="*/ 34 w 46"/>
                <a:gd name="T23" fmla="*/ 4 h 18"/>
                <a:gd name="T24" fmla="*/ 46 w 46"/>
                <a:gd name="T25" fmla="*/ 0 h 18"/>
                <a:gd name="T26" fmla="*/ 46 w 46"/>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18">
                  <a:moveTo>
                    <a:pt x="46" y="0"/>
                  </a:moveTo>
                  <a:lnTo>
                    <a:pt x="46" y="0"/>
                  </a:lnTo>
                  <a:lnTo>
                    <a:pt x="42" y="4"/>
                  </a:lnTo>
                  <a:lnTo>
                    <a:pt x="38" y="8"/>
                  </a:lnTo>
                  <a:lnTo>
                    <a:pt x="26" y="12"/>
                  </a:lnTo>
                  <a:lnTo>
                    <a:pt x="12" y="14"/>
                  </a:lnTo>
                  <a:lnTo>
                    <a:pt x="0" y="18"/>
                  </a:lnTo>
                  <a:lnTo>
                    <a:pt x="0" y="18"/>
                  </a:lnTo>
                  <a:lnTo>
                    <a:pt x="4" y="14"/>
                  </a:lnTo>
                  <a:lnTo>
                    <a:pt x="8" y="10"/>
                  </a:lnTo>
                  <a:lnTo>
                    <a:pt x="20" y="6"/>
                  </a:lnTo>
                  <a:lnTo>
                    <a:pt x="34" y="4"/>
                  </a:lnTo>
                  <a:lnTo>
                    <a:pt x="46" y="0"/>
                  </a:lnTo>
                  <a:lnTo>
                    <a:pt x="4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2" name="Freeform 23"/>
            <p:cNvSpPr>
              <a:spLocks/>
            </p:cNvSpPr>
            <p:nvPr/>
          </p:nvSpPr>
          <p:spPr bwMode="auto">
            <a:xfrm>
              <a:off x="5526891" y="2020643"/>
              <a:ext cx="196031" cy="260247"/>
            </a:xfrm>
            <a:custGeom>
              <a:avLst/>
              <a:gdLst>
                <a:gd name="T0" fmla="*/ 28 w 116"/>
                <a:gd name="T1" fmla="*/ 0 h 154"/>
                <a:gd name="T2" fmla="*/ 34 w 116"/>
                <a:gd name="T3" fmla="*/ 4 h 154"/>
                <a:gd name="T4" fmla="*/ 38 w 116"/>
                <a:gd name="T5" fmla="*/ 12 h 154"/>
                <a:gd name="T6" fmla="*/ 46 w 116"/>
                <a:gd name="T7" fmla="*/ 16 h 154"/>
                <a:gd name="T8" fmla="*/ 56 w 116"/>
                <a:gd name="T9" fmla="*/ 14 h 154"/>
                <a:gd name="T10" fmla="*/ 38 w 116"/>
                <a:gd name="T11" fmla="*/ 32 h 154"/>
                <a:gd name="T12" fmla="*/ 48 w 116"/>
                <a:gd name="T13" fmla="*/ 38 h 154"/>
                <a:gd name="T14" fmla="*/ 64 w 116"/>
                <a:gd name="T15" fmla="*/ 54 h 154"/>
                <a:gd name="T16" fmla="*/ 84 w 116"/>
                <a:gd name="T17" fmla="*/ 84 h 154"/>
                <a:gd name="T18" fmla="*/ 94 w 116"/>
                <a:gd name="T19" fmla="*/ 108 h 154"/>
                <a:gd name="T20" fmla="*/ 104 w 116"/>
                <a:gd name="T21" fmla="*/ 102 h 154"/>
                <a:gd name="T22" fmla="*/ 116 w 116"/>
                <a:gd name="T23" fmla="*/ 108 h 154"/>
                <a:gd name="T24" fmla="*/ 114 w 116"/>
                <a:gd name="T25" fmla="*/ 112 h 154"/>
                <a:gd name="T26" fmla="*/ 100 w 116"/>
                <a:gd name="T27" fmla="*/ 122 h 154"/>
                <a:gd name="T28" fmla="*/ 94 w 116"/>
                <a:gd name="T29" fmla="*/ 128 h 154"/>
                <a:gd name="T30" fmla="*/ 102 w 116"/>
                <a:gd name="T31" fmla="*/ 136 h 154"/>
                <a:gd name="T32" fmla="*/ 78 w 116"/>
                <a:gd name="T33" fmla="*/ 140 h 154"/>
                <a:gd name="T34" fmla="*/ 26 w 116"/>
                <a:gd name="T35" fmla="*/ 150 h 154"/>
                <a:gd name="T36" fmla="*/ 0 w 116"/>
                <a:gd name="T37" fmla="*/ 154 h 154"/>
                <a:gd name="T38" fmla="*/ 8 w 116"/>
                <a:gd name="T39" fmla="*/ 148 h 154"/>
                <a:gd name="T40" fmla="*/ 32 w 116"/>
                <a:gd name="T41" fmla="*/ 140 h 154"/>
                <a:gd name="T42" fmla="*/ 42 w 116"/>
                <a:gd name="T43" fmla="*/ 136 h 154"/>
                <a:gd name="T44" fmla="*/ 38 w 116"/>
                <a:gd name="T45" fmla="*/ 128 h 154"/>
                <a:gd name="T46" fmla="*/ 18 w 116"/>
                <a:gd name="T47" fmla="*/ 124 h 154"/>
                <a:gd name="T48" fmla="*/ 10 w 116"/>
                <a:gd name="T49" fmla="*/ 122 h 154"/>
                <a:gd name="T50" fmla="*/ 20 w 116"/>
                <a:gd name="T51" fmla="*/ 112 h 154"/>
                <a:gd name="T52" fmla="*/ 24 w 116"/>
                <a:gd name="T53" fmla="*/ 108 h 154"/>
                <a:gd name="T54" fmla="*/ 18 w 116"/>
                <a:gd name="T55" fmla="*/ 102 h 154"/>
                <a:gd name="T56" fmla="*/ 20 w 116"/>
                <a:gd name="T57" fmla="*/ 100 h 154"/>
                <a:gd name="T58" fmla="*/ 32 w 116"/>
                <a:gd name="T59" fmla="*/ 94 h 154"/>
                <a:gd name="T60" fmla="*/ 46 w 116"/>
                <a:gd name="T61" fmla="*/ 88 h 154"/>
                <a:gd name="T62" fmla="*/ 46 w 116"/>
                <a:gd name="T63" fmla="*/ 80 h 154"/>
                <a:gd name="T64" fmla="*/ 38 w 116"/>
                <a:gd name="T65" fmla="*/ 56 h 154"/>
                <a:gd name="T66" fmla="*/ 26 w 116"/>
                <a:gd name="T67" fmla="*/ 58 h 154"/>
                <a:gd name="T68" fmla="*/ 14 w 116"/>
                <a:gd name="T69" fmla="*/ 56 h 154"/>
                <a:gd name="T70" fmla="*/ 12 w 116"/>
                <a:gd name="T71" fmla="*/ 26 h 154"/>
                <a:gd name="T72" fmla="*/ 16 w 116"/>
                <a:gd name="T73" fmla="*/ 12 h 154"/>
                <a:gd name="T74" fmla="*/ 28 w 116"/>
                <a:gd name="T7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54">
                  <a:moveTo>
                    <a:pt x="28" y="0"/>
                  </a:moveTo>
                  <a:lnTo>
                    <a:pt x="28" y="0"/>
                  </a:lnTo>
                  <a:lnTo>
                    <a:pt x="32" y="2"/>
                  </a:lnTo>
                  <a:lnTo>
                    <a:pt x="34" y="4"/>
                  </a:lnTo>
                  <a:lnTo>
                    <a:pt x="36" y="10"/>
                  </a:lnTo>
                  <a:lnTo>
                    <a:pt x="38" y="12"/>
                  </a:lnTo>
                  <a:lnTo>
                    <a:pt x="42" y="14"/>
                  </a:lnTo>
                  <a:lnTo>
                    <a:pt x="46" y="16"/>
                  </a:lnTo>
                  <a:lnTo>
                    <a:pt x="56" y="14"/>
                  </a:lnTo>
                  <a:lnTo>
                    <a:pt x="56" y="14"/>
                  </a:lnTo>
                  <a:lnTo>
                    <a:pt x="48" y="26"/>
                  </a:lnTo>
                  <a:lnTo>
                    <a:pt x="38" y="32"/>
                  </a:lnTo>
                  <a:lnTo>
                    <a:pt x="38" y="32"/>
                  </a:lnTo>
                  <a:lnTo>
                    <a:pt x="48" y="38"/>
                  </a:lnTo>
                  <a:lnTo>
                    <a:pt x="56" y="46"/>
                  </a:lnTo>
                  <a:lnTo>
                    <a:pt x="64" y="54"/>
                  </a:lnTo>
                  <a:lnTo>
                    <a:pt x="72" y="64"/>
                  </a:lnTo>
                  <a:lnTo>
                    <a:pt x="84" y="84"/>
                  </a:lnTo>
                  <a:lnTo>
                    <a:pt x="94" y="108"/>
                  </a:lnTo>
                  <a:lnTo>
                    <a:pt x="94" y="108"/>
                  </a:lnTo>
                  <a:lnTo>
                    <a:pt x="98" y="104"/>
                  </a:lnTo>
                  <a:lnTo>
                    <a:pt x="104" y="102"/>
                  </a:lnTo>
                  <a:lnTo>
                    <a:pt x="112" y="104"/>
                  </a:lnTo>
                  <a:lnTo>
                    <a:pt x="116" y="108"/>
                  </a:lnTo>
                  <a:lnTo>
                    <a:pt x="116" y="108"/>
                  </a:lnTo>
                  <a:lnTo>
                    <a:pt x="114" y="112"/>
                  </a:lnTo>
                  <a:lnTo>
                    <a:pt x="110" y="116"/>
                  </a:lnTo>
                  <a:lnTo>
                    <a:pt x="100" y="122"/>
                  </a:lnTo>
                  <a:lnTo>
                    <a:pt x="96" y="126"/>
                  </a:lnTo>
                  <a:lnTo>
                    <a:pt x="94" y="128"/>
                  </a:lnTo>
                  <a:lnTo>
                    <a:pt x="96" y="132"/>
                  </a:lnTo>
                  <a:lnTo>
                    <a:pt x="102" y="136"/>
                  </a:lnTo>
                  <a:lnTo>
                    <a:pt x="102" y="136"/>
                  </a:lnTo>
                  <a:lnTo>
                    <a:pt x="78" y="140"/>
                  </a:lnTo>
                  <a:lnTo>
                    <a:pt x="52" y="144"/>
                  </a:lnTo>
                  <a:lnTo>
                    <a:pt x="26" y="150"/>
                  </a:lnTo>
                  <a:lnTo>
                    <a:pt x="0" y="154"/>
                  </a:lnTo>
                  <a:lnTo>
                    <a:pt x="0" y="154"/>
                  </a:lnTo>
                  <a:lnTo>
                    <a:pt x="4" y="150"/>
                  </a:lnTo>
                  <a:lnTo>
                    <a:pt x="8" y="148"/>
                  </a:lnTo>
                  <a:lnTo>
                    <a:pt x="20" y="144"/>
                  </a:lnTo>
                  <a:lnTo>
                    <a:pt x="32" y="140"/>
                  </a:lnTo>
                  <a:lnTo>
                    <a:pt x="42" y="136"/>
                  </a:lnTo>
                  <a:lnTo>
                    <a:pt x="42" y="136"/>
                  </a:lnTo>
                  <a:lnTo>
                    <a:pt x="40" y="132"/>
                  </a:lnTo>
                  <a:lnTo>
                    <a:pt x="38" y="128"/>
                  </a:lnTo>
                  <a:lnTo>
                    <a:pt x="28" y="126"/>
                  </a:lnTo>
                  <a:lnTo>
                    <a:pt x="18" y="124"/>
                  </a:lnTo>
                  <a:lnTo>
                    <a:pt x="10" y="122"/>
                  </a:lnTo>
                  <a:lnTo>
                    <a:pt x="10" y="122"/>
                  </a:lnTo>
                  <a:lnTo>
                    <a:pt x="14" y="118"/>
                  </a:lnTo>
                  <a:lnTo>
                    <a:pt x="20" y="112"/>
                  </a:lnTo>
                  <a:lnTo>
                    <a:pt x="22" y="110"/>
                  </a:lnTo>
                  <a:lnTo>
                    <a:pt x="24" y="108"/>
                  </a:lnTo>
                  <a:lnTo>
                    <a:pt x="22" y="106"/>
                  </a:lnTo>
                  <a:lnTo>
                    <a:pt x="18" y="102"/>
                  </a:lnTo>
                  <a:lnTo>
                    <a:pt x="18" y="102"/>
                  </a:lnTo>
                  <a:lnTo>
                    <a:pt x="20" y="100"/>
                  </a:lnTo>
                  <a:lnTo>
                    <a:pt x="24" y="98"/>
                  </a:lnTo>
                  <a:lnTo>
                    <a:pt x="32" y="94"/>
                  </a:lnTo>
                  <a:lnTo>
                    <a:pt x="40" y="92"/>
                  </a:lnTo>
                  <a:lnTo>
                    <a:pt x="46" y="88"/>
                  </a:lnTo>
                  <a:lnTo>
                    <a:pt x="46" y="88"/>
                  </a:lnTo>
                  <a:lnTo>
                    <a:pt x="46" y="80"/>
                  </a:lnTo>
                  <a:lnTo>
                    <a:pt x="44" y="70"/>
                  </a:lnTo>
                  <a:lnTo>
                    <a:pt x="38" y="56"/>
                  </a:lnTo>
                  <a:lnTo>
                    <a:pt x="38" y="56"/>
                  </a:lnTo>
                  <a:lnTo>
                    <a:pt x="26" y="58"/>
                  </a:lnTo>
                  <a:lnTo>
                    <a:pt x="14" y="56"/>
                  </a:lnTo>
                  <a:lnTo>
                    <a:pt x="14" y="56"/>
                  </a:lnTo>
                  <a:lnTo>
                    <a:pt x="14" y="42"/>
                  </a:lnTo>
                  <a:lnTo>
                    <a:pt x="12" y="26"/>
                  </a:lnTo>
                  <a:lnTo>
                    <a:pt x="14" y="20"/>
                  </a:lnTo>
                  <a:lnTo>
                    <a:pt x="16" y="12"/>
                  </a:lnTo>
                  <a:lnTo>
                    <a:pt x="20" y="6"/>
                  </a:lnTo>
                  <a:lnTo>
                    <a:pt x="28" y="0"/>
                  </a:lnTo>
                  <a:lnTo>
                    <a:pt x="2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3" name="Freeform 24"/>
            <p:cNvSpPr>
              <a:spLocks/>
            </p:cNvSpPr>
            <p:nvPr/>
          </p:nvSpPr>
          <p:spPr bwMode="auto">
            <a:xfrm>
              <a:off x="2052416" y="2084860"/>
              <a:ext cx="27039" cy="37178"/>
            </a:xfrm>
            <a:custGeom>
              <a:avLst/>
              <a:gdLst>
                <a:gd name="T0" fmla="*/ 16 w 16"/>
                <a:gd name="T1" fmla="*/ 0 h 22"/>
                <a:gd name="T2" fmla="*/ 16 w 16"/>
                <a:gd name="T3" fmla="*/ 0 h 22"/>
                <a:gd name="T4" fmla="*/ 16 w 16"/>
                <a:gd name="T5" fmla="*/ 8 h 22"/>
                <a:gd name="T6" fmla="*/ 14 w 16"/>
                <a:gd name="T7" fmla="*/ 12 h 22"/>
                <a:gd name="T8" fmla="*/ 12 w 16"/>
                <a:gd name="T9" fmla="*/ 16 h 22"/>
                <a:gd name="T10" fmla="*/ 10 w 16"/>
                <a:gd name="T11" fmla="*/ 22 h 22"/>
                <a:gd name="T12" fmla="*/ 10 w 16"/>
                <a:gd name="T13" fmla="*/ 22 h 22"/>
                <a:gd name="T14" fmla="*/ 6 w 16"/>
                <a:gd name="T15" fmla="*/ 20 h 22"/>
                <a:gd name="T16" fmla="*/ 2 w 16"/>
                <a:gd name="T17" fmla="*/ 18 h 22"/>
                <a:gd name="T18" fmla="*/ 0 w 16"/>
                <a:gd name="T19" fmla="*/ 14 h 22"/>
                <a:gd name="T20" fmla="*/ 0 w 16"/>
                <a:gd name="T21" fmla="*/ 10 h 22"/>
                <a:gd name="T22" fmla="*/ 0 w 16"/>
                <a:gd name="T23" fmla="*/ 6 h 22"/>
                <a:gd name="T24" fmla="*/ 4 w 16"/>
                <a:gd name="T25" fmla="*/ 2 h 22"/>
                <a:gd name="T26" fmla="*/ 8 w 16"/>
                <a:gd name="T27" fmla="*/ 0 h 22"/>
                <a:gd name="T28" fmla="*/ 16 w 16"/>
                <a:gd name="T29" fmla="*/ 0 h 22"/>
                <a:gd name="T30" fmla="*/ 16 w 16"/>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22">
                  <a:moveTo>
                    <a:pt x="16" y="0"/>
                  </a:moveTo>
                  <a:lnTo>
                    <a:pt x="16" y="0"/>
                  </a:lnTo>
                  <a:lnTo>
                    <a:pt x="16" y="8"/>
                  </a:lnTo>
                  <a:lnTo>
                    <a:pt x="14" y="12"/>
                  </a:lnTo>
                  <a:lnTo>
                    <a:pt x="12" y="16"/>
                  </a:lnTo>
                  <a:lnTo>
                    <a:pt x="10" y="22"/>
                  </a:lnTo>
                  <a:lnTo>
                    <a:pt x="10" y="22"/>
                  </a:lnTo>
                  <a:lnTo>
                    <a:pt x="6" y="20"/>
                  </a:lnTo>
                  <a:lnTo>
                    <a:pt x="2" y="18"/>
                  </a:lnTo>
                  <a:lnTo>
                    <a:pt x="0" y="14"/>
                  </a:lnTo>
                  <a:lnTo>
                    <a:pt x="0" y="10"/>
                  </a:lnTo>
                  <a:lnTo>
                    <a:pt x="0" y="6"/>
                  </a:lnTo>
                  <a:lnTo>
                    <a:pt x="4" y="2"/>
                  </a:lnTo>
                  <a:lnTo>
                    <a:pt x="8" y="0"/>
                  </a:lnTo>
                  <a:lnTo>
                    <a:pt x="16" y="0"/>
                  </a:lnTo>
                  <a:lnTo>
                    <a:pt x="1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4" name="Freeform 25"/>
            <p:cNvSpPr>
              <a:spLocks/>
            </p:cNvSpPr>
            <p:nvPr/>
          </p:nvSpPr>
          <p:spPr bwMode="auto">
            <a:xfrm>
              <a:off x="5405217" y="2115277"/>
              <a:ext cx="121674" cy="125054"/>
            </a:xfrm>
            <a:custGeom>
              <a:avLst/>
              <a:gdLst>
                <a:gd name="T0" fmla="*/ 72 w 72"/>
                <a:gd name="T1" fmla="*/ 4 h 74"/>
                <a:gd name="T2" fmla="*/ 72 w 72"/>
                <a:gd name="T3" fmla="*/ 4 h 74"/>
                <a:gd name="T4" fmla="*/ 68 w 72"/>
                <a:gd name="T5" fmla="*/ 16 h 74"/>
                <a:gd name="T6" fmla="*/ 62 w 72"/>
                <a:gd name="T7" fmla="*/ 26 h 74"/>
                <a:gd name="T8" fmla="*/ 58 w 72"/>
                <a:gd name="T9" fmla="*/ 40 h 74"/>
                <a:gd name="T10" fmla="*/ 56 w 72"/>
                <a:gd name="T11" fmla="*/ 46 h 74"/>
                <a:gd name="T12" fmla="*/ 58 w 72"/>
                <a:gd name="T13" fmla="*/ 56 h 74"/>
                <a:gd name="T14" fmla="*/ 58 w 72"/>
                <a:gd name="T15" fmla="*/ 56 h 74"/>
                <a:gd name="T16" fmla="*/ 42 w 72"/>
                <a:gd name="T17" fmla="*/ 60 h 74"/>
                <a:gd name="T18" fmla="*/ 28 w 72"/>
                <a:gd name="T19" fmla="*/ 64 h 74"/>
                <a:gd name="T20" fmla="*/ 16 w 72"/>
                <a:gd name="T21" fmla="*/ 70 h 74"/>
                <a:gd name="T22" fmla="*/ 2 w 72"/>
                <a:gd name="T23" fmla="*/ 74 h 74"/>
                <a:gd name="T24" fmla="*/ 2 w 72"/>
                <a:gd name="T25" fmla="*/ 74 h 74"/>
                <a:gd name="T26" fmla="*/ 0 w 72"/>
                <a:gd name="T27" fmla="*/ 66 h 74"/>
                <a:gd name="T28" fmla="*/ 0 w 72"/>
                <a:gd name="T29" fmla="*/ 58 h 74"/>
                <a:gd name="T30" fmla="*/ 2 w 72"/>
                <a:gd name="T31" fmla="*/ 52 h 74"/>
                <a:gd name="T32" fmla="*/ 4 w 72"/>
                <a:gd name="T33" fmla="*/ 46 h 74"/>
                <a:gd name="T34" fmla="*/ 8 w 72"/>
                <a:gd name="T35" fmla="*/ 40 h 74"/>
                <a:gd name="T36" fmla="*/ 8 w 72"/>
                <a:gd name="T37" fmla="*/ 32 h 74"/>
                <a:gd name="T38" fmla="*/ 8 w 72"/>
                <a:gd name="T39" fmla="*/ 26 h 74"/>
                <a:gd name="T40" fmla="*/ 2 w 72"/>
                <a:gd name="T41" fmla="*/ 18 h 74"/>
                <a:gd name="T42" fmla="*/ 2 w 72"/>
                <a:gd name="T43" fmla="*/ 18 h 74"/>
                <a:gd name="T44" fmla="*/ 10 w 72"/>
                <a:gd name="T45" fmla="*/ 16 h 74"/>
                <a:gd name="T46" fmla="*/ 20 w 72"/>
                <a:gd name="T47" fmla="*/ 14 h 74"/>
                <a:gd name="T48" fmla="*/ 36 w 72"/>
                <a:gd name="T49" fmla="*/ 4 h 74"/>
                <a:gd name="T50" fmla="*/ 44 w 72"/>
                <a:gd name="T51" fmla="*/ 0 h 74"/>
                <a:gd name="T52" fmla="*/ 52 w 72"/>
                <a:gd name="T53" fmla="*/ 0 h 74"/>
                <a:gd name="T54" fmla="*/ 62 w 72"/>
                <a:gd name="T55" fmla="*/ 0 h 74"/>
                <a:gd name="T56" fmla="*/ 72 w 72"/>
                <a:gd name="T57" fmla="*/ 4 h 74"/>
                <a:gd name="T58" fmla="*/ 72 w 72"/>
                <a:gd name="T59"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2" h="74">
                  <a:moveTo>
                    <a:pt x="72" y="4"/>
                  </a:moveTo>
                  <a:lnTo>
                    <a:pt x="72" y="4"/>
                  </a:lnTo>
                  <a:lnTo>
                    <a:pt x="68" y="16"/>
                  </a:lnTo>
                  <a:lnTo>
                    <a:pt x="62" y="26"/>
                  </a:lnTo>
                  <a:lnTo>
                    <a:pt x="58" y="40"/>
                  </a:lnTo>
                  <a:lnTo>
                    <a:pt x="56" y="46"/>
                  </a:lnTo>
                  <a:lnTo>
                    <a:pt x="58" y="56"/>
                  </a:lnTo>
                  <a:lnTo>
                    <a:pt x="58" y="56"/>
                  </a:lnTo>
                  <a:lnTo>
                    <a:pt x="42" y="60"/>
                  </a:lnTo>
                  <a:lnTo>
                    <a:pt x="28" y="64"/>
                  </a:lnTo>
                  <a:lnTo>
                    <a:pt x="16" y="70"/>
                  </a:lnTo>
                  <a:lnTo>
                    <a:pt x="2" y="74"/>
                  </a:lnTo>
                  <a:lnTo>
                    <a:pt x="2" y="74"/>
                  </a:lnTo>
                  <a:lnTo>
                    <a:pt x="0" y="66"/>
                  </a:lnTo>
                  <a:lnTo>
                    <a:pt x="0" y="58"/>
                  </a:lnTo>
                  <a:lnTo>
                    <a:pt x="2" y="52"/>
                  </a:lnTo>
                  <a:lnTo>
                    <a:pt x="4" y="46"/>
                  </a:lnTo>
                  <a:lnTo>
                    <a:pt x="8" y="40"/>
                  </a:lnTo>
                  <a:lnTo>
                    <a:pt x="8" y="32"/>
                  </a:lnTo>
                  <a:lnTo>
                    <a:pt x="8" y="26"/>
                  </a:lnTo>
                  <a:lnTo>
                    <a:pt x="2" y="18"/>
                  </a:lnTo>
                  <a:lnTo>
                    <a:pt x="2" y="18"/>
                  </a:lnTo>
                  <a:lnTo>
                    <a:pt x="10" y="16"/>
                  </a:lnTo>
                  <a:lnTo>
                    <a:pt x="20" y="14"/>
                  </a:lnTo>
                  <a:lnTo>
                    <a:pt x="36" y="4"/>
                  </a:lnTo>
                  <a:lnTo>
                    <a:pt x="44" y="0"/>
                  </a:lnTo>
                  <a:lnTo>
                    <a:pt x="52" y="0"/>
                  </a:lnTo>
                  <a:lnTo>
                    <a:pt x="62" y="0"/>
                  </a:lnTo>
                  <a:lnTo>
                    <a:pt x="72" y="4"/>
                  </a:lnTo>
                  <a:lnTo>
                    <a:pt x="72"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5" name="Freeform 26"/>
            <p:cNvSpPr>
              <a:spLocks/>
            </p:cNvSpPr>
            <p:nvPr/>
          </p:nvSpPr>
          <p:spPr bwMode="auto">
            <a:xfrm>
              <a:off x="9630015" y="2179494"/>
              <a:ext cx="202790" cy="236589"/>
            </a:xfrm>
            <a:custGeom>
              <a:avLst/>
              <a:gdLst>
                <a:gd name="T0" fmla="*/ 0 w 120"/>
                <a:gd name="T1" fmla="*/ 4 h 140"/>
                <a:gd name="T2" fmla="*/ 0 w 120"/>
                <a:gd name="T3" fmla="*/ 4 h 140"/>
                <a:gd name="T4" fmla="*/ 0 w 120"/>
                <a:gd name="T5" fmla="*/ 2 h 140"/>
                <a:gd name="T6" fmla="*/ 4 w 120"/>
                <a:gd name="T7" fmla="*/ 0 h 140"/>
                <a:gd name="T8" fmla="*/ 14 w 120"/>
                <a:gd name="T9" fmla="*/ 0 h 140"/>
                <a:gd name="T10" fmla="*/ 14 w 120"/>
                <a:gd name="T11" fmla="*/ 0 h 140"/>
                <a:gd name="T12" fmla="*/ 20 w 120"/>
                <a:gd name="T13" fmla="*/ 14 h 140"/>
                <a:gd name="T14" fmla="*/ 30 w 120"/>
                <a:gd name="T15" fmla="*/ 26 h 140"/>
                <a:gd name="T16" fmla="*/ 42 w 120"/>
                <a:gd name="T17" fmla="*/ 36 h 140"/>
                <a:gd name="T18" fmla="*/ 54 w 120"/>
                <a:gd name="T19" fmla="*/ 46 h 140"/>
                <a:gd name="T20" fmla="*/ 78 w 120"/>
                <a:gd name="T21" fmla="*/ 64 h 140"/>
                <a:gd name="T22" fmla="*/ 88 w 120"/>
                <a:gd name="T23" fmla="*/ 74 h 140"/>
                <a:gd name="T24" fmla="*/ 98 w 120"/>
                <a:gd name="T25" fmla="*/ 88 h 140"/>
                <a:gd name="T26" fmla="*/ 98 w 120"/>
                <a:gd name="T27" fmla="*/ 88 h 140"/>
                <a:gd name="T28" fmla="*/ 92 w 120"/>
                <a:gd name="T29" fmla="*/ 84 h 140"/>
                <a:gd name="T30" fmla="*/ 88 w 120"/>
                <a:gd name="T31" fmla="*/ 84 h 140"/>
                <a:gd name="T32" fmla="*/ 84 w 120"/>
                <a:gd name="T33" fmla="*/ 84 h 140"/>
                <a:gd name="T34" fmla="*/ 78 w 120"/>
                <a:gd name="T35" fmla="*/ 88 h 140"/>
                <a:gd name="T36" fmla="*/ 78 w 120"/>
                <a:gd name="T37" fmla="*/ 88 h 140"/>
                <a:gd name="T38" fmla="*/ 82 w 120"/>
                <a:gd name="T39" fmla="*/ 96 h 140"/>
                <a:gd name="T40" fmla="*/ 86 w 120"/>
                <a:gd name="T41" fmla="*/ 102 h 140"/>
                <a:gd name="T42" fmla="*/ 98 w 120"/>
                <a:gd name="T43" fmla="*/ 114 h 140"/>
                <a:gd name="T44" fmla="*/ 110 w 120"/>
                <a:gd name="T45" fmla="*/ 126 h 140"/>
                <a:gd name="T46" fmla="*/ 120 w 120"/>
                <a:gd name="T47" fmla="*/ 140 h 140"/>
                <a:gd name="T48" fmla="*/ 120 w 120"/>
                <a:gd name="T49" fmla="*/ 140 h 140"/>
                <a:gd name="T50" fmla="*/ 114 w 120"/>
                <a:gd name="T51" fmla="*/ 140 h 140"/>
                <a:gd name="T52" fmla="*/ 108 w 120"/>
                <a:gd name="T53" fmla="*/ 140 h 140"/>
                <a:gd name="T54" fmla="*/ 102 w 120"/>
                <a:gd name="T55" fmla="*/ 138 h 140"/>
                <a:gd name="T56" fmla="*/ 96 w 120"/>
                <a:gd name="T57" fmla="*/ 134 h 140"/>
                <a:gd name="T58" fmla="*/ 88 w 120"/>
                <a:gd name="T59" fmla="*/ 126 h 140"/>
                <a:gd name="T60" fmla="*/ 80 w 120"/>
                <a:gd name="T61" fmla="*/ 114 h 140"/>
                <a:gd name="T62" fmla="*/ 66 w 120"/>
                <a:gd name="T63" fmla="*/ 86 h 140"/>
                <a:gd name="T64" fmla="*/ 58 w 120"/>
                <a:gd name="T65" fmla="*/ 72 h 140"/>
                <a:gd name="T66" fmla="*/ 50 w 120"/>
                <a:gd name="T67" fmla="*/ 60 h 140"/>
                <a:gd name="T68" fmla="*/ 50 w 120"/>
                <a:gd name="T69" fmla="*/ 60 h 140"/>
                <a:gd name="T70" fmla="*/ 38 w 120"/>
                <a:gd name="T71" fmla="*/ 44 h 140"/>
                <a:gd name="T72" fmla="*/ 24 w 120"/>
                <a:gd name="T73" fmla="*/ 32 h 140"/>
                <a:gd name="T74" fmla="*/ 12 w 120"/>
                <a:gd name="T75" fmla="*/ 18 h 140"/>
                <a:gd name="T76" fmla="*/ 0 w 120"/>
                <a:gd name="T77" fmla="*/ 4 h 140"/>
                <a:gd name="T78" fmla="*/ 0 w 120"/>
                <a:gd name="T79" fmla="*/ 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140">
                  <a:moveTo>
                    <a:pt x="0" y="4"/>
                  </a:moveTo>
                  <a:lnTo>
                    <a:pt x="0" y="4"/>
                  </a:lnTo>
                  <a:lnTo>
                    <a:pt x="0" y="2"/>
                  </a:lnTo>
                  <a:lnTo>
                    <a:pt x="4" y="0"/>
                  </a:lnTo>
                  <a:lnTo>
                    <a:pt x="14" y="0"/>
                  </a:lnTo>
                  <a:lnTo>
                    <a:pt x="14" y="0"/>
                  </a:lnTo>
                  <a:lnTo>
                    <a:pt x="20" y="14"/>
                  </a:lnTo>
                  <a:lnTo>
                    <a:pt x="30" y="26"/>
                  </a:lnTo>
                  <a:lnTo>
                    <a:pt x="42" y="36"/>
                  </a:lnTo>
                  <a:lnTo>
                    <a:pt x="54" y="46"/>
                  </a:lnTo>
                  <a:lnTo>
                    <a:pt x="78" y="64"/>
                  </a:lnTo>
                  <a:lnTo>
                    <a:pt x="88" y="74"/>
                  </a:lnTo>
                  <a:lnTo>
                    <a:pt x="98" y="88"/>
                  </a:lnTo>
                  <a:lnTo>
                    <a:pt x="98" y="88"/>
                  </a:lnTo>
                  <a:lnTo>
                    <a:pt x="92" y="84"/>
                  </a:lnTo>
                  <a:lnTo>
                    <a:pt x="88" y="84"/>
                  </a:lnTo>
                  <a:lnTo>
                    <a:pt x="84" y="84"/>
                  </a:lnTo>
                  <a:lnTo>
                    <a:pt x="78" y="88"/>
                  </a:lnTo>
                  <a:lnTo>
                    <a:pt x="78" y="88"/>
                  </a:lnTo>
                  <a:lnTo>
                    <a:pt x="82" y="96"/>
                  </a:lnTo>
                  <a:lnTo>
                    <a:pt x="86" y="102"/>
                  </a:lnTo>
                  <a:lnTo>
                    <a:pt x="98" y="114"/>
                  </a:lnTo>
                  <a:lnTo>
                    <a:pt x="110" y="126"/>
                  </a:lnTo>
                  <a:lnTo>
                    <a:pt x="120" y="140"/>
                  </a:lnTo>
                  <a:lnTo>
                    <a:pt x="120" y="140"/>
                  </a:lnTo>
                  <a:lnTo>
                    <a:pt x="114" y="140"/>
                  </a:lnTo>
                  <a:lnTo>
                    <a:pt x="108" y="140"/>
                  </a:lnTo>
                  <a:lnTo>
                    <a:pt x="102" y="138"/>
                  </a:lnTo>
                  <a:lnTo>
                    <a:pt x="96" y="134"/>
                  </a:lnTo>
                  <a:lnTo>
                    <a:pt x="88" y="126"/>
                  </a:lnTo>
                  <a:lnTo>
                    <a:pt x="80" y="114"/>
                  </a:lnTo>
                  <a:lnTo>
                    <a:pt x="66" y="86"/>
                  </a:lnTo>
                  <a:lnTo>
                    <a:pt x="58" y="72"/>
                  </a:lnTo>
                  <a:lnTo>
                    <a:pt x="50" y="60"/>
                  </a:lnTo>
                  <a:lnTo>
                    <a:pt x="50" y="60"/>
                  </a:lnTo>
                  <a:lnTo>
                    <a:pt x="38" y="44"/>
                  </a:lnTo>
                  <a:lnTo>
                    <a:pt x="24" y="32"/>
                  </a:lnTo>
                  <a:lnTo>
                    <a:pt x="12" y="18"/>
                  </a:lnTo>
                  <a:lnTo>
                    <a:pt x="0" y="4"/>
                  </a:lnTo>
                  <a:lnTo>
                    <a:pt x="0"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6" name="Freeform 27"/>
            <p:cNvSpPr>
              <a:spLocks/>
            </p:cNvSpPr>
            <p:nvPr/>
          </p:nvSpPr>
          <p:spPr bwMode="auto">
            <a:xfrm>
              <a:off x="3958646" y="2257231"/>
              <a:ext cx="182511" cy="118295"/>
            </a:xfrm>
            <a:custGeom>
              <a:avLst/>
              <a:gdLst>
                <a:gd name="T0" fmla="*/ 66 w 108"/>
                <a:gd name="T1" fmla="*/ 0 h 70"/>
                <a:gd name="T2" fmla="*/ 66 w 108"/>
                <a:gd name="T3" fmla="*/ 0 h 70"/>
                <a:gd name="T4" fmla="*/ 72 w 108"/>
                <a:gd name="T5" fmla="*/ 0 h 70"/>
                <a:gd name="T6" fmla="*/ 74 w 108"/>
                <a:gd name="T7" fmla="*/ 2 h 70"/>
                <a:gd name="T8" fmla="*/ 74 w 108"/>
                <a:gd name="T9" fmla="*/ 4 h 70"/>
                <a:gd name="T10" fmla="*/ 72 w 108"/>
                <a:gd name="T11" fmla="*/ 6 h 70"/>
                <a:gd name="T12" fmla="*/ 66 w 108"/>
                <a:gd name="T13" fmla="*/ 10 h 70"/>
                <a:gd name="T14" fmla="*/ 62 w 108"/>
                <a:gd name="T15" fmla="*/ 14 h 70"/>
                <a:gd name="T16" fmla="*/ 62 w 108"/>
                <a:gd name="T17" fmla="*/ 14 h 70"/>
                <a:gd name="T18" fmla="*/ 64 w 108"/>
                <a:gd name="T19" fmla="*/ 22 h 70"/>
                <a:gd name="T20" fmla="*/ 70 w 108"/>
                <a:gd name="T21" fmla="*/ 28 h 70"/>
                <a:gd name="T22" fmla="*/ 76 w 108"/>
                <a:gd name="T23" fmla="*/ 32 h 70"/>
                <a:gd name="T24" fmla="*/ 84 w 108"/>
                <a:gd name="T25" fmla="*/ 36 h 70"/>
                <a:gd name="T26" fmla="*/ 92 w 108"/>
                <a:gd name="T27" fmla="*/ 38 h 70"/>
                <a:gd name="T28" fmla="*/ 98 w 108"/>
                <a:gd name="T29" fmla="*/ 42 h 70"/>
                <a:gd name="T30" fmla="*/ 104 w 108"/>
                <a:gd name="T31" fmla="*/ 48 h 70"/>
                <a:gd name="T32" fmla="*/ 108 w 108"/>
                <a:gd name="T33" fmla="*/ 56 h 70"/>
                <a:gd name="T34" fmla="*/ 108 w 108"/>
                <a:gd name="T35" fmla="*/ 56 h 70"/>
                <a:gd name="T36" fmla="*/ 98 w 108"/>
                <a:gd name="T37" fmla="*/ 62 h 70"/>
                <a:gd name="T38" fmla="*/ 86 w 108"/>
                <a:gd name="T39" fmla="*/ 68 h 70"/>
                <a:gd name="T40" fmla="*/ 74 w 108"/>
                <a:gd name="T41" fmla="*/ 70 h 70"/>
                <a:gd name="T42" fmla="*/ 60 w 108"/>
                <a:gd name="T43" fmla="*/ 70 h 70"/>
                <a:gd name="T44" fmla="*/ 30 w 108"/>
                <a:gd name="T45" fmla="*/ 68 h 70"/>
                <a:gd name="T46" fmla="*/ 0 w 108"/>
                <a:gd name="T47" fmla="*/ 66 h 70"/>
                <a:gd name="T48" fmla="*/ 0 w 108"/>
                <a:gd name="T49" fmla="*/ 66 h 70"/>
                <a:gd name="T50" fmla="*/ 34 w 108"/>
                <a:gd name="T51" fmla="*/ 32 h 70"/>
                <a:gd name="T52" fmla="*/ 66 w 108"/>
                <a:gd name="T53" fmla="*/ 0 h 70"/>
                <a:gd name="T54" fmla="*/ 66 w 108"/>
                <a:gd name="T5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8" h="70">
                  <a:moveTo>
                    <a:pt x="66" y="0"/>
                  </a:moveTo>
                  <a:lnTo>
                    <a:pt x="66" y="0"/>
                  </a:lnTo>
                  <a:lnTo>
                    <a:pt x="72" y="0"/>
                  </a:lnTo>
                  <a:lnTo>
                    <a:pt x="74" y="2"/>
                  </a:lnTo>
                  <a:lnTo>
                    <a:pt x="74" y="4"/>
                  </a:lnTo>
                  <a:lnTo>
                    <a:pt x="72" y="6"/>
                  </a:lnTo>
                  <a:lnTo>
                    <a:pt x="66" y="10"/>
                  </a:lnTo>
                  <a:lnTo>
                    <a:pt x="62" y="14"/>
                  </a:lnTo>
                  <a:lnTo>
                    <a:pt x="62" y="14"/>
                  </a:lnTo>
                  <a:lnTo>
                    <a:pt x="64" y="22"/>
                  </a:lnTo>
                  <a:lnTo>
                    <a:pt x="70" y="28"/>
                  </a:lnTo>
                  <a:lnTo>
                    <a:pt x="76" y="32"/>
                  </a:lnTo>
                  <a:lnTo>
                    <a:pt x="84" y="36"/>
                  </a:lnTo>
                  <a:lnTo>
                    <a:pt x="92" y="38"/>
                  </a:lnTo>
                  <a:lnTo>
                    <a:pt x="98" y="42"/>
                  </a:lnTo>
                  <a:lnTo>
                    <a:pt x="104" y="48"/>
                  </a:lnTo>
                  <a:lnTo>
                    <a:pt x="108" y="56"/>
                  </a:lnTo>
                  <a:lnTo>
                    <a:pt x="108" y="56"/>
                  </a:lnTo>
                  <a:lnTo>
                    <a:pt x="98" y="62"/>
                  </a:lnTo>
                  <a:lnTo>
                    <a:pt x="86" y="68"/>
                  </a:lnTo>
                  <a:lnTo>
                    <a:pt x="74" y="70"/>
                  </a:lnTo>
                  <a:lnTo>
                    <a:pt x="60" y="70"/>
                  </a:lnTo>
                  <a:lnTo>
                    <a:pt x="30" y="68"/>
                  </a:lnTo>
                  <a:lnTo>
                    <a:pt x="0" y="66"/>
                  </a:lnTo>
                  <a:lnTo>
                    <a:pt x="0" y="66"/>
                  </a:lnTo>
                  <a:lnTo>
                    <a:pt x="34" y="32"/>
                  </a:lnTo>
                  <a:lnTo>
                    <a:pt x="66" y="0"/>
                  </a:lnTo>
                  <a:lnTo>
                    <a:pt x="6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7" name="Freeform 28"/>
            <p:cNvSpPr>
              <a:spLocks/>
            </p:cNvSpPr>
            <p:nvPr/>
          </p:nvSpPr>
          <p:spPr bwMode="auto">
            <a:xfrm>
              <a:off x="2045655" y="2267370"/>
              <a:ext cx="81116" cy="67597"/>
            </a:xfrm>
            <a:custGeom>
              <a:avLst/>
              <a:gdLst>
                <a:gd name="T0" fmla="*/ 48 w 48"/>
                <a:gd name="T1" fmla="*/ 40 h 40"/>
                <a:gd name="T2" fmla="*/ 48 w 48"/>
                <a:gd name="T3" fmla="*/ 40 h 40"/>
                <a:gd name="T4" fmla="*/ 38 w 48"/>
                <a:gd name="T5" fmla="*/ 40 h 40"/>
                <a:gd name="T6" fmla="*/ 30 w 48"/>
                <a:gd name="T7" fmla="*/ 38 h 40"/>
                <a:gd name="T8" fmla="*/ 22 w 48"/>
                <a:gd name="T9" fmla="*/ 34 h 40"/>
                <a:gd name="T10" fmla="*/ 16 w 48"/>
                <a:gd name="T11" fmla="*/ 30 h 40"/>
                <a:gd name="T12" fmla="*/ 10 w 48"/>
                <a:gd name="T13" fmla="*/ 26 h 40"/>
                <a:gd name="T14" fmla="*/ 6 w 48"/>
                <a:gd name="T15" fmla="*/ 18 h 40"/>
                <a:gd name="T16" fmla="*/ 0 w 48"/>
                <a:gd name="T17" fmla="*/ 4 h 40"/>
                <a:gd name="T18" fmla="*/ 0 w 48"/>
                <a:gd name="T19" fmla="*/ 4 h 40"/>
                <a:gd name="T20" fmla="*/ 10 w 48"/>
                <a:gd name="T21" fmla="*/ 0 h 40"/>
                <a:gd name="T22" fmla="*/ 18 w 48"/>
                <a:gd name="T23" fmla="*/ 2 h 40"/>
                <a:gd name="T24" fmla="*/ 24 w 48"/>
                <a:gd name="T25" fmla="*/ 4 h 40"/>
                <a:gd name="T26" fmla="*/ 32 w 48"/>
                <a:gd name="T27" fmla="*/ 10 h 40"/>
                <a:gd name="T28" fmla="*/ 36 w 48"/>
                <a:gd name="T29" fmla="*/ 16 h 40"/>
                <a:gd name="T30" fmla="*/ 42 w 48"/>
                <a:gd name="T31" fmla="*/ 24 h 40"/>
                <a:gd name="T32" fmla="*/ 48 w 48"/>
                <a:gd name="T33" fmla="*/ 40 h 40"/>
                <a:gd name="T34" fmla="*/ 48 w 48"/>
                <a:gd name="T3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0">
                  <a:moveTo>
                    <a:pt x="48" y="40"/>
                  </a:moveTo>
                  <a:lnTo>
                    <a:pt x="48" y="40"/>
                  </a:lnTo>
                  <a:lnTo>
                    <a:pt x="38" y="40"/>
                  </a:lnTo>
                  <a:lnTo>
                    <a:pt x="30" y="38"/>
                  </a:lnTo>
                  <a:lnTo>
                    <a:pt x="22" y="34"/>
                  </a:lnTo>
                  <a:lnTo>
                    <a:pt x="16" y="30"/>
                  </a:lnTo>
                  <a:lnTo>
                    <a:pt x="10" y="26"/>
                  </a:lnTo>
                  <a:lnTo>
                    <a:pt x="6" y="18"/>
                  </a:lnTo>
                  <a:lnTo>
                    <a:pt x="0" y="4"/>
                  </a:lnTo>
                  <a:lnTo>
                    <a:pt x="0" y="4"/>
                  </a:lnTo>
                  <a:lnTo>
                    <a:pt x="10" y="0"/>
                  </a:lnTo>
                  <a:lnTo>
                    <a:pt x="18" y="2"/>
                  </a:lnTo>
                  <a:lnTo>
                    <a:pt x="24" y="4"/>
                  </a:lnTo>
                  <a:lnTo>
                    <a:pt x="32" y="10"/>
                  </a:lnTo>
                  <a:lnTo>
                    <a:pt x="36" y="16"/>
                  </a:lnTo>
                  <a:lnTo>
                    <a:pt x="42" y="24"/>
                  </a:lnTo>
                  <a:lnTo>
                    <a:pt x="48" y="40"/>
                  </a:lnTo>
                  <a:lnTo>
                    <a:pt x="48" y="4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8" name="Freeform 31"/>
            <p:cNvSpPr>
              <a:spLocks/>
            </p:cNvSpPr>
            <p:nvPr/>
          </p:nvSpPr>
          <p:spPr bwMode="auto">
            <a:xfrm>
              <a:off x="9826045" y="2453262"/>
              <a:ext cx="141953" cy="135193"/>
            </a:xfrm>
            <a:custGeom>
              <a:avLst/>
              <a:gdLst>
                <a:gd name="T0" fmla="*/ 0 w 84"/>
                <a:gd name="T1" fmla="*/ 0 h 80"/>
                <a:gd name="T2" fmla="*/ 0 w 84"/>
                <a:gd name="T3" fmla="*/ 0 h 80"/>
                <a:gd name="T4" fmla="*/ 8 w 84"/>
                <a:gd name="T5" fmla="*/ 8 h 80"/>
                <a:gd name="T6" fmla="*/ 18 w 84"/>
                <a:gd name="T7" fmla="*/ 14 h 80"/>
                <a:gd name="T8" fmla="*/ 38 w 84"/>
                <a:gd name="T9" fmla="*/ 24 h 80"/>
                <a:gd name="T10" fmla="*/ 84 w 84"/>
                <a:gd name="T11" fmla="*/ 42 h 80"/>
                <a:gd name="T12" fmla="*/ 84 w 84"/>
                <a:gd name="T13" fmla="*/ 42 h 80"/>
                <a:gd name="T14" fmla="*/ 82 w 84"/>
                <a:gd name="T15" fmla="*/ 46 h 80"/>
                <a:gd name="T16" fmla="*/ 78 w 84"/>
                <a:gd name="T17" fmla="*/ 48 h 80"/>
                <a:gd name="T18" fmla="*/ 70 w 84"/>
                <a:gd name="T19" fmla="*/ 50 h 80"/>
                <a:gd name="T20" fmla="*/ 68 w 84"/>
                <a:gd name="T21" fmla="*/ 52 h 80"/>
                <a:gd name="T22" fmla="*/ 64 w 84"/>
                <a:gd name="T23" fmla="*/ 56 h 80"/>
                <a:gd name="T24" fmla="*/ 64 w 84"/>
                <a:gd name="T25" fmla="*/ 60 h 80"/>
                <a:gd name="T26" fmla="*/ 64 w 84"/>
                <a:gd name="T27" fmla="*/ 66 h 80"/>
                <a:gd name="T28" fmla="*/ 64 w 84"/>
                <a:gd name="T29" fmla="*/ 66 h 80"/>
                <a:gd name="T30" fmla="*/ 28 w 84"/>
                <a:gd name="T31" fmla="*/ 56 h 80"/>
                <a:gd name="T32" fmla="*/ 28 w 84"/>
                <a:gd name="T33" fmla="*/ 56 h 80"/>
                <a:gd name="T34" fmla="*/ 20 w 84"/>
                <a:gd name="T35" fmla="*/ 60 h 80"/>
                <a:gd name="T36" fmla="*/ 20 w 84"/>
                <a:gd name="T37" fmla="*/ 62 h 80"/>
                <a:gd name="T38" fmla="*/ 20 w 84"/>
                <a:gd name="T39" fmla="*/ 64 h 80"/>
                <a:gd name="T40" fmla="*/ 22 w 84"/>
                <a:gd name="T41" fmla="*/ 70 h 80"/>
                <a:gd name="T42" fmla="*/ 24 w 84"/>
                <a:gd name="T43" fmla="*/ 80 h 80"/>
                <a:gd name="T44" fmla="*/ 24 w 84"/>
                <a:gd name="T45" fmla="*/ 80 h 80"/>
                <a:gd name="T46" fmla="*/ 18 w 84"/>
                <a:gd name="T47" fmla="*/ 78 h 80"/>
                <a:gd name="T48" fmla="*/ 16 w 84"/>
                <a:gd name="T49" fmla="*/ 76 h 80"/>
                <a:gd name="T50" fmla="*/ 10 w 84"/>
                <a:gd name="T51" fmla="*/ 68 h 80"/>
                <a:gd name="T52" fmla="*/ 6 w 84"/>
                <a:gd name="T53" fmla="*/ 62 h 80"/>
                <a:gd name="T54" fmla="*/ 4 w 84"/>
                <a:gd name="T55" fmla="*/ 58 h 80"/>
                <a:gd name="T56" fmla="*/ 0 w 84"/>
                <a:gd name="T57" fmla="*/ 56 h 80"/>
                <a:gd name="T58" fmla="*/ 0 w 84"/>
                <a:gd name="T59" fmla="*/ 56 h 80"/>
                <a:gd name="T60" fmla="*/ 6 w 84"/>
                <a:gd name="T61" fmla="*/ 50 h 80"/>
                <a:gd name="T62" fmla="*/ 8 w 84"/>
                <a:gd name="T63" fmla="*/ 42 h 80"/>
                <a:gd name="T64" fmla="*/ 10 w 84"/>
                <a:gd name="T65" fmla="*/ 36 h 80"/>
                <a:gd name="T66" fmla="*/ 10 w 84"/>
                <a:gd name="T67" fmla="*/ 30 h 80"/>
                <a:gd name="T68" fmla="*/ 6 w 84"/>
                <a:gd name="T69" fmla="*/ 16 h 80"/>
                <a:gd name="T70" fmla="*/ 0 w 84"/>
                <a:gd name="T71" fmla="*/ 0 h 80"/>
                <a:gd name="T72" fmla="*/ 0 w 84"/>
                <a:gd name="T7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80">
                  <a:moveTo>
                    <a:pt x="0" y="0"/>
                  </a:moveTo>
                  <a:lnTo>
                    <a:pt x="0" y="0"/>
                  </a:lnTo>
                  <a:lnTo>
                    <a:pt x="8" y="8"/>
                  </a:lnTo>
                  <a:lnTo>
                    <a:pt x="18" y="14"/>
                  </a:lnTo>
                  <a:lnTo>
                    <a:pt x="38" y="24"/>
                  </a:lnTo>
                  <a:lnTo>
                    <a:pt x="84" y="42"/>
                  </a:lnTo>
                  <a:lnTo>
                    <a:pt x="84" y="42"/>
                  </a:lnTo>
                  <a:lnTo>
                    <a:pt x="82" y="46"/>
                  </a:lnTo>
                  <a:lnTo>
                    <a:pt x="78" y="48"/>
                  </a:lnTo>
                  <a:lnTo>
                    <a:pt x="70" y="50"/>
                  </a:lnTo>
                  <a:lnTo>
                    <a:pt x="68" y="52"/>
                  </a:lnTo>
                  <a:lnTo>
                    <a:pt x="64" y="56"/>
                  </a:lnTo>
                  <a:lnTo>
                    <a:pt x="64" y="60"/>
                  </a:lnTo>
                  <a:lnTo>
                    <a:pt x="64" y="66"/>
                  </a:lnTo>
                  <a:lnTo>
                    <a:pt x="64" y="66"/>
                  </a:lnTo>
                  <a:lnTo>
                    <a:pt x="28" y="56"/>
                  </a:lnTo>
                  <a:lnTo>
                    <a:pt x="28" y="56"/>
                  </a:lnTo>
                  <a:lnTo>
                    <a:pt x="20" y="60"/>
                  </a:lnTo>
                  <a:lnTo>
                    <a:pt x="20" y="62"/>
                  </a:lnTo>
                  <a:lnTo>
                    <a:pt x="20" y="64"/>
                  </a:lnTo>
                  <a:lnTo>
                    <a:pt x="22" y="70"/>
                  </a:lnTo>
                  <a:lnTo>
                    <a:pt x="24" y="80"/>
                  </a:lnTo>
                  <a:lnTo>
                    <a:pt x="24" y="80"/>
                  </a:lnTo>
                  <a:lnTo>
                    <a:pt x="18" y="78"/>
                  </a:lnTo>
                  <a:lnTo>
                    <a:pt x="16" y="76"/>
                  </a:lnTo>
                  <a:lnTo>
                    <a:pt x="10" y="68"/>
                  </a:lnTo>
                  <a:lnTo>
                    <a:pt x="6" y="62"/>
                  </a:lnTo>
                  <a:lnTo>
                    <a:pt x="4" y="58"/>
                  </a:lnTo>
                  <a:lnTo>
                    <a:pt x="0" y="56"/>
                  </a:lnTo>
                  <a:lnTo>
                    <a:pt x="0" y="56"/>
                  </a:lnTo>
                  <a:lnTo>
                    <a:pt x="6" y="50"/>
                  </a:lnTo>
                  <a:lnTo>
                    <a:pt x="8" y="42"/>
                  </a:lnTo>
                  <a:lnTo>
                    <a:pt x="10" y="36"/>
                  </a:lnTo>
                  <a:lnTo>
                    <a:pt x="10" y="30"/>
                  </a:lnTo>
                  <a:lnTo>
                    <a:pt x="6" y="16"/>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99" name="Freeform 34"/>
            <p:cNvSpPr>
              <a:spLocks/>
            </p:cNvSpPr>
            <p:nvPr/>
          </p:nvSpPr>
          <p:spPr bwMode="auto">
            <a:xfrm>
              <a:off x="5922331" y="2541138"/>
              <a:ext cx="23659" cy="40558"/>
            </a:xfrm>
            <a:custGeom>
              <a:avLst/>
              <a:gdLst>
                <a:gd name="T0" fmla="*/ 8 w 14"/>
                <a:gd name="T1" fmla="*/ 0 h 24"/>
                <a:gd name="T2" fmla="*/ 8 w 14"/>
                <a:gd name="T3" fmla="*/ 0 h 24"/>
                <a:gd name="T4" fmla="*/ 12 w 14"/>
                <a:gd name="T5" fmla="*/ 0 h 24"/>
                <a:gd name="T6" fmla="*/ 12 w 14"/>
                <a:gd name="T7" fmla="*/ 2 h 24"/>
                <a:gd name="T8" fmla="*/ 14 w 14"/>
                <a:gd name="T9" fmla="*/ 8 h 24"/>
                <a:gd name="T10" fmla="*/ 12 w 14"/>
                <a:gd name="T11" fmla="*/ 16 h 24"/>
                <a:gd name="T12" fmla="*/ 12 w 14"/>
                <a:gd name="T13" fmla="*/ 24 h 24"/>
                <a:gd name="T14" fmla="*/ 12 w 14"/>
                <a:gd name="T15" fmla="*/ 24 h 24"/>
                <a:gd name="T16" fmla="*/ 6 w 14"/>
                <a:gd name="T17" fmla="*/ 22 h 24"/>
                <a:gd name="T18" fmla="*/ 2 w 14"/>
                <a:gd name="T19" fmla="*/ 20 h 24"/>
                <a:gd name="T20" fmla="*/ 0 w 14"/>
                <a:gd name="T21" fmla="*/ 18 h 24"/>
                <a:gd name="T22" fmla="*/ 0 w 14"/>
                <a:gd name="T23" fmla="*/ 14 h 24"/>
                <a:gd name="T24" fmla="*/ 0 w 14"/>
                <a:gd name="T25" fmla="*/ 10 h 24"/>
                <a:gd name="T26" fmla="*/ 2 w 14"/>
                <a:gd name="T27" fmla="*/ 6 h 24"/>
                <a:gd name="T28" fmla="*/ 4 w 14"/>
                <a:gd name="T29" fmla="*/ 2 h 24"/>
                <a:gd name="T30" fmla="*/ 8 w 14"/>
                <a:gd name="T31" fmla="*/ 0 h 24"/>
                <a:gd name="T32" fmla="*/ 8 w 14"/>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4">
                  <a:moveTo>
                    <a:pt x="8" y="0"/>
                  </a:moveTo>
                  <a:lnTo>
                    <a:pt x="8" y="0"/>
                  </a:lnTo>
                  <a:lnTo>
                    <a:pt x="12" y="0"/>
                  </a:lnTo>
                  <a:lnTo>
                    <a:pt x="12" y="2"/>
                  </a:lnTo>
                  <a:lnTo>
                    <a:pt x="14" y="8"/>
                  </a:lnTo>
                  <a:lnTo>
                    <a:pt x="12" y="16"/>
                  </a:lnTo>
                  <a:lnTo>
                    <a:pt x="12" y="24"/>
                  </a:lnTo>
                  <a:lnTo>
                    <a:pt x="12" y="24"/>
                  </a:lnTo>
                  <a:lnTo>
                    <a:pt x="6" y="22"/>
                  </a:lnTo>
                  <a:lnTo>
                    <a:pt x="2" y="20"/>
                  </a:lnTo>
                  <a:lnTo>
                    <a:pt x="0" y="18"/>
                  </a:lnTo>
                  <a:lnTo>
                    <a:pt x="0" y="14"/>
                  </a:lnTo>
                  <a:lnTo>
                    <a:pt x="0" y="10"/>
                  </a:lnTo>
                  <a:lnTo>
                    <a:pt x="2" y="6"/>
                  </a:lnTo>
                  <a:lnTo>
                    <a:pt x="4" y="2"/>
                  </a:lnTo>
                  <a:lnTo>
                    <a:pt x="8" y="0"/>
                  </a:lnTo>
                  <a:lnTo>
                    <a:pt x="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0" name="Freeform 35"/>
            <p:cNvSpPr>
              <a:spLocks/>
            </p:cNvSpPr>
            <p:nvPr/>
          </p:nvSpPr>
          <p:spPr bwMode="auto">
            <a:xfrm>
              <a:off x="5908812" y="2605354"/>
              <a:ext cx="37178" cy="67597"/>
            </a:xfrm>
            <a:custGeom>
              <a:avLst/>
              <a:gdLst>
                <a:gd name="T0" fmla="*/ 6 w 22"/>
                <a:gd name="T1" fmla="*/ 0 h 40"/>
                <a:gd name="T2" fmla="*/ 6 w 22"/>
                <a:gd name="T3" fmla="*/ 0 h 40"/>
                <a:gd name="T4" fmla="*/ 14 w 22"/>
                <a:gd name="T5" fmla="*/ 0 h 40"/>
                <a:gd name="T6" fmla="*/ 18 w 22"/>
                <a:gd name="T7" fmla="*/ 4 h 40"/>
                <a:gd name="T8" fmla="*/ 22 w 22"/>
                <a:gd name="T9" fmla="*/ 10 h 40"/>
                <a:gd name="T10" fmla="*/ 22 w 22"/>
                <a:gd name="T11" fmla="*/ 18 h 40"/>
                <a:gd name="T12" fmla="*/ 22 w 22"/>
                <a:gd name="T13" fmla="*/ 26 h 40"/>
                <a:gd name="T14" fmla="*/ 20 w 22"/>
                <a:gd name="T15" fmla="*/ 32 h 40"/>
                <a:gd name="T16" fmla="*/ 16 w 22"/>
                <a:gd name="T17" fmla="*/ 38 h 40"/>
                <a:gd name="T18" fmla="*/ 12 w 22"/>
                <a:gd name="T19" fmla="*/ 40 h 40"/>
                <a:gd name="T20" fmla="*/ 12 w 22"/>
                <a:gd name="T21" fmla="*/ 40 h 40"/>
                <a:gd name="T22" fmla="*/ 4 w 22"/>
                <a:gd name="T23" fmla="*/ 32 h 40"/>
                <a:gd name="T24" fmla="*/ 0 w 22"/>
                <a:gd name="T25" fmla="*/ 20 h 40"/>
                <a:gd name="T26" fmla="*/ 0 w 22"/>
                <a:gd name="T27" fmla="*/ 14 h 40"/>
                <a:gd name="T28" fmla="*/ 0 w 22"/>
                <a:gd name="T29" fmla="*/ 8 h 40"/>
                <a:gd name="T30" fmla="*/ 2 w 22"/>
                <a:gd name="T31" fmla="*/ 4 h 40"/>
                <a:gd name="T32" fmla="*/ 6 w 22"/>
                <a:gd name="T33" fmla="*/ 0 h 40"/>
                <a:gd name="T34" fmla="*/ 6 w 22"/>
                <a:gd name="T3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40">
                  <a:moveTo>
                    <a:pt x="6" y="0"/>
                  </a:moveTo>
                  <a:lnTo>
                    <a:pt x="6" y="0"/>
                  </a:lnTo>
                  <a:lnTo>
                    <a:pt x="14" y="0"/>
                  </a:lnTo>
                  <a:lnTo>
                    <a:pt x="18" y="4"/>
                  </a:lnTo>
                  <a:lnTo>
                    <a:pt x="22" y="10"/>
                  </a:lnTo>
                  <a:lnTo>
                    <a:pt x="22" y="18"/>
                  </a:lnTo>
                  <a:lnTo>
                    <a:pt x="22" y="26"/>
                  </a:lnTo>
                  <a:lnTo>
                    <a:pt x="20" y="32"/>
                  </a:lnTo>
                  <a:lnTo>
                    <a:pt x="16" y="38"/>
                  </a:lnTo>
                  <a:lnTo>
                    <a:pt x="12" y="40"/>
                  </a:lnTo>
                  <a:lnTo>
                    <a:pt x="12" y="40"/>
                  </a:lnTo>
                  <a:lnTo>
                    <a:pt x="4" y="32"/>
                  </a:lnTo>
                  <a:lnTo>
                    <a:pt x="0" y="20"/>
                  </a:lnTo>
                  <a:lnTo>
                    <a:pt x="0" y="14"/>
                  </a:lnTo>
                  <a:lnTo>
                    <a:pt x="0" y="8"/>
                  </a:lnTo>
                  <a:lnTo>
                    <a:pt x="2" y="4"/>
                  </a:lnTo>
                  <a:lnTo>
                    <a:pt x="6" y="0"/>
                  </a:lnTo>
                  <a:lnTo>
                    <a:pt x="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1" name="Freeform 36"/>
            <p:cNvSpPr>
              <a:spLocks/>
            </p:cNvSpPr>
            <p:nvPr/>
          </p:nvSpPr>
          <p:spPr bwMode="auto">
            <a:xfrm>
              <a:off x="9707750" y="2612113"/>
              <a:ext cx="267007" cy="260247"/>
            </a:xfrm>
            <a:custGeom>
              <a:avLst/>
              <a:gdLst>
                <a:gd name="T0" fmla="*/ 102 w 158"/>
                <a:gd name="T1" fmla="*/ 126 h 154"/>
                <a:gd name="T2" fmla="*/ 102 w 158"/>
                <a:gd name="T3" fmla="*/ 126 h 154"/>
                <a:gd name="T4" fmla="*/ 98 w 158"/>
                <a:gd name="T5" fmla="*/ 130 h 154"/>
                <a:gd name="T6" fmla="*/ 96 w 158"/>
                <a:gd name="T7" fmla="*/ 138 h 154"/>
                <a:gd name="T8" fmla="*/ 94 w 158"/>
                <a:gd name="T9" fmla="*/ 154 h 154"/>
                <a:gd name="T10" fmla="*/ 94 w 158"/>
                <a:gd name="T11" fmla="*/ 154 h 154"/>
                <a:gd name="T12" fmla="*/ 90 w 158"/>
                <a:gd name="T13" fmla="*/ 146 h 154"/>
                <a:gd name="T14" fmla="*/ 86 w 158"/>
                <a:gd name="T15" fmla="*/ 142 h 154"/>
                <a:gd name="T16" fmla="*/ 82 w 158"/>
                <a:gd name="T17" fmla="*/ 138 h 154"/>
                <a:gd name="T18" fmla="*/ 78 w 158"/>
                <a:gd name="T19" fmla="*/ 134 h 154"/>
                <a:gd name="T20" fmla="*/ 66 w 158"/>
                <a:gd name="T21" fmla="*/ 132 h 154"/>
                <a:gd name="T22" fmla="*/ 52 w 158"/>
                <a:gd name="T23" fmla="*/ 132 h 154"/>
                <a:gd name="T24" fmla="*/ 24 w 158"/>
                <a:gd name="T25" fmla="*/ 136 h 154"/>
                <a:gd name="T26" fmla="*/ 12 w 158"/>
                <a:gd name="T27" fmla="*/ 136 h 154"/>
                <a:gd name="T28" fmla="*/ 0 w 158"/>
                <a:gd name="T29" fmla="*/ 134 h 154"/>
                <a:gd name="T30" fmla="*/ 0 w 158"/>
                <a:gd name="T31" fmla="*/ 134 h 154"/>
                <a:gd name="T32" fmla="*/ 14 w 158"/>
                <a:gd name="T33" fmla="*/ 124 h 154"/>
                <a:gd name="T34" fmla="*/ 30 w 158"/>
                <a:gd name="T35" fmla="*/ 116 h 154"/>
                <a:gd name="T36" fmla="*/ 66 w 158"/>
                <a:gd name="T37" fmla="*/ 102 h 154"/>
                <a:gd name="T38" fmla="*/ 82 w 158"/>
                <a:gd name="T39" fmla="*/ 94 h 154"/>
                <a:gd name="T40" fmla="*/ 98 w 158"/>
                <a:gd name="T41" fmla="*/ 86 h 154"/>
                <a:gd name="T42" fmla="*/ 110 w 158"/>
                <a:gd name="T43" fmla="*/ 72 h 154"/>
                <a:gd name="T44" fmla="*/ 116 w 158"/>
                <a:gd name="T45" fmla="*/ 64 h 154"/>
                <a:gd name="T46" fmla="*/ 120 w 158"/>
                <a:gd name="T47" fmla="*/ 56 h 154"/>
                <a:gd name="T48" fmla="*/ 120 w 158"/>
                <a:gd name="T49" fmla="*/ 56 h 154"/>
                <a:gd name="T50" fmla="*/ 116 w 158"/>
                <a:gd name="T51" fmla="*/ 40 h 154"/>
                <a:gd name="T52" fmla="*/ 110 w 158"/>
                <a:gd name="T53" fmla="*/ 28 h 154"/>
                <a:gd name="T54" fmla="*/ 102 w 158"/>
                <a:gd name="T55" fmla="*/ 14 h 154"/>
                <a:gd name="T56" fmla="*/ 98 w 158"/>
                <a:gd name="T57" fmla="*/ 0 h 154"/>
                <a:gd name="T58" fmla="*/ 98 w 158"/>
                <a:gd name="T59" fmla="*/ 0 h 154"/>
                <a:gd name="T60" fmla="*/ 108 w 158"/>
                <a:gd name="T61" fmla="*/ 0 h 154"/>
                <a:gd name="T62" fmla="*/ 116 w 158"/>
                <a:gd name="T63" fmla="*/ 0 h 154"/>
                <a:gd name="T64" fmla="*/ 122 w 158"/>
                <a:gd name="T65" fmla="*/ 2 h 154"/>
                <a:gd name="T66" fmla="*/ 128 w 158"/>
                <a:gd name="T67" fmla="*/ 6 h 154"/>
                <a:gd name="T68" fmla="*/ 132 w 158"/>
                <a:gd name="T69" fmla="*/ 12 h 154"/>
                <a:gd name="T70" fmla="*/ 136 w 158"/>
                <a:gd name="T71" fmla="*/ 18 h 154"/>
                <a:gd name="T72" fmla="*/ 142 w 158"/>
                <a:gd name="T73" fmla="*/ 32 h 154"/>
                <a:gd name="T74" fmla="*/ 146 w 158"/>
                <a:gd name="T75" fmla="*/ 50 h 154"/>
                <a:gd name="T76" fmla="*/ 150 w 158"/>
                <a:gd name="T77" fmla="*/ 68 h 154"/>
                <a:gd name="T78" fmla="*/ 154 w 158"/>
                <a:gd name="T79" fmla="*/ 86 h 154"/>
                <a:gd name="T80" fmla="*/ 158 w 158"/>
                <a:gd name="T81" fmla="*/ 102 h 154"/>
                <a:gd name="T82" fmla="*/ 158 w 158"/>
                <a:gd name="T83" fmla="*/ 102 h 154"/>
                <a:gd name="T84" fmla="*/ 150 w 158"/>
                <a:gd name="T85" fmla="*/ 114 h 154"/>
                <a:gd name="T86" fmla="*/ 144 w 158"/>
                <a:gd name="T87" fmla="*/ 118 h 154"/>
                <a:gd name="T88" fmla="*/ 138 w 158"/>
                <a:gd name="T89" fmla="*/ 122 h 154"/>
                <a:gd name="T90" fmla="*/ 130 w 158"/>
                <a:gd name="T91" fmla="*/ 124 h 154"/>
                <a:gd name="T92" fmla="*/ 122 w 158"/>
                <a:gd name="T93" fmla="*/ 126 h 154"/>
                <a:gd name="T94" fmla="*/ 102 w 158"/>
                <a:gd name="T95" fmla="*/ 126 h 154"/>
                <a:gd name="T96" fmla="*/ 102 w 158"/>
                <a:gd name="T97" fmla="*/ 12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 h="154">
                  <a:moveTo>
                    <a:pt x="102" y="126"/>
                  </a:moveTo>
                  <a:lnTo>
                    <a:pt x="102" y="126"/>
                  </a:lnTo>
                  <a:lnTo>
                    <a:pt x="98" y="130"/>
                  </a:lnTo>
                  <a:lnTo>
                    <a:pt x="96" y="138"/>
                  </a:lnTo>
                  <a:lnTo>
                    <a:pt x="94" y="154"/>
                  </a:lnTo>
                  <a:lnTo>
                    <a:pt x="94" y="154"/>
                  </a:lnTo>
                  <a:lnTo>
                    <a:pt x="90" y="146"/>
                  </a:lnTo>
                  <a:lnTo>
                    <a:pt x="86" y="142"/>
                  </a:lnTo>
                  <a:lnTo>
                    <a:pt x="82" y="138"/>
                  </a:lnTo>
                  <a:lnTo>
                    <a:pt x="78" y="134"/>
                  </a:lnTo>
                  <a:lnTo>
                    <a:pt x="66" y="132"/>
                  </a:lnTo>
                  <a:lnTo>
                    <a:pt x="52" y="132"/>
                  </a:lnTo>
                  <a:lnTo>
                    <a:pt x="24" y="136"/>
                  </a:lnTo>
                  <a:lnTo>
                    <a:pt x="12" y="136"/>
                  </a:lnTo>
                  <a:lnTo>
                    <a:pt x="0" y="134"/>
                  </a:lnTo>
                  <a:lnTo>
                    <a:pt x="0" y="134"/>
                  </a:lnTo>
                  <a:lnTo>
                    <a:pt x="14" y="124"/>
                  </a:lnTo>
                  <a:lnTo>
                    <a:pt x="30" y="116"/>
                  </a:lnTo>
                  <a:lnTo>
                    <a:pt x="66" y="102"/>
                  </a:lnTo>
                  <a:lnTo>
                    <a:pt x="82" y="94"/>
                  </a:lnTo>
                  <a:lnTo>
                    <a:pt x="98" y="86"/>
                  </a:lnTo>
                  <a:lnTo>
                    <a:pt x="110" y="72"/>
                  </a:lnTo>
                  <a:lnTo>
                    <a:pt x="116" y="64"/>
                  </a:lnTo>
                  <a:lnTo>
                    <a:pt x="120" y="56"/>
                  </a:lnTo>
                  <a:lnTo>
                    <a:pt x="120" y="56"/>
                  </a:lnTo>
                  <a:lnTo>
                    <a:pt x="116" y="40"/>
                  </a:lnTo>
                  <a:lnTo>
                    <a:pt x="110" y="28"/>
                  </a:lnTo>
                  <a:lnTo>
                    <a:pt x="102" y="14"/>
                  </a:lnTo>
                  <a:lnTo>
                    <a:pt x="98" y="0"/>
                  </a:lnTo>
                  <a:lnTo>
                    <a:pt x="98" y="0"/>
                  </a:lnTo>
                  <a:lnTo>
                    <a:pt x="108" y="0"/>
                  </a:lnTo>
                  <a:lnTo>
                    <a:pt x="116" y="0"/>
                  </a:lnTo>
                  <a:lnTo>
                    <a:pt x="122" y="2"/>
                  </a:lnTo>
                  <a:lnTo>
                    <a:pt x="128" y="6"/>
                  </a:lnTo>
                  <a:lnTo>
                    <a:pt x="132" y="12"/>
                  </a:lnTo>
                  <a:lnTo>
                    <a:pt x="136" y="18"/>
                  </a:lnTo>
                  <a:lnTo>
                    <a:pt x="142" y="32"/>
                  </a:lnTo>
                  <a:lnTo>
                    <a:pt x="146" y="50"/>
                  </a:lnTo>
                  <a:lnTo>
                    <a:pt x="150" y="68"/>
                  </a:lnTo>
                  <a:lnTo>
                    <a:pt x="154" y="86"/>
                  </a:lnTo>
                  <a:lnTo>
                    <a:pt x="158" y="102"/>
                  </a:lnTo>
                  <a:lnTo>
                    <a:pt x="158" y="102"/>
                  </a:lnTo>
                  <a:lnTo>
                    <a:pt x="150" y="114"/>
                  </a:lnTo>
                  <a:lnTo>
                    <a:pt x="144" y="118"/>
                  </a:lnTo>
                  <a:lnTo>
                    <a:pt x="138" y="122"/>
                  </a:lnTo>
                  <a:lnTo>
                    <a:pt x="130" y="124"/>
                  </a:lnTo>
                  <a:lnTo>
                    <a:pt x="122" y="126"/>
                  </a:lnTo>
                  <a:lnTo>
                    <a:pt x="102" y="126"/>
                  </a:lnTo>
                  <a:lnTo>
                    <a:pt x="102" y="12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2" name="Freeform 37"/>
            <p:cNvSpPr>
              <a:spLocks/>
            </p:cNvSpPr>
            <p:nvPr/>
          </p:nvSpPr>
          <p:spPr bwMode="auto">
            <a:xfrm>
              <a:off x="6037245" y="2710129"/>
              <a:ext cx="81116" cy="43938"/>
            </a:xfrm>
            <a:custGeom>
              <a:avLst/>
              <a:gdLst>
                <a:gd name="T0" fmla="*/ 48 w 48"/>
                <a:gd name="T1" fmla="*/ 2 h 26"/>
                <a:gd name="T2" fmla="*/ 48 w 48"/>
                <a:gd name="T3" fmla="*/ 2 h 26"/>
                <a:gd name="T4" fmla="*/ 46 w 48"/>
                <a:gd name="T5" fmla="*/ 8 h 26"/>
                <a:gd name="T6" fmla="*/ 44 w 48"/>
                <a:gd name="T7" fmla="*/ 14 h 26"/>
                <a:gd name="T8" fmla="*/ 42 w 48"/>
                <a:gd name="T9" fmla="*/ 18 h 26"/>
                <a:gd name="T10" fmla="*/ 42 w 48"/>
                <a:gd name="T11" fmla="*/ 26 h 26"/>
                <a:gd name="T12" fmla="*/ 42 w 48"/>
                <a:gd name="T13" fmla="*/ 26 h 26"/>
                <a:gd name="T14" fmla="*/ 32 w 48"/>
                <a:gd name="T15" fmla="*/ 20 h 26"/>
                <a:gd name="T16" fmla="*/ 22 w 48"/>
                <a:gd name="T17" fmla="*/ 16 h 26"/>
                <a:gd name="T18" fmla="*/ 12 w 48"/>
                <a:gd name="T19" fmla="*/ 10 h 26"/>
                <a:gd name="T20" fmla="*/ 0 w 48"/>
                <a:gd name="T21" fmla="*/ 6 h 26"/>
                <a:gd name="T22" fmla="*/ 0 w 48"/>
                <a:gd name="T23" fmla="*/ 6 h 26"/>
                <a:gd name="T24" fmla="*/ 6 w 48"/>
                <a:gd name="T25" fmla="*/ 2 h 26"/>
                <a:gd name="T26" fmla="*/ 10 w 48"/>
                <a:gd name="T27" fmla="*/ 0 h 26"/>
                <a:gd name="T28" fmla="*/ 16 w 48"/>
                <a:gd name="T29" fmla="*/ 0 h 26"/>
                <a:gd name="T30" fmla="*/ 22 w 48"/>
                <a:gd name="T31" fmla="*/ 0 h 26"/>
                <a:gd name="T32" fmla="*/ 34 w 48"/>
                <a:gd name="T33" fmla="*/ 0 h 26"/>
                <a:gd name="T34" fmla="*/ 48 w 48"/>
                <a:gd name="T35" fmla="*/ 2 h 26"/>
                <a:gd name="T36" fmla="*/ 48 w 48"/>
                <a:gd name="T3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26">
                  <a:moveTo>
                    <a:pt x="48" y="2"/>
                  </a:moveTo>
                  <a:lnTo>
                    <a:pt x="48" y="2"/>
                  </a:lnTo>
                  <a:lnTo>
                    <a:pt x="46" y="8"/>
                  </a:lnTo>
                  <a:lnTo>
                    <a:pt x="44" y="14"/>
                  </a:lnTo>
                  <a:lnTo>
                    <a:pt x="42" y="18"/>
                  </a:lnTo>
                  <a:lnTo>
                    <a:pt x="42" y="26"/>
                  </a:lnTo>
                  <a:lnTo>
                    <a:pt x="42" y="26"/>
                  </a:lnTo>
                  <a:lnTo>
                    <a:pt x="32" y="20"/>
                  </a:lnTo>
                  <a:lnTo>
                    <a:pt x="22" y="16"/>
                  </a:lnTo>
                  <a:lnTo>
                    <a:pt x="12" y="10"/>
                  </a:lnTo>
                  <a:lnTo>
                    <a:pt x="0" y="6"/>
                  </a:lnTo>
                  <a:lnTo>
                    <a:pt x="0" y="6"/>
                  </a:lnTo>
                  <a:lnTo>
                    <a:pt x="6" y="2"/>
                  </a:lnTo>
                  <a:lnTo>
                    <a:pt x="10" y="0"/>
                  </a:lnTo>
                  <a:lnTo>
                    <a:pt x="16" y="0"/>
                  </a:lnTo>
                  <a:lnTo>
                    <a:pt x="22" y="0"/>
                  </a:lnTo>
                  <a:lnTo>
                    <a:pt x="34" y="0"/>
                  </a:lnTo>
                  <a:lnTo>
                    <a:pt x="48" y="2"/>
                  </a:lnTo>
                  <a:lnTo>
                    <a:pt x="48" y="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3" name="Freeform 38"/>
            <p:cNvSpPr>
              <a:spLocks/>
            </p:cNvSpPr>
            <p:nvPr/>
          </p:nvSpPr>
          <p:spPr bwMode="auto">
            <a:xfrm>
              <a:off x="6652375" y="2791246"/>
              <a:ext cx="54077" cy="37178"/>
            </a:xfrm>
            <a:custGeom>
              <a:avLst/>
              <a:gdLst>
                <a:gd name="T0" fmla="*/ 32 w 32"/>
                <a:gd name="T1" fmla="*/ 0 h 22"/>
                <a:gd name="T2" fmla="*/ 32 w 32"/>
                <a:gd name="T3" fmla="*/ 0 h 22"/>
                <a:gd name="T4" fmla="*/ 30 w 32"/>
                <a:gd name="T5" fmla="*/ 6 h 22"/>
                <a:gd name="T6" fmla="*/ 26 w 32"/>
                <a:gd name="T7" fmla="*/ 12 h 22"/>
                <a:gd name="T8" fmla="*/ 22 w 32"/>
                <a:gd name="T9" fmla="*/ 16 h 22"/>
                <a:gd name="T10" fmla="*/ 16 w 32"/>
                <a:gd name="T11" fmla="*/ 20 h 22"/>
                <a:gd name="T12" fmla="*/ 10 w 32"/>
                <a:gd name="T13" fmla="*/ 22 h 22"/>
                <a:gd name="T14" fmla="*/ 4 w 32"/>
                <a:gd name="T15" fmla="*/ 22 h 22"/>
                <a:gd name="T16" fmla="*/ 2 w 32"/>
                <a:gd name="T17" fmla="*/ 18 h 22"/>
                <a:gd name="T18" fmla="*/ 0 w 32"/>
                <a:gd name="T19" fmla="*/ 10 h 22"/>
                <a:gd name="T20" fmla="*/ 0 w 32"/>
                <a:gd name="T21" fmla="*/ 10 h 22"/>
                <a:gd name="T22" fmla="*/ 6 w 32"/>
                <a:gd name="T23" fmla="*/ 12 h 22"/>
                <a:gd name="T24" fmla="*/ 12 w 32"/>
                <a:gd name="T25" fmla="*/ 10 h 22"/>
                <a:gd name="T26" fmla="*/ 18 w 32"/>
                <a:gd name="T27" fmla="*/ 8 h 22"/>
                <a:gd name="T28" fmla="*/ 24 w 32"/>
                <a:gd name="T29" fmla="*/ 2 h 22"/>
                <a:gd name="T30" fmla="*/ 28 w 32"/>
                <a:gd name="T31" fmla="*/ 2 h 22"/>
                <a:gd name="T32" fmla="*/ 32 w 32"/>
                <a:gd name="T33" fmla="*/ 0 h 22"/>
                <a:gd name="T34" fmla="*/ 32 w 32"/>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22">
                  <a:moveTo>
                    <a:pt x="32" y="0"/>
                  </a:moveTo>
                  <a:lnTo>
                    <a:pt x="32" y="0"/>
                  </a:lnTo>
                  <a:lnTo>
                    <a:pt x="30" y="6"/>
                  </a:lnTo>
                  <a:lnTo>
                    <a:pt x="26" y="12"/>
                  </a:lnTo>
                  <a:lnTo>
                    <a:pt x="22" y="16"/>
                  </a:lnTo>
                  <a:lnTo>
                    <a:pt x="16" y="20"/>
                  </a:lnTo>
                  <a:lnTo>
                    <a:pt x="10" y="22"/>
                  </a:lnTo>
                  <a:lnTo>
                    <a:pt x="4" y="22"/>
                  </a:lnTo>
                  <a:lnTo>
                    <a:pt x="2" y="18"/>
                  </a:lnTo>
                  <a:lnTo>
                    <a:pt x="0" y="10"/>
                  </a:lnTo>
                  <a:lnTo>
                    <a:pt x="0" y="10"/>
                  </a:lnTo>
                  <a:lnTo>
                    <a:pt x="6" y="12"/>
                  </a:lnTo>
                  <a:lnTo>
                    <a:pt x="12" y="10"/>
                  </a:lnTo>
                  <a:lnTo>
                    <a:pt x="18" y="8"/>
                  </a:lnTo>
                  <a:lnTo>
                    <a:pt x="24" y="2"/>
                  </a:lnTo>
                  <a:lnTo>
                    <a:pt x="28" y="2"/>
                  </a:lnTo>
                  <a:lnTo>
                    <a:pt x="32" y="0"/>
                  </a:lnTo>
                  <a:lnTo>
                    <a:pt x="3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4" name="Freeform 39"/>
            <p:cNvSpPr>
              <a:spLocks/>
            </p:cNvSpPr>
            <p:nvPr/>
          </p:nvSpPr>
          <p:spPr bwMode="auto">
            <a:xfrm>
              <a:off x="6368470" y="2798005"/>
              <a:ext cx="94635" cy="27039"/>
            </a:xfrm>
            <a:custGeom>
              <a:avLst/>
              <a:gdLst>
                <a:gd name="T0" fmla="*/ 0 w 56"/>
                <a:gd name="T1" fmla="*/ 6 h 16"/>
                <a:gd name="T2" fmla="*/ 0 w 56"/>
                <a:gd name="T3" fmla="*/ 6 h 16"/>
                <a:gd name="T4" fmla="*/ 6 w 56"/>
                <a:gd name="T5" fmla="*/ 2 h 16"/>
                <a:gd name="T6" fmla="*/ 12 w 56"/>
                <a:gd name="T7" fmla="*/ 0 h 16"/>
                <a:gd name="T8" fmla="*/ 28 w 56"/>
                <a:gd name="T9" fmla="*/ 2 h 16"/>
                <a:gd name="T10" fmla="*/ 56 w 56"/>
                <a:gd name="T11" fmla="*/ 6 h 16"/>
                <a:gd name="T12" fmla="*/ 56 w 56"/>
                <a:gd name="T13" fmla="*/ 6 h 16"/>
                <a:gd name="T14" fmla="*/ 52 w 56"/>
                <a:gd name="T15" fmla="*/ 12 h 16"/>
                <a:gd name="T16" fmla="*/ 46 w 56"/>
                <a:gd name="T17" fmla="*/ 16 h 16"/>
                <a:gd name="T18" fmla="*/ 38 w 56"/>
                <a:gd name="T19" fmla="*/ 16 h 16"/>
                <a:gd name="T20" fmla="*/ 30 w 56"/>
                <a:gd name="T21" fmla="*/ 14 h 16"/>
                <a:gd name="T22" fmla="*/ 14 w 56"/>
                <a:gd name="T23" fmla="*/ 10 h 16"/>
                <a:gd name="T24" fmla="*/ 0 w 56"/>
                <a:gd name="T25" fmla="*/ 6 h 16"/>
                <a:gd name="T26" fmla="*/ 0 w 56"/>
                <a:gd name="T27"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6">
                  <a:moveTo>
                    <a:pt x="0" y="6"/>
                  </a:moveTo>
                  <a:lnTo>
                    <a:pt x="0" y="6"/>
                  </a:lnTo>
                  <a:lnTo>
                    <a:pt x="6" y="2"/>
                  </a:lnTo>
                  <a:lnTo>
                    <a:pt x="12" y="0"/>
                  </a:lnTo>
                  <a:lnTo>
                    <a:pt x="28" y="2"/>
                  </a:lnTo>
                  <a:lnTo>
                    <a:pt x="56" y="6"/>
                  </a:lnTo>
                  <a:lnTo>
                    <a:pt x="56" y="6"/>
                  </a:lnTo>
                  <a:lnTo>
                    <a:pt x="52" y="12"/>
                  </a:lnTo>
                  <a:lnTo>
                    <a:pt x="46" y="16"/>
                  </a:lnTo>
                  <a:lnTo>
                    <a:pt x="38" y="16"/>
                  </a:lnTo>
                  <a:lnTo>
                    <a:pt x="30" y="14"/>
                  </a:lnTo>
                  <a:lnTo>
                    <a:pt x="14" y="10"/>
                  </a:lnTo>
                  <a:lnTo>
                    <a:pt x="0" y="6"/>
                  </a:lnTo>
                  <a:lnTo>
                    <a:pt x="0" y="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5" name="Freeform 40"/>
            <p:cNvSpPr>
              <a:spLocks/>
            </p:cNvSpPr>
            <p:nvPr/>
          </p:nvSpPr>
          <p:spPr bwMode="auto">
            <a:xfrm>
              <a:off x="9771967" y="2855462"/>
              <a:ext cx="37178" cy="40558"/>
            </a:xfrm>
            <a:custGeom>
              <a:avLst/>
              <a:gdLst>
                <a:gd name="T0" fmla="*/ 22 w 22"/>
                <a:gd name="T1" fmla="*/ 0 h 24"/>
                <a:gd name="T2" fmla="*/ 22 w 22"/>
                <a:gd name="T3" fmla="*/ 0 h 24"/>
                <a:gd name="T4" fmla="*/ 22 w 22"/>
                <a:gd name="T5" fmla="*/ 10 h 24"/>
                <a:gd name="T6" fmla="*/ 18 w 22"/>
                <a:gd name="T7" fmla="*/ 18 h 24"/>
                <a:gd name="T8" fmla="*/ 12 w 22"/>
                <a:gd name="T9" fmla="*/ 22 h 24"/>
                <a:gd name="T10" fmla="*/ 4 w 22"/>
                <a:gd name="T11" fmla="*/ 24 h 24"/>
                <a:gd name="T12" fmla="*/ 4 w 22"/>
                <a:gd name="T13" fmla="*/ 24 h 24"/>
                <a:gd name="T14" fmla="*/ 4 w 22"/>
                <a:gd name="T15" fmla="*/ 18 h 24"/>
                <a:gd name="T16" fmla="*/ 2 w 22"/>
                <a:gd name="T17" fmla="*/ 14 h 24"/>
                <a:gd name="T18" fmla="*/ 0 w 22"/>
                <a:gd name="T19" fmla="*/ 10 h 24"/>
                <a:gd name="T20" fmla="*/ 0 w 22"/>
                <a:gd name="T21" fmla="*/ 4 h 24"/>
                <a:gd name="T22" fmla="*/ 0 w 22"/>
                <a:gd name="T23" fmla="*/ 4 h 24"/>
                <a:gd name="T24" fmla="*/ 6 w 22"/>
                <a:gd name="T25" fmla="*/ 4 h 24"/>
                <a:gd name="T26" fmla="*/ 10 w 22"/>
                <a:gd name="T27" fmla="*/ 2 h 24"/>
                <a:gd name="T28" fmla="*/ 14 w 22"/>
                <a:gd name="T29" fmla="*/ 0 h 24"/>
                <a:gd name="T30" fmla="*/ 22 w 22"/>
                <a:gd name="T31" fmla="*/ 0 h 24"/>
                <a:gd name="T32" fmla="*/ 22 w 22"/>
                <a:gd name="T3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4">
                  <a:moveTo>
                    <a:pt x="22" y="0"/>
                  </a:moveTo>
                  <a:lnTo>
                    <a:pt x="22" y="0"/>
                  </a:lnTo>
                  <a:lnTo>
                    <a:pt x="22" y="10"/>
                  </a:lnTo>
                  <a:lnTo>
                    <a:pt x="18" y="18"/>
                  </a:lnTo>
                  <a:lnTo>
                    <a:pt x="12" y="22"/>
                  </a:lnTo>
                  <a:lnTo>
                    <a:pt x="4" y="24"/>
                  </a:lnTo>
                  <a:lnTo>
                    <a:pt x="4" y="24"/>
                  </a:lnTo>
                  <a:lnTo>
                    <a:pt x="4" y="18"/>
                  </a:lnTo>
                  <a:lnTo>
                    <a:pt x="2" y="14"/>
                  </a:lnTo>
                  <a:lnTo>
                    <a:pt x="0" y="10"/>
                  </a:lnTo>
                  <a:lnTo>
                    <a:pt x="0" y="4"/>
                  </a:lnTo>
                  <a:lnTo>
                    <a:pt x="0" y="4"/>
                  </a:lnTo>
                  <a:lnTo>
                    <a:pt x="6" y="4"/>
                  </a:lnTo>
                  <a:lnTo>
                    <a:pt x="10" y="2"/>
                  </a:lnTo>
                  <a:lnTo>
                    <a:pt x="14" y="0"/>
                  </a:lnTo>
                  <a:lnTo>
                    <a:pt x="22" y="0"/>
                  </a:lnTo>
                  <a:lnTo>
                    <a:pt x="2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6" name="Freeform 41"/>
            <p:cNvSpPr>
              <a:spLocks/>
            </p:cNvSpPr>
            <p:nvPr/>
          </p:nvSpPr>
          <p:spPr bwMode="auto">
            <a:xfrm>
              <a:off x="9694231" y="2862222"/>
              <a:ext cx="57457" cy="87876"/>
            </a:xfrm>
            <a:custGeom>
              <a:avLst/>
              <a:gdLst>
                <a:gd name="T0" fmla="*/ 4 w 34"/>
                <a:gd name="T1" fmla="*/ 0 h 52"/>
                <a:gd name="T2" fmla="*/ 4 w 34"/>
                <a:gd name="T3" fmla="*/ 0 h 52"/>
                <a:gd name="T4" fmla="*/ 12 w 34"/>
                <a:gd name="T5" fmla="*/ 2 h 52"/>
                <a:gd name="T6" fmla="*/ 20 w 34"/>
                <a:gd name="T7" fmla="*/ 8 h 52"/>
                <a:gd name="T8" fmla="*/ 28 w 34"/>
                <a:gd name="T9" fmla="*/ 14 h 52"/>
                <a:gd name="T10" fmla="*/ 32 w 34"/>
                <a:gd name="T11" fmla="*/ 22 h 52"/>
                <a:gd name="T12" fmla="*/ 34 w 34"/>
                <a:gd name="T13" fmla="*/ 32 h 52"/>
                <a:gd name="T14" fmla="*/ 34 w 34"/>
                <a:gd name="T15" fmla="*/ 40 h 52"/>
                <a:gd name="T16" fmla="*/ 30 w 34"/>
                <a:gd name="T17" fmla="*/ 48 h 52"/>
                <a:gd name="T18" fmla="*/ 26 w 34"/>
                <a:gd name="T19" fmla="*/ 50 h 52"/>
                <a:gd name="T20" fmla="*/ 22 w 34"/>
                <a:gd name="T21" fmla="*/ 52 h 52"/>
                <a:gd name="T22" fmla="*/ 22 w 34"/>
                <a:gd name="T23" fmla="*/ 52 h 52"/>
                <a:gd name="T24" fmla="*/ 22 w 34"/>
                <a:gd name="T25" fmla="*/ 42 h 52"/>
                <a:gd name="T26" fmla="*/ 20 w 34"/>
                <a:gd name="T27" fmla="*/ 36 h 52"/>
                <a:gd name="T28" fmla="*/ 14 w 34"/>
                <a:gd name="T29" fmla="*/ 30 h 52"/>
                <a:gd name="T30" fmla="*/ 10 w 34"/>
                <a:gd name="T31" fmla="*/ 24 h 52"/>
                <a:gd name="T32" fmla="*/ 4 w 34"/>
                <a:gd name="T33" fmla="*/ 20 h 52"/>
                <a:gd name="T34" fmla="*/ 2 w 34"/>
                <a:gd name="T35" fmla="*/ 14 h 52"/>
                <a:gd name="T36" fmla="*/ 0 w 34"/>
                <a:gd name="T37" fmla="*/ 8 h 52"/>
                <a:gd name="T38" fmla="*/ 4 w 34"/>
                <a:gd name="T39" fmla="*/ 0 h 52"/>
                <a:gd name="T40" fmla="*/ 4 w 34"/>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52">
                  <a:moveTo>
                    <a:pt x="4" y="0"/>
                  </a:moveTo>
                  <a:lnTo>
                    <a:pt x="4" y="0"/>
                  </a:lnTo>
                  <a:lnTo>
                    <a:pt x="12" y="2"/>
                  </a:lnTo>
                  <a:lnTo>
                    <a:pt x="20" y="8"/>
                  </a:lnTo>
                  <a:lnTo>
                    <a:pt x="28" y="14"/>
                  </a:lnTo>
                  <a:lnTo>
                    <a:pt x="32" y="22"/>
                  </a:lnTo>
                  <a:lnTo>
                    <a:pt x="34" y="32"/>
                  </a:lnTo>
                  <a:lnTo>
                    <a:pt x="34" y="40"/>
                  </a:lnTo>
                  <a:lnTo>
                    <a:pt x="30" y="48"/>
                  </a:lnTo>
                  <a:lnTo>
                    <a:pt x="26" y="50"/>
                  </a:lnTo>
                  <a:lnTo>
                    <a:pt x="22" y="52"/>
                  </a:lnTo>
                  <a:lnTo>
                    <a:pt x="22" y="52"/>
                  </a:lnTo>
                  <a:lnTo>
                    <a:pt x="22" y="42"/>
                  </a:lnTo>
                  <a:lnTo>
                    <a:pt x="20" y="36"/>
                  </a:lnTo>
                  <a:lnTo>
                    <a:pt x="14" y="30"/>
                  </a:lnTo>
                  <a:lnTo>
                    <a:pt x="10" y="24"/>
                  </a:lnTo>
                  <a:lnTo>
                    <a:pt x="4" y="20"/>
                  </a:lnTo>
                  <a:lnTo>
                    <a:pt x="2" y="14"/>
                  </a:lnTo>
                  <a:lnTo>
                    <a:pt x="0" y="8"/>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7" name="Freeform 42"/>
            <p:cNvSpPr>
              <a:spLocks/>
            </p:cNvSpPr>
            <p:nvPr/>
          </p:nvSpPr>
          <p:spPr bwMode="auto">
            <a:xfrm>
              <a:off x="9477921" y="3169786"/>
              <a:ext cx="54077" cy="104775"/>
            </a:xfrm>
            <a:custGeom>
              <a:avLst/>
              <a:gdLst>
                <a:gd name="T0" fmla="*/ 20 w 32"/>
                <a:gd name="T1" fmla="*/ 0 h 62"/>
                <a:gd name="T2" fmla="*/ 20 w 32"/>
                <a:gd name="T3" fmla="*/ 0 h 62"/>
                <a:gd name="T4" fmla="*/ 28 w 32"/>
                <a:gd name="T5" fmla="*/ 4 h 62"/>
                <a:gd name="T6" fmla="*/ 32 w 32"/>
                <a:gd name="T7" fmla="*/ 10 h 62"/>
                <a:gd name="T8" fmla="*/ 32 w 32"/>
                <a:gd name="T9" fmla="*/ 18 h 62"/>
                <a:gd name="T10" fmla="*/ 32 w 32"/>
                <a:gd name="T11" fmla="*/ 26 h 62"/>
                <a:gd name="T12" fmla="*/ 28 w 32"/>
                <a:gd name="T13" fmla="*/ 44 h 62"/>
                <a:gd name="T14" fmla="*/ 26 w 32"/>
                <a:gd name="T15" fmla="*/ 52 h 62"/>
                <a:gd name="T16" fmla="*/ 24 w 32"/>
                <a:gd name="T17" fmla="*/ 62 h 62"/>
                <a:gd name="T18" fmla="*/ 24 w 32"/>
                <a:gd name="T19" fmla="*/ 62 h 62"/>
                <a:gd name="T20" fmla="*/ 20 w 32"/>
                <a:gd name="T21" fmla="*/ 60 h 62"/>
                <a:gd name="T22" fmla="*/ 16 w 32"/>
                <a:gd name="T23" fmla="*/ 58 h 62"/>
                <a:gd name="T24" fmla="*/ 10 w 32"/>
                <a:gd name="T25" fmla="*/ 52 h 62"/>
                <a:gd name="T26" fmla="*/ 6 w 32"/>
                <a:gd name="T27" fmla="*/ 44 h 62"/>
                <a:gd name="T28" fmla="*/ 0 w 32"/>
                <a:gd name="T29" fmla="*/ 38 h 62"/>
                <a:gd name="T30" fmla="*/ 0 w 32"/>
                <a:gd name="T31" fmla="*/ 38 h 62"/>
                <a:gd name="T32" fmla="*/ 4 w 32"/>
                <a:gd name="T33" fmla="*/ 26 h 62"/>
                <a:gd name="T34" fmla="*/ 8 w 32"/>
                <a:gd name="T35" fmla="*/ 18 h 62"/>
                <a:gd name="T36" fmla="*/ 20 w 32"/>
                <a:gd name="T37" fmla="*/ 0 h 62"/>
                <a:gd name="T38" fmla="*/ 20 w 32"/>
                <a:gd name="T3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62">
                  <a:moveTo>
                    <a:pt x="20" y="0"/>
                  </a:moveTo>
                  <a:lnTo>
                    <a:pt x="20" y="0"/>
                  </a:lnTo>
                  <a:lnTo>
                    <a:pt x="28" y="4"/>
                  </a:lnTo>
                  <a:lnTo>
                    <a:pt x="32" y="10"/>
                  </a:lnTo>
                  <a:lnTo>
                    <a:pt x="32" y="18"/>
                  </a:lnTo>
                  <a:lnTo>
                    <a:pt x="32" y="26"/>
                  </a:lnTo>
                  <a:lnTo>
                    <a:pt x="28" y="44"/>
                  </a:lnTo>
                  <a:lnTo>
                    <a:pt x="26" y="52"/>
                  </a:lnTo>
                  <a:lnTo>
                    <a:pt x="24" y="62"/>
                  </a:lnTo>
                  <a:lnTo>
                    <a:pt x="24" y="62"/>
                  </a:lnTo>
                  <a:lnTo>
                    <a:pt x="20" y="60"/>
                  </a:lnTo>
                  <a:lnTo>
                    <a:pt x="16" y="58"/>
                  </a:lnTo>
                  <a:lnTo>
                    <a:pt x="10" y="52"/>
                  </a:lnTo>
                  <a:lnTo>
                    <a:pt x="6" y="44"/>
                  </a:lnTo>
                  <a:lnTo>
                    <a:pt x="0" y="38"/>
                  </a:lnTo>
                  <a:lnTo>
                    <a:pt x="0" y="38"/>
                  </a:lnTo>
                  <a:lnTo>
                    <a:pt x="4" y="26"/>
                  </a:lnTo>
                  <a:lnTo>
                    <a:pt x="8" y="18"/>
                  </a:lnTo>
                  <a:lnTo>
                    <a:pt x="20" y="0"/>
                  </a:lnTo>
                  <a:lnTo>
                    <a:pt x="2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8" name="Freeform 43"/>
            <p:cNvSpPr>
              <a:spLocks/>
            </p:cNvSpPr>
            <p:nvPr/>
          </p:nvSpPr>
          <p:spPr bwMode="auto">
            <a:xfrm>
              <a:off x="2921033" y="3240763"/>
              <a:ext cx="321085" cy="108155"/>
            </a:xfrm>
            <a:custGeom>
              <a:avLst/>
              <a:gdLst>
                <a:gd name="T0" fmla="*/ 190 w 190"/>
                <a:gd name="T1" fmla="*/ 56 h 64"/>
                <a:gd name="T2" fmla="*/ 190 w 190"/>
                <a:gd name="T3" fmla="*/ 56 h 64"/>
                <a:gd name="T4" fmla="*/ 182 w 190"/>
                <a:gd name="T5" fmla="*/ 62 h 64"/>
                <a:gd name="T6" fmla="*/ 172 w 190"/>
                <a:gd name="T7" fmla="*/ 64 h 64"/>
                <a:gd name="T8" fmla="*/ 162 w 190"/>
                <a:gd name="T9" fmla="*/ 64 h 64"/>
                <a:gd name="T10" fmla="*/ 152 w 190"/>
                <a:gd name="T11" fmla="*/ 62 h 64"/>
                <a:gd name="T12" fmla="*/ 132 w 190"/>
                <a:gd name="T13" fmla="*/ 60 h 64"/>
                <a:gd name="T14" fmla="*/ 122 w 190"/>
                <a:gd name="T15" fmla="*/ 60 h 64"/>
                <a:gd name="T16" fmla="*/ 112 w 190"/>
                <a:gd name="T17" fmla="*/ 60 h 64"/>
                <a:gd name="T18" fmla="*/ 112 w 190"/>
                <a:gd name="T19" fmla="*/ 60 h 64"/>
                <a:gd name="T20" fmla="*/ 112 w 190"/>
                <a:gd name="T21" fmla="*/ 54 h 64"/>
                <a:gd name="T22" fmla="*/ 112 w 190"/>
                <a:gd name="T23" fmla="*/ 48 h 64"/>
                <a:gd name="T24" fmla="*/ 110 w 190"/>
                <a:gd name="T25" fmla="*/ 44 h 64"/>
                <a:gd name="T26" fmla="*/ 106 w 190"/>
                <a:gd name="T27" fmla="*/ 38 h 64"/>
                <a:gd name="T28" fmla="*/ 92 w 190"/>
                <a:gd name="T29" fmla="*/ 28 h 64"/>
                <a:gd name="T30" fmla="*/ 76 w 190"/>
                <a:gd name="T31" fmla="*/ 20 h 64"/>
                <a:gd name="T32" fmla="*/ 56 w 190"/>
                <a:gd name="T33" fmla="*/ 14 h 64"/>
                <a:gd name="T34" fmla="*/ 36 w 190"/>
                <a:gd name="T35" fmla="*/ 12 h 64"/>
                <a:gd name="T36" fmla="*/ 26 w 190"/>
                <a:gd name="T37" fmla="*/ 14 h 64"/>
                <a:gd name="T38" fmla="*/ 16 w 190"/>
                <a:gd name="T39" fmla="*/ 16 h 64"/>
                <a:gd name="T40" fmla="*/ 8 w 190"/>
                <a:gd name="T41" fmla="*/ 18 h 64"/>
                <a:gd name="T42" fmla="*/ 0 w 190"/>
                <a:gd name="T43" fmla="*/ 24 h 64"/>
                <a:gd name="T44" fmla="*/ 0 w 190"/>
                <a:gd name="T45" fmla="*/ 24 h 64"/>
                <a:gd name="T46" fmla="*/ 10 w 190"/>
                <a:gd name="T47" fmla="*/ 14 h 64"/>
                <a:gd name="T48" fmla="*/ 22 w 190"/>
                <a:gd name="T49" fmla="*/ 8 h 64"/>
                <a:gd name="T50" fmla="*/ 34 w 190"/>
                <a:gd name="T51" fmla="*/ 2 h 64"/>
                <a:gd name="T52" fmla="*/ 46 w 190"/>
                <a:gd name="T53" fmla="*/ 0 h 64"/>
                <a:gd name="T54" fmla="*/ 60 w 190"/>
                <a:gd name="T55" fmla="*/ 0 h 64"/>
                <a:gd name="T56" fmla="*/ 72 w 190"/>
                <a:gd name="T57" fmla="*/ 2 h 64"/>
                <a:gd name="T58" fmla="*/ 86 w 190"/>
                <a:gd name="T59" fmla="*/ 4 h 64"/>
                <a:gd name="T60" fmla="*/ 100 w 190"/>
                <a:gd name="T61" fmla="*/ 8 h 64"/>
                <a:gd name="T62" fmla="*/ 126 w 190"/>
                <a:gd name="T63" fmla="*/ 20 h 64"/>
                <a:gd name="T64" fmla="*/ 150 w 190"/>
                <a:gd name="T65" fmla="*/ 32 h 64"/>
                <a:gd name="T66" fmla="*/ 190 w 190"/>
                <a:gd name="T67" fmla="*/ 56 h 64"/>
                <a:gd name="T68" fmla="*/ 190 w 190"/>
                <a:gd name="T69"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64">
                  <a:moveTo>
                    <a:pt x="190" y="56"/>
                  </a:moveTo>
                  <a:lnTo>
                    <a:pt x="190" y="56"/>
                  </a:lnTo>
                  <a:lnTo>
                    <a:pt x="182" y="62"/>
                  </a:lnTo>
                  <a:lnTo>
                    <a:pt x="172" y="64"/>
                  </a:lnTo>
                  <a:lnTo>
                    <a:pt x="162" y="64"/>
                  </a:lnTo>
                  <a:lnTo>
                    <a:pt x="152" y="62"/>
                  </a:lnTo>
                  <a:lnTo>
                    <a:pt x="132" y="60"/>
                  </a:lnTo>
                  <a:lnTo>
                    <a:pt x="122" y="60"/>
                  </a:lnTo>
                  <a:lnTo>
                    <a:pt x="112" y="60"/>
                  </a:lnTo>
                  <a:lnTo>
                    <a:pt x="112" y="60"/>
                  </a:lnTo>
                  <a:lnTo>
                    <a:pt x="112" y="54"/>
                  </a:lnTo>
                  <a:lnTo>
                    <a:pt x="112" y="48"/>
                  </a:lnTo>
                  <a:lnTo>
                    <a:pt x="110" y="44"/>
                  </a:lnTo>
                  <a:lnTo>
                    <a:pt x="106" y="38"/>
                  </a:lnTo>
                  <a:lnTo>
                    <a:pt x="92" y="28"/>
                  </a:lnTo>
                  <a:lnTo>
                    <a:pt x="76" y="20"/>
                  </a:lnTo>
                  <a:lnTo>
                    <a:pt x="56" y="14"/>
                  </a:lnTo>
                  <a:lnTo>
                    <a:pt x="36" y="12"/>
                  </a:lnTo>
                  <a:lnTo>
                    <a:pt x="26" y="14"/>
                  </a:lnTo>
                  <a:lnTo>
                    <a:pt x="16" y="16"/>
                  </a:lnTo>
                  <a:lnTo>
                    <a:pt x="8" y="18"/>
                  </a:lnTo>
                  <a:lnTo>
                    <a:pt x="0" y="24"/>
                  </a:lnTo>
                  <a:lnTo>
                    <a:pt x="0" y="24"/>
                  </a:lnTo>
                  <a:lnTo>
                    <a:pt x="10" y="14"/>
                  </a:lnTo>
                  <a:lnTo>
                    <a:pt x="22" y="8"/>
                  </a:lnTo>
                  <a:lnTo>
                    <a:pt x="34" y="2"/>
                  </a:lnTo>
                  <a:lnTo>
                    <a:pt x="46" y="0"/>
                  </a:lnTo>
                  <a:lnTo>
                    <a:pt x="60" y="0"/>
                  </a:lnTo>
                  <a:lnTo>
                    <a:pt x="72" y="2"/>
                  </a:lnTo>
                  <a:lnTo>
                    <a:pt x="86" y="4"/>
                  </a:lnTo>
                  <a:lnTo>
                    <a:pt x="100" y="8"/>
                  </a:lnTo>
                  <a:lnTo>
                    <a:pt x="126" y="20"/>
                  </a:lnTo>
                  <a:lnTo>
                    <a:pt x="150" y="32"/>
                  </a:lnTo>
                  <a:lnTo>
                    <a:pt x="190" y="56"/>
                  </a:lnTo>
                  <a:lnTo>
                    <a:pt x="190" y="5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09" name="Freeform 44"/>
            <p:cNvSpPr>
              <a:spLocks/>
            </p:cNvSpPr>
            <p:nvPr/>
          </p:nvSpPr>
          <p:spPr bwMode="auto">
            <a:xfrm>
              <a:off x="3211699" y="3359058"/>
              <a:ext cx="206170" cy="54077"/>
            </a:xfrm>
            <a:custGeom>
              <a:avLst/>
              <a:gdLst>
                <a:gd name="T0" fmla="*/ 38 w 122"/>
                <a:gd name="T1" fmla="*/ 4 h 32"/>
                <a:gd name="T2" fmla="*/ 38 w 122"/>
                <a:gd name="T3" fmla="*/ 4 h 32"/>
                <a:gd name="T4" fmla="*/ 48 w 122"/>
                <a:gd name="T5" fmla="*/ 2 h 32"/>
                <a:gd name="T6" fmla="*/ 60 w 122"/>
                <a:gd name="T7" fmla="*/ 0 h 32"/>
                <a:gd name="T8" fmla="*/ 72 w 122"/>
                <a:gd name="T9" fmla="*/ 0 h 32"/>
                <a:gd name="T10" fmla="*/ 84 w 122"/>
                <a:gd name="T11" fmla="*/ 2 h 32"/>
                <a:gd name="T12" fmla="*/ 94 w 122"/>
                <a:gd name="T13" fmla="*/ 4 h 32"/>
                <a:gd name="T14" fmla="*/ 106 w 122"/>
                <a:gd name="T15" fmla="*/ 10 h 32"/>
                <a:gd name="T16" fmla="*/ 122 w 122"/>
                <a:gd name="T17" fmla="*/ 18 h 32"/>
                <a:gd name="T18" fmla="*/ 122 w 122"/>
                <a:gd name="T19" fmla="*/ 18 h 32"/>
                <a:gd name="T20" fmla="*/ 106 w 122"/>
                <a:gd name="T21" fmla="*/ 26 h 32"/>
                <a:gd name="T22" fmla="*/ 92 w 122"/>
                <a:gd name="T23" fmla="*/ 30 h 32"/>
                <a:gd name="T24" fmla="*/ 76 w 122"/>
                <a:gd name="T25" fmla="*/ 32 h 32"/>
                <a:gd name="T26" fmla="*/ 62 w 122"/>
                <a:gd name="T27" fmla="*/ 32 h 32"/>
                <a:gd name="T28" fmla="*/ 32 w 122"/>
                <a:gd name="T29" fmla="*/ 32 h 32"/>
                <a:gd name="T30" fmla="*/ 0 w 122"/>
                <a:gd name="T31" fmla="*/ 28 h 32"/>
                <a:gd name="T32" fmla="*/ 0 w 122"/>
                <a:gd name="T33" fmla="*/ 28 h 32"/>
                <a:gd name="T34" fmla="*/ 6 w 122"/>
                <a:gd name="T35" fmla="*/ 26 h 32"/>
                <a:gd name="T36" fmla="*/ 12 w 122"/>
                <a:gd name="T37" fmla="*/ 24 h 32"/>
                <a:gd name="T38" fmla="*/ 24 w 122"/>
                <a:gd name="T39" fmla="*/ 24 h 32"/>
                <a:gd name="T40" fmla="*/ 36 w 122"/>
                <a:gd name="T41" fmla="*/ 24 h 32"/>
                <a:gd name="T42" fmla="*/ 42 w 122"/>
                <a:gd name="T43" fmla="*/ 24 h 32"/>
                <a:gd name="T44" fmla="*/ 46 w 122"/>
                <a:gd name="T45" fmla="*/ 18 h 32"/>
                <a:gd name="T46" fmla="*/ 46 w 122"/>
                <a:gd name="T47" fmla="*/ 18 h 32"/>
                <a:gd name="T48" fmla="*/ 44 w 122"/>
                <a:gd name="T49" fmla="*/ 16 h 32"/>
                <a:gd name="T50" fmla="*/ 42 w 122"/>
                <a:gd name="T51" fmla="*/ 12 h 32"/>
                <a:gd name="T52" fmla="*/ 42 w 122"/>
                <a:gd name="T53" fmla="*/ 8 h 32"/>
                <a:gd name="T54" fmla="*/ 38 w 122"/>
                <a:gd name="T55" fmla="*/ 4 h 32"/>
                <a:gd name="T56" fmla="*/ 38 w 122"/>
                <a:gd name="T57"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2" h="32">
                  <a:moveTo>
                    <a:pt x="38" y="4"/>
                  </a:moveTo>
                  <a:lnTo>
                    <a:pt x="38" y="4"/>
                  </a:lnTo>
                  <a:lnTo>
                    <a:pt x="48" y="2"/>
                  </a:lnTo>
                  <a:lnTo>
                    <a:pt x="60" y="0"/>
                  </a:lnTo>
                  <a:lnTo>
                    <a:pt x="72" y="0"/>
                  </a:lnTo>
                  <a:lnTo>
                    <a:pt x="84" y="2"/>
                  </a:lnTo>
                  <a:lnTo>
                    <a:pt x="94" y="4"/>
                  </a:lnTo>
                  <a:lnTo>
                    <a:pt x="106" y="10"/>
                  </a:lnTo>
                  <a:lnTo>
                    <a:pt x="122" y="18"/>
                  </a:lnTo>
                  <a:lnTo>
                    <a:pt x="122" y="18"/>
                  </a:lnTo>
                  <a:lnTo>
                    <a:pt x="106" y="26"/>
                  </a:lnTo>
                  <a:lnTo>
                    <a:pt x="92" y="30"/>
                  </a:lnTo>
                  <a:lnTo>
                    <a:pt x="76" y="32"/>
                  </a:lnTo>
                  <a:lnTo>
                    <a:pt x="62" y="32"/>
                  </a:lnTo>
                  <a:lnTo>
                    <a:pt x="32" y="32"/>
                  </a:lnTo>
                  <a:lnTo>
                    <a:pt x="0" y="28"/>
                  </a:lnTo>
                  <a:lnTo>
                    <a:pt x="0" y="28"/>
                  </a:lnTo>
                  <a:lnTo>
                    <a:pt x="6" y="26"/>
                  </a:lnTo>
                  <a:lnTo>
                    <a:pt x="12" y="24"/>
                  </a:lnTo>
                  <a:lnTo>
                    <a:pt x="24" y="24"/>
                  </a:lnTo>
                  <a:lnTo>
                    <a:pt x="36" y="24"/>
                  </a:lnTo>
                  <a:lnTo>
                    <a:pt x="42" y="24"/>
                  </a:lnTo>
                  <a:lnTo>
                    <a:pt x="46" y="18"/>
                  </a:lnTo>
                  <a:lnTo>
                    <a:pt x="46" y="18"/>
                  </a:lnTo>
                  <a:lnTo>
                    <a:pt x="44" y="16"/>
                  </a:lnTo>
                  <a:lnTo>
                    <a:pt x="42" y="12"/>
                  </a:lnTo>
                  <a:lnTo>
                    <a:pt x="42" y="8"/>
                  </a:lnTo>
                  <a:lnTo>
                    <a:pt x="38" y="4"/>
                  </a:lnTo>
                  <a:lnTo>
                    <a:pt x="38"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0" name="Freeform 45"/>
            <p:cNvSpPr>
              <a:spLocks/>
            </p:cNvSpPr>
            <p:nvPr/>
          </p:nvSpPr>
          <p:spPr bwMode="auto">
            <a:xfrm>
              <a:off x="9139937" y="3359058"/>
              <a:ext cx="64217" cy="54077"/>
            </a:xfrm>
            <a:custGeom>
              <a:avLst/>
              <a:gdLst>
                <a:gd name="T0" fmla="*/ 38 w 38"/>
                <a:gd name="T1" fmla="*/ 0 h 32"/>
                <a:gd name="T2" fmla="*/ 38 w 38"/>
                <a:gd name="T3" fmla="*/ 0 h 32"/>
                <a:gd name="T4" fmla="*/ 32 w 38"/>
                <a:gd name="T5" fmla="*/ 10 h 32"/>
                <a:gd name="T6" fmla="*/ 28 w 38"/>
                <a:gd name="T7" fmla="*/ 20 h 32"/>
                <a:gd name="T8" fmla="*/ 24 w 38"/>
                <a:gd name="T9" fmla="*/ 26 h 32"/>
                <a:gd name="T10" fmla="*/ 22 w 38"/>
                <a:gd name="T11" fmla="*/ 30 h 32"/>
                <a:gd name="T12" fmla="*/ 16 w 38"/>
                <a:gd name="T13" fmla="*/ 32 h 32"/>
                <a:gd name="T14" fmla="*/ 10 w 38"/>
                <a:gd name="T15" fmla="*/ 32 h 32"/>
                <a:gd name="T16" fmla="*/ 10 w 38"/>
                <a:gd name="T17" fmla="*/ 32 h 32"/>
                <a:gd name="T18" fmla="*/ 6 w 38"/>
                <a:gd name="T19" fmla="*/ 28 h 32"/>
                <a:gd name="T20" fmla="*/ 2 w 38"/>
                <a:gd name="T21" fmla="*/ 24 h 32"/>
                <a:gd name="T22" fmla="*/ 0 w 38"/>
                <a:gd name="T23" fmla="*/ 18 h 32"/>
                <a:gd name="T24" fmla="*/ 0 w 38"/>
                <a:gd name="T25" fmla="*/ 10 h 32"/>
                <a:gd name="T26" fmla="*/ 0 w 38"/>
                <a:gd name="T27" fmla="*/ 10 h 32"/>
                <a:gd name="T28" fmla="*/ 16 w 38"/>
                <a:gd name="T29" fmla="*/ 2 h 32"/>
                <a:gd name="T30" fmla="*/ 26 w 38"/>
                <a:gd name="T31" fmla="*/ 0 h 32"/>
                <a:gd name="T32" fmla="*/ 38 w 38"/>
                <a:gd name="T33" fmla="*/ 0 h 32"/>
                <a:gd name="T34" fmla="*/ 38 w 38"/>
                <a:gd name="T3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 h="32">
                  <a:moveTo>
                    <a:pt x="38" y="0"/>
                  </a:moveTo>
                  <a:lnTo>
                    <a:pt x="38" y="0"/>
                  </a:lnTo>
                  <a:lnTo>
                    <a:pt x="32" y="10"/>
                  </a:lnTo>
                  <a:lnTo>
                    <a:pt x="28" y="20"/>
                  </a:lnTo>
                  <a:lnTo>
                    <a:pt x="24" y="26"/>
                  </a:lnTo>
                  <a:lnTo>
                    <a:pt x="22" y="30"/>
                  </a:lnTo>
                  <a:lnTo>
                    <a:pt x="16" y="32"/>
                  </a:lnTo>
                  <a:lnTo>
                    <a:pt x="10" y="32"/>
                  </a:lnTo>
                  <a:lnTo>
                    <a:pt x="10" y="32"/>
                  </a:lnTo>
                  <a:lnTo>
                    <a:pt x="6" y="28"/>
                  </a:lnTo>
                  <a:lnTo>
                    <a:pt x="2" y="24"/>
                  </a:lnTo>
                  <a:lnTo>
                    <a:pt x="0" y="18"/>
                  </a:lnTo>
                  <a:lnTo>
                    <a:pt x="0" y="10"/>
                  </a:lnTo>
                  <a:lnTo>
                    <a:pt x="0" y="10"/>
                  </a:lnTo>
                  <a:lnTo>
                    <a:pt x="16" y="2"/>
                  </a:lnTo>
                  <a:lnTo>
                    <a:pt x="26" y="0"/>
                  </a:lnTo>
                  <a:lnTo>
                    <a:pt x="38" y="0"/>
                  </a:lnTo>
                  <a:lnTo>
                    <a:pt x="3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1" name="Freeform 46"/>
            <p:cNvSpPr>
              <a:spLocks/>
            </p:cNvSpPr>
            <p:nvPr/>
          </p:nvSpPr>
          <p:spPr bwMode="auto">
            <a:xfrm>
              <a:off x="3093405" y="3399616"/>
              <a:ext cx="64217" cy="23659"/>
            </a:xfrm>
            <a:custGeom>
              <a:avLst/>
              <a:gdLst>
                <a:gd name="T0" fmla="*/ 0 w 38"/>
                <a:gd name="T1" fmla="*/ 0 h 14"/>
                <a:gd name="T2" fmla="*/ 0 w 38"/>
                <a:gd name="T3" fmla="*/ 0 h 14"/>
                <a:gd name="T4" fmla="*/ 12 w 38"/>
                <a:gd name="T5" fmla="*/ 0 h 14"/>
                <a:gd name="T6" fmla="*/ 22 w 38"/>
                <a:gd name="T7" fmla="*/ 2 h 14"/>
                <a:gd name="T8" fmla="*/ 38 w 38"/>
                <a:gd name="T9" fmla="*/ 8 h 14"/>
                <a:gd name="T10" fmla="*/ 38 w 38"/>
                <a:gd name="T11" fmla="*/ 8 h 14"/>
                <a:gd name="T12" fmla="*/ 34 w 38"/>
                <a:gd name="T13" fmla="*/ 12 h 14"/>
                <a:gd name="T14" fmla="*/ 28 w 38"/>
                <a:gd name="T15" fmla="*/ 14 h 14"/>
                <a:gd name="T16" fmla="*/ 16 w 38"/>
                <a:gd name="T17" fmla="*/ 14 h 14"/>
                <a:gd name="T18" fmla="*/ 8 w 38"/>
                <a:gd name="T19" fmla="*/ 12 h 14"/>
                <a:gd name="T20" fmla="*/ 4 w 38"/>
                <a:gd name="T21" fmla="*/ 10 h 14"/>
                <a:gd name="T22" fmla="*/ 0 w 38"/>
                <a:gd name="T23" fmla="*/ 4 h 14"/>
                <a:gd name="T24" fmla="*/ 0 w 38"/>
                <a:gd name="T25" fmla="*/ 0 h 14"/>
                <a:gd name="T26" fmla="*/ 0 w 38"/>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4">
                  <a:moveTo>
                    <a:pt x="0" y="0"/>
                  </a:moveTo>
                  <a:lnTo>
                    <a:pt x="0" y="0"/>
                  </a:lnTo>
                  <a:lnTo>
                    <a:pt x="12" y="0"/>
                  </a:lnTo>
                  <a:lnTo>
                    <a:pt x="22" y="2"/>
                  </a:lnTo>
                  <a:lnTo>
                    <a:pt x="38" y="8"/>
                  </a:lnTo>
                  <a:lnTo>
                    <a:pt x="38" y="8"/>
                  </a:lnTo>
                  <a:lnTo>
                    <a:pt x="34" y="12"/>
                  </a:lnTo>
                  <a:lnTo>
                    <a:pt x="28" y="14"/>
                  </a:lnTo>
                  <a:lnTo>
                    <a:pt x="16" y="14"/>
                  </a:lnTo>
                  <a:lnTo>
                    <a:pt x="8" y="12"/>
                  </a:lnTo>
                  <a:lnTo>
                    <a:pt x="4" y="10"/>
                  </a:lnTo>
                  <a:lnTo>
                    <a:pt x="0" y="4"/>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2" name="Freeform 47"/>
            <p:cNvSpPr>
              <a:spLocks/>
            </p:cNvSpPr>
            <p:nvPr/>
          </p:nvSpPr>
          <p:spPr bwMode="auto">
            <a:xfrm>
              <a:off x="3448288" y="3399616"/>
              <a:ext cx="47318" cy="23659"/>
            </a:xfrm>
            <a:custGeom>
              <a:avLst/>
              <a:gdLst>
                <a:gd name="T0" fmla="*/ 28 w 28"/>
                <a:gd name="T1" fmla="*/ 0 h 14"/>
                <a:gd name="T2" fmla="*/ 28 w 28"/>
                <a:gd name="T3" fmla="*/ 0 h 14"/>
                <a:gd name="T4" fmla="*/ 28 w 28"/>
                <a:gd name="T5" fmla="*/ 6 h 14"/>
                <a:gd name="T6" fmla="*/ 26 w 28"/>
                <a:gd name="T7" fmla="*/ 10 h 14"/>
                <a:gd name="T8" fmla="*/ 22 w 28"/>
                <a:gd name="T9" fmla="*/ 12 h 14"/>
                <a:gd name="T10" fmla="*/ 18 w 28"/>
                <a:gd name="T11" fmla="*/ 14 h 14"/>
                <a:gd name="T12" fmla="*/ 8 w 28"/>
                <a:gd name="T13" fmla="*/ 12 h 14"/>
                <a:gd name="T14" fmla="*/ 0 w 28"/>
                <a:gd name="T15" fmla="*/ 8 h 14"/>
                <a:gd name="T16" fmla="*/ 0 w 28"/>
                <a:gd name="T17" fmla="*/ 8 h 14"/>
                <a:gd name="T18" fmla="*/ 0 w 28"/>
                <a:gd name="T19" fmla="*/ 6 h 14"/>
                <a:gd name="T20" fmla="*/ 2 w 28"/>
                <a:gd name="T21" fmla="*/ 2 h 14"/>
                <a:gd name="T22" fmla="*/ 10 w 28"/>
                <a:gd name="T23" fmla="*/ 0 h 14"/>
                <a:gd name="T24" fmla="*/ 28 w 28"/>
                <a:gd name="T25" fmla="*/ 0 h 14"/>
                <a:gd name="T26" fmla="*/ 28 w 28"/>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14">
                  <a:moveTo>
                    <a:pt x="28" y="0"/>
                  </a:moveTo>
                  <a:lnTo>
                    <a:pt x="28" y="0"/>
                  </a:lnTo>
                  <a:lnTo>
                    <a:pt x="28" y="6"/>
                  </a:lnTo>
                  <a:lnTo>
                    <a:pt x="26" y="10"/>
                  </a:lnTo>
                  <a:lnTo>
                    <a:pt x="22" y="12"/>
                  </a:lnTo>
                  <a:lnTo>
                    <a:pt x="18" y="14"/>
                  </a:lnTo>
                  <a:lnTo>
                    <a:pt x="8" y="12"/>
                  </a:lnTo>
                  <a:lnTo>
                    <a:pt x="0" y="8"/>
                  </a:lnTo>
                  <a:lnTo>
                    <a:pt x="0" y="8"/>
                  </a:lnTo>
                  <a:lnTo>
                    <a:pt x="0" y="6"/>
                  </a:lnTo>
                  <a:lnTo>
                    <a:pt x="2" y="2"/>
                  </a:lnTo>
                  <a:lnTo>
                    <a:pt x="10" y="0"/>
                  </a:lnTo>
                  <a:lnTo>
                    <a:pt x="28" y="0"/>
                  </a:lnTo>
                  <a:lnTo>
                    <a:pt x="2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3" name="Freeform 48"/>
            <p:cNvSpPr>
              <a:spLocks/>
            </p:cNvSpPr>
            <p:nvPr/>
          </p:nvSpPr>
          <p:spPr bwMode="auto">
            <a:xfrm>
              <a:off x="9525238" y="3406375"/>
              <a:ext cx="141953" cy="196031"/>
            </a:xfrm>
            <a:custGeom>
              <a:avLst/>
              <a:gdLst>
                <a:gd name="T0" fmla="*/ 10 w 84"/>
                <a:gd name="T1" fmla="*/ 0 h 116"/>
                <a:gd name="T2" fmla="*/ 10 w 84"/>
                <a:gd name="T3" fmla="*/ 0 h 116"/>
                <a:gd name="T4" fmla="*/ 18 w 84"/>
                <a:gd name="T5" fmla="*/ 0 h 116"/>
                <a:gd name="T6" fmla="*/ 24 w 84"/>
                <a:gd name="T7" fmla="*/ 4 h 116"/>
                <a:gd name="T8" fmla="*/ 28 w 84"/>
                <a:gd name="T9" fmla="*/ 8 h 116"/>
                <a:gd name="T10" fmla="*/ 30 w 84"/>
                <a:gd name="T11" fmla="*/ 12 h 116"/>
                <a:gd name="T12" fmla="*/ 36 w 84"/>
                <a:gd name="T13" fmla="*/ 24 h 116"/>
                <a:gd name="T14" fmla="*/ 38 w 84"/>
                <a:gd name="T15" fmla="*/ 28 h 116"/>
                <a:gd name="T16" fmla="*/ 42 w 84"/>
                <a:gd name="T17" fmla="*/ 32 h 116"/>
                <a:gd name="T18" fmla="*/ 42 w 84"/>
                <a:gd name="T19" fmla="*/ 32 h 116"/>
                <a:gd name="T20" fmla="*/ 36 w 84"/>
                <a:gd name="T21" fmla="*/ 50 h 116"/>
                <a:gd name="T22" fmla="*/ 28 w 84"/>
                <a:gd name="T23" fmla="*/ 66 h 116"/>
                <a:gd name="T24" fmla="*/ 28 w 84"/>
                <a:gd name="T25" fmla="*/ 66 h 116"/>
                <a:gd name="T26" fmla="*/ 30 w 84"/>
                <a:gd name="T27" fmla="*/ 72 h 116"/>
                <a:gd name="T28" fmla="*/ 32 w 84"/>
                <a:gd name="T29" fmla="*/ 78 h 116"/>
                <a:gd name="T30" fmla="*/ 34 w 84"/>
                <a:gd name="T31" fmla="*/ 82 h 116"/>
                <a:gd name="T32" fmla="*/ 38 w 84"/>
                <a:gd name="T33" fmla="*/ 86 h 116"/>
                <a:gd name="T34" fmla="*/ 46 w 84"/>
                <a:gd name="T35" fmla="*/ 90 h 116"/>
                <a:gd name="T36" fmla="*/ 56 w 84"/>
                <a:gd name="T37" fmla="*/ 92 h 116"/>
                <a:gd name="T38" fmla="*/ 66 w 84"/>
                <a:gd name="T39" fmla="*/ 94 h 116"/>
                <a:gd name="T40" fmla="*/ 74 w 84"/>
                <a:gd name="T41" fmla="*/ 98 h 116"/>
                <a:gd name="T42" fmla="*/ 78 w 84"/>
                <a:gd name="T43" fmla="*/ 102 h 116"/>
                <a:gd name="T44" fmla="*/ 82 w 84"/>
                <a:gd name="T45" fmla="*/ 106 h 116"/>
                <a:gd name="T46" fmla="*/ 84 w 84"/>
                <a:gd name="T47" fmla="*/ 110 h 116"/>
                <a:gd name="T48" fmla="*/ 84 w 84"/>
                <a:gd name="T49" fmla="*/ 116 h 116"/>
                <a:gd name="T50" fmla="*/ 84 w 84"/>
                <a:gd name="T51" fmla="*/ 116 h 116"/>
                <a:gd name="T52" fmla="*/ 76 w 84"/>
                <a:gd name="T53" fmla="*/ 112 h 116"/>
                <a:gd name="T54" fmla="*/ 66 w 84"/>
                <a:gd name="T55" fmla="*/ 108 h 116"/>
                <a:gd name="T56" fmla="*/ 54 w 84"/>
                <a:gd name="T57" fmla="*/ 108 h 116"/>
                <a:gd name="T58" fmla="*/ 42 w 84"/>
                <a:gd name="T59" fmla="*/ 112 h 116"/>
                <a:gd name="T60" fmla="*/ 42 w 84"/>
                <a:gd name="T61" fmla="*/ 112 h 116"/>
                <a:gd name="T62" fmla="*/ 30 w 84"/>
                <a:gd name="T63" fmla="*/ 102 h 116"/>
                <a:gd name="T64" fmla="*/ 20 w 84"/>
                <a:gd name="T65" fmla="*/ 90 h 116"/>
                <a:gd name="T66" fmla="*/ 10 w 84"/>
                <a:gd name="T67" fmla="*/ 80 h 116"/>
                <a:gd name="T68" fmla="*/ 4 w 84"/>
                <a:gd name="T69" fmla="*/ 66 h 116"/>
                <a:gd name="T70" fmla="*/ 0 w 84"/>
                <a:gd name="T71" fmla="*/ 52 h 116"/>
                <a:gd name="T72" fmla="*/ 0 w 84"/>
                <a:gd name="T73" fmla="*/ 36 h 116"/>
                <a:gd name="T74" fmla="*/ 2 w 84"/>
                <a:gd name="T75" fmla="*/ 20 h 116"/>
                <a:gd name="T76" fmla="*/ 10 w 84"/>
                <a:gd name="T77" fmla="*/ 0 h 116"/>
                <a:gd name="T78" fmla="*/ 10 w 84"/>
                <a:gd name="T7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 h="116">
                  <a:moveTo>
                    <a:pt x="10" y="0"/>
                  </a:moveTo>
                  <a:lnTo>
                    <a:pt x="10" y="0"/>
                  </a:lnTo>
                  <a:lnTo>
                    <a:pt x="18" y="0"/>
                  </a:lnTo>
                  <a:lnTo>
                    <a:pt x="24" y="4"/>
                  </a:lnTo>
                  <a:lnTo>
                    <a:pt x="28" y="8"/>
                  </a:lnTo>
                  <a:lnTo>
                    <a:pt x="30" y="12"/>
                  </a:lnTo>
                  <a:lnTo>
                    <a:pt x="36" y="24"/>
                  </a:lnTo>
                  <a:lnTo>
                    <a:pt x="38" y="28"/>
                  </a:lnTo>
                  <a:lnTo>
                    <a:pt x="42" y="32"/>
                  </a:lnTo>
                  <a:lnTo>
                    <a:pt x="42" y="32"/>
                  </a:lnTo>
                  <a:lnTo>
                    <a:pt x="36" y="50"/>
                  </a:lnTo>
                  <a:lnTo>
                    <a:pt x="28" y="66"/>
                  </a:lnTo>
                  <a:lnTo>
                    <a:pt x="28" y="66"/>
                  </a:lnTo>
                  <a:lnTo>
                    <a:pt x="30" y="72"/>
                  </a:lnTo>
                  <a:lnTo>
                    <a:pt x="32" y="78"/>
                  </a:lnTo>
                  <a:lnTo>
                    <a:pt x="34" y="82"/>
                  </a:lnTo>
                  <a:lnTo>
                    <a:pt x="38" y="86"/>
                  </a:lnTo>
                  <a:lnTo>
                    <a:pt x="46" y="90"/>
                  </a:lnTo>
                  <a:lnTo>
                    <a:pt x="56" y="92"/>
                  </a:lnTo>
                  <a:lnTo>
                    <a:pt x="66" y="94"/>
                  </a:lnTo>
                  <a:lnTo>
                    <a:pt x="74" y="98"/>
                  </a:lnTo>
                  <a:lnTo>
                    <a:pt x="78" y="102"/>
                  </a:lnTo>
                  <a:lnTo>
                    <a:pt x="82" y="106"/>
                  </a:lnTo>
                  <a:lnTo>
                    <a:pt x="84" y="110"/>
                  </a:lnTo>
                  <a:lnTo>
                    <a:pt x="84" y="116"/>
                  </a:lnTo>
                  <a:lnTo>
                    <a:pt x="84" y="116"/>
                  </a:lnTo>
                  <a:lnTo>
                    <a:pt x="76" y="112"/>
                  </a:lnTo>
                  <a:lnTo>
                    <a:pt x="66" y="108"/>
                  </a:lnTo>
                  <a:lnTo>
                    <a:pt x="54" y="108"/>
                  </a:lnTo>
                  <a:lnTo>
                    <a:pt x="42" y="112"/>
                  </a:lnTo>
                  <a:lnTo>
                    <a:pt x="42" y="112"/>
                  </a:lnTo>
                  <a:lnTo>
                    <a:pt x="30" y="102"/>
                  </a:lnTo>
                  <a:lnTo>
                    <a:pt x="20" y="90"/>
                  </a:lnTo>
                  <a:lnTo>
                    <a:pt x="10" y="80"/>
                  </a:lnTo>
                  <a:lnTo>
                    <a:pt x="4" y="66"/>
                  </a:lnTo>
                  <a:lnTo>
                    <a:pt x="0" y="52"/>
                  </a:lnTo>
                  <a:lnTo>
                    <a:pt x="0" y="36"/>
                  </a:lnTo>
                  <a:lnTo>
                    <a:pt x="2" y="20"/>
                  </a:lnTo>
                  <a:lnTo>
                    <a:pt x="10" y="0"/>
                  </a:lnTo>
                  <a:lnTo>
                    <a:pt x="1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4" name="Freeform 49"/>
            <p:cNvSpPr>
              <a:spLocks/>
            </p:cNvSpPr>
            <p:nvPr/>
          </p:nvSpPr>
          <p:spPr bwMode="auto">
            <a:xfrm>
              <a:off x="9684091" y="3629444"/>
              <a:ext cx="54077" cy="43938"/>
            </a:xfrm>
            <a:custGeom>
              <a:avLst/>
              <a:gdLst>
                <a:gd name="T0" fmla="*/ 0 w 32"/>
                <a:gd name="T1" fmla="*/ 4 h 26"/>
                <a:gd name="T2" fmla="*/ 0 w 32"/>
                <a:gd name="T3" fmla="*/ 4 h 26"/>
                <a:gd name="T4" fmla="*/ 4 w 32"/>
                <a:gd name="T5" fmla="*/ 0 h 26"/>
                <a:gd name="T6" fmla="*/ 10 w 32"/>
                <a:gd name="T7" fmla="*/ 0 h 26"/>
                <a:gd name="T8" fmla="*/ 14 w 32"/>
                <a:gd name="T9" fmla="*/ 2 h 26"/>
                <a:gd name="T10" fmla="*/ 18 w 32"/>
                <a:gd name="T11" fmla="*/ 6 h 26"/>
                <a:gd name="T12" fmla="*/ 26 w 32"/>
                <a:gd name="T13" fmla="*/ 16 h 26"/>
                <a:gd name="T14" fmla="*/ 28 w 32"/>
                <a:gd name="T15" fmla="*/ 20 h 26"/>
                <a:gd name="T16" fmla="*/ 32 w 32"/>
                <a:gd name="T17" fmla="*/ 22 h 26"/>
                <a:gd name="T18" fmla="*/ 32 w 32"/>
                <a:gd name="T19" fmla="*/ 22 h 26"/>
                <a:gd name="T20" fmla="*/ 28 w 32"/>
                <a:gd name="T21" fmla="*/ 26 h 26"/>
                <a:gd name="T22" fmla="*/ 22 w 32"/>
                <a:gd name="T23" fmla="*/ 26 h 26"/>
                <a:gd name="T24" fmla="*/ 18 w 32"/>
                <a:gd name="T25" fmla="*/ 24 h 26"/>
                <a:gd name="T26" fmla="*/ 14 w 32"/>
                <a:gd name="T27" fmla="*/ 20 h 26"/>
                <a:gd name="T28" fmla="*/ 6 w 32"/>
                <a:gd name="T29" fmla="*/ 12 h 26"/>
                <a:gd name="T30" fmla="*/ 0 w 32"/>
                <a:gd name="T31" fmla="*/ 4 h 26"/>
                <a:gd name="T32" fmla="*/ 0 w 32"/>
                <a:gd name="T33"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26">
                  <a:moveTo>
                    <a:pt x="0" y="4"/>
                  </a:moveTo>
                  <a:lnTo>
                    <a:pt x="0" y="4"/>
                  </a:lnTo>
                  <a:lnTo>
                    <a:pt x="4" y="0"/>
                  </a:lnTo>
                  <a:lnTo>
                    <a:pt x="10" y="0"/>
                  </a:lnTo>
                  <a:lnTo>
                    <a:pt x="14" y="2"/>
                  </a:lnTo>
                  <a:lnTo>
                    <a:pt x="18" y="6"/>
                  </a:lnTo>
                  <a:lnTo>
                    <a:pt x="26" y="16"/>
                  </a:lnTo>
                  <a:lnTo>
                    <a:pt x="28" y="20"/>
                  </a:lnTo>
                  <a:lnTo>
                    <a:pt x="32" y="22"/>
                  </a:lnTo>
                  <a:lnTo>
                    <a:pt x="32" y="22"/>
                  </a:lnTo>
                  <a:lnTo>
                    <a:pt x="28" y="26"/>
                  </a:lnTo>
                  <a:lnTo>
                    <a:pt x="22" y="26"/>
                  </a:lnTo>
                  <a:lnTo>
                    <a:pt x="18" y="24"/>
                  </a:lnTo>
                  <a:lnTo>
                    <a:pt x="14" y="20"/>
                  </a:lnTo>
                  <a:lnTo>
                    <a:pt x="6" y="12"/>
                  </a:lnTo>
                  <a:lnTo>
                    <a:pt x="0" y="4"/>
                  </a:lnTo>
                  <a:lnTo>
                    <a:pt x="0"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5" name="Freeform 50"/>
            <p:cNvSpPr>
              <a:spLocks/>
            </p:cNvSpPr>
            <p:nvPr/>
          </p:nvSpPr>
          <p:spPr bwMode="auto">
            <a:xfrm>
              <a:off x="9599595" y="3649723"/>
              <a:ext cx="37178" cy="40558"/>
            </a:xfrm>
            <a:custGeom>
              <a:avLst/>
              <a:gdLst>
                <a:gd name="T0" fmla="*/ 4 w 22"/>
                <a:gd name="T1" fmla="*/ 0 h 24"/>
                <a:gd name="T2" fmla="*/ 4 w 22"/>
                <a:gd name="T3" fmla="*/ 0 h 24"/>
                <a:gd name="T4" fmla="*/ 22 w 22"/>
                <a:gd name="T5" fmla="*/ 0 h 24"/>
                <a:gd name="T6" fmla="*/ 22 w 22"/>
                <a:gd name="T7" fmla="*/ 0 h 24"/>
                <a:gd name="T8" fmla="*/ 20 w 22"/>
                <a:gd name="T9" fmla="*/ 6 h 24"/>
                <a:gd name="T10" fmla="*/ 16 w 22"/>
                <a:gd name="T11" fmla="*/ 12 h 24"/>
                <a:gd name="T12" fmla="*/ 14 w 22"/>
                <a:gd name="T13" fmla="*/ 16 h 24"/>
                <a:gd name="T14" fmla="*/ 12 w 22"/>
                <a:gd name="T15" fmla="*/ 24 h 24"/>
                <a:gd name="T16" fmla="*/ 12 w 22"/>
                <a:gd name="T17" fmla="*/ 24 h 24"/>
                <a:gd name="T18" fmla="*/ 6 w 22"/>
                <a:gd name="T19" fmla="*/ 20 h 24"/>
                <a:gd name="T20" fmla="*/ 2 w 22"/>
                <a:gd name="T21" fmla="*/ 16 h 24"/>
                <a:gd name="T22" fmla="*/ 0 w 22"/>
                <a:gd name="T23" fmla="*/ 10 h 24"/>
                <a:gd name="T24" fmla="*/ 4 w 22"/>
                <a:gd name="T25" fmla="*/ 0 h 24"/>
                <a:gd name="T26" fmla="*/ 4 w 22"/>
                <a:gd name="T2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4" y="0"/>
                  </a:moveTo>
                  <a:lnTo>
                    <a:pt x="4" y="0"/>
                  </a:lnTo>
                  <a:lnTo>
                    <a:pt x="22" y="0"/>
                  </a:lnTo>
                  <a:lnTo>
                    <a:pt x="22" y="0"/>
                  </a:lnTo>
                  <a:lnTo>
                    <a:pt x="20" y="6"/>
                  </a:lnTo>
                  <a:lnTo>
                    <a:pt x="16" y="12"/>
                  </a:lnTo>
                  <a:lnTo>
                    <a:pt x="14" y="16"/>
                  </a:lnTo>
                  <a:lnTo>
                    <a:pt x="12" y="24"/>
                  </a:lnTo>
                  <a:lnTo>
                    <a:pt x="12" y="24"/>
                  </a:lnTo>
                  <a:lnTo>
                    <a:pt x="6" y="20"/>
                  </a:lnTo>
                  <a:lnTo>
                    <a:pt x="2" y="16"/>
                  </a:lnTo>
                  <a:lnTo>
                    <a:pt x="0" y="10"/>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6" name="Freeform 51"/>
            <p:cNvSpPr>
              <a:spLocks/>
            </p:cNvSpPr>
            <p:nvPr/>
          </p:nvSpPr>
          <p:spPr bwMode="auto">
            <a:xfrm>
              <a:off x="9464401" y="3673383"/>
              <a:ext cx="67597" cy="87876"/>
            </a:xfrm>
            <a:custGeom>
              <a:avLst/>
              <a:gdLst>
                <a:gd name="T0" fmla="*/ 36 w 40"/>
                <a:gd name="T1" fmla="*/ 0 h 52"/>
                <a:gd name="T2" fmla="*/ 36 w 40"/>
                <a:gd name="T3" fmla="*/ 0 h 52"/>
                <a:gd name="T4" fmla="*/ 40 w 40"/>
                <a:gd name="T5" fmla="*/ 8 h 52"/>
                <a:gd name="T6" fmla="*/ 38 w 40"/>
                <a:gd name="T7" fmla="*/ 18 h 52"/>
                <a:gd name="T8" fmla="*/ 36 w 40"/>
                <a:gd name="T9" fmla="*/ 26 h 52"/>
                <a:gd name="T10" fmla="*/ 30 w 40"/>
                <a:gd name="T11" fmla="*/ 32 h 52"/>
                <a:gd name="T12" fmla="*/ 24 w 40"/>
                <a:gd name="T13" fmla="*/ 40 h 52"/>
                <a:gd name="T14" fmla="*/ 16 w 40"/>
                <a:gd name="T15" fmla="*/ 46 h 52"/>
                <a:gd name="T16" fmla="*/ 8 w 40"/>
                <a:gd name="T17" fmla="*/ 50 h 52"/>
                <a:gd name="T18" fmla="*/ 0 w 40"/>
                <a:gd name="T19" fmla="*/ 52 h 52"/>
                <a:gd name="T20" fmla="*/ 0 w 40"/>
                <a:gd name="T21" fmla="*/ 52 h 52"/>
                <a:gd name="T22" fmla="*/ 2 w 40"/>
                <a:gd name="T23" fmla="*/ 44 h 52"/>
                <a:gd name="T24" fmla="*/ 6 w 40"/>
                <a:gd name="T25" fmla="*/ 36 h 52"/>
                <a:gd name="T26" fmla="*/ 16 w 40"/>
                <a:gd name="T27" fmla="*/ 24 h 52"/>
                <a:gd name="T28" fmla="*/ 26 w 40"/>
                <a:gd name="T29" fmla="*/ 14 h 52"/>
                <a:gd name="T30" fmla="*/ 36 w 40"/>
                <a:gd name="T31" fmla="*/ 0 h 52"/>
                <a:gd name="T32" fmla="*/ 36 w 40"/>
                <a:gd name="T3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52">
                  <a:moveTo>
                    <a:pt x="36" y="0"/>
                  </a:moveTo>
                  <a:lnTo>
                    <a:pt x="36" y="0"/>
                  </a:lnTo>
                  <a:lnTo>
                    <a:pt x="40" y="8"/>
                  </a:lnTo>
                  <a:lnTo>
                    <a:pt x="38" y="18"/>
                  </a:lnTo>
                  <a:lnTo>
                    <a:pt x="36" y="26"/>
                  </a:lnTo>
                  <a:lnTo>
                    <a:pt x="30" y="32"/>
                  </a:lnTo>
                  <a:lnTo>
                    <a:pt x="24" y="40"/>
                  </a:lnTo>
                  <a:lnTo>
                    <a:pt x="16" y="46"/>
                  </a:lnTo>
                  <a:lnTo>
                    <a:pt x="8" y="50"/>
                  </a:lnTo>
                  <a:lnTo>
                    <a:pt x="0" y="52"/>
                  </a:lnTo>
                  <a:lnTo>
                    <a:pt x="0" y="52"/>
                  </a:lnTo>
                  <a:lnTo>
                    <a:pt x="2" y="44"/>
                  </a:lnTo>
                  <a:lnTo>
                    <a:pt x="6" y="36"/>
                  </a:lnTo>
                  <a:lnTo>
                    <a:pt x="16" y="24"/>
                  </a:lnTo>
                  <a:lnTo>
                    <a:pt x="26" y="14"/>
                  </a:lnTo>
                  <a:lnTo>
                    <a:pt x="36" y="0"/>
                  </a:lnTo>
                  <a:lnTo>
                    <a:pt x="3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7" name="Freeform 52"/>
            <p:cNvSpPr>
              <a:spLocks/>
            </p:cNvSpPr>
            <p:nvPr/>
          </p:nvSpPr>
          <p:spPr bwMode="auto">
            <a:xfrm>
              <a:off x="3597001" y="3683523"/>
              <a:ext cx="40558" cy="30419"/>
            </a:xfrm>
            <a:custGeom>
              <a:avLst/>
              <a:gdLst>
                <a:gd name="T0" fmla="*/ 6 w 24"/>
                <a:gd name="T1" fmla="*/ 4 h 18"/>
                <a:gd name="T2" fmla="*/ 6 w 24"/>
                <a:gd name="T3" fmla="*/ 4 h 18"/>
                <a:gd name="T4" fmla="*/ 8 w 24"/>
                <a:gd name="T5" fmla="*/ 0 h 18"/>
                <a:gd name="T6" fmla="*/ 12 w 24"/>
                <a:gd name="T7" fmla="*/ 0 h 18"/>
                <a:gd name="T8" fmla="*/ 24 w 24"/>
                <a:gd name="T9" fmla="*/ 0 h 18"/>
                <a:gd name="T10" fmla="*/ 24 w 24"/>
                <a:gd name="T11" fmla="*/ 0 h 18"/>
                <a:gd name="T12" fmla="*/ 20 w 24"/>
                <a:gd name="T13" fmla="*/ 8 h 18"/>
                <a:gd name="T14" fmla="*/ 20 w 24"/>
                <a:gd name="T15" fmla="*/ 18 h 18"/>
                <a:gd name="T16" fmla="*/ 20 w 24"/>
                <a:gd name="T17" fmla="*/ 18 h 18"/>
                <a:gd name="T18" fmla="*/ 0 w 24"/>
                <a:gd name="T19" fmla="*/ 18 h 18"/>
                <a:gd name="T20" fmla="*/ 0 w 24"/>
                <a:gd name="T21" fmla="*/ 18 h 18"/>
                <a:gd name="T22" fmla="*/ 0 w 24"/>
                <a:gd name="T23" fmla="*/ 16 h 18"/>
                <a:gd name="T24" fmla="*/ 2 w 24"/>
                <a:gd name="T25" fmla="*/ 14 h 18"/>
                <a:gd name="T26" fmla="*/ 6 w 24"/>
                <a:gd name="T27" fmla="*/ 10 h 18"/>
                <a:gd name="T28" fmla="*/ 10 w 24"/>
                <a:gd name="T29" fmla="*/ 6 h 18"/>
                <a:gd name="T30" fmla="*/ 8 w 24"/>
                <a:gd name="T31" fmla="*/ 6 h 18"/>
                <a:gd name="T32" fmla="*/ 6 w 24"/>
                <a:gd name="T33" fmla="*/ 4 h 18"/>
                <a:gd name="T34" fmla="*/ 6 w 24"/>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 h="18">
                  <a:moveTo>
                    <a:pt x="6" y="4"/>
                  </a:moveTo>
                  <a:lnTo>
                    <a:pt x="6" y="4"/>
                  </a:lnTo>
                  <a:lnTo>
                    <a:pt x="8" y="0"/>
                  </a:lnTo>
                  <a:lnTo>
                    <a:pt x="12" y="0"/>
                  </a:lnTo>
                  <a:lnTo>
                    <a:pt x="24" y="0"/>
                  </a:lnTo>
                  <a:lnTo>
                    <a:pt x="24" y="0"/>
                  </a:lnTo>
                  <a:lnTo>
                    <a:pt x="20" y="8"/>
                  </a:lnTo>
                  <a:lnTo>
                    <a:pt x="20" y="18"/>
                  </a:lnTo>
                  <a:lnTo>
                    <a:pt x="20" y="18"/>
                  </a:lnTo>
                  <a:lnTo>
                    <a:pt x="0" y="18"/>
                  </a:lnTo>
                  <a:lnTo>
                    <a:pt x="0" y="18"/>
                  </a:lnTo>
                  <a:lnTo>
                    <a:pt x="0" y="16"/>
                  </a:lnTo>
                  <a:lnTo>
                    <a:pt x="2" y="14"/>
                  </a:lnTo>
                  <a:lnTo>
                    <a:pt x="6" y="10"/>
                  </a:lnTo>
                  <a:lnTo>
                    <a:pt x="10" y="6"/>
                  </a:lnTo>
                  <a:lnTo>
                    <a:pt x="8" y="6"/>
                  </a:lnTo>
                  <a:lnTo>
                    <a:pt x="6" y="4"/>
                  </a:lnTo>
                  <a:lnTo>
                    <a:pt x="6"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8" name="Freeform 53"/>
            <p:cNvSpPr>
              <a:spLocks/>
            </p:cNvSpPr>
            <p:nvPr/>
          </p:nvSpPr>
          <p:spPr bwMode="auto">
            <a:xfrm>
              <a:off x="9630013" y="3697042"/>
              <a:ext cx="27039" cy="47318"/>
            </a:xfrm>
            <a:custGeom>
              <a:avLst/>
              <a:gdLst>
                <a:gd name="T0" fmla="*/ 4 w 16"/>
                <a:gd name="T1" fmla="*/ 0 h 28"/>
                <a:gd name="T2" fmla="*/ 4 w 16"/>
                <a:gd name="T3" fmla="*/ 0 h 28"/>
                <a:gd name="T4" fmla="*/ 10 w 16"/>
                <a:gd name="T5" fmla="*/ 2 h 28"/>
                <a:gd name="T6" fmla="*/ 12 w 16"/>
                <a:gd name="T7" fmla="*/ 6 h 28"/>
                <a:gd name="T8" fmla="*/ 14 w 16"/>
                <a:gd name="T9" fmla="*/ 8 h 28"/>
                <a:gd name="T10" fmla="*/ 16 w 16"/>
                <a:gd name="T11" fmla="*/ 12 h 28"/>
                <a:gd name="T12" fmla="*/ 14 w 16"/>
                <a:gd name="T13" fmla="*/ 20 h 28"/>
                <a:gd name="T14" fmla="*/ 8 w 16"/>
                <a:gd name="T15" fmla="*/ 28 h 28"/>
                <a:gd name="T16" fmla="*/ 8 w 16"/>
                <a:gd name="T17" fmla="*/ 28 h 28"/>
                <a:gd name="T18" fmla="*/ 6 w 16"/>
                <a:gd name="T19" fmla="*/ 26 h 28"/>
                <a:gd name="T20" fmla="*/ 4 w 16"/>
                <a:gd name="T21" fmla="*/ 24 h 28"/>
                <a:gd name="T22" fmla="*/ 2 w 16"/>
                <a:gd name="T23" fmla="*/ 20 h 28"/>
                <a:gd name="T24" fmla="*/ 0 w 16"/>
                <a:gd name="T25" fmla="*/ 20 h 28"/>
                <a:gd name="T26" fmla="*/ 0 w 16"/>
                <a:gd name="T27" fmla="*/ 20 h 28"/>
                <a:gd name="T28" fmla="*/ 0 w 16"/>
                <a:gd name="T29" fmla="*/ 14 h 28"/>
                <a:gd name="T30" fmla="*/ 2 w 16"/>
                <a:gd name="T31" fmla="*/ 10 h 28"/>
                <a:gd name="T32" fmla="*/ 4 w 16"/>
                <a:gd name="T33" fmla="*/ 6 h 28"/>
                <a:gd name="T34" fmla="*/ 4 w 16"/>
                <a:gd name="T35" fmla="*/ 0 h 28"/>
                <a:gd name="T36" fmla="*/ 4 w 16"/>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0"/>
                  </a:moveTo>
                  <a:lnTo>
                    <a:pt x="4" y="0"/>
                  </a:lnTo>
                  <a:lnTo>
                    <a:pt x="10" y="2"/>
                  </a:lnTo>
                  <a:lnTo>
                    <a:pt x="12" y="6"/>
                  </a:lnTo>
                  <a:lnTo>
                    <a:pt x="14" y="8"/>
                  </a:lnTo>
                  <a:lnTo>
                    <a:pt x="16" y="12"/>
                  </a:lnTo>
                  <a:lnTo>
                    <a:pt x="14" y="20"/>
                  </a:lnTo>
                  <a:lnTo>
                    <a:pt x="8" y="28"/>
                  </a:lnTo>
                  <a:lnTo>
                    <a:pt x="8" y="28"/>
                  </a:lnTo>
                  <a:lnTo>
                    <a:pt x="6" y="26"/>
                  </a:lnTo>
                  <a:lnTo>
                    <a:pt x="4" y="24"/>
                  </a:lnTo>
                  <a:lnTo>
                    <a:pt x="2" y="20"/>
                  </a:lnTo>
                  <a:lnTo>
                    <a:pt x="0" y="20"/>
                  </a:lnTo>
                  <a:lnTo>
                    <a:pt x="0" y="20"/>
                  </a:lnTo>
                  <a:lnTo>
                    <a:pt x="0" y="14"/>
                  </a:lnTo>
                  <a:lnTo>
                    <a:pt x="2" y="10"/>
                  </a:lnTo>
                  <a:lnTo>
                    <a:pt x="4" y="6"/>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19" name="Freeform 54"/>
            <p:cNvSpPr>
              <a:spLocks/>
            </p:cNvSpPr>
            <p:nvPr/>
          </p:nvSpPr>
          <p:spPr bwMode="auto">
            <a:xfrm>
              <a:off x="9630013" y="3713940"/>
              <a:ext cx="141953" cy="148713"/>
            </a:xfrm>
            <a:custGeom>
              <a:avLst/>
              <a:gdLst>
                <a:gd name="T0" fmla="*/ 60 w 84"/>
                <a:gd name="T1" fmla="*/ 0 h 88"/>
                <a:gd name="T2" fmla="*/ 60 w 84"/>
                <a:gd name="T3" fmla="*/ 0 h 88"/>
                <a:gd name="T4" fmla="*/ 68 w 84"/>
                <a:gd name="T5" fmla="*/ 16 h 88"/>
                <a:gd name="T6" fmla="*/ 76 w 84"/>
                <a:gd name="T7" fmla="*/ 32 h 88"/>
                <a:gd name="T8" fmla="*/ 80 w 84"/>
                <a:gd name="T9" fmla="*/ 50 h 88"/>
                <a:gd name="T10" fmla="*/ 84 w 84"/>
                <a:gd name="T11" fmla="*/ 70 h 88"/>
                <a:gd name="T12" fmla="*/ 84 w 84"/>
                <a:gd name="T13" fmla="*/ 70 h 88"/>
                <a:gd name="T14" fmla="*/ 72 w 84"/>
                <a:gd name="T15" fmla="*/ 62 h 88"/>
                <a:gd name="T16" fmla="*/ 66 w 84"/>
                <a:gd name="T17" fmla="*/ 62 h 88"/>
                <a:gd name="T18" fmla="*/ 64 w 84"/>
                <a:gd name="T19" fmla="*/ 62 h 88"/>
                <a:gd name="T20" fmla="*/ 60 w 84"/>
                <a:gd name="T21" fmla="*/ 66 h 88"/>
                <a:gd name="T22" fmla="*/ 60 w 84"/>
                <a:gd name="T23" fmla="*/ 66 h 88"/>
                <a:gd name="T24" fmla="*/ 60 w 84"/>
                <a:gd name="T25" fmla="*/ 70 h 88"/>
                <a:gd name="T26" fmla="*/ 62 w 84"/>
                <a:gd name="T27" fmla="*/ 74 h 88"/>
                <a:gd name="T28" fmla="*/ 66 w 84"/>
                <a:gd name="T29" fmla="*/ 78 h 88"/>
                <a:gd name="T30" fmla="*/ 70 w 84"/>
                <a:gd name="T31" fmla="*/ 80 h 88"/>
                <a:gd name="T32" fmla="*/ 70 w 84"/>
                <a:gd name="T33" fmla="*/ 80 h 88"/>
                <a:gd name="T34" fmla="*/ 66 w 84"/>
                <a:gd name="T35" fmla="*/ 84 h 88"/>
                <a:gd name="T36" fmla="*/ 60 w 84"/>
                <a:gd name="T37" fmla="*/ 86 h 88"/>
                <a:gd name="T38" fmla="*/ 46 w 84"/>
                <a:gd name="T39" fmla="*/ 88 h 88"/>
                <a:gd name="T40" fmla="*/ 46 w 84"/>
                <a:gd name="T41" fmla="*/ 88 h 88"/>
                <a:gd name="T42" fmla="*/ 40 w 84"/>
                <a:gd name="T43" fmla="*/ 78 h 88"/>
                <a:gd name="T44" fmla="*/ 36 w 84"/>
                <a:gd name="T45" fmla="*/ 68 h 88"/>
                <a:gd name="T46" fmla="*/ 32 w 84"/>
                <a:gd name="T47" fmla="*/ 56 h 88"/>
                <a:gd name="T48" fmla="*/ 28 w 84"/>
                <a:gd name="T49" fmla="*/ 46 h 88"/>
                <a:gd name="T50" fmla="*/ 28 w 84"/>
                <a:gd name="T51" fmla="*/ 46 h 88"/>
                <a:gd name="T52" fmla="*/ 18 w 84"/>
                <a:gd name="T53" fmla="*/ 46 h 88"/>
                <a:gd name="T54" fmla="*/ 14 w 84"/>
                <a:gd name="T55" fmla="*/ 48 h 88"/>
                <a:gd name="T56" fmla="*/ 8 w 84"/>
                <a:gd name="T57" fmla="*/ 52 h 88"/>
                <a:gd name="T58" fmla="*/ 0 w 84"/>
                <a:gd name="T59" fmla="*/ 52 h 88"/>
                <a:gd name="T60" fmla="*/ 0 w 84"/>
                <a:gd name="T61" fmla="*/ 52 h 88"/>
                <a:gd name="T62" fmla="*/ 4 w 84"/>
                <a:gd name="T63" fmla="*/ 42 h 88"/>
                <a:gd name="T64" fmla="*/ 8 w 84"/>
                <a:gd name="T65" fmla="*/ 32 h 88"/>
                <a:gd name="T66" fmla="*/ 8 w 84"/>
                <a:gd name="T67" fmla="*/ 32 h 88"/>
                <a:gd name="T68" fmla="*/ 18 w 84"/>
                <a:gd name="T69" fmla="*/ 36 h 88"/>
                <a:gd name="T70" fmla="*/ 28 w 84"/>
                <a:gd name="T71" fmla="*/ 36 h 88"/>
                <a:gd name="T72" fmla="*/ 36 w 84"/>
                <a:gd name="T73" fmla="*/ 34 h 88"/>
                <a:gd name="T74" fmla="*/ 44 w 84"/>
                <a:gd name="T75" fmla="*/ 30 h 88"/>
                <a:gd name="T76" fmla="*/ 50 w 84"/>
                <a:gd name="T77" fmla="*/ 26 h 88"/>
                <a:gd name="T78" fmla="*/ 56 w 84"/>
                <a:gd name="T79" fmla="*/ 18 h 88"/>
                <a:gd name="T80" fmla="*/ 58 w 84"/>
                <a:gd name="T81" fmla="*/ 10 h 88"/>
                <a:gd name="T82" fmla="*/ 60 w 84"/>
                <a:gd name="T83" fmla="*/ 0 h 88"/>
                <a:gd name="T84" fmla="*/ 60 w 84"/>
                <a:gd name="T8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88">
                  <a:moveTo>
                    <a:pt x="60" y="0"/>
                  </a:moveTo>
                  <a:lnTo>
                    <a:pt x="60" y="0"/>
                  </a:lnTo>
                  <a:lnTo>
                    <a:pt x="68" y="16"/>
                  </a:lnTo>
                  <a:lnTo>
                    <a:pt x="76" y="32"/>
                  </a:lnTo>
                  <a:lnTo>
                    <a:pt x="80" y="50"/>
                  </a:lnTo>
                  <a:lnTo>
                    <a:pt x="84" y="70"/>
                  </a:lnTo>
                  <a:lnTo>
                    <a:pt x="84" y="70"/>
                  </a:lnTo>
                  <a:lnTo>
                    <a:pt x="72" y="62"/>
                  </a:lnTo>
                  <a:lnTo>
                    <a:pt x="66" y="62"/>
                  </a:lnTo>
                  <a:lnTo>
                    <a:pt x="64" y="62"/>
                  </a:lnTo>
                  <a:lnTo>
                    <a:pt x="60" y="66"/>
                  </a:lnTo>
                  <a:lnTo>
                    <a:pt x="60" y="66"/>
                  </a:lnTo>
                  <a:lnTo>
                    <a:pt x="60" y="70"/>
                  </a:lnTo>
                  <a:lnTo>
                    <a:pt x="62" y="74"/>
                  </a:lnTo>
                  <a:lnTo>
                    <a:pt x="66" y="78"/>
                  </a:lnTo>
                  <a:lnTo>
                    <a:pt x="70" y="80"/>
                  </a:lnTo>
                  <a:lnTo>
                    <a:pt x="70" y="80"/>
                  </a:lnTo>
                  <a:lnTo>
                    <a:pt x="66" y="84"/>
                  </a:lnTo>
                  <a:lnTo>
                    <a:pt x="60" y="86"/>
                  </a:lnTo>
                  <a:lnTo>
                    <a:pt x="46" y="88"/>
                  </a:lnTo>
                  <a:lnTo>
                    <a:pt x="46" y="88"/>
                  </a:lnTo>
                  <a:lnTo>
                    <a:pt x="40" y="78"/>
                  </a:lnTo>
                  <a:lnTo>
                    <a:pt x="36" y="68"/>
                  </a:lnTo>
                  <a:lnTo>
                    <a:pt x="32" y="56"/>
                  </a:lnTo>
                  <a:lnTo>
                    <a:pt x="28" y="46"/>
                  </a:lnTo>
                  <a:lnTo>
                    <a:pt x="28" y="46"/>
                  </a:lnTo>
                  <a:lnTo>
                    <a:pt x="18" y="46"/>
                  </a:lnTo>
                  <a:lnTo>
                    <a:pt x="14" y="48"/>
                  </a:lnTo>
                  <a:lnTo>
                    <a:pt x="8" y="52"/>
                  </a:lnTo>
                  <a:lnTo>
                    <a:pt x="0" y="52"/>
                  </a:lnTo>
                  <a:lnTo>
                    <a:pt x="0" y="52"/>
                  </a:lnTo>
                  <a:lnTo>
                    <a:pt x="4" y="42"/>
                  </a:lnTo>
                  <a:lnTo>
                    <a:pt x="8" y="32"/>
                  </a:lnTo>
                  <a:lnTo>
                    <a:pt x="8" y="32"/>
                  </a:lnTo>
                  <a:lnTo>
                    <a:pt x="18" y="36"/>
                  </a:lnTo>
                  <a:lnTo>
                    <a:pt x="28" y="36"/>
                  </a:lnTo>
                  <a:lnTo>
                    <a:pt x="36" y="34"/>
                  </a:lnTo>
                  <a:lnTo>
                    <a:pt x="44" y="30"/>
                  </a:lnTo>
                  <a:lnTo>
                    <a:pt x="50" y="26"/>
                  </a:lnTo>
                  <a:lnTo>
                    <a:pt x="56" y="18"/>
                  </a:lnTo>
                  <a:lnTo>
                    <a:pt x="58" y="10"/>
                  </a:lnTo>
                  <a:lnTo>
                    <a:pt x="60" y="0"/>
                  </a:lnTo>
                  <a:lnTo>
                    <a:pt x="6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0" name="Freeform 55"/>
            <p:cNvSpPr>
              <a:spLocks/>
            </p:cNvSpPr>
            <p:nvPr/>
          </p:nvSpPr>
          <p:spPr bwMode="auto">
            <a:xfrm>
              <a:off x="8244279" y="3730839"/>
              <a:ext cx="60837" cy="118295"/>
            </a:xfrm>
            <a:custGeom>
              <a:avLst/>
              <a:gdLst>
                <a:gd name="T0" fmla="*/ 4 w 36"/>
                <a:gd name="T1" fmla="*/ 0 h 70"/>
                <a:gd name="T2" fmla="*/ 4 w 36"/>
                <a:gd name="T3" fmla="*/ 0 h 70"/>
                <a:gd name="T4" fmla="*/ 14 w 36"/>
                <a:gd name="T5" fmla="*/ 10 h 70"/>
                <a:gd name="T6" fmla="*/ 24 w 36"/>
                <a:gd name="T7" fmla="*/ 24 h 70"/>
                <a:gd name="T8" fmla="*/ 32 w 36"/>
                <a:gd name="T9" fmla="*/ 38 h 70"/>
                <a:gd name="T10" fmla="*/ 36 w 36"/>
                <a:gd name="T11" fmla="*/ 56 h 70"/>
                <a:gd name="T12" fmla="*/ 36 w 36"/>
                <a:gd name="T13" fmla="*/ 56 h 70"/>
                <a:gd name="T14" fmla="*/ 32 w 36"/>
                <a:gd name="T15" fmla="*/ 60 h 70"/>
                <a:gd name="T16" fmla="*/ 26 w 36"/>
                <a:gd name="T17" fmla="*/ 64 h 70"/>
                <a:gd name="T18" fmla="*/ 18 w 36"/>
                <a:gd name="T19" fmla="*/ 68 h 70"/>
                <a:gd name="T20" fmla="*/ 8 w 36"/>
                <a:gd name="T21" fmla="*/ 70 h 70"/>
                <a:gd name="T22" fmla="*/ 8 w 36"/>
                <a:gd name="T23" fmla="*/ 70 h 70"/>
                <a:gd name="T24" fmla="*/ 4 w 36"/>
                <a:gd name="T25" fmla="*/ 54 h 70"/>
                <a:gd name="T26" fmla="*/ 0 w 36"/>
                <a:gd name="T27" fmla="*/ 36 h 70"/>
                <a:gd name="T28" fmla="*/ 0 w 36"/>
                <a:gd name="T29" fmla="*/ 18 h 70"/>
                <a:gd name="T30" fmla="*/ 4 w 36"/>
                <a:gd name="T31" fmla="*/ 0 h 70"/>
                <a:gd name="T32" fmla="*/ 4 w 36"/>
                <a:gd name="T3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70">
                  <a:moveTo>
                    <a:pt x="4" y="0"/>
                  </a:moveTo>
                  <a:lnTo>
                    <a:pt x="4" y="0"/>
                  </a:lnTo>
                  <a:lnTo>
                    <a:pt x="14" y="10"/>
                  </a:lnTo>
                  <a:lnTo>
                    <a:pt x="24" y="24"/>
                  </a:lnTo>
                  <a:lnTo>
                    <a:pt x="32" y="38"/>
                  </a:lnTo>
                  <a:lnTo>
                    <a:pt x="36" y="56"/>
                  </a:lnTo>
                  <a:lnTo>
                    <a:pt x="36" y="56"/>
                  </a:lnTo>
                  <a:lnTo>
                    <a:pt x="32" y="60"/>
                  </a:lnTo>
                  <a:lnTo>
                    <a:pt x="26" y="64"/>
                  </a:lnTo>
                  <a:lnTo>
                    <a:pt x="18" y="68"/>
                  </a:lnTo>
                  <a:lnTo>
                    <a:pt x="8" y="70"/>
                  </a:lnTo>
                  <a:lnTo>
                    <a:pt x="8" y="70"/>
                  </a:lnTo>
                  <a:lnTo>
                    <a:pt x="4" y="54"/>
                  </a:lnTo>
                  <a:lnTo>
                    <a:pt x="0" y="36"/>
                  </a:lnTo>
                  <a:lnTo>
                    <a:pt x="0" y="18"/>
                  </a:lnTo>
                  <a:lnTo>
                    <a:pt x="4" y="0"/>
                  </a:lnTo>
                  <a:lnTo>
                    <a:pt x="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1" name="Freeform 56"/>
            <p:cNvSpPr>
              <a:spLocks/>
            </p:cNvSpPr>
            <p:nvPr/>
          </p:nvSpPr>
          <p:spPr bwMode="auto">
            <a:xfrm>
              <a:off x="9207533" y="3838994"/>
              <a:ext cx="310946" cy="361643"/>
            </a:xfrm>
            <a:custGeom>
              <a:avLst/>
              <a:gdLst>
                <a:gd name="T0" fmla="*/ 184 w 184"/>
                <a:gd name="T1" fmla="*/ 24 h 214"/>
                <a:gd name="T2" fmla="*/ 184 w 184"/>
                <a:gd name="T3" fmla="*/ 24 h 214"/>
                <a:gd name="T4" fmla="*/ 180 w 184"/>
                <a:gd name="T5" fmla="*/ 34 h 214"/>
                <a:gd name="T6" fmla="*/ 172 w 184"/>
                <a:gd name="T7" fmla="*/ 42 h 214"/>
                <a:gd name="T8" fmla="*/ 166 w 184"/>
                <a:gd name="T9" fmla="*/ 50 h 214"/>
                <a:gd name="T10" fmla="*/ 160 w 184"/>
                <a:gd name="T11" fmla="*/ 62 h 214"/>
                <a:gd name="T12" fmla="*/ 160 w 184"/>
                <a:gd name="T13" fmla="*/ 62 h 214"/>
                <a:gd name="T14" fmla="*/ 164 w 184"/>
                <a:gd name="T15" fmla="*/ 76 h 214"/>
                <a:gd name="T16" fmla="*/ 168 w 184"/>
                <a:gd name="T17" fmla="*/ 88 h 214"/>
                <a:gd name="T18" fmla="*/ 176 w 184"/>
                <a:gd name="T19" fmla="*/ 100 h 214"/>
                <a:gd name="T20" fmla="*/ 184 w 184"/>
                <a:gd name="T21" fmla="*/ 108 h 214"/>
                <a:gd name="T22" fmla="*/ 184 w 184"/>
                <a:gd name="T23" fmla="*/ 108 h 214"/>
                <a:gd name="T24" fmla="*/ 172 w 184"/>
                <a:gd name="T25" fmla="*/ 118 h 214"/>
                <a:gd name="T26" fmla="*/ 164 w 184"/>
                <a:gd name="T27" fmla="*/ 130 h 214"/>
                <a:gd name="T28" fmla="*/ 156 w 184"/>
                <a:gd name="T29" fmla="*/ 144 h 214"/>
                <a:gd name="T30" fmla="*/ 150 w 184"/>
                <a:gd name="T31" fmla="*/ 160 h 214"/>
                <a:gd name="T32" fmla="*/ 138 w 184"/>
                <a:gd name="T33" fmla="*/ 190 h 214"/>
                <a:gd name="T34" fmla="*/ 130 w 184"/>
                <a:gd name="T35" fmla="*/ 204 h 214"/>
                <a:gd name="T36" fmla="*/ 118 w 184"/>
                <a:gd name="T37" fmla="*/ 214 h 214"/>
                <a:gd name="T38" fmla="*/ 118 w 184"/>
                <a:gd name="T39" fmla="*/ 214 h 214"/>
                <a:gd name="T40" fmla="*/ 108 w 184"/>
                <a:gd name="T41" fmla="*/ 208 h 214"/>
                <a:gd name="T42" fmla="*/ 98 w 184"/>
                <a:gd name="T43" fmla="*/ 206 h 214"/>
                <a:gd name="T44" fmla="*/ 86 w 184"/>
                <a:gd name="T45" fmla="*/ 204 h 214"/>
                <a:gd name="T46" fmla="*/ 74 w 184"/>
                <a:gd name="T47" fmla="*/ 202 h 214"/>
                <a:gd name="T48" fmla="*/ 48 w 184"/>
                <a:gd name="T49" fmla="*/ 202 h 214"/>
                <a:gd name="T50" fmla="*/ 34 w 184"/>
                <a:gd name="T51" fmla="*/ 200 h 214"/>
                <a:gd name="T52" fmla="*/ 20 w 184"/>
                <a:gd name="T53" fmla="*/ 196 h 214"/>
                <a:gd name="T54" fmla="*/ 20 w 184"/>
                <a:gd name="T55" fmla="*/ 196 h 214"/>
                <a:gd name="T56" fmla="*/ 14 w 184"/>
                <a:gd name="T57" fmla="*/ 174 h 214"/>
                <a:gd name="T58" fmla="*/ 6 w 184"/>
                <a:gd name="T59" fmla="*/ 150 h 214"/>
                <a:gd name="T60" fmla="*/ 2 w 184"/>
                <a:gd name="T61" fmla="*/ 138 h 214"/>
                <a:gd name="T62" fmla="*/ 0 w 184"/>
                <a:gd name="T63" fmla="*/ 126 h 214"/>
                <a:gd name="T64" fmla="*/ 0 w 184"/>
                <a:gd name="T65" fmla="*/ 114 h 214"/>
                <a:gd name="T66" fmla="*/ 2 w 184"/>
                <a:gd name="T67" fmla="*/ 104 h 214"/>
                <a:gd name="T68" fmla="*/ 2 w 184"/>
                <a:gd name="T69" fmla="*/ 104 h 214"/>
                <a:gd name="T70" fmla="*/ 8 w 184"/>
                <a:gd name="T71" fmla="*/ 100 h 214"/>
                <a:gd name="T72" fmla="*/ 16 w 184"/>
                <a:gd name="T73" fmla="*/ 100 h 214"/>
                <a:gd name="T74" fmla="*/ 22 w 184"/>
                <a:gd name="T75" fmla="*/ 102 h 214"/>
                <a:gd name="T76" fmla="*/ 26 w 184"/>
                <a:gd name="T77" fmla="*/ 108 h 214"/>
                <a:gd name="T78" fmla="*/ 26 w 184"/>
                <a:gd name="T79" fmla="*/ 108 h 214"/>
                <a:gd name="T80" fmla="*/ 32 w 184"/>
                <a:gd name="T81" fmla="*/ 98 h 214"/>
                <a:gd name="T82" fmla="*/ 40 w 184"/>
                <a:gd name="T83" fmla="*/ 90 h 214"/>
                <a:gd name="T84" fmla="*/ 58 w 184"/>
                <a:gd name="T85" fmla="*/ 76 h 214"/>
                <a:gd name="T86" fmla="*/ 68 w 184"/>
                <a:gd name="T87" fmla="*/ 68 h 214"/>
                <a:gd name="T88" fmla="*/ 76 w 184"/>
                <a:gd name="T89" fmla="*/ 60 h 214"/>
                <a:gd name="T90" fmla="*/ 82 w 184"/>
                <a:gd name="T91" fmla="*/ 50 h 214"/>
                <a:gd name="T92" fmla="*/ 86 w 184"/>
                <a:gd name="T93" fmla="*/ 38 h 214"/>
                <a:gd name="T94" fmla="*/ 86 w 184"/>
                <a:gd name="T95" fmla="*/ 38 h 214"/>
                <a:gd name="T96" fmla="*/ 94 w 184"/>
                <a:gd name="T97" fmla="*/ 36 h 214"/>
                <a:gd name="T98" fmla="*/ 102 w 184"/>
                <a:gd name="T99" fmla="*/ 32 h 214"/>
                <a:gd name="T100" fmla="*/ 116 w 184"/>
                <a:gd name="T101" fmla="*/ 24 h 214"/>
                <a:gd name="T102" fmla="*/ 140 w 184"/>
                <a:gd name="T103" fmla="*/ 6 h 214"/>
                <a:gd name="T104" fmla="*/ 150 w 184"/>
                <a:gd name="T105" fmla="*/ 2 h 214"/>
                <a:gd name="T106" fmla="*/ 154 w 184"/>
                <a:gd name="T107" fmla="*/ 0 h 214"/>
                <a:gd name="T108" fmla="*/ 160 w 184"/>
                <a:gd name="T109" fmla="*/ 2 h 214"/>
                <a:gd name="T110" fmla="*/ 166 w 184"/>
                <a:gd name="T111" fmla="*/ 4 h 214"/>
                <a:gd name="T112" fmla="*/ 172 w 184"/>
                <a:gd name="T113" fmla="*/ 8 h 214"/>
                <a:gd name="T114" fmla="*/ 178 w 184"/>
                <a:gd name="T115" fmla="*/ 14 h 214"/>
                <a:gd name="T116" fmla="*/ 184 w 184"/>
                <a:gd name="T117" fmla="*/ 24 h 214"/>
                <a:gd name="T118" fmla="*/ 184 w 184"/>
                <a:gd name="T119" fmla="*/ 2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4" h="214">
                  <a:moveTo>
                    <a:pt x="184" y="24"/>
                  </a:moveTo>
                  <a:lnTo>
                    <a:pt x="184" y="24"/>
                  </a:lnTo>
                  <a:lnTo>
                    <a:pt x="180" y="34"/>
                  </a:lnTo>
                  <a:lnTo>
                    <a:pt x="172" y="42"/>
                  </a:lnTo>
                  <a:lnTo>
                    <a:pt x="166" y="50"/>
                  </a:lnTo>
                  <a:lnTo>
                    <a:pt x="160" y="62"/>
                  </a:lnTo>
                  <a:lnTo>
                    <a:pt x="160" y="62"/>
                  </a:lnTo>
                  <a:lnTo>
                    <a:pt x="164" y="76"/>
                  </a:lnTo>
                  <a:lnTo>
                    <a:pt x="168" y="88"/>
                  </a:lnTo>
                  <a:lnTo>
                    <a:pt x="176" y="100"/>
                  </a:lnTo>
                  <a:lnTo>
                    <a:pt x="184" y="108"/>
                  </a:lnTo>
                  <a:lnTo>
                    <a:pt x="184" y="108"/>
                  </a:lnTo>
                  <a:lnTo>
                    <a:pt x="172" y="118"/>
                  </a:lnTo>
                  <a:lnTo>
                    <a:pt x="164" y="130"/>
                  </a:lnTo>
                  <a:lnTo>
                    <a:pt x="156" y="144"/>
                  </a:lnTo>
                  <a:lnTo>
                    <a:pt x="150" y="160"/>
                  </a:lnTo>
                  <a:lnTo>
                    <a:pt x="138" y="190"/>
                  </a:lnTo>
                  <a:lnTo>
                    <a:pt x="130" y="204"/>
                  </a:lnTo>
                  <a:lnTo>
                    <a:pt x="118" y="214"/>
                  </a:lnTo>
                  <a:lnTo>
                    <a:pt x="118" y="214"/>
                  </a:lnTo>
                  <a:lnTo>
                    <a:pt x="108" y="208"/>
                  </a:lnTo>
                  <a:lnTo>
                    <a:pt x="98" y="206"/>
                  </a:lnTo>
                  <a:lnTo>
                    <a:pt x="86" y="204"/>
                  </a:lnTo>
                  <a:lnTo>
                    <a:pt x="74" y="202"/>
                  </a:lnTo>
                  <a:lnTo>
                    <a:pt x="48" y="202"/>
                  </a:lnTo>
                  <a:lnTo>
                    <a:pt x="34" y="200"/>
                  </a:lnTo>
                  <a:lnTo>
                    <a:pt x="20" y="196"/>
                  </a:lnTo>
                  <a:lnTo>
                    <a:pt x="20" y="196"/>
                  </a:lnTo>
                  <a:lnTo>
                    <a:pt x="14" y="174"/>
                  </a:lnTo>
                  <a:lnTo>
                    <a:pt x="6" y="150"/>
                  </a:lnTo>
                  <a:lnTo>
                    <a:pt x="2" y="138"/>
                  </a:lnTo>
                  <a:lnTo>
                    <a:pt x="0" y="126"/>
                  </a:lnTo>
                  <a:lnTo>
                    <a:pt x="0" y="114"/>
                  </a:lnTo>
                  <a:lnTo>
                    <a:pt x="2" y="104"/>
                  </a:lnTo>
                  <a:lnTo>
                    <a:pt x="2" y="104"/>
                  </a:lnTo>
                  <a:lnTo>
                    <a:pt x="8" y="100"/>
                  </a:lnTo>
                  <a:lnTo>
                    <a:pt x="16" y="100"/>
                  </a:lnTo>
                  <a:lnTo>
                    <a:pt x="22" y="102"/>
                  </a:lnTo>
                  <a:lnTo>
                    <a:pt x="26" y="108"/>
                  </a:lnTo>
                  <a:lnTo>
                    <a:pt x="26" y="108"/>
                  </a:lnTo>
                  <a:lnTo>
                    <a:pt x="32" y="98"/>
                  </a:lnTo>
                  <a:lnTo>
                    <a:pt x="40" y="90"/>
                  </a:lnTo>
                  <a:lnTo>
                    <a:pt x="58" y="76"/>
                  </a:lnTo>
                  <a:lnTo>
                    <a:pt x="68" y="68"/>
                  </a:lnTo>
                  <a:lnTo>
                    <a:pt x="76" y="60"/>
                  </a:lnTo>
                  <a:lnTo>
                    <a:pt x="82" y="50"/>
                  </a:lnTo>
                  <a:lnTo>
                    <a:pt x="86" y="38"/>
                  </a:lnTo>
                  <a:lnTo>
                    <a:pt x="86" y="38"/>
                  </a:lnTo>
                  <a:lnTo>
                    <a:pt x="94" y="36"/>
                  </a:lnTo>
                  <a:lnTo>
                    <a:pt x="102" y="32"/>
                  </a:lnTo>
                  <a:lnTo>
                    <a:pt x="116" y="24"/>
                  </a:lnTo>
                  <a:lnTo>
                    <a:pt x="140" y="6"/>
                  </a:lnTo>
                  <a:lnTo>
                    <a:pt x="150" y="2"/>
                  </a:lnTo>
                  <a:lnTo>
                    <a:pt x="154" y="0"/>
                  </a:lnTo>
                  <a:lnTo>
                    <a:pt x="160" y="2"/>
                  </a:lnTo>
                  <a:lnTo>
                    <a:pt x="166" y="4"/>
                  </a:lnTo>
                  <a:lnTo>
                    <a:pt x="172" y="8"/>
                  </a:lnTo>
                  <a:lnTo>
                    <a:pt x="178" y="14"/>
                  </a:lnTo>
                  <a:lnTo>
                    <a:pt x="184" y="24"/>
                  </a:lnTo>
                  <a:lnTo>
                    <a:pt x="184" y="2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2" name="Freeform 57"/>
            <p:cNvSpPr>
              <a:spLocks/>
            </p:cNvSpPr>
            <p:nvPr/>
          </p:nvSpPr>
          <p:spPr bwMode="auto">
            <a:xfrm>
              <a:off x="8754635" y="3879552"/>
              <a:ext cx="341365" cy="392061"/>
            </a:xfrm>
            <a:custGeom>
              <a:avLst/>
              <a:gdLst>
                <a:gd name="T0" fmla="*/ 0 w 202"/>
                <a:gd name="T1" fmla="*/ 0 h 232"/>
                <a:gd name="T2" fmla="*/ 0 w 202"/>
                <a:gd name="T3" fmla="*/ 0 h 232"/>
                <a:gd name="T4" fmla="*/ 12 w 202"/>
                <a:gd name="T5" fmla="*/ 0 h 232"/>
                <a:gd name="T6" fmla="*/ 24 w 202"/>
                <a:gd name="T7" fmla="*/ 2 h 232"/>
                <a:gd name="T8" fmla="*/ 34 w 202"/>
                <a:gd name="T9" fmla="*/ 4 h 232"/>
                <a:gd name="T10" fmla="*/ 42 w 202"/>
                <a:gd name="T11" fmla="*/ 10 h 232"/>
                <a:gd name="T12" fmla="*/ 60 w 202"/>
                <a:gd name="T13" fmla="*/ 22 h 232"/>
                <a:gd name="T14" fmla="*/ 74 w 202"/>
                <a:gd name="T15" fmla="*/ 38 h 232"/>
                <a:gd name="T16" fmla="*/ 90 w 202"/>
                <a:gd name="T17" fmla="*/ 56 h 232"/>
                <a:gd name="T18" fmla="*/ 106 w 202"/>
                <a:gd name="T19" fmla="*/ 72 h 232"/>
                <a:gd name="T20" fmla="*/ 114 w 202"/>
                <a:gd name="T21" fmla="*/ 78 h 232"/>
                <a:gd name="T22" fmla="*/ 124 w 202"/>
                <a:gd name="T23" fmla="*/ 84 h 232"/>
                <a:gd name="T24" fmla="*/ 134 w 202"/>
                <a:gd name="T25" fmla="*/ 90 h 232"/>
                <a:gd name="T26" fmla="*/ 144 w 202"/>
                <a:gd name="T27" fmla="*/ 92 h 232"/>
                <a:gd name="T28" fmla="*/ 144 w 202"/>
                <a:gd name="T29" fmla="*/ 92 h 232"/>
                <a:gd name="T30" fmla="*/ 146 w 202"/>
                <a:gd name="T31" fmla="*/ 102 h 232"/>
                <a:gd name="T32" fmla="*/ 148 w 202"/>
                <a:gd name="T33" fmla="*/ 110 h 232"/>
                <a:gd name="T34" fmla="*/ 152 w 202"/>
                <a:gd name="T35" fmla="*/ 120 h 232"/>
                <a:gd name="T36" fmla="*/ 158 w 202"/>
                <a:gd name="T37" fmla="*/ 128 h 232"/>
                <a:gd name="T38" fmla="*/ 172 w 202"/>
                <a:gd name="T39" fmla="*/ 146 h 232"/>
                <a:gd name="T40" fmla="*/ 186 w 202"/>
                <a:gd name="T41" fmla="*/ 162 h 232"/>
                <a:gd name="T42" fmla="*/ 198 w 202"/>
                <a:gd name="T43" fmla="*/ 180 h 232"/>
                <a:gd name="T44" fmla="*/ 200 w 202"/>
                <a:gd name="T45" fmla="*/ 188 h 232"/>
                <a:gd name="T46" fmla="*/ 202 w 202"/>
                <a:gd name="T47" fmla="*/ 196 h 232"/>
                <a:gd name="T48" fmla="*/ 202 w 202"/>
                <a:gd name="T49" fmla="*/ 206 h 232"/>
                <a:gd name="T50" fmla="*/ 198 w 202"/>
                <a:gd name="T51" fmla="*/ 214 h 232"/>
                <a:gd name="T52" fmla="*/ 192 w 202"/>
                <a:gd name="T53" fmla="*/ 224 h 232"/>
                <a:gd name="T54" fmla="*/ 182 w 202"/>
                <a:gd name="T55" fmla="*/ 232 h 232"/>
                <a:gd name="T56" fmla="*/ 182 w 202"/>
                <a:gd name="T57" fmla="*/ 232 h 232"/>
                <a:gd name="T58" fmla="*/ 168 w 202"/>
                <a:gd name="T59" fmla="*/ 222 h 232"/>
                <a:gd name="T60" fmla="*/ 154 w 202"/>
                <a:gd name="T61" fmla="*/ 210 h 232"/>
                <a:gd name="T62" fmla="*/ 140 w 202"/>
                <a:gd name="T63" fmla="*/ 196 h 232"/>
                <a:gd name="T64" fmla="*/ 130 w 202"/>
                <a:gd name="T65" fmla="*/ 182 h 232"/>
                <a:gd name="T66" fmla="*/ 108 w 202"/>
                <a:gd name="T67" fmla="*/ 152 h 232"/>
                <a:gd name="T68" fmla="*/ 88 w 202"/>
                <a:gd name="T69" fmla="*/ 120 h 232"/>
                <a:gd name="T70" fmla="*/ 68 w 202"/>
                <a:gd name="T71" fmla="*/ 88 h 232"/>
                <a:gd name="T72" fmla="*/ 48 w 202"/>
                <a:gd name="T73" fmla="*/ 56 h 232"/>
                <a:gd name="T74" fmla="*/ 26 w 202"/>
                <a:gd name="T75" fmla="*/ 26 h 232"/>
                <a:gd name="T76" fmla="*/ 14 w 202"/>
                <a:gd name="T77" fmla="*/ 12 h 232"/>
                <a:gd name="T78" fmla="*/ 0 w 202"/>
                <a:gd name="T79" fmla="*/ 0 h 232"/>
                <a:gd name="T80" fmla="*/ 0 w 202"/>
                <a:gd name="T8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2" h="232">
                  <a:moveTo>
                    <a:pt x="0" y="0"/>
                  </a:moveTo>
                  <a:lnTo>
                    <a:pt x="0" y="0"/>
                  </a:lnTo>
                  <a:lnTo>
                    <a:pt x="12" y="0"/>
                  </a:lnTo>
                  <a:lnTo>
                    <a:pt x="24" y="2"/>
                  </a:lnTo>
                  <a:lnTo>
                    <a:pt x="34" y="4"/>
                  </a:lnTo>
                  <a:lnTo>
                    <a:pt x="42" y="10"/>
                  </a:lnTo>
                  <a:lnTo>
                    <a:pt x="60" y="22"/>
                  </a:lnTo>
                  <a:lnTo>
                    <a:pt x="74" y="38"/>
                  </a:lnTo>
                  <a:lnTo>
                    <a:pt x="90" y="56"/>
                  </a:lnTo>
                  <a:lnTo>
                    <a:pt x="106" y="72"/>
                  </a:lnTo>
                  <a:lnTo>
                    <a:pt x="114" y="78"/>
                  </a:lnTo>
                  <a:lnTo>
                    <a:pt x="124" y="84"/>
                  </a:lnTo>
                  <a:lnTo>
                    <a:pt x="134" y="90"/>
                  </a:lnTo>
                  <a:lnTo>
                    <a:pt x="144" y="92"/>
                  </a:lnTo>
                  <a:lnTo>
                    <a:pt x="144" y="92"/>
                  </a:lnTo>
                  <a:lnTo>
                    <a:pt x="146" y="102"/>
                  </a:lnTo>
                  <a:lnTo>
                    <a:pt x="148" y="110"/>
                  </a:lnTo>
                  <a:lnTo>
                    <a:pt x="152" y="120"/>
                  </a:lnTo>
                  <a:lnTo>
                    <a:pt x="158" y="128"/>
                  </a:lnTo>
                  <a:lnTo>
                    <a:pt x="172" y="146"/>
                  </a:lnTo>
                  <a:lnTo>
                    <a:pt x="186" y="162"/>
                  </a:lnTo>
                  <a:lnTo>
                    <a:pt x="198" y="180"/>
                  </a:lnTo>
                  <a:lnTo>
                    <a:pt x="200" y="188"/>
                  </a:lnTo>
                  <a:lnTo>
                    <a:pt x="202" y="196"/>
                  </a:lnTo>
                  <a:lnTo>
                    <a:pt x="202" y="206"/>
                  </a:lnTo>
                  <a:lnTo>
                    <a:pt x="198" y="214"/>
                  </a:lnTo>
                  <a:lnTo>
                    <a:pt x="192" y="224"/>
                  </a:lnTo>
                  <a:lnTo>
                    <a:pt x="182" y="232"/>
                  </a:lnTo>
                  <a:lnTo>
                    <a:pt x="182" y="232"/>
                  </a:lnTo>
                  <a:lnTo>
                    <a:pt x="168" y="222"/>
                  </a:lnTo>
                  <a:lnTo>
                    <a:pt x="154" y="210"/>
                  </a:lnTo>
                  <a:lnTo>
                    <a:pt x="140" y="196"/>
                  </a:lnTo>
                  <a:lnTo>
                    <a:pt x="130" y="182"/>
                  </a:lnTo>
                  <a:lnTo>
                    <a:pt x="108" y="152"/>
                  </a:lnTo>
                  <a:lnTo>
                    <a:pt x="88" y="120"/>
                  </a:lnTo>
                  <a:lnTo>
                    <a:pt x="68" y="88"/>
                  </a:lnTo>
                  <a:lnTo>
                    <a:pt x="48" y="56"/>
                  </a:lnTo>
                  <a:lnTo>
                    <a:pt x="26" y="26"/>
                  </a:lnTo>
                  <a:lnTo>
                    <a:pt x="14" y="12"/>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3" name="Freeform 58"/>
            <p:cNvSpPr>
              <a:spLocks/>
            </p:cNvSpPr>
            <p:nvPr/>
          </p:nvSpPr>
          <p:spPr bwMode="auto">
            <a:xfrm>
              <a:off x="9805765" y="3980948"/>
              <a:ext cx="43937" cy="94635"/>
            </a:xfrm>
            <a:custGeom>
              <a:avLst/>
              <a:gdLst>
                <a:gd name="T0" fmla="*/ 26 w 26"/>
                <a:gd name="T1" fmla="*/ 0 h 56"/>
                <a:gd name="T2" fmla="*/ 26 w 26"/>
                <a:gd name="T3" fmla="*/ 0 h 56"/>
                <a:gd name="T4" fmla="*/ 18 w 26"/>
                <a:gd name="T5" fmla="*/ 6 h 56"/>
                <a:gd name="T6" fmla="*/ 16 w 26"/>
                <a:gd name="T7" fmla="*/ 12 h 56"/>
                <a:gd name="T8" fmla="*/ 14 w 26"/>
                <a:gd name="T9" fmla="*/ 18 h 56"/>
                <a:gd name="T10" fmla="*/ 16 w 26"/>
                <a:gd name="T11" fmla="*/ 26 h 56"/>
                <a:gd name="T12" fmla="*/ 18 w 26"/>
                <a:gd name="T13" fmla="*/ 40 h 56"/>
                <a:gd name="T14" fmla="*/ 18 w 26"/>
                <a:gd name="T15" fmla="*/ 48 h 56"/>
                <a:gd name="T16" fmla="*/ 16 w 26"/>
                <a:gd name="T17" fmla="*/ 56 h 56"/>
                <a:gd name="T18" fmla="*/ 16 w 26"/>
                <a:gd name="T19" fmla="*/ 56 h 56"/>
                <a:gd name="T20" fmla="*/ 12 w 26"/>
                <a:gd name="T21" fmla="*/ 56 h 56"/>
                <a:gd name="T22" fmla="*/ 8 w 26"/>
                <a:gd name="T23" fmla="*/ 54 h 56"/>
                <a:gd name="T24" fmla="*/ 4 w 26"/>
                <a:gd name="T25" fmla="*/ 46 h 56"/>
                <a:gd name="T26" fmla="*/ 0 w 26"/>
                <a:gd name="T27" fmla="*/ 38 h 56"/>
                <a:gd name="T28" fmla="*/ 0 w 26"/>
                <a:gd name="T29" fmla="*/ 28 h 56"/>
                <a:gd name="T30" fmla="*/ 4 w 26"/>
                <a:gd name="T31" fmla="*/ 18 h 56"/>
                <a:gd name="T32" fmla="*/ 8 w 26"/>
                <a:gd name="T33" fmla="*/ 10 h 56"/>
                <a:gd name="T34" fmla="*/ 16 w 26"/>
                <a:gd name="T35" fmla="*/ 4 h 56"/>
                <a:gd name="T36" fmla="*/ 26 w 26"/>
                <a:gd name="T37" fmla="*/ 0 h 56"/>
                <a:gd name="T38" fmla="*/ 26 w 26"/>
                <a:gd name="T3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6">
                  <a:moveTo>
                    <a:pt x="26" y="0"/>
                  </a:moveTo>
                  <a:lnTo>
                    <a:pt x="26" y="0"/>
                  </a:lnTo>
                  <a:lnTo>
                    <a:pt x="18" y="6"/>
                  </a:lnTo>
                  <a:lnTo>
                    <a:pt x="16" y="12"/>
                  </a:lnTo>
                  <a:lnTo>
                    <a:pt x="14" y="18"/>
                  </a:lnTo>
                  <a:lnTo>
                    <a:pt x="16" y="26"/>
                  </a:lnTo>
                  <a:lnTo>
                    <a:pt x="18" y="40"/>
                  </a:lnTo>
                  <a:lnTo>
                    <a:pt x="18" y="48"/>
                  </a:lnTo>
                  <a:lnTo>
                    <a:pt x="16" y="56"/>
                  </a:lnTo>
                  <a:lnTo>
                    <a:pt x="16" y="56"/>
                  </a:lnTo>
                  <a:lnTo>
                    <a:pt x="12" y="56"/>
                  </a:lnTo>
                  <a:lnTo>
                    <a:pt x="8" y="54"/>
                  </a:lnTo>
                  <a:lnTo>
                    <a:pt x="4" y="46"/>
                  </a:lnTo>
                  <a:lnTo>
                    <a:pt x="0" y="38"/>
                  </a:lnTo>
                  <a:lnTo>
                    <a:pt x="0" y="28"/>
                  </a:lnTo>
                  <a:lnTo>
                    <a:pt x="4" y="18"/>
                  </a:lnTo>
                  <a:lnTo>
                    <a:pt x="8" y="10"/>
                  </a:lnTo>
                  <a:lnTo>
                    <a:pt x="16" y="4"/>
                  </a:lnTo>
                  <a:lnTo>
                    <a:pt x="26" y="0"/>
                  </a:lnTo>
                  <a:lnTo>
                    <a:pt x="2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4" name="Freeform 59"/>
            <p:cNvSpPr>
              <a:spLocks/>
            </p:cNvSpPr>
            <p:nvPr/>
          </p:nvSpPr>
          <p:spPr bwMode="auto">
            <a:xfrm>
              <a:off x="9518477" y="4014746"/>
              <a:ext cx="212930" cy="250108"/>
            </a:xfrm>
            <a:custGeom>
              <a:avLst/>
              <a:gdLst>
                <a:gd name="T0" fmla="*/ 126 w 126"/>
                <a:gd name="T1" fmla="*/ 0 h 148"/>
                <a:gd name="T2" fmla="*/ 114 w 126"/>
                <a:gd name="T3" fmla="*/ 18 h 148"/>
                <a:gd name="T4" fmla="*/ 98 w 126"/>
                <a:gd name="T5" fmla="*/ 32 h 148"/>
                <a:gd name="T6" fmla="*/ 90 w 126"/>
                <a:gd name="T7" fmla="*/ 26 h 148"/>
                <a:gd name="T8" fmla="*/ 72 w 126"/>
                <a:gd name="T9" fmla="*/ 20 h 148"/>
                <a:gd name="T10" fmla="*/ 50 w 126"/>
                <a:gd name="T11" fmla="*/ 20 h 148"/>
                <a:gd name="T12" fmla="*/ 34 w 126"/>
                <a:gd name="T13" fmla="*/ 28 h 148"/>
                <a:gd name="T14" fmla="*/ 28 w 126"/>
                <a:gd name="T15" fmla="*/ 36 h 148"/>
                <a:gd name="T16" fmla="*/ 30 w 126"/>
                <a:gd name="T17" fmla="*/ 44 h 148"/>
                <a:gd name="T18" fmla="*/ 38 w 126"/>
                <a:gd name="T19" fmla="*/ 54 h 148"/>
                <a:gd name="T20" fmla="*/ 42 w 126"/>
                <a:gd name="T21" fmla="*/ 60 h 148"/>
                <a:gd name="T22" fmla="*/ 54 w 126"/>
                <a:gd name="T23" fmla="*/ 58 h 148"/>
                <a:gd name="T24" fmla="*/ 76 w 126"/>
                <a:gd name="T25" fmla="*/ 50 h 148"/>
                <a:gd name="T26" fmla="*/ 88 w 126"/>
                <a:gd name="T27" fmla="*/ 50 h 148"/>
                <a:gd name="T28" fmla="*/ 74 w 126"/>
                <a:gd name="T29" fmla="*/ 60 h 148"/>
                <a:gd name="T30" fmla="*/ 60 w 126"/>
                <a:gd name="T31" fmla="*/ 74 h 148"/>
                <a:gd name="T32" fmla="*/ 64 w 126"/>
                <a:gd name="T33" fmla="*/ 86 h 148"/>
                <a:gd name="T34" fmla="*/ 74 w 126"/>
                <a:gd name="T35" fmla="*/ 112 h 148"/>
                <a:gd name="T36" fmla="*/ 74 w 126"/>
                <a:gd name="T37" fmla="*/ 130 h 148"/>
                <a:gd name="T38" fmla="*/ 68 w 126"/>
                <a:gd name="T39" fmla="*/ 128 h 148"/>
                <a:gd name="T40" fmla="*/ 58 w 126"/>
                <a:gd name="T41" fmla="*/ 118 h 148"/>
                <a:gd name="T42" fmla="*/ 42 w 126"/>
                <a:gd name="T43" fmla="*/ 88 h 148"/>
                <a:gd name="T44" fmla="*/ 36 w 126"/>
                <a:gd name="T45" fmla="*/ 90 h 148"/>
                <a:gd name="T46" fmla="*/ 28 w 126"/>
                <a:gd name="T47" fmla="*/ 98 h 148"/>
                <a:gd name="T48" fmla="*/ 24 w 126"/>
                <a:gd name="T49" fmla="*/ 102 h 148"/>
                <a:gd name="T50" fmla="*/ 28 w 126"/>
                <a:gd name="T51" fmla="*/ 122 h 148"/>
                <a:gd name="T52" fmla="*/ 32 w 126"/>
                <a:gd name="T53" fmla="*/ 144 h 148"/>
                <a:gd name="T54" fmla="*/ 28 w 126"/>
                <a:gd name="T55" fmla="*/ 144 h 148"/>
                <a:gd name="T56" fmla="*/ 20 w 126"/>
                <a:gd name="T57" fmla="*/ 148 h 148"/>
                <a:gd name="T58" fmla="*/ 14 w 126"/>
                <a:gd name="T59" fmla="*/ 148 h 148"/>
                <a:gd name="T60" fmla="*/ 12 w 126"/>
                <a:gd name="T61" fmla="*/ 136 h 148"/>
                <a:gd name="T62" fmla="*/ 12 w 126"/>
                <a:gd name="T63" fmla="*/ 116 h 148"/>
                <a:gd name="T64" fmla="*/ 6 w 126"/>
                <a:gd name="T65" fmla="*/ 106 h 148"/>
                <a:gd name="T66" fmla="*/ 0 w 126"/>
                <a:gd name="T67" fmla="*/ 102 h 148"/>
                <a:gd name="T68" fmla="*/ 8 w 126"/>
                <a:gd name="T69" fmla="*/ 92 h 148"/>
                <a:gd name="T70" fmla="*/ 20 w 126"/>
                <a:gd name="T71" fmla="*/ 48 h 148"/>
                <a:gd name="T72" fmla="*/ 28 w 126"/>
                <a:gd name="T73" fmla="*/ 20 h 148"/>
                <a:gd name="T74" fmla="*/ 36 w 126"/>
                <a:gd name="T75" fmla="*/ 10 h 148"/>
                <a:gd name="T76" fmla="*/ 46 w 126"/>
                <a:gd name="T77" fmla="*/ 4 h 148"/>
                <a:gd name="T78" fmla="*/ 68 w 126"/>
                <a:gd name="T79" fmla="*/ 10 h 148"/>
                <a:gd name="T80" fmla="*/ 108 w 126"/>
                <a:gd name="T81" fmla="*/ 8 h 148"/>
                <a:gd name="T82" fmla="*/ 126 w 126"/>
                <a:gd name="T8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6" h="148">
                  <a:moveTo>
                    <a:pt x="126" y="0"/>
                  </a:moveTo>
                  <a:lnTo>
                    <a:pt x="126" y="0"/>
                  </a:lnTo>
                  <a:lnTo>
                    <a:pt x="122" y="10"/>
                  </a:lnTo>
                  <a:lnTo>
                    <a:pt x="114" y="18"/>
                  </a:lnTo>
                  <a:lnTo>
                    <a:pt x="106" y="26"/>
                  </a:lnTo>
                  <a:lnTo>
                    <a:pt x="98" y="32"/>
                  </a:lnTo>
                  <a:lnTo>
                    <a:pt x="98" y="32"/>
                  </a:lnTo>
                  <a:lnTo>
                    <a:pt x="90" y="26"/>
                  </a:lnTo>
                  <a:lnTo>
                    <a:pt x="82" y="22"/>
                  </a:lnTo>
                  <a:lnTo>
                    <a:pt x="72" y="20"/>
                  </a:lnTo>
                  <a:lnTo>
                    <a:pt x="60" y="18"/>
                  </a:lnTo>
                  <a:lnTo>
                    <a:pt x="50" y="20"/>
                  </a:lnTo>
                  <a:lnTo>
                    <a:pt x="42" y="22"/>
                  </a:lnTo>
                  <a:lnTo>
                    <a:pt x="34" y="28"/>
                  </a:lnTo>
                  <a:lnTo>
                    <a:pt x="28" y="36"/>
                  </a:lnTo>
                  <a:lnTo>
                    <a:pt x="28" y="36"/>
                  </a:lnTo>
                  <a:lnTo>
                    <a:pt x="28" y="42"/>
                  </a:lnTo>
                  <a:lnTo>
                    <a:pt x="30" y="44"/>
                  </a:lnTo>
                  <a:lnTo>
                    <a:pt x="34" y="50"/>
                  </a:lnTo>
                  <a:lnTo>
                    <a:pt x="38" y="54"/>
                  </a:lnTo>
                  <a:lnTo>
                    <a:pt x="40" y="56"/>
                  </a:lnTo>
                  <a:lnTo>
                    <a:pt x="42" y="60"/>
                  </a:lnTo>
                  <a:lnTo>
                    <a:pt x="42" y="60"/>
                  </a:lnTo>
                  <a:lnTo>
                    <a:pt x="54" y="58"/>
                  </a:lnTo>
                  <a:lnTo>
                    <a:pt x="64" y="54"/>
                  </a:lnTo>
                  <a:lnTo>
                    <a:pt x="76" y="50"/>
                  </a:lnTo>
                  <a:lnTo>
                    <a:pt x="88" y="50"/>
                  </a:lnTo>
                  <a:lnTo>
                    <a:pt x="88" y="50"/>
                  </a:lnTo>
                  <a:lnTo>
                    <a:pt x="82" y="56"/>
                  </a:lnTo>
                  <a:lnTo>
                    <a:pt x="74" y="60"/>
                  </a:lnTo>
                  <a:lnTo>
                    <a:pt x="66" y="66"/>
                  </a:lnTo>
                  <a:lnTo>
                    <a:pt x="60" y="74"/>
                  </a:lnTo>
                  <a:lnTo>
                    <a:pt x="60" y="74"/>
                  </a:lnTo>
                  <a:lnTo>
                    <a:pt x="64" y="86"/>
                  </a:lnTo>
                  <a:lnTo>
                    <a:pt x="70" y="98"/>
                  </a:lnTo>
                  <a:lnTo>
                    <a:pt x="74" y="112"/>
                  </a:lnTo>
                  <a:lnTo>
                    <a:pt x="76" y="120"/>
                  </a:lnTo>
                  <a:lnTo>
                    <a:pt x="74" y="130"/>
                  </a:lnTo>
                  <a:lnTo>
                    <a:pt x="74" y="130"/>
                  </a:lnTo>
                  <a:lnTo>
                    <a:pt x="68" y="128"/>
                  </a:lnTo>
                  <a:lnTo>
                    <a:pt x="62" y="124"/>
                  </a:lnTo>
                  <a:lnTo>
                    <a:pt x="58" y="118"/>
                  </a:lnTo>
                  <a:lnTo>
                    <a:pt x="54" y="114"/>
                  </a:lnTo>
                  <a:lnTo>
                    <a:pt x="42" y="88"/>
                  </a:lnTo>
                  <a:lnTo>
                    <a:pt x="42" y="88"/>
                  </a:lnTo>
                  <a:lnTo>
                    <a:pt x="36" y="90"/>
                  </a:lnTo>
                  <a:lnTo>
                    <a:pt x="32" y="94"/>
                  </a:lnTo>
                  <a:lnTo>
                    <a:pt x="28" y="98"/>
                  </a:lnTo>
                  <a:lnTo>
                    <a:pt x="24" y="102"/>
                  </a:lnTo>
                  <a:lnTo>
                    <a:pt x="24" y="102"/>
                  </a:lnTo>
                  <a:lnTo>
                    <a:pt x="26" y="112"/>
                  </a:lnTo>
                  <a:lnTo>
                    <a:pt x="28" y="122"/>
                  </a:lnTo>
                  <a:lnTo>
                    <a:pt x="32" y="132"/>
                  </a:lnTo>
                  <a:lnTo>
                    <a:pt x="32" y="144"/>
                  </a:lnTo>
                  <a:lnTo>
                    <a:pt x="32" y="144"/>
                  </a:lnTo>
                  <a:lnTo>
                    <a:pt x="28" y="144"/>
                  </a:lnTo>
                  <a:lnTo>
                    <a:pt x="24" y="146"/>
                  </a:lnTo>
                  <a:lnTo>
                    <a:pt x="20" y="148"/>
                  </a:lnTo>
                  <a:lnTo>
                    <a:pt x="14" y="148"/>
                  </a:lnTo>
                  <a:lnTo>
                    <a:pt x="14" y="148"/>
                  </a:lnTo>
                  <a:lnTo>
                    <a:pt x="12" y="142"/>
                  </a:lnTo>
                  <a:lnTo>
                    <a:pt x="12" y="136"/>
                  </a:lnTo>
                  <a:lnTo>
                    <a:pt x="12" y="122"/>
                  </a:lnTo>
                  <a:lnTo>
                    <a:pt x="12" y="116"/>
                  </a:lnTo>
                  <a:lnTo>
                    <a:pt x="10" y="110"/>
                  </a:lnTo>
                  <a:lnTo>
                    <a:pt x="6" y="106"/>
                  </a:lnTo>
                  <a:lnTo>
                    <a:pt x="0" y="102"/>
                  </a:lnTo>
                  <a:lnTo>
                    <a:pt x="0" y="102"/>
                  </a:lnTo>
                  <a:lnTo>
                    <a:pt x="4" y="96"/>
                  </a:lnTo>
                  <a:lnTo>
                    <a:pt x="8" y="92"/>
                  </a:lnTo>
                  <a:lnTo>
                    <a:pt x="14" y="78"/>
                  </a:lnTo>
                  <a:lnTo>
                    <a:pt x="20" y="48"/>
                  </a:lnTo>
                  <a:lnTo>
                    <a:pt x="22" y="34"/>
                  </a:lnTo>
                  <a:lnTo>
                    <a:pt x="28" y="20"/>
                  </a:lnTo>
                  <a:lnTo>
                    <a:pt x="30" y="16"/>
                  </a:lnTo>
                  <a:lnTo>
                    <a:pt x="36" y="10"/>
                  </a:lnTo>
                  <a:lnTo>
                    <a:pt x="40" y="6"/>
                  </a:lnTo>
                  <a:lnTo>
                    <a:pt x="46" y="4"/>
                  </a:lnTo>
                  <a:lnTo>
                    <a:pt x="46" y="4"/>
                  </a:lnTo>
                  <a:lnTo>
                    <a:pt x="68" y="10"/>
                  </a:lnTo>
                  <a:lnTo>
                    <a:pt x="88" y="10"/>
                  </a:lnTo>
                  <a:lnTo>
                    <a:pt x="108" y="8"/>
                  </a:lnTo>
                  <a:lnTo>
                    <a:pt x="126" y="0"/>
                  </a:lnTo>
                  <a:lnTo>
                    <a:pt x="12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5" name="Freeform 60"/>
            <p:cNvSpPr>
              <a:spLocks/>
            </p:cNvSpPr>
            <p:nvPr/>
          </p:nvSpPr>
          <p:spPr bwMode="auto">
            <a:xfrm>
              <a:off x="9927439" y="4092483"/>
              <a:ext cx="638790" cy="365022"/>
            </a:xfrm>
            <a:custGeom>
              <a:avLst/>
              <a:gdLst>
                <a:gd name="T0" fmla="*/ 42 w 378"/>
                <a:gd name="T1" fmla="*/ 0 h 216"/>
                <a:gd name="T2" fmla="*/ 52 w 378"/>
                <a:gd name="T3" fmla="*/ 14 h 216"/>
                <a:gd name="T4" fmla="*/ 64 w 378"/>
                <a:gd name="T5" fmla="*/ 48 h 216"/>
                <a:gd name="T6" fmla="*/ 74 w 378"/>
                <a:gd name="T7" fmla="*/ 60 h 216"/>
                <a:gd name="T8" fmla="*/ 80 w 378"/>
                <a:gd name="T9" fmla="*/ 54 h 216"/>
                <a:gd name="T10" fmla="*/ 102 w 378"/>
                <a:gd name="T11" fmla="*/ 38 h 216"/>
                <a:gd name="T12" fmla="*/ 130 w 378"/>
                <a:gd name="T13" fmla="*/ 18 h 216"/>
                <a:gd name="T14" fmla="*/ 180 w 378"/>
                <a:gd name="T15" fmla="*/ 40 h 216"/>
                <a:gd name="T16" fmla="*/ 256 w 378"/>
                <a:gd name="T17" fmla="*/ 72 h 216"/>
                <a:gd name="T18" fmla="*/ 296 w 378"/>
                <a:gd name="T19" fmla="*/ 102 h 216"/>
                <a:gd name="T20" fmla="*/ 312 w 378"/>
                <a:gd name="T21" fmla="*/ 120 h 216"/>
                <a:gd name="T22" fmla="*/ 312 w 378"/>
                <a:gd name="T23" fmla="*/ 126 h 216"/>
                <a:gd name="T24" fmla="*/ 308 w 378"/>
                <a:gd name="T25" fmla="*/ 132 h 216"/>
                <a:gd name="T26" fmla="*/ 304 w 378"/>
                <a:gd name="T27" fmla="*/ 134 h 216"/>
                <a:gd name="T28" fmla="*/ 318 w 378"/>
                <a:gd name="T29" fmla="*/ 158 h 216"/>
                <a:gd name="T30" fmla="*/ 356 w 378"/>
                <a:gd name="T31" fmla="*/ 198 h 216"/>
                <a:gd name="T32" fmla="*/ 378 w 378"/>
                <a:gd name="T33" fmla="*/ 214 h 216"/>
                <a:gd name="T34" fmla="*/ 354 w 378"/>
                <a:gd name="T35" fmla="*/ 214 h 216"/>
                <a:gd name="T36" fmla="*/ 330 w 378"/>
                <a:gd name="T37" fmla="*/ 204 h 216"/>
                <a:gd name="T38" fmla="*/ 290 w 378"/>
                <a:gd name="T39" fmla="*/ 170 h 216"/>
                <a:gd name="T40" fmla="*/ 272 w 378"/>
                <a:gd name="T41" fmla="*/ 154 h 216"/>
                <a:gd name="T42" fmla="*/ 254 w 378"/>
                <a:gd name="T43" fmla="*/ 148 h 216"/>
                <a:gd name="T44" fmla="*/ 236 w 378"/>
                <a:gd name="T45" fmla="*/ 156 h 216"/>
                <a:gd name="T46" fmla="*/ 220 w 378"/>
                <a:gd name="T47" fmla="*/ 182 h 216"/>
                <a:gd name="T48" fmla="*/ 204 w 378"/>
                <a:gd name="T49" fmla="*/ 180 h 216"/>
                <a:gd name="T50" fmla="*/ 180 w 378"/>
                <a:gd name="T51" fmla="*/ 170 h 216"/>
                <a:gd name="T52" fmla="*/ 162 w 378"/>
                <a:gd name="T53" fmla="*/ 160 h 216"/>
                <a:gd name="T54" fmla="*/ 140 w 378"/>
                <a:gd name="T55" fmla="*/ 152 h 216"/>
                <a:gd name="T56" fmla="*/ 126 w 378"/>
                <a:gd name="T57" fmla="*/ 154 h 216"/>
                <a:gd name="T58" fmla="*/ 136 w 378"/>
                <a:gd name="T59" fmla="*/ 142 h 216"/>
                <a:gd name="T60" fmla="*/ 150 w 378"/>
                <a:gd name="T61" fmla="*/ 134 h 216"/>
                <a:gd name="T62" fmla="*/ 142 w 378"/>
                <a:gd name="T63" fmla="*/ 120 h 216"/>
                <a:gd name="T64" fmla="*/ 120 w 378"/>
                <a:gd name="T65" fmla="*/ 94 h 216"/>
                <a:gd name="T66" fmla="*/ 90 w 378"/>
                <a:gd name="T67" fmla="*/ 78 h 216"/>
                <a:gd name="T68" fmla="*/ 54 w 378"/>
                <a:gd name="T69" fmla="*/ 68 h 216"/>
                <a:gd name="T70" fmla="*/ 32 w 378"/>
                <a:gd name="T71" fmla="*/ 64 h 216"/>
                <a:gd name="T72" fmla="*/ 28 w 378"/>
                <a:gd name="T73" fmla="*/ 56 h 216"/>
                <a:gd name="T74" fmla="*/ 28 w 378"/>
                <a:gd name="T75" fmla="*/ 50 h 216"/>
                <a:gd name="T76" fmla="*/ 32 w 378"/>
                <a:gd name="T77" fmla="*/ 42 h 216"/>
                <a:gd name="T78" fmla="*/ 42 w 378"/>
                <a:gd name="T79" fmla="*/ 36 h 216"/>
                <a:gd name="T80" fmla="*/ 24 w 378"/>
                <a:gd name="T81" fmla="*/ 22 h 216"/>
                <a:gd name="T82" fmla="*/ 0 w 378"/>
                <a:gd name="T83" fmla="*/ 14 h 216"/>
                <a:gd name="T84" fmla="*/ 18 w 378"/>
                <a:gd name="T85" fmla="*/ 2 h 216"/>
                <a:gd name="T86" fmla="*/ 42 w 378"/>
                <a:gd name="T8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8" h="216">
                  <a:moveTo>
                    <a:pt x="42" y="0"/>
                  </a:moveTo>
                  <a:lnTo>
                    <a:pt x="42" y="0"/>
                  </a:lnTo>
                  <a:lnTo>
                    <a:pt x="48" y="6"/>
                  </a:lnTo>
                  <a:lnTo>
                    <a:pt x="52" y="14"/>
                  </a:lnTo>
                  <a:lnTo>
                    <a:pt x="58" y="30"/>
                  </a:lnTo>
                  <a:lnTo>
                    <a:pt x="64" y="48"/>
                  </a:lnTo>
                  <a:lnTo>
                    <a:pt x="68" y="54"/>
                  </a:lnTo>
                  <a:lnTo>
                    <a:pt x="74" y="60"/>
                  </a:lnTo>
                  <a:lnTo>
                    <a:pt x="74" y="60"/>
                  </a:lnTo>
                  <a:lnTo>
                    <a:pt x="80" y="54"/>
                  </a:lnTo>
                  <a:lnTo>
                    <a:pt x="86" y="48"/>
                  </a:lnTo>
                  <a:lnTo>
                    <a:pt x="102" y="38"/>
                  </a:lnTo>
                  <a:lnTo>
                    <a:pt x="116" y="28"/>
                  </a:lnTo>
                  <a:lnTo>
                    <a:pt x="130" y="18"/>
                  </a:lnTo>
                  <a:lnTo>
                    <a:pt x="130" y="18"/>
                  </a:lnTo>
                  <a:lnTo>
                    <a:pt x="180" y="40"/>
                  </a:lnTo>
                  <a:lnTo>
                    <a:pt x="232" y="60"/>
                  </a:lnTo>
                  <a:lnTo>
                    <a:pt x="256" y="72"/>
                  </a:lnTo>
                  <a:lnTo>
                    <a:pt x="276" y="86"/>
                  </a:lnTo>
                  <a:lnTo>
                    <a:pt x="296" y="102"/>
                  </a:lnTo>
                  <a:lnTo>
                    <a:pt x="304" y="110"/>
                  </a:lnTo>
                  <a:lnTo>
                    <a:pt x="312" y="120"/>
                  </a:lnTo>
                  <a:lnTo>
                    <a:pt x="312" y="120"/>
                  </a:lnTo>
                  <a:lnTo>
                    <a:pt x="312" y="126"/>
                  </a:lnTo>
                  <a:lnTo>
                    <a:pt x="310" y="130"/>
                  </a:lnTo>
                  <a:lnTo>
                    <a:pt x="308" y="132"/>
                  </a:lnTo>
                  <a:lnTo>
                    <a:pt x="304" y="134"/>
                  </a:lnTo>
                  <a:lnTo>
                    <a:pt x="304" y="134"/>
                  </a:lnTo>
                  <a:lnTo>
                    <a:pt x="310" y="148"/>
                  </a:lnTo>
                  <a:lnTo>
                    <a:pt x="318" y="158"/>
                  </a:lnTo>
                  <a:lnTo>
                    <a:pt x="334" y="180"/>
                  </a:lnTo>
                  <a:lnTo>
                    <a:pt x="356" y="198"/>
                  </a:lnTo>
                  <a:lnTo>
                    <a:pt x="378" y="214"/>
                  </a:lnTo>
                  <a:lnTo>
                    <a:pt x="378" y="214"/>
                  </a:lnTo>
                  <a:lnTo>
                    <a:pt x="366" y="216"/>
                  </a:lnTo>
                  <a:lnTo>
                    <a:pt x="354" y="214"/>
                  </a:lnTo>
                  <a:lnTo>
                    <a:pt x="342" y="210"/>
                  </a:lnTo>
                  <a:lnTo>
                    <a:pt x="330" y="204"/>
                  </a:lnTo>
                  <a:lnTo>
                    <a:pt x="310" y="188"/>
                  </a:lnTo>
                  <a:lnTo>
                    <a:pt x="290" y="170"/>
                  </a:lnTo>
                  <a:lnTo>
                    <a:pt x="280" y="162"/>
                  </a:lnTo>
                  <a:lnTo>
                    <a:pt x="272" y="154"/>
                  </a:lnTo>
                  <a:lnTo>
                    <a:pt x="262" y="150"/>
                  </a:lnTo>
                  <a:lnTo>
                    <a:pt x="254" y="148"/>
                  </a:lnTo>
                  <a:lnTo>
                    <a:pt x="244" y="150"/>
                  </a:lnTo>
                  <a:lnTo>
                    <a:pt x="236" y="156"/>
                  </a:lnTo>
                  <a:lnTo>
                    <a:pt x="228" y="166"/>
                  </a:lnTo>
                  <a:lnTo>
                    <a:pt x="220" y="182"/>
                  </a:lnTo>
                  <a:lnTo>
                    <a:pt x="220" y="182"/>
                  </a:lnTo>
                  <a:lnTo>
                    <a:pt x="204" y="180"/>
                  </a:lnTo>
                  <a:lnTo>
                    <a:pt x="192" y="176"/>
                  </a:lnTo>
                  <a:lnTo>
                    <a:pt x="180" y="170"/>
                  </a:lnTo>
                  <a:lnTo>
                    <a:pt x="172" y="164"/>
                  </a:lnTo>
                  <a:lnTo>
                    <a:pt x="162" y="160"/>
                  </a:lnTo>
                  <a:lnTo>
                    <a:pt x="152" y="154"/>
                  </a:lnTo>
                  <a:lnTo>
                    <a:pt x="140" y="152"/>
                  </a:lnTo>
                  <a:lnTo>
                    <a:pt x="126" y="154"/>
                  </a:lnTo>
                  <a:lnTo>
                    <a:pt x="126" y="154"/>
                  </a:lnTo>
                  <a:lnTo>
                    <a:pt x="130" y="148"/>
                  </a:lnTo>
                  <a:lnTo>
                    <a:pt x="136" y="142"/>
                  </a:lnTo>
                  <a:lnTo>
                    <a:pt x="144" y="140"/>
                  </a:lnTo>
                  <a:lnTo>
                    <a:pt x="150" y="134"/>
                  </a:lnTo>
                  <a:lnTo>
                    <a:pt x="150" y="134"/>
                  </a:lnTo>
                  <a:lnTo>
                    <a:pt x="142" y="120"/>
                  </a:lnTo>
                  <a:lnTo>
                    <a:pt x="132" y="106"/>
                  </a:lnTo>
                  <a:lnTo>
                    <a:pt x="120" y="94"/>
                  </a:lnTo>
                  <a:lnTo>
                    <a:pt x="106" y="84"/>
                  </a:lnTo>
                  <a:lnTo>
                    <a:pt x="90" y="78"/>
                  </a:lnTo>
                  <a:lnTo>
                    <a:pt x="72" y="72"/>
                  </a:lnTo>
                  <a:lnTo>
                    <a:pt x="54" y="68"/>
                  </a:lnTo>
                  <a:lnTo>
                    <a:pt x="32" y="64"/>
                  </a:lnTo>
                  <a:lnTo>
                    <a:pt x="32" y="64"/>
                  </a:lnTo>
                  <a:lnTo>
                    <a:pt x="32" y="58"/>
                  </a:lnTo>
                  <a:lnTo>
                    <a:pt x="28" y="56"/>
                  </a:lnTo>
                  <a:lnTo>
                    <a:pt x="28" y="56"/>
                  </a:lnTo>
                  <a:lnTo>
                    <a:pt x="28" y="50"/>
                  </a:lnTo>
                  <a:lnTo>
                    <a:pt x="28" y="46"/>
                  </a:lnTo>
                  <a:lnTo>
                    <a:pt x="32" y="42"/>
                  </a:lnTo>
                  <a:lnTo>
                    <a:pt x="42" y="36"/>
                  </a:lnTo>
                  <a:lnTo>
                    <a:pt x="42" y="36"/>
                  </a:lnTo>
                  <a:lnTo>
                    <a:pt x="34" y="28"/>
                  </a:lnTo>
                  <a:lnTo>
                    <a:pt x="24" y="22"/>
                  </a:lnTo>
                  <a:lnTo>
                    <a:pt x="0" y="14"/>
                  </a:lnTo>
                  <a:lnTo>
                    <a:pt x="0" y="14"/>
                  </a:lnTo>
                  <a:lnTo>
                    <a:pt x="8" y="8"/>
                  </a:lnTo>
                  <a:lnTo>
                    <a:pt x="18" y="2"/>
                  </a:lnTo>
                  <a:lnTo>
                    <a:pt x="28" y="0"/>
                  </a:lnTo>
                  <a:lnTo>
                    <a:pt x="42" y="0"/>
                  </a:lnTo>
                  <a:lnTo>
                    <a:pt x="4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6" name="Freeform 61"/>
            <p:cNvSpPr>
              <a:spLocks/>
            </p:cNvSpPr>
            <p:nvPr/>
          </p:nvSpPr>
          <p:spPr bwMode="auto">
            <a:xfrm>
              <a:off x="10559469" y="4170219"/>
              <a:ext cx="77736" cy="64217"/>
            </a:xfrm>
            <a:custGeom>
              <a:avLst/>
              <a:gdLst>
                <a:gd name="T0" fmla="*/ 0 w 46"/>
                <a:gd name="T1" fmla="*/ 0 h 38"/>
                <a:gd name="T2" fmla="*/ 0 w 46"/>
                <a:gd name="T3" fmla="*/ 0 h 38"/>
                <a:gd name="T4" fmla="*/ 6 w 46"/>
                <a:gd name="T5" fmla="*/ 0 h 38"/>
                <a:gd name="T6" fmla="*/ 12 w 46"/>
                <a:gd name="T7" fmla="*/ 0 h 38"/>
                <a:gd name="T8" fmla="*/ 20 w 46"/>
                <a:gd name="T9" fmla="*/ 2 h 38"/>
                <a:gd name="T10" fmla="*/ 28 w 46"/>
                <a:gd name="T11" fmla="*/ 8 h 38"/>
                <a:gd name="T12" fmla="*/ 34 w 46"/>
                <a:gd name="T13" fmla="*/ 14 h 38"/>
                <a:gd name="T14" fmla="*/ 40 w 46"/>
                <a:gd name="T15" fmla="*/ 20 h 38"/>
                <a:gd name="T16" fmla="*/ 44 w 46"/>
                <a:gd name="T17" fmla="*/ 28 h 38"/>
                <a:gd name="T18" fmla="*/ 46 w 46"/>
                <a:gd name="T19" fmla="*/ 38 h 38"/>
                <a:gd name="T20" fmla="*/ 46 w 46"/>
                <a:gd name="T21" fmla="*/ 38 h 38"/>
                <a:gd name="T22" fmla="*/ 26 w 46"/>
                <a:gd name="T23" fmla="*/ 16 h 38"/>
                <a:gd name="T24" fmla="*/ 14 w 46"/>
                <a:gd name="T25" fmla="*/ 6 h 38"/>
                <a:gd name="T26" fmla="*/ 6 w 46"/>
                <a:gd name="T27" fmla="*/ 2 h 38"/>
                <a:gd name="T28" fmla="*/ 0 w 46"/>
                <a:gd name="T29" fmla="*/ 0 h 38"/>
                <a:gd name="T30" fmla="*/ 0 w 46"/>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 h="38">
                  <a:moveTo>
                    <a:pt x="0" y="0"/>
                  </a:moveTo>
                  <a:lnTo>
                    <a:pt x="0" y="0"/>
                  </a:lnTo>
                  <a:lnTo>
                    <a:pt x="6" y="0"/>
                  </a:lnTo>
                  <a:lnTo>
                    <a:pt x="12" y="0"/>
                  </a:lnTo>
                  <a:lnTo>
                    <a:pt x="20" y="2"/>
                  </a:lnTo>
                  <a:lnTo>
                    <a:pt x="28" y="8"/>
                  </a:lnTo>
                  <a:lnTo>
                    <a:pt x="34" y="14"/>
                  </a:lnTo>
                  <a:lnTo>
                    <a:pt x="40" y="20"/>
                  </a:lnTo>
                  <a:lnTo>
                    <a:pt x="44" y="28"/>
                  </a:lnTo>
                  <a:lnTo>
                    <a:pt x="46" y="38"/>
                  </a:lnTo>
                  <a:lnTo>
                    <a:pt x="46" y="38"/>
                  </a:lnTo>
                  <a:lnTo>
                    <a:pt x="26" y="16"/>
                  </a:lnTo>
                  <a:lnTo>
                    <a:pt x="14" y="6"/>
                  </a:lnTo>
                  <a:lnTo>
                    <a:pt x="6" y="2"/>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7" name="Freeform 62"/>
            <p:cNvSpPr>
              <a:spLocks/>
            </p:cNvSpPr>
            <p:nvPr/>
          </p:nvSpPr>
          <p:spPr bwMode="auto">
            <a:xfrm>
              <a:off x="9826044" y="4170219"/>
              <a:ext cx="70977" cy="23659"/>
            </a:xfrm>
            <a:custGeom>
              <a:avLst/>
              <a:gdLst>
                <a:gd name="T0" fmla="*/ 0 w 42"/>
                <a:gd name="T1" fmla="*/ 0 h 14"/>
                <a:gd name="T2" fmla="*/ 0 w 42"/>
                <a:gd name="T3" fmla="*/ 0 h 14"/>
                <a:gd name="T4" fmla="*/ 12 w 42"/>
                <a:gd name="T5" fmla="*/ 0 h 14"/>
                <a:gd name="T6" fmla="*/ 22 w 42"/>
                <a:gd name="T7" fmla="*/ 2 h 14"/>
                <a:gd name="T8" fmla="*/ 30 w 42"/>
                <a:gd name="T9" fmla="*/ 4 h 14"/>
                <a:gd name="T10" fmla="*/ 42 w 42"/>
                <a:gd name="T11" fmla="*/ 4 h 14"/>
                <a:gd name="T12" fmla="*/ 42 w 42"/>
                <a:gd name="T13" fmla="*/ 4 h 14"/>
                <a:gd name="T14" fmla="*/ 38 w 42"/>
                <a:gd name="T15" fmla="*/ 8 h 14"/>
                <a:gd name="T16" fmla="*/ 32 w 42"/>
                <a:gd name="T17" fmla="*/ 12 h 14"/>
                <a:gd name="T18" fmla="*/ 26 w 42"/>
                <a:gd name="T19" fmla="*/ 12 h 14"/>
                <a:gd name="T20" fmla="*/ 18 w 42"/>
                <a:gd name="T21" fmla="*/ 14 h 14"/>
                <a:gd name="T22" fmla="*/ 12 w 42"/>
                <a:gd name="T23" fmla="*/ 12 h 14"/>
                <a:gd name="T24" fmla="*/ 6 w 42"/>
                <a:gd name="T25" fmla="*/ 10 h 14"/>
                <a:gd name="T26" fmla="*/ 2 w 42"/>
                <a:gd name="T27" fmla="*/ 6 h 14"/>
                <a:gd name="T28" fmla="*/ 0 w 42"/>
                <a:gd name="T29" fmla="*/ 0 h 14"/>
                <a:gd name="T30" fmla="*/ 0 w 4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4">
                  <a:moveTo>
                    <a:pt x="0" y="0"/>
                  </a:moveTo>
                  <a:lnTo>
                    <a:pt x="0" y="0"/>
                  </a:lnTo>
                  <a:lnTo>
                    <a:pt x="12" y="0"/>
                  </a:lnTo>
                  <a:lnTo>
                    <a:pt x="22" y="2"/>
                  </a:lnTo>
                  <a:lnTo>
                    <a:pt x="30" y="4"/>
                  </a:lnTo>
                  <a:lnTo>
                    <a:pt x="42" y="4"/>
                  </a:lnTo>
                  <a:lnTo>
                    <a:pt x="42" y="4"/>
                  </a:lnTo>
                  <a:lnTo>
                    <a:pt x="38" y="8"/>
                  </a:lnTo>
                  <a:lnTo>
                    <a:pt x="32" y="12"/>
                  </a:lnTo>
                  <a:lnTo>
                    <a:pt x="26" y="12"/>
                  </a:lnTo>
                  <a:lnTo>
                    <a:pt x="18" y="14"/>
                  </a:lnTo>
                  <a:lnTo>
                    <a:pt x="12" y="12"/>
                  </a:lnTo>
                  <a:lnTo>
                    <a:pt x="6" y="10"/>
                  </a:lnTo>
                  <a:lnTo>
                    <a:pt x="2" y="6"/>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8" name="Freeform 63"/>
            <p:cNvSpPr>
              <a:spLocks/>
            </p:cNvSpPr>
            <p:nvPr/>
          </p:nvSpPr>
          <p:spPr bwMode="auto">
            <a:xfrm>
              <a:off x="10502011" y="4224295"/>
              <a:ext cx="104775" cy="74355"/>
            </a:xfrm>
            <a:custGeom>
              <a:avLst/>
              <a:gdLst>
                <a:gd name="T0" fmla="*/ 60 w 62"/>
                <a:gd name="T1" fmla="*/ 0 h 44"/>
                <a:gd name="T2" fmla="*/ 60 w 62"/>
                <a:gd name="T3" fmla="*/ 0 h 44"/>
                <a:gd name="T4" fmla="*/ 62 w 62"/>
                <a:gd name="T5" fmla="*/ 6 h 44"/>
                <a:gd name="T6" fmla="*/ 62 w 62"/>
                <a:gd name="T7" fmla="*/ 10 h 44"/>
                <a:gd name="T8" fmla="*/ 60 w 62"/>
                <a:gd name="T9" fmla="*/ 20 h 44"/>
                <a:gd name="T10" fmla="*/ 52 w 62"/>
                <a:gd name="T11" fmla="*/ 30 h 44"/>
                <a:gd name="T12" fmla="*/ 44 w 62"/>
                <a:gd name="T13" fmla="*/ 38 h 44"/>
                <a:gd name="T14" fmla="*/ 34 w 62"/>
                <a:gd name="T15" fmla="*/ 42 h 44"/>
                <a:gd name="T16" fmla="*/ 22 w 62"/>
                <a:gd name="T17" fmla="*/ 44 h 44"/>
                <a:gd name="T18" fmla="*/ 10 w 62"/>
                <a:gd name="T19" fmla="*/ 44 h 44"/>
                <a:gd name="T20" fmla="*/ 0 w 62"/>
                <a:gd name="T21" fmla="*/ 38 h 44"/>
                <a:gd name="T22" fmla="*/ 0 w 62"/>
                <a:gd name="T23" fmla="*/ 38 h 44"/>
                <a:gd name="T24" fmla="*/ 18 w 62"/>
                <a:gd name="T25" fmla="*/ 30 h 44"/>
                <a:gd name="T26" fmla="*/ 36 w 62"/>
                <a:gd name="T27" fmla="*/ 24 h 44"/>
                <a:gd name="T28" fmla="*/ 44 w 62"/>
                <a:gd name="T29" fmla="*/ 20 h 44"/>
                <a:gd name="T30" fmla="*/ 50 w 62"/>
                <a:gd name="T31" fmla="*/ 16 h 44"/>
                <a:gd name="T32" fmla="*/ 56 w 62"/>
                <a:gd name="T33" fmla="*/ 8 h 44"/>
                <a:gd name="T34" fmla="*/ 60 w 62"/>
                <a:gd name="T35" fmla="*/ 0 h 44"/>
                <a:gd name="T36" fmla="*/ 60 w 62"/>
                <a:gd name="T3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44">
                  <a:moveTo>
                    <a:pt x="60" y="0"/>
                  </a:moveTo>
                  <a:lnTo>
                    <a:pt x="60" y="0"/>
                  </a:lnTo>
                  <a:lnTo>
                    <a:pt x="62" y="6"/>
                  </a:lnTo>
                  <a:lnTo>
                    <a:pt x="62" y="10"/>
                  </a:lnTo>
                  <a:lnTo>
                    <a:pt x="60" y="20"/>
                  </a:lnTo>
                  <a:lnTo>
                    <a:pt x="52" y="30"/>
                  </a:lnTo>
                  <a:lnTo>
                    <a:pt x="44" y="38"/>
                  </a:lnTo>
                  <a:lnTo>
                    <a:pt x="34" y="42"/>
                  </a:lnTo>
                  <a:lnTo>
                    <a:pt x="22" y="44"/>
                  </a:lnTo>
                  <a:lnTo>
                    <a:pt x="10" y="44"/>
                  </a:lnTo>
                  <a:lnTo>
                    <a:pt x="0" y="38"/>
                  </a:lnTo>
                  <a:lnTo>
                    <a:pt x="0" y="38"/>
                  </a:lnTo>
                  <a:lnTo>
                    <a:pt x="18" y="30"/>
                  </a:lnTo>
                  <a:lnTo>
                    <a:pt x="36" y="24"/>
                  </a:lnTo>
                  <a:lnTo>
                    <a:pt x="44" y="20"/>
                  </a:lnTo>
                  <a:lnTo>
                    <a:pt x="50" y="16"/>
                  </a:lnTo>
                  <a:lnTo>
                    <a:pt x="56" y="8"/>
                  </a:lnTo>
                  <a:lnTo>
                    <a:pt x="60" y="0"/>
                  </a:lnTo>
                  <a:lnTo>
                    <a:pt x="6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29" name="Freeform 64"/>
            <p:cNvSpPr>
              <a:spLocks/>
            </p:cNvSpPr>
            <p:nvPr/>
          </p:nvSpPr>
          <p:spPr bwMode="auto">
            <a:xfrm>
              <a:off x="10667624" y="4264855"/>
              <a:ext cx="33798" cy="64217"/>
            </a:xfrm>
            <a:custGeom>
              <a:avLst/>
              <a:gdLst>
                <a:gd name="T0" fmla="*/ 0 w 20"/>
                <a:gd name="T1" fmla="*/ 0 h 38"/>
                <a:gd name="T2" fmla="*/ 0 w 20"/>
                <a:gd name="T3" fmla="*/ 0 h 38"/>
                <a:gd name="T4" fmla="*/ 6 w 20"/>
                <a:gd name="T5" fmla="*/ 10 h 38"/>
                <a:gd name="T6" fmla="*/ 14 w 20"/>
                <a:gd name="T7" fmla="*/ 20 h 38"/>
                <a:gd name="T8" fmla="*/ 20 w 20"/>
                <a:gd name="T9" fmla="*/ 28 h 38"/>
                <a:gd name="T10" fmla="*/ 20 w 20"/>
                <a:gd name="T11" fmla="*/ 32 h 38"/>
                <a:gd name="T12" fmla="*/ 18 w 20"/>
                <a:gd name="T13" fmla="*/ 38 h 38"/>
                <a:gd name="T14" fmla="*/ 18 w 20"/>
                <a:gd name="T15" fmla="*/ 38 h 38"/>
                <a:gd name="T16" fmla="*/ 10 w 20"/>
                <a:gd name="T17" fmla="*/ 32 h 38"/>
                <a:gd name="T18" fmla="*/ 6 w 20"/>
                <a:gd name="T19" fmla="*/ 24 h 38"/>
                <a:gd name="T20" fmla="*/ 2 w 20"/>
                <a:gd name="T21" fmla="*/ 12 h 38"/>
                <a:gd name="T22" fmla="*/ 0 w 20"/>
                <a:gd name="T23" fmla="*/ 0 h 38"/>
                <a:gd name="T24" fmla="*/ 0 w 20"/>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8">
                  <a:moveTo>
                    <a:pt x="0" y="0"/>
                  </a:moveTo>
                  <a:lnTo>
                    <a:pt x="0" y="0"/>
                  </a:lnTo>
                  <a:lnTo>
                    <a:pt x="6" y="10"/>
                  </a:lnTo>
                  <a:lnTo>
                    <a:pt x="14" y="20"/>
                  </a:lnTo>
                  <a:lnTo>
                    <a:pt x="20" y="28"/>
                  </a:lnTo>
                  <a:lnTo>
                    <a:pt x="20" y="32"/>
                  </a:lnTo>
                  <a:lnTo>
                    <a:pt x="18" y="38"/>
                  </a:lnTo>
                  <a:lnTo>
                    <a:pt x="18" y="38"/>
                  </a:lnTo>
                  <a:lnTo>
                    <a:pt x="10" y="32"/>
                  </a:lnTo>
                  <a:lnTo>
                    <a:pt x="6" y="24"/>
                  </a:lnTo>
                  <a:lnTo>
                    <a:pt x="2" y="12"/>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0" name="Freeform 65"/>
            <p:cNvSpPr>
              <a:spLocks/>
            </p:cNvSpPr>
            <p:nvPr/>
          </p:nvSpPr>
          <p:spPr bwMode="auto">
            <a:xfrm>
              <a:off x="9085859" y="4288512"/>
              <a:ext cx="314325" cy="74355"/>
            </a:xfrm>
            <a:custGeom>
              <a:avLst/>
              <a:gdLst>
                <a:gd name="T0" fmla="*/ 186 w 186"/>
                <a:gd name="T1" fmla="*/ 42 h 44"/>
                <a:gd name="T2" fmla="*/ 186 w 186"/>
                <a:gd name="T3" fmla="*/ 42 h 44"/>
                <a:gd name="T4" fmla="*/ 164 w 186"/>
                <a:gd name="T5" fmla="*/ 44 h 44"/>
                <a:gd name="T6" fmla="*/ 140 w 186"/>
                <a:gd name="T7" fmla="*/ 44 h 44"/>
                <a:gd name="T8" fmla="*/ 114 w 186"/>
                <a:gd name="T9" fmla="*/ 42 h 44"/>
                <a:gd name="T10" fmla="*/ 88 w 186"/>
                <a:gd name="T11" fmla="*/ 38 h 44"/>
                <a:gd name="T12" fmla="*/ 62 w 186"/>
                <a:gd name="T13" fmla="*/ 34 h 44"/>
                <a:gd name="T14" fmla="*/ 38 w 186"/>
                <a:gd name="T15" fmla="*/ 28 h 44"/>
                <a:gd name="T16" fmla="*/ 18 w 186"/>
                <a:gd name="T17" fmla="*/ 20 h 44"/>
                <a:gd name="T18" fmla="*/ 0 w 186"/>
                <a:gd name="T19" fmla="*/ 10 h 44"/>
                <a:gd name="T20" fmla="*/ 0 w 186"/>
                <a:gd name="T21" fmla="*/ 10 h 44"/>
                <a:gd name="T22" fmla="*/ 6 w 186"/>
                <a:gd name="T23" fmla="*/ 4 h 44"/>
                <a:gd name="T24" fmla="*/ 14 w 186"/>
                <a:gd name="T25" fmla="*/ 2 h 44"/>
                <a:gd name="T26" fmla="*/ 20 w 186"/>
                <a:gd name="T27" fmla="*/ 0 h 44"/>
                <a:gd name="T28" fmla="*/ 28 w 186"/>
                <a:gd name="T29" fmla="*/ 0 h 44"/>
                <a:gd name="T30" fmla="*/ 42 w 186"/>
                <a:gd name="T31" fmla="*/ 4 h 44"/>
                <a:gd name="T32" fmla="*/ 56 w 186"/>
                <a:gd name="T33" fmla="*/ 8 h 44"/>
                <a:gd name="T34" fmla="*/ 70 w 186"/>
                <a:gd name="T35" fmla="*/ 14 h 44"/>
                <a:gd name="T36" fmla="*/ 84 w 186"/>
                <a:gd name="T37" fmla="*/ 16 h 44"/>
                <a:gd name="T38" fmla="*/ 90 w 186"/>
                <a:gd name="T39" fmla="*/ 16 h 44"/>
                <a:gd name="T40" fmla="*/ 98 w 186"/>
                <a:gd name="T41" fmla="*/ 16 h 44"/>
                <a:gd name="T42" fmla="*/ 104 w 186"/>
                <a:gd name="T43" fmla="*/ 14 h 44"/>
                <a:gd name="T44" fmla="*/ 112 w 186"/>
                <a:gd name="T45" fmla="*/ 10 h 44"/>
                <a:gd name="T46" fmla="*/ 112 w 186"/>
                <a:gd name="T47" fmla="*/ 10 h 44"/>
                <a:gd name="T48" fmla="*/ 130 w 186"/>
                <a:gd name="T49" fmla="*/ 18 h 44"/>
                <a:gd name="T50" fmla="*/ 148 w 186"/>
                <a:gd name="T51" fmla="*/ 26 h 44"/>
                <a:gd name="T52" fmla="*/ 166 w 186"/>
                <a:gd name="T53" fmla="*/ 36 h 44"/>
                <a:gd name="T54" fmla="*/ 186 w 186"/>
                <a:gd name="T55" fmla="*/ 42 h 44"/>
                <a:gd name="T56" fmla="*/ 186 w 186"/>
                <a:gd name="T5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44">
                  <a:moveTo>
                    <a:pt x="186" y="42"/>
                  </a:moveTo>
                  <a:lnTo>
                    <a:pt x="186" y="42"/>
                  </a:lnTo>
                  <a:lnTo>
                    <a:pt x="164" y="44"/>
                  </a:lnTo>
                  <a:lnTo>
                    <a:pt x="140" y="44"/>
                  </a:lnTo>
                  <a:lnTo>
                    <a:pt x="114" y="42"/>
                  </a:lnTo>
                  <a:lnTo>
                    <a:pt x="88" y="38"/>
                  </a:lnTo>
                  <a:lnTo>
                    <a:pt x="62" y="34"/>
                  </a:lnTo>
                  <a:lnTo>
                    <a:pt x="38" y="28"/>
                  </a:lnTo>
                  <a:lnTo>
                    <a:pt x="18" y="20"/>
                  </a:lnTo>
                  <a:lnTo>
                    <a:pt x="0" y="10"/>
                  </a:lnTo>
                  <a:lnTo>
                    <a:pt x="0" y="10"/>
                  </a:lnTo>
                  <a:lnTo>
                    <a:pt x="6" y="4"/>
                  </a:lnTo>
                  <a:lnTo>
                    <a:pt x="14" y="2"/>
                  </a:lnTo>
                  <a:lnTo>
                    <a:pt x="20" y="0"/>
                  </a:lnTo>
                  <a:lnTo>
                    <a:pt x="28" y="0"/>
                  </a:lnTo>
                  <a:lnTo>
                    <a:pt x="42" y="4"/>
                  </a:lnTo>
                  <a:lnTo>
                    <a:pt x="56" y="8"/>
                  </a:lnTo>
                  <a:lnTo>
                    <a:pt x="70" y="14"/>
                  </a:lnTo>
                  <a:lnTo>
                    <a:pt x="84" y="16"/>
                  </a:lnTo>
                  <a:lnTo>
                    <a:pt x="90" y="16"/>
                  </a:lnTo>
                  <a:lnTo>
                    <a:pt x="98" y="16"/>
                  </a:lnTo>
                  <a:lnTo>
                    <a:pt x="104" y="14"/>
                  </a:lnTo>
                  <a:lnTo>
                    <a:pt x="112" y="10"/>
                  </a:lnTo>
                  <a:lnTo>
                    <a:pt x="112" y="10"/>
                  </a:lnTo>
                  <a:lnTo>
                    <a:pt x="130" y="18"/>
                  </a:lnTo>
                  <a:lnTo>
                    <a:pt x="148" y="26"/>
                  </a:lnTo>
                  <a:lnTo>
                    <a:pt x="166" y="36"/>
                  </a:lnTo>
                  <a:lnTo>
                    <a:pt x="186" y="42"/>
                  </a:lnTo>
                  <a:lnTo>
                    <a:pt x="186" y="42"/>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1" name="Freeform 66"/>
            <p:cNvSpPr>
              <a:spLocks/>
            </p:cNvSpPr>
            <p:nvPr/>
          </p:nvSpPr>
          <p:spPr bwMode="auto">
            <a:xfrm>
              <a:off x="9559037" y="4359490"/>
              <a:ext cx="77736" cy="30419"/>
            </a:xfrm>
            <a:custGeom>
              <a:avLst/>
              <a:gdLst>
                <a:gd name="T0" fmla="*/ 46 w 46"/>
                <a:gd name="T1" fmla="*/ 10 h 18"/>
                <a:gd name="T2" fmla="*/ 46 w 46"/>
                <a:gd name="T3" fmla="*/ 10 h 18"/>
                <a:gd name="T4" fmla="*/ 38 w 46"/>
                <a:gd name="T5" fmla="*/ 14 h 18"/>
                <a:gd name="T6" fmla="*/ 28 w 46"/>
                <a:gd name="T7" fmla="*/ 16 h 18"/>
                <a:gd name="T8" fmla="*/ 8 w 46"/>
                <a:gd name="T9" fmla="*/ 18 h 18"/>
                <a:gd name="T10" fmla="*/ 8 w 46"/>
                <a:gd name="T11" fmla="*/ 18 h 18"/>
                <a:gd name="T12" fmla="*/ 6 w 46"/>
                <a:gd name="T13" fmla="*/ 12 h 18"/>
                <a:gd name="T14" fmla="*/ 2 w 46"/>
                <a:gd name="T15" fmla="*/ 10 h 18"/>
                <a:gd name="T16" fmla="*/ 0 w 46"/>
                <a:gd name="T17" fmla="*/ 10 h 18"/>
                <a:gd name="T18" fmla="*/ 0 w 46"/>
                <a:gd name="T19" fmla="*/ 10 h 18"/>
                <a:gd name="T20" fmla="*/ 2 w 46"/>
                <a:gd name="T21" fmla="*/ 4 h 18"/>
                <a:gd name="T22" fmla="*/ 8 w 46"/>
                <a:gd name="T23" fmla="*/ 0 h 18"/>
                <a:gd name="T24" fmla="*/ 14 w 46"/>
                <a:gd name="T25" fmla="*/ 0 h 18"/>
                <a:gd name="T26" fmla="*/ 20 w 46"/>
                <a:gd name="T27" fmla="*/ 2 h 18"/>
                <a:gd name="T28" fmla="*/ 34 w 46"/>
                <a:gd name="T29" fmla="*/ 6 h 18"/>
                <a:gd name="T30" fmla="*/ 40 w 46"/>
                <a:gd name="T31" fmla="*/ 8 h 18"/>
                <a:gd name="T32" fmla="*/ 46 w 46"/>
                <a:gd name="T33" fmla="*/ 10 h 18"/>
                <a:gd name="T34" fmla="*/ 46 w 46"/>
                <a:gd name="T35"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18">
                  <a:moveTo>
                    <a:pt x="46" y="10"/>
                  </a:moveTo>
                  <a:lnTo>
                    <a:pt x="46" y="10"/>
                  </a:lnTo>
                  <a:lnTo>
                    <a:pt x="38" y="14"/>
                  </a:lnTo>
                  <a:lnTo>
                    <a:pt x="28" y="16"/>
                  </a:lnTo>
                  <a:lnTo>
                    <a:pt x="8" y="18"/>
                  </a:lnTo>
                  <a:lnTo>
                    <a:pt x="8" y="18"/>
                  </a:lnTo>
                  <a:lnTo>
                    <a:pt x="6" y="12"/>
                  </a:lnTo>
                  <a:lnTo>
                    <a:pt x="2" y="10"/>
                  </a:lnTo>
                  <a:lnTo>
                    <a:pt x="0" y="10"/>
                  </a:lnTo>
                  <a:lnTo>
                    <a:pt x="0" y="10"/>
                  </a:lnTo>
                  <a:lnTo>
                    <a:pt x="2" y="4"/>
                  </a:lnTo>
                  <a:lnTo>
                    <a:pt x="8" y="0"/>
                  </a:lnTo>
                  <a:lnTo>
                    <a:pt x="14" y="0"/>
                  </a:lnTo>
                  <a:lnTo>
                    <a:pt x="20" y="2"/>
                  </a:lnTo>
                  <a:lnTo>
                    <a:pt x="34" y="6"/>
                  </a:lnTo>
                  <a:lnTo>
                    <a:pt x="40" y="8"/>
                  </a:lnTo>
                  <a:lnTo>
                    <a:pt x="46" y="10"/>
                  </a:lnTo>
                  <a:lnTo>
                    <a:pt x="46" y="1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2" name="Freeform 67"/>
            <p:cNvSpPr>
              <a:spLocks/>
            </p:cNvSpPr>
            <p:nvPr/>
          </p:nvSpPr>
          <p:spPr bwMode="auto">
            <a:xfrm>
              <a:off x="9440742" y="4366250"/>
              <a:ext cx="70977" cy="23659"/>
            </a:xfrm>
            <a:custGeom>
              <a:avLst/>
              <a:gdLst>
                <a:gd name="T0" fmla="*/ 42 w 42"/>
                <a:gd name="T1" fmla="*/ 6 h 14"/>
                <a:gd name="T2" fmla="*/ 42 w 42"/>
                <a:gd name="T3" fmla="*/ 6 h 14"/>
                <a:gd name="T4" fmla="*/ 32 w 42"/>
                <a:gd name="T5" fmla="*/ 10 h 14"/>
                <a:gd name="T6" fmla="*/ 22 w 42"/>
                <a:gd name="T7" fmla="*/ 14 h 14"/>
                <a:gd name="T8" fmla="*/ 10 w 42"/>
                <a:gd name="T9" fmla="*/ 14 h 14"/>
                <a:gd name="T10" fmla="*/ 0 w 42"/>
                <a:gd name="T11" fmla="*/ 10 h 14"/>
                <a:gd name="T12" fmla="*/ 0 w 42"/>
                <a:gd name="T13" fmla="*/ 10 h 14"/>
                <a:gd name="T14" fmla="*/ 2 w 42"/>
                <a:gd name="T15" fmla="*/ 6 h 14"/>
                <a:gd name="T16" fmla="*/ 6 w 42"/>
                <a:gd name="T17" fmla="*/ 2 h 14"/>
                <a:gd name="T18" fmla="*/ 12 w 42"/>
                <a:gd name="T19" fmla="*/ 0 h 14"/>
                <a:gd name="T20" fmla="*/ 18 w 42"/>
                <a:gd name="T21" fmla="*/ 0 h 14"/>
                <a:gd name="T22" fmla="*/ 32 w 42"/>
                <a:gd name="T23" fmla="*/ 2 h 14"/>
                <a:gd name="T24" fmla="*/ 42 w 42"/>
                <a:gd name="T25" fmla="*/ 6 h 14"/>
                <a:gd name="T26" fmla="*/ 42 w 42"/>
                <a:gd name="T2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14">
                  <a:moveTo>
                    <a:pt x="42" y="6"/>
                  </a:moveTo>
                  <a:lnTo>
                    <a:pt x="42" y="6"/>
                  </a:lnTo>
                  <a:lnTo>
                    <a:pt x="32" y="10"/>
                  </a:lnTo>
                  <a:lnTo>
                    <a:pt x="22" y="14"/>
                  </a:lnTo>
                  <a:lnTo>
                    <a:pt x="10" y="14"/>
                  </a:lnTo>
                  <a:lnTo>
                    <a:pt x="0" y="10"/>
                  </a:lnTo>
                  <a:lnTo>
                    <a:pt x="0" y="10"/>
                  </a:lnTo>
                  <a:lnTo>
                    <a:pt x="2" y="6"/>
                  </a:lnTo>
                  <a:lnTo>
                    <a:pt x="6" y="2"/>
                  </a:lnTo>
                  <a:lnTo>
                    <a:pt x="12" y="0"/>
                  </a:lnTo>
                  <a:lnTo>
                    <a:pt x="18" y="0"/>
                  </a:lnTo>
                  <a:lnTo>
                    <a:pt x="32" y="2"/>
                  </a:lnTo>
                  <a:lnTo>
                    <a:pt x="42" y="6"/>
                  </a:lnTo>
                  <a:lnTo>
                    <a:pt x="42" y="6"/>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3" name="Freeform 68"/>
            <p:cNvSpPr>
              <a:spLocks/>
            </p:cNvSpPr>
            <p:nvPr/>
          </p:nvSpPr>
          <p:spPr bwMode="auto">
            <a:xfrm>
              <a:off x="9660432" y="4369629"/>
              <a:ext cx="125054" cy="60837"/>
            </a:xfrm>
            <a:custGeom>
              <a:avLst/>
              <a:gdLst>
                <a:gd name="T0" fmla="*/ 74 w 74"/>
                <a:gd name="T1" fmla="*/ 4 h 36"/>
                <a:gd name="T2" fmla="*/ 74 w 74"/>
                <a:gd name="T3" fmla="*/ 4 h 36"/>
                <a:gd name="T4" fmla="*/ 64 w 74"/>
                <a:gd name="T5" fmla="*/ 6 h 36"/>
                <a:gd name="T6" fmla="*/ 54 w 74"/>
                <a:gd name="T7" fmla="*/ 10 h 36"/>
                <a:gd name="T8" fmla="*/ 36 w 74"/>
                <a:gd name="T9" fmla="*/ 18 h 36"/>
                <a:gd name="T10" fmla="*/ 20 w 74"/>
                <a:gd name="T11" fmla="*/ 28 h 36"/>
                <a:gd name="T12" fmla="*/ 10 w 74"/>
                <a:gd name="T13" fmla="*/ 32 h 36"/>
                <a:gd name="T14" fmla="*/ 0 w 74"/>
                <a:gd name="T15" fmla="*/ 36 h 36"/>
                <a:gd name="T16" fmla="*/ 0 w 74"/>
                <a:gd name="T17" fmla="*/ 36 h 36"/>
                <a:gd name="T18" fmla="*/ 4 w 74"/>
                <a:gd name="T19" fmla="*/ 26 h 36"/>
                <a:gd name="T20" fmla="*/ 12 w 74"/>
                <a:gd name="T21" fmla="*/ 18 h 36"/>
                <a:gd name="T22" fmla="*/ 18 w 74"/>
                <a:gd name="T23" fmla="*/ 10 h 36"/>
                <a:gd name="T24" fmla="*/ 28 w 74"/>
                <a:gd name="T25" fmla="*/ 6 h 36"/>
                <a:gd name="T26" fmla="*/ 38 w 74"/>
                <a:gd name="T27" fmla="*/ 2 h 36"/>
                <a:gd name="T28" fmla="*/ 50 w 74"/>
                <a:gd name="T29" fmla="*/ 0 h 36"/>
                <a:gd name="T30" fmla="*/ 62 w 74"/>
                <a:gd name="T31" fmla="*/ 0 h 36"/>
                <a:gd name="T32" fmla="*/ 74 w 74"/>
                <a:gd name="T33" fmla="*/ 4 h 36"/>
                <a:gd name="T34" fmla="*/ 74 w 74"/>
                <a:gd name="T35"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36">
                  <a:moveTo>
                    <a:pt x="74" y="4"/>
                  </a:moveTo>
                  <a:lnTo>
                    <a:pt x="74" y="4"/>
                  </a:lnTo>
                  <a:lnTo>
                    <a:pt x="64" y="6"/>
                  </a:lnTo>
                  <a:lnTo>
                    <a:pt x="54" y="10"/>
                  </a:lnTo>
                  <a:lnTo>
                    <a:pt x="36" y="18"/>
                  </a:lnTo>
                  <a:lnTo>
                    <a:pt x="20" y="28"/>
                  </a:lnTo>
                  <a:lnTo>
                    <a:pt x="10" y="32"/>
                  </a:lnTo>
                  <a:lnTo>
                    <a:pt x="0" y="36"/>
                  </a:lnTo>
                  <a:lnTo>
                    <a:pt x="0" y="36"/>
                  </a:lnTo>
                  <a:lnTo>
                    <a:pt x="4" y="26"/>
                  </a:lnTo>
                  <a:lnTo>
                    <a:pt x="12" y="18"/>
                  </a:lnTo>
                  <a:lnTo>
                    <a:pt x="18" y="10"/>
                  </a:lnTo>
                  <a:lnTo>
                    <a:pt x="28" y="6"/>
                  </a:lnTo>
                  <a:lnTo>
                    <a:pt x="38" y="2"/>
                  </a:lnTo>
                  <a:lnTo>
                    <a:pt x="50" y="0"/>
                  </a:lnTo>
                  <a:lnTo>
                    <a:pt x="62" y="0"/>
                  </a:lnTo>
                  <a:lnTo>
                    <a:pt x="74" y="4"/>
                  </a:lnTo>
                  <a:lnTo>
                    <a:pt x="74" y="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4" name="Freeform 69"/>
            <p:cNvSpPr>
              <a:spLocks/>
            </p:cNvSpPr>
            <p:nvPr/>
          </p:nvSpPr>
          <p:spPr bwMode="auto">
            <a:xfrm>
              <a:off x="9227812" y="4471025"/>
              <a:ext cx="1284339" cy="990292"/>
            </a:xfrm>
            <a:custGeom>
              <a:avLst/>
              <a:gdLst>
                <a:gd name="T0" fmla="*/ 628 w 760"/>
                <a:gd name="T1" fmla="*/ 18 h 586"/>
                <a:gd name="T2" fmla="*/ 668 w 760"/>
                <a:gd name="T3" fmla="*/ 104 h 586"/>
                <a:gd name="T4" fmla="*/ 662 w 760"/>
                <a:gd name="T5" fmla="*/ 144 h 586"/>
                <a:gd name="T6" fmla="*/ 710 w 760"/>
                <a:gd name="T7" fmla="*/ 220 h 586"/>
                <a:gd name="T8" fmla="*/ 760 w 760"/>
                <a:gd name="T9" fmla="*/ 298 h 586"/>
                <a:gd name="T10" fmla="*/ 740 w 760"/>
                <a:gd name="T11" fmla="*/ 388 h 586"/>
                <a:gd name="T12" fmla="*/ 692 w 760"/>
                <a:gd name="T13" fmla="*/ 450 h 586"/>
                <a:gd name="T14" fmla="*/ 598 w 760"/>
                <a:gd name="T15" fmla="*/ 546 h 586"/>
                <a:gd name="T16" fmla="*/ 566 w 760"/>
                <a:gd name="T17" fmla="*/ 558 h 586"/>
                <a:gd name="T18" fmla="*/ 528 w 760"/>
                <a:gd name="T19" fmla="*/ 574 h 586"/>
                <a:gd name="T20" fmla="*/ 504 w 760"/>
                <a:gd name="T21" fmla="*/ 576 h 586"/>
                <a:gd name="T22" fmla="*/ 476 w 760"/>
                <a:gd name="T23" fmla="*/ 574 h 586"/>
                <a:gd name="T24" fmla="*/ 436 w 760"/>
                <a:gd name="T25" fmla="*/ 564 h 586"/>
                <a:gd name="T26" fmla="*/ 426 w 760"/>
                <a:gd name="T27" fmla="*/ 538 h 586"/>
                <a:gd name="T28" fmla="*/ 420 w 760"/>
                <a:gd name="T29" fmla="*/ 498 h 586"/>
                <a:gd name="T30" fmla="*/ 410 w 760"/>
                <a:gd name="T31" fmla="*/ 490 h 586"/>
                <a:gd name="T32" fmla="*/ 400 w 760"/>
                <a:gd name="T33" fmla="*/ 502 h 586"/>
                <a:gd name="T34" fmla="*/ 402 w 760"/>
                <a:gd name="T35" fmla="*/ 490 h 586"/>
                <a:gd name="T36" fmla="*/ 424 w 760"/>
                <a:gd name="T37" fmla="*/ 460 h 586"/>
                <a:gd name="T38" fmla="*/ 402 w 760"/>
                <a:gd name="T39" fmla="*/ 464 h 586"/>
                <a:gd name="T40" fmla="*/ 372 w 760"/>
                <a:gd name="T41" fmla="*/ 494 h 586"/>
                <a:gd name="T42" fmla="*/ 334 w 760"/>
                <a:gd name="T43" fmla="*/ 438 h 586"/>
                <a:gd name="T44" fmla="*/ 256 w 760"/>
                <a:gd name="T45" fmla="*/ 432 h 586"/>
                <a:gd name="T46" fmla="*/ 208 w 760"/>
                <a:gd name="T47" fmla="*/ 450 h 586"/>
                <a:gd name="T48" fmla="*/ 144 w 760"/>
                <a:gd name="T49" fmla="*/ 472 h 586"/>
                <a:gd name="T50" fmla="*/ 92 w 760"/>
                <a:gd name="T51" fmla="*/ 474 h 586"/>
                <a:gd name="T52" fmla="*/ 32 w 760"/>
                <a:gd name="T53" fmla="*/ 496 h 586"/>
                <a:gd name="T54" fmla="*/ 0 w 760"/>
                <a:gd name="T55" fmla="*/ 484 h 586"/>
                <a:gd name="T56" fmla="*/ 22 w 760"/>
                <a:gd name="T57" fmla="*/ 446 h 586"/>
                <a:gd name="T58" fmla="*/ 26 w 760"/>
                <a:gd name="T59" fmla="*/ 420 h 586"/>
                <a:gd name="T60" fmla="*/ 18 w 760"/>
                <a:gd name="T61" fmla="*/ 386 h 586"/>
                <a:gd name="T62" fmla="*/ 30 w 760"/>
                <a:gd name="T63" fmla="*/ 262 h 586"/>
                <a:gd name="T64" fmla="*/ 60 w 760"/>
                <a:gd name="T65" fmla="*/ 216 h 586"/>
                <a:gd name="T66" fmla="*/ 182 w 760"/>
                <a:gd name="T67" fmla="*/ 174 h 586"/>
                <a:gd name="T68" fmla="*/ 214 w 760"/>
                <a:gd name="T69" fmla="*/ 134 h 586"/>
                <a:gd name="T70" fmla="*/ 232 w 760"/>
                <a:gd name="T71" fmla="*/ 124 h 586"/>
                <a:gd name="T72" fmla="*/ 244 w 760"/>
                <a:gd name="T73" fmla="*/ 118 h 586"/>
                <a:gd name="T74" fmla="*/ 276 w 760"/>
                <a:gd name="T75" fmla="*/ 78 h 586"/>
                <a:gd name="T76" fmla="*/ 324 w 760"/>
                <a:gd name="T77" fmla="*/ 60 h 586"/>
                <a:gd name="T78" fmla="*/ 354 w 760"/>
                <a:gd name="T79" fmla="*/ 84 h 586"/>
                <a:gd name="T80" fmla="*/ 386 w 760"/>
                <a:gd name="T81" fmla="*/ 38 h 586"/>
                <a:gd name="T82" fmla="*/ 442 w 760"/>
                <a:gd name="T83" fmla="*/ 8 h 586"/>
                <a:gd name="T84" fmla="*/ 498 w 760"/>
                <a:gd name="T85" fmla="*/ 28 h 586"/>
                <a:gd name="T86" fmla="*/ 474 w 760"/>
                <a:gd name="T87" fmla="*/ 64 h 586"/>
                <a:gd name="T88" fmla="*/ 496 w 760"/>
                <a:gd name="T89" fmla="*/ 100 h 586"/>
                <a:gd name="T90" fmla="*/ 550 w 760"/>
                <a:gd name="T91" fmla="*/ 140 h 586"/>
                <a:gd name="T92" fmla="*/ 574 w 760"/>
                <a:gd name="T93" fmla="*/ 124 h 586"/>
                <a:gd name="T94" fmla="*/ 594 w 760"/>
                <a:gd name="T95" fmla="*/ 76 h 586"/>
                <a:gd name="T96" fmla="*/ 612 w 760"/>
                <a:gd name="T97" fmla="*/ 14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60" h="586">
                  <a:moveTo>
                    <a:pt x="624" y="0"/>
                  </a:moveTo>
                  <a:lnTo>
                    <a:pt x="624" y="0"/>
                  </a:lnTo>
                  <a:lnTo>
                    <a:pt x="626" y="10"/>
                  </a:lnTo>
                  <a:lnTo>
                    <a:pt x="628" y="18"/>
                  </a:lnTo>
                  <a:lnTo>
                    <a:pt x="636" y="36"/>
                  </a:lnTo>
                  <a:lnTo>
                    <a:pt x="656" y="70"/>
                  </a:lnTo>
                  <a:lnTo>
                    <a:pt x="664" y="86"/>
                  </a:lnTo>
                  <a:lnTo>
                    <a:pt x="668" y="104"/>
                  </a:lnTo>
                  <a:lnTo>
                    <a:pt x="670" y="114"/>
                  </a:lnTo>
                  <a:lnTo>
                    <a:pt x="668" y="122"/>
                  </a:lnTo>
                  <a:lnTo>
                    <a:pt x="666" y="132"/>
                  </a:lnTo>
                  <a:lnTo>
                    <a:pt x="662" y="144"/>
                  </a:lnTo>
                  <a:lnTo>
                    <a:pt x="662" y="144"/>
                  </a:lnTo>
                  <a:lnTo>
                    <a:pt x="676" y="160"/>
                  </a:lnTo>
                  <a:lnTo>
                    <a:pt x="688" y="180"/>
                  </a:lnTo>
                  <a:lnTo>
                    <a:pt x="710" y="220"/>
                  </a:lnTo>
                  <a:lnTo>
                    <a:pt x="732" y="260"/>
                  </a:lnTo>
                  <a:lnTo>
                    <a:pt x="746" y="280"/>
                  </a:lnTo>
                  <a:lnTo>
                    <a:pt x="760" y="298"/>
                  </a:lnTo>
                  <a:lnTo>
                    <a:pt x="760" y="298"/>
                  </a:lnTo>
                  <a:lnTo>
                    <a:pt x="758" y="324"/>
                  </a:lnTo>
                  <a:lnTo>
                    <a:pt x="754" y="346"/>
                  </a:lnTo>
                  <a:lnTo>
                    <a:pt x="748" y="368"/>
                  </a:lnTo>
                  <a:lnTo>
                    <a:pt x="740" y="388"/>
                  </a:lnTo>
                  <a:lnTo>
                    <a:pt x="730" y="404"/>
                  </a:lnTo>
                  <a:lnTo>
                    <a:pt x="718" y="420"/>
                  </a:lnTo>
                  <a:lnTo>
                    <a:pt x="706" y="436"/>
                  </a:lnTo>
                  <a:lnTo>
                    <a:pt x="692" y="450"/>
                  </a:lnTo>
                  <a:lnTo>
                    <a:pt x="664" y="476"/>
                  </a:lnTo>
                  <a:lnTo>
                    <a:pt x="636" y="502"/>
                  </a:lnTo>
                  <a:lnTo>
                    <a:pt x="610" y="530"/>
                  </a:lnTo>
                  <a:lnTo>
                    <a:pt x="598" y="546"/>
                  </a:lnTo>
                  <a:lnTo>
                    <a:pt x="586" y="562"/>
                  </a:lnTo>
                  <a:lnTo>
                    <a:pt x="586" y="562"/>
                  </a:lnTo>
                  <a:lnTo>
                    <a:pt x="576" y="560"/>
                  </a:lnTo>
                  <a:lnTo>
                    <a:pt x="566" y="558"/>
                  </a:lnTo>
                  <a:lnTo>
                    <a:pt x="556" y="560"/>
                  </a:lnTo>
                  <a:lnTo>
                    <a:pt x="546" y="564"/>
                  </a:lnTo>
                  <a:lnTo>
                    <a:pt x="536" y="568"/>
                  </a:lnTo>
                  <a:lnTo>
                    <a:pt x="528" y="574"/>
                  </a:lnTo>
                  <a:lnTo>
                    <a:pt x="522" y="580"/>
                  </a:lnTo>
                  <a:lnTo>
                    <a:pt x="516" y="586"/>
                  </a:lnTo>
                  <a:lnTo>
                    <a:pt x="516" y="586"/>
                  </a:lnTo>
                  <a:lnTo>
                    <a:pt x="504" y="576"/>
                  </a:lnTo>
                  <a:lnTo>
                    <a:pt x="494" y="562"/>
                  </a:lnTo>
                  <a:lnTo>
                    <a:pt x="494" y="562"/>
                  </a:lnTo>
                  <a:lnTo>
                    <a:pt x="486" y="570"/>
                  </a:lnTo>
                  <a:lnTo>
                    <a:pt x="476" y="574"/>
                  </a:lnTo>
                  <a:lnTo>
                    <a:pt x="466" y="574"/>
                  </a:lnTo>
                  <a:lnTo>
                    <a:pt x="456" y="572"/>
                  </a:lnTo>
                  <a:lnTo>
                    <a:pt x="446" y="570"/>
                  </a:lnTo>
                  <a:lnTo>
                    <a:pt x="436" y="564"/>
                  </a:lnTo>
                  <a:lnTo>
                    <a:pt x="418" y="554"/>
                  </a:lnTo>
                  <a:lnTo>
                    <a:pt x="418" y="554"/>
                  </a:lnTo>
                  <a:lnTo>
                    <a:pt x="424" y="546"/>
                  </a:lnTo>
                  <a:lnTo>
                    <a:pt x="426" y="538"/>
                  </a:lnTo>
                  <a:lnTo>
                    <a:pt x="426" y="530"/>
                  </a:lnTo>
                  <a:lnTo>
                    <a:pt x="426" y="524"/>
                  </a:lnTo>
                  <a:lnTo>
                    <a:pt x="422" y="508"/>
                  </a:lnTo>
                  <a:lnTo>
                    <a:pt x="420" y="498"/>
                  </a:lnTo>
                  <a:lnTo>
                    <a:pt x="418" y="488"/>
                  </a:lnTo>
                  <a:lnTo>
                    <a:pt x="418" y="488"/>
                  </a:lnTo>
                  <a:lnTo>
                    <a:pt x="414" y="488"/>
                  </a:lnTo>
                  <a:lnTo>
                    <a:pt x="410" y="490"/>
                  </a:lnTo>
                  <a:lnTo>
                    <a:pt x="408" y="492"/>
                  </a:lnTo>
                  <a:lnTo>
                    <a:pt x="406" y="494"/>
                  </a:lnTo>
                  <a:lnTo>
                    <a:pt x="404" y="502"/>
                  </a:lnTo>
                  <a:lnTo>
                    <a:pt x="400" y="502"/>
                  </a:lnTo>
                  <a:lnTo>
                    <a:pt x="396" y="502"/>
                  </a:lnTo>
                  <a:lnTo>
                    <a:pt x="396" y="502"/>
                  </a:lnTo>
                  <a:lnTo>
                    <a:pt x="398" y="496"/>
                  </a:lnTo>
                  <a:lnTo>
                    <a:pt x="402" y="490"/>
                  </a:lnTo>
                  <a:lnTo>
                    <a:pt x="410" y="482"/>
                  </a:lnTo>
                  <a:lnTo>
                    <a:pt x="418" y="472"/>
                  </a:lnTo>
                  <a:lnTo>
                    <a:pt x="422" y="468"/>
                  </a:lnTo>
                  <a:lnTo>
                    <a:pt x="424" y="460"/>
                  </a:lnTo>
                  <a:lnTo>
                    <a:pt x="424" y="460"/>
                  </a:lnTo>
                  <a:lnTo>
                    <a:pt x="418" y="460"/>
                  </a:lnTo>
                  <a:lnTo>
                    <a:pt x="410" y="462"/>
                  </a:lnTo>
                  <a:lnTo>
                    <a:pt x="402" y="464"/>
                  </a:lnTo>
                  <a:lnTo>
                    <a:pt x="396" y="468"/>
                  </a:lnTo>
                  <a:lnTo>
                    <a:pt x="382" y="480"/>
                  </a:lnTo>
                  <a:lnTo>
                    <a:pt x="372" y="494"/>
                  </a:lnTo>
                  <a:lnTo>
                    <a:pt x="372" y="494"/>
                  </a:lnTo>
                  <a:lnTo>
                    <a:pt x="364" y="474"/>
                  </a:lnTo>
                  <a:lnTo>
                    <a:pt x="356" y="460"/>
                  </a:lnTo>
                  <a:lnTo>
                    <a:pt x="346" y="448"/>
                  </a:lnTo>
                  <a:lnTo>
                    <a:pt x="334" y="438"/>
                  </a:lnTo>
                  <a:lnTo>
                    <a:pt x="320" y="432"/>
                  </a:lnTo>
                  <a:lnTo>
                    <a:pt x="302" y="430"/>
                  </a:lnTo>
                  <a:lnTo>
                    <a:pt x="280" y="430"/>
                  </a:lnTo>
                  <a:lnTo>
                    <a:pt x="256" y="432"/>
                  </a:lnTo>
                  <a:lnTo>
                    <a:pt x="256" y="432"/>
                  </a:lnTo>
                  <a:lnTo>
                    <a:pt x="244" y="436"/>
                  </a:lnTo>
                  <a:lnTo>
                    <a:pt x="232" y="440"/>
                  </a:lnTo>
                  <a:lnTo>
                    <a:pt x="208" y="450"/>
                  </a:lnTo>
                  <a:lnTo>
                    <a:pt x="184" y="460"/>
                  </a:lnTo>
                  <a:lnTo>
                    <a:pt x="158" y="470"/>
                  </a:lnTo>
                  <a:lnTo>
                    <a:pt x="158" y="470"/>
                  </a:lnTo>
                  <a:lnTo>
                    <a:pt x="144" y="472"/>
                  </a:lnTo>
                  <a:lnTo>
                    <a:pt x="126" y="472"/>
                  </a:lnTo>
                  <a:lnTo>
                    <a:pt x="110" y="472"/>
                  </a:lnTo>
                  <a:lnTo>
                    <a:pt x="92" y="474"/>
                  </a:lnTo>
                  <a:lnTo>
                    <a:pt x="92" y="474"/>
                  </a:lnTo>
                  <a:lnTo>
                    <a:pt x="78" y="478"/>
                  </a:lnTo>
                  <a:lnTo>
                    <a:pt x="66" y="484"/>
                  </a:lnTo>
                  <a:lnTo>
                    <a:pt x="44" y="494"/>
                  </a:lnTo>
                  <a:lnTo>
                    <a:pt x="32" y="496"/>
                  </a:lnTo>
                  <a:lnTo>
                    <a:pt x="22" y="496"/>
                  </a:lnTo>
                  <a:lnTo>
                    <a:pt x="12" y="492"/>
                  </a:lnTo>
                  <a:lnTo>
                    <a:pt x="0" y="484"/>
                  </a:lnTo>
                  <a:lnTo>
                    <a:pt x="0" y="484"/>
                  </a:lnTo>
                  <a:lnTo>
                    <a:pt x="0" y="476"/>
                  </a:lnTo>
                  <a:lnTo>
                    <a:pt x="4" y="470"/>
                  </a:lnTo>
                  <a:lnTo>
                    <a:pt x="12" y="458"/>
                  </a:lnTo>
                  <a:lnTo>
                    <a:pt x="22" y="446"/>
                  </a:lnTo>
                  <a:lnTo>
                    <a:pt x="26" y="438"/>
                  </a:lnTo>
                  <a:lnTo>
                    <a:pt x="28" y="428"/>
                  </a:lnTo>
                  <a:lnTo>
                    <a:pt x="28" y="428"/>
                  </a:lnTo>
                  <a:lnTo>
                    <a:pt x="26" y="420"/>
                  </a:lnTo>
                  <a:lnTo>
                    <a:pt x="24" y="410"/>
                  </a:lnTo>
                  <a:lnTo>
                    <a:pt x="20" y="398"/>
                  </a:lnTo>
                  <a:lnTo>
                    <a:pt x="18" y="386"/>
                  </a:lnTo>
                  <a:lnTo>
                    <a:pt x="18" y="386"/>
                  </a:lnTo>
                  <a:lnTo>
                    <a:pt x="18" y="366"/>
                  </a:lnTo>
                  <a:lnTo>
                    <a:pt x="18" y="344"/>
                  </a:lnTo>
                  <a:lnTo>
                    <a:pt x="22" y="302"/>
                  </a:lnTo>
                  <a:lnTo>
                    <a:pt x="30" y="262"/>
                  </a:lnTo>
                  <a:lnTo>
                    <a:pt x="36" y="228"/>
                  </a:lnTo>
                  <a:lnTo>
                    <a:pt x="36" y="228"/>
                  </a:lnTo>
                  <a:lnTo>
                    <a:pt x="48" y="222"/>
                  </a:lnTo>
                  <a:lnTo>
                    <a:pt x="60" y="216"/>
                  </a:lnTo>
                  <a:lnTo>
                    <a:pt x="88" y="206"/>
                  </a:lnTo>
                  <a:lnTo>
                    <a:pt x="144" y="190"/>
                  </a:lnTo>
                  <a:lnTo>
                    <a:pt x="170" y="180"/>
                  </a:lnTo>
                  <a:lnTo>
                    <a:pt x="182" y="174"/>
                  </a:lnTo>
                  <a:lnTo>
                    <a:pt x="192" y="166"/>
                  </a:lnTo>
                  <a:lnTo>
                    <a:pt x="202" y="156"/>
                  </a:lnTo>
                  <a:lnTo>
                    <a:pt x="208" y="146"/>
                  </a:lnTo>
                  <a:lnTo>
                    <a:pt x="214" y="134"/>
                  </a:lnTo>
                  <a:lnTo>
                    <a:pt x="218" y="120"/>
                  </a:lnTo>
                  <a:lnTo>
                    <a:pt x="218" y="120"/>
                  </a:lnTo>
                  <a:lnTo>
                    <a:pt x="226" y="122"/>
                  </a:lnTo>
                  <a:lnTo>
                    <a:pt x="232" y="124"/>
                  </a:lnTo>
                  <a:lnTo>
                    <a:pt x="236" y="128"/>
                  </a:lnTo>
                  <a:lnTo>
                    <a:pt x="242" y="130"/>
                  </a:lnTo>
                  <a:lnTo>
                    <a:pt x="242" y="130"/>
                  </a:lnTo>
                  <a:lnTo>
                    <a:pt x="244" y="118"/>
                  </a:lnTo>
                  <a:lnTo>
                    <a:pt x="250" y="108"/>
                  </a:lnTo>
                  <a:lnTo>
                    <a:pt x="258" y="98"/>
                  </a:lnTo>
                  <a:lnTo>
                    <a:pt x="266" y="88"/>
                  </a:lnTo>
                  <a:lnTo>
                    <a:pt x="276" y="78"/>
                  </a:lnTo>
                  <a:lnTo>
                    <a:pt x="288" y="70"/>
                  </a:lnTo>
                  <a:lnTo>
                    <a:pt x="312" y="56"/>
                  </a:lnTo>
                  <a:lnTo>
                    <a:pt x="312" y="56"/>
                  </a:lnTo>
                  <a:lnTo>
                    <a:pt x="324" y="60"/>
                  </a:lnTo>
                  <a:lnTo>
                    <a:pt x="334" y="68"/>
                  </a:lnTo>
                  <a:lnTo>
                    <a:pt x="344" y="76"/>
                  </a:lnTo>
                  <a:lnTo>
                    <a:pt x="354" y="84"/>
                  </a:lnTo>
                  <a:lnTo>
                    <a:pt x="354" y="84"/>
                  </a:lnTo>
                  <a:lnTo>
                    <a:pt x="358" y="70"/>
                  </a:lnTo>
                  <a:lnTo>
                    <a:pt x="366" y="60"/>
                  </a:lnTo>
                  <a:lnTo>
                    <a:pt x="374" y="48"/>
                  </a:lnTo>
                  <a:lnTo>
                    <a:pt x="386" y="38"/>
                  </a:lnTo>
                  <a:lnTo>
                    <a:pt x="398" y="28"/>
                  </a:lnTo>
                  <a:lnTo>
                    <a:pt x="412" y="20"/>
                  </a:lnTo>
                  <a:lnTo>
                    <a:pt x="426" y="14"/>
                  </a:lnTo>
                  <a:lnTo>
                    <a:pt x="442" y="8"/>
                  </a:lnTo>
                  <a:lnTo>
                    <a:pt x="442" y="8"/>
                  </a:lnTo>
                  <a:lnTo>
                    <a:pt x="472" y="16"/>
                  </a:lnTo>
                  <a:lnTo>
                    <a:pt x="486" y="20"/>
                  </a:lnTo>
                  <a:lnTo>
                    <a:pt x="498" y="28"/>
                  </a:lnTo>
                  <a:lnTo>
                    <a:pt x="498" y="28"/>
                  </a:lnTo>
                  <a:lnTo>
                    <a:pt x="486" y="46"/>
                  </a:lnTo>
                  <a:lnTo>
                    <a:pt x="480" y="54"/>
                  </a:lnTo>
                  <a:lnTo>
                    <a:pt x="474" y="64"/>
                  </a:lnTo>
                  <a:lnTo>
                    <a:pt x="474" y="64"/>
                  </a:lnTo>
                  <a:lnTo>
                    <a:pt x="480" y="78"/>
                  </a:lnTo>
                  <a:lnTo>
                    <a:pt x="486" y="90"/>
                  </a:lnTo>
                  <a:lnTo>
                    <a:pt x="496" y="100"/>
                  </a:lnTo>
                  <a:lnTo>
                    <a:pt x="508" y="106"/>
                  </a:lnTo>
                  <a:lnTo>
                    <a:pt x="530" y="120"/>
                  </a:lnTo>
                  <a:lnTo>
                    <a:pt x="540" y="128"/>
                  </a:lnTo>
                  <a:lnTo>
                    <a:pt x="550" y="140"/>
                  </a:lnTo>
                  <a:lnTo>
                    <a:pt x="550" y="140"/>
                  </a:lnTo>
                  <a:lnTo>
                    <a:pt x="560" y="136"/>
                  </a:lnTo>
                  <a:lnTo>
                    <a:pt x="568" y="130"/>
                  </a:lnTo>
                  <a:lnTo>
                    <a:pt x="574" y="124"/>
                  </a:lnTo>
                  <a:lnTo>
                    <a:pt x="580" y="116"/>
                  </a:lnTo>
                  <a:lnTo>
                    <a:pt x="584" y="106"/>
                  </a:lnTo>
                  <a:lnTo>
                    <a:pt x="588" y="98"/>
                  </a:lnTo>
                  <a:lnTo>
                    <a:pt x="594" y="76"/>
                  </a:lnTo>
                  <a:lnTo>
                    <a:pt x="598" y="54"/>
                  </a:lnTo>
                  <a:lnTo>
                    <a:pt x="604" y="32"/>
                  </a:lnTo>
                  <a:lnTo>
                    <a:pt x="608" y="22"/>
                  </a:lnTo>
                  <a:lnTo>
                    <a:pt x="612" y="14"/>
                  </a:lnTo>
                  <a:lnTo>
                    <a:pt x="618" y="6"/>
                  </a:lnTo>
                  <a:lnTo>
                    <a:pt x="624" y="0"/>
                  </a:lnTo>
                  <a:lnTo>
                    <a:pt x="624"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5" name="Freeform 70"/>
            <p:cNvSpPr>
              <a:spLocks/>
            </p:cNvSpPr>
            <p:nvPr/>
          </p:nvSpPr>
          <p:spPr bwMode="auto">
            <a:xfrm>
              <a:off x="7024158" y="4508202"/>
              <a:ext cx="226449" cy="463039"/>
            </a:xfrm>
            <a:custGeom>
              <a:avLst/>
              <a:gdLst>
                <a:gd name="T0" fmla="*/ 120 w 134"/>
                <a:gd name="T1" fmla="*/ 0 h 274"/>
                <a:gd name="T2" fmla="*/ 120 w 134"/>
                <a:gd name="T3" fmla="*/ 0 h 274"/>
                <a:gd name="T4" fmla="*/ 128 w 134"/>
                <a:gd name="T5" fmla="*/ 16 h 274"/>
                <a:gd name="T6" fmla="*/ 132 w 134"/>
                <a:gd name="T7" fmla="*/ 32 h 274"/>
                <a:gd name="T8" fmla="*/ 134 w 134"/>
                <a:gd name="T9" fmla="*/ 50 h 274"/>
                <a:gd name="T10" fmla="*/ 132 w 134"/>
                <a:gd name="T11" fmla="*/ 66 h 274"/>
                <a:gd name="T12" fmla="*/ 130 w 134"/>
                <a:gd name="T13" fmla="*/ 82 h 274"/>
                <a:gd name="T14" fmla="*/ 126 w 134"/>
                <a:gd name="T15" fmla="*/ 98 h 274"/>
                <a:gd name="T16" fmla="*/ 116 w 134"/>
                <a:gd name="T17" fmla="*/ 132 h 274"/>
                <a:gd name="T18" fmla="*/ 88 w 134"/>
                <a:gd name="T19" fmla="*/ 198 h 274"/>
                <a:gd name="T20" fmla="*/ 76 w 134"/>
                <a:gd name="T21" fmla="*/ 232 h 274"/>
                <a:gd name="T22" fmla="*/ 72 w 134"/>
                <a:gd name="T23" fmla="*/ 250 h 274"/>
                <a:gd name="T24" fmla="*/ 70 w 134"/>
                <a:gd name="T25" fmla="*/ 266 h 274"/>
                <a:gd name="T26" fmla="*/ 70 w 134"/>
                <a:gd name="T27" fmla="*/ 266 h 274"/>
                <a:gd name="T28" fmla="*/ 52 w 134"/>
                <a:gd name="T29" fmla="*/ 270 h 274"/>
                <a:gd name="T30" fmla="*/ 38 w 134"/>
                <a:gd name="T31" fmla="*/ 272 h 274"/>
                <a:gd name="T32" fmla="*/ 30 w 134"/>
                <a:gd name="T33" fmla="*/ 274 h 274"/>
                <a:gd name="T34" fmla="*/ 24 w 134"/>
                <a:gd name="T35" fmla="*/ 272 h 274"/>
                <a:gd name="T36" fmla="*/ 16 w 134"/>
                <a:gd name="T37" fmla="*/ 270 h 274"/>
                <a:gd name="T38" fmla="*/ 8 w 134"/>
                <a:gd name="T39" fmla="*/ 266 h 274"/>
                <a:gd name="T40" fmla="*/ 8 w 134"/>
                <a:gd name="T41" fmla="*/ 266 h 274"/>
                <a:gd name="T42" fmla="*/ 4 w 134"/>
                <a:gd name="T43" fmla="*/ 250 h 274"/>
                <a:gd name="T44" fmla="*/ 0 w 134"/>
                <a:gd name="T45" fmla="*/ 236 h 274"/>
                <a:gd name="T46" fmla="*/ 0 w 134"/>
                <a:gd name="T47" fmla="*/ 220 h 274"/>
                <a:gd name="T48" fmla="*/ 2 w 134"/>
                <a:gd name="T49" fmla="*/ 206 h 274"/>
                <a:gd name="T50" fmla="*/ 6 w 134"/>
                <a:gd name="T51" fmla="*/ 194 h 274"/>
                <a:gd name="T52" fmla="*/ 12 w 134"/>
                <a:gd name="T53" fmla="*/ 180 h 274"/>
                <a:gd name="T54" fmla="*/ 20 w 134"/>
                <a:gd name="T55" fmla="*/ 170 h 274"/>
                <a:gd name="T56" fmla="*/ 28 w 134"/>
                <a:gd name="T57" fmla="*/ 158 h 274"/>
                <a:gd name="T58" fmla="*/ 28 w 134"/>
                <a:gd name="T59" fmla="*/ 158 h 274"/>
                <a:gd name="T60" fmla="*/ 26 w 134"/>
                <a:gd name="T61" fmla="*/ 140 h 274"/>
                <a:gd name="T62" fmla="*/ 22 w 134"/>
                <a:gd name="T63" fmla="*/ 120 h 274"/>
                <a:gd name="T64" fmla="*/ 22 w 134"/>
                <a:gd name="T65" fmla="*/ 112 h 274"/>
                <a:gd name="T66" fmla="*/ 22 w 134"/>
                <a:gd name="T67" fmla="*/ 102 h 274"/>
                <a:gd name="T68" fmla="*/ 26 w 134"/>
                <a:gd name="T69" fmla="*/ 96 h 274"/>
                <a:gd name="T70" fmla="*/ 32 w 134"/>
                <a:gd name="T71" fmla="*/ 90 h 274"/>
                <a:gd name="T72" fmla="*/ 32 w 134"/>
                <a:gd name="T73" fmla="*/ 90 h 274"/>
                <a:gd name="T74" fmla="*/ 44 w 134"/>
                <a:gd name="T75" fmla="*/ 80 h 274"/>
                <a:gd name="T76" fmla="*/ 58 w 134"/>
                <a:gd name="T77" fmla="*/ 72 h 274"/>
                <a:gd name="T78" fmla="*/ 86 w 134"/>
                <a:gd name="T79" fmla="*/ 54 h 274"/>
                <a:gd name="T80" fmla="*/ 98 w 134"/>
                <a:gd name="T81" fmla="*/ 44 h 274"/>
                <a:gd name="T82" fmla="*/ 108 w 134"/>
                <a:gd name="T83" fmla="*/ 32 h 274"/>
                <a:gd name="T84" fmla="*/ 116 w 134"/>
                <a:gd name="T85" fmla="*/ 18 h 274"/>
                <a:gd name="T86" fmla="*/ 120 w 134"/>
                <a:gd name="T87" fmla="*/ 0 h 274"/>
                <a:gd name="T88" fmla="*/ 120 w 134"/>
                <a:gd name="T89"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4" h="274">
                  <a:moveTo>
                    <a:pt x="120" y="0"/>
                  </a:moveTo>
                  <a:lnTo>
                    <a:pt x="120" y="0"/>
                  </a:lnTo>
                  <a:lnTo>
                    <a:pt x="128" y="16"/>
                  </a:lnTo>
                  <a:lnTo>
                    <a:pt x="132" y="32"/>
                  </a:lnTo>
                  <a:lnTo>
                    <a:pt x="134" y="50"/>
                  </a:lnTo>
                  <a:lnTo>
                    <a:pt x="132" y="66"/>
                  </a:lnTo>
                  <a:lnTo>
                    <a:pt x="130" y="82"/>
                  </a:lnTo>
                  <a:lnTo>
                    <a:pt x="126" y="98"/>
                  </a:lnTo>
                  <a:lnTo>
                    <a:pt x="116" y="132"/>
                  </a:lnTo>
                  <a:lnTo>
                    <a:pt x="88" y="198"/>
                  </a:lnTo>
                  <a:lnTo>
                    <a:pt x="76" y="232"/>
                  </a:lnTo>
                  <a:lnTo>
                    <a:pt x="72" y="250"/>
                  </a:lnTo>
                  <a:lnTo>
                    <a:pt x="70" y="266"/>
                  </a:lnTo>
                  <a:lnTo>
                    <a:pt x="70" y="266"/>
                  </a:lnTo>
                  <a:lnTo>
                    <a:pt x="52" y="270"/>
                  </a:lnTo>
                  <a:lnTo>
                    <a:pt x="38" y="272"/>
                  </a:lnTo>
                  <a:lnTo>
                    <a:pt x="30" y="274"/>
                  </a:lnTo>
                  <a:lnTo>
                    <a:pt x="24" y="272"/>
                  </a:lnTo>
                  <a:lnTo>
                    <a:pt x="16" y="270"/>
                  </a:lnTo>
                  <a:lnTo>
                    <a:pt x="8" y="266"/>
                  </a:lnTo>
                  <a:lnTo>
                    <a:pt x="8" y="266"/>
                  </a:lnTo>
                  <a:lnTo>
                    <a:pt x="4" y="250"/>
                  </a:lnTo>
                  <a:lnTo>
                    <a:pt x="0" y="236"/>
                  </a:lnTo>
                  <a:lnTo>
                    <a:pt x="0" y="220"/>
                  </a:lnTo>
                  <a:lnTo>
                    <a:pt x="2" y="206"/>
                  </a:lnTo>
                  <a:lnTo>
                    <a:pt x="6" y="194"/>
                  </a:lnTo>
                  <a:lnTo>
                    <a:pt x="12" y="180"/>
                  </a:lnTo>
                  <a:lnTo>
                    <a:pt x="20" y="170"/>
                  </a:lnTo>
                  <a:lnTo>
                    <a:pt x="28" y="158"/>
                  </a:lnTo>
                  <a:lnTo>
                    <a:pt x="28" y="158"/>
                  </a:lnTo>
                  <a:lnTo>
                    <a:pt x="26" y="140"/>
                  </a:lnTo>
                  <a:lnTo>
                    <a:pt x="22" y="120"/>
                  </a:lnTo>
                  <a:lnTo>
                    <a:pt x="22" y="112"/>
                  </a:lnTo>
                  <a:lnTo>
                    <a:pt x="22" y="102"/>
                  </a:lnTo>
                  <a:lnTo>
                    <a:pt x="26" y="96"/>
                  </a:lnTo>
                  <a:lnTo>
                    <a:pt x="32" y="90"/>
                  </a:lnTo>
                  <a:lnTo>
                    <a:pt x="32" y="90"/>
                  </a:lnTo>
                  <a:lnTo>
                    <a:pt x="44" y="80"/>
                  </a:lnTo>
                  <a:lnTo>
                    <a:pt x="58" y="72"/>
                  </a:lnTo>
                  <a:lnTo>
                    <a:pt x="86" y="54"/>
                  </a:lnTo>
                  <a:lnTo>
                    <a:pt x="98" y="44"/>
                  </a:lnTo>
                  <a:lnTo>
                    <a:pt x="108" y="32"/>
                  </a:lnTo>
                  <a:lnTo>
                    <a:pt x="116" y="18"/>
                  </a:lnTo>
                  <a:lnTo>
                    <a:pt x="120" y="0"/>
                  </a:lnTo>
                  <a:lnTo>
                    <a:pt x="12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6" name="Freeform 71"/>
            <p:cNvSpPr>
              <a:spLocks/>
            </p:cNvSpPr>
            <p:nvPr/>
          </p:nvSpPr>
          <p:spPr bwMode="auto">
            <a:xfrm>
              <a:off x="11407807" y="4660295"/>
              <a:ext cx="47318" cy="20279"/>
            </a:xfrm>
            <a:custGeom>
              <a:avLst/>
              <a:gdLst>
                <a:gd name="T0" fmla="*/ 0 w 28"/>
                <a:gd name="T1" fmla="*/ 0 h 12"/>
                <a:gd name="T2" fmla="*/ 0 w 28"/>
                <a:gd name="T3" fmla="*/ 0 h 12"/>
                <a:gd name="T4" fmla="*/ 28 w 28"/>
                <a:gd name="T5" fmla="*/ 0 h 12"/>
                <a:gd name="T6" fmla="*/ 28 w 28"/>
                <a:gd name="T7" fmla="*/ 0 h 12"/>
                <a:gd name="T8" fmla="*/ 22 w 28"/>
                <a:gd name="T9" fmla="*/ 6 h 12"/>
                <a:gd name="T10" fmla="*/ 12 w 28"/>
                <a:gd name="T11" fmla="*/ 10 h 12"/>
                <a:gd name="T12" fmla="*/ 8 w 28"/>
                <a:gd name="T13" fmla="*/ 12 h 12"/>
                <a:gd name="T14" fmla="*/ 4 w 28"/>
                <a:gd name="T15" fmla="*/ 10 h 12"/>
                <a:gd name="T16" fmla="*/ 2 w 28"/>
                <a:gd name="T17" fmla="*/ 6 h 12"/>
                <a:gd name="T18" fmla="*/ 0 w 28"/>
                <a:gd name="T19" fmla="*/ 0 h 12"/>
                <a:gd name="T20" fmla="*/ 0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0" y="0"/>
                  </a:moveTo>
                  <a:lnTo>
                    <a:pt x="0" y="0"/>
                  </a:lnTo>
                  <a:lnTo>
                    <a:pt x="28" y="0"/>
                  </a:lnTo>
                  <a:lnTo>
                    <a:pt x="28" y="0"/>
                  </a:lnTo>
                  <a:lnTo>
                    <a:pt x="22" y="6"/>
                  </a:lnTo>
                  <a:lnTo>
                    <a:pt x="12" y="10"/>
                  </a:lnTo>
                  <a:lnTo>
                    <a:pt x="8" y="12"/>
                  </a:lnTo>
                  <a:lnTo>
                    <a:pt x="4" y="10"/>
                  </a:lnTo>
                  <a:lnTo>
                    <a:pt x="2" y="6"/>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7" name="Freeform 72"/>
            <p:cNvSpPr>
              <a:spLocks/>
            </p:cNvSpPr>
            <p:nvPr/>
          </p:nvSpPr>
          <p:spPr bwMode="auto">
            <a:xfrm>
              <a:off x="11363869" y="4683954"/>
              <a:ext cx="43937" cy="37178"/>
            </a:xfrm>
            <a:custGeom>
              <a:avLst/>
              <a:gdLst>
                <a:gd name="T0" fmla="*/ 2 w 26"/>
                <a:gd name="T1" fmla="*/ 0 h 22"/>
                <a:gd name="T2" fmla="*/ 2 w 26"/>
                <a:gd name="T3" fmla="*/ 0 h 22"/>
                <a:gd name="T4" fmla="*/ 8 w 26"/>
                <a:gd name="T5" fmla="*/ 2 h 22"/>
                <a:gd name="T6" fmla="*/ 14 w 26"/>
                <a:gd name="T7" fmla="*/ 4 h 22"/>
                <a:gd name="T8" fmla="*/ 18 w 26"/>
                <a:gd name="T9" fmla="*/ 8 h 22"/>
                <a:gd name="T10" fmla="*/ 26 w 26"/>
                <a:gd name="T11" fmla="*/ 8 h 22"/>
                <a:gd name="T12" fmla="*/ 26 w 26"/>
                <a:gd name="T13" fmla="*/ 8 h 22"/>
                <a:gd name="T14" fmla="*/ 22 w 26"/>
                <a:gd name="T15" fmla="*/ 14 h 22"/>
                <a:gd name="T16" fmla="*/ 18 w 26"/>
                <a:gd name="T17" fmla="*/ 18 h 22"/>
                <a:gd name="T18" fmla="*/ 10 w 26"/>
                <a:gd name="T19" fmla="*/ 20 h 22"/>
                <a:gd name="T20" fmla="*/ 2 w 26"/>
                <a:gd name="T21" fmla="*/ 22 h 22"/>
                <a:gd name="T22" fmla="*/ 2 w 26"/>
                <a:gd name="T23" fmla="*/ 22 h 22"/>
                <a:gd name="T24" fmla="*/ 2 w 26"/>
                <a:gd name="T25" fmla="*/ 16 h 22"/>
                <a:gd name="T26" fmla="*/ 0 w 26"/>
                <a:gd name="T27" fmla="*/ 10 h 22"/>
                <a:gd name="T28" fmla="*/ 0 w 26"/>
                <a:gd name="T29" fmla="*/ 4 h 22"/>
                <a:gd name="T30" fmla="*/ 2 w 26"/>
                <a:gd name="T31" fmla="*/ 0 h 22"/>
                <a:gd name="T32" fmla="*/ 2 w 26"/>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2" y="0"/>
                  </a:moveTo>
                  <a:lnTo>
                    <a:pt x="2" y="0"/>
                  </a:lnTo>
                  <a:lnTo>
                    <a:pt x="8" y="2"/>
                  </a:lnTo>
                  <a:lnTo>
                    <a:pt x="14" y="4"/>
                  </a:lnTo>
                  <a:lnTo>
                    <a:pt x="18" y="8"/>
                  </a:lnTo>
                  <a:lnTo>
                    <a:pt x="26" y="8"/>
                  </a:lnTo>
                  <a:lnTo>
                    <a:pt x="26" y="8"/>
                  </a:lnTo>
                  <a:lnTo>
                    <a:pt x="22" y="14"/>
                  </a:lnTo>
                  <a:lnTo>
                    <a:pt x="18" y="18"/>
                  </a:lnTo>
                  <a:lnTo>
                    <a:pt x="10" y="20"/>
                  </a:lnTo>
                  <a:lnTo>
                    <a:pt x="2" y="22"/>
                  </a:lnTo>
                  <a:lnTo>
                    <a:pt x="2" y="22"/>
                  </a:lnTo>
                  <a:lnTo>
                    <a:pt x="2" y="16"/>
                  </a:lnTo>
                  <a:lnTo>
                    <a:pt x="0" y="10"/>
                  </a:lnTo>
                  <a:lnTo>
                    <a:pt x="0" y="4"/>
                  </a:lnTo>
                  <a:lnTo>
                    <a:pt x="2" y="0"/>
                  </a:lnTo>
                  <a:lnTo>
                    <a:pt x="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8" name="Freeform 73"/>
            <p:cNvSpPr>
              <a:spLocks/>
            </p:cNvSpPr>
            <p:nvPr/>
          </p:nvSpPr>
          <p:spPr bwMode="auto">
            <a:xfrm>
              <a:off x="10897452" y="4744791"/>
              <a:ext cx="94635" cy="125054"/>
            </a:xfrm>
            <a:custGeom>
              <a:avLst/>
              <a:gdLst>
                <a:gd name="T0" fmla="*/ 0 w 56"/>
                <a:gd name="T1" fmla="*/ 0 h 74"/>
                <a:gd name="T2" fmla="*/ 0 w 56"/>
                <a:gd name="T3" fmla="*/ 0 h 74"/>
                <a:gd name="T4" fmla="*/ 28 w 56"/>
                <a:gd name="T5" fmla="*/ 38 h 74"/>
                <a:gd name="T6" fmla="*/ 42 w 56"/>
                <a:gd name="T7" fmla="*/ 56 h 74"/>
                <a:gd name="T8" fmla="*/ 56 w 56"/>
                <a:gd name="T9" fmla="*/ 74 h 74"/>
                <a:gd name="T10" fmla="*/ 56 w 56"/>
                <a:gd name="T11" fmla="*/ 74 h 74"/>
                <a:gd name="T12" fmla="*/ 36 w 56"/>
                <a:gd name="T13" fmla="*/ 62 h 74"/>
                <a:gd name="T14" fmla="*/ 26 w 56"/>
                <a:gd name="T15" fmla="*/ 54 h 74"/>
                <a:gd name="T16" fmla="*/ 18 w 56"/>
                <a:gd name="T17" fmla="*/ 46 h 74"/>
                <a:gd name="T18" fmla="*/ 10 w 56"/>
                <a:gd name="T19" fmla="*/ 38 h 74"/>
                <a:gd name="T20" fmla="*/ 6 w 56"/>
                <a:gd name="T21" fmla="*/ 28 h 74"/>
                <a:gd name="T22" fmla="*/ 2 w 56"/>
                <a:gd name="T23" fmla="*/ 14 h 74"/>
                <a:gd name="T24" fmla="*/ 0 w 56"/>
                <a:gd name="T25" fmla="*/ 0 h 74"/>
                <a:gd name="T26" fmla="*/ 0 w 56"/>
                <a:gd name="T27"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74">
                  <a:moveTo>
                    <a:pt x="0" y="0"/>
                  </a:moveTo>
                  <a:lnTo>
                    <a:pt x="0" y="0"/>
                  </a:lnTo>
                  <a:lnTo>
                    <a:pt x="28" y="38"/>
                  </a:lnTo>
                  <a:lnTo>
                    <a:pt x="42" y="56"/>
                  </a:lnTo>
                  <a:lnTo>
                    <a:pt x="56" y="74"/>
                  </a:lnTo>
                  <a:lnTo>
                    <a:pt x="56" y="74"/>
                  </a:lnTo>
                  <a:lnTo>
                    <a:pt x="36" y="62"/>
                  </a:lnTo>
                  <a:lnTo>
                    <a:pt x="26" y="54"/>
                  </a:lnTo>
                  <a:lnTo>
                    <a:pt x="18" y="46"/>
                  </a:lnTo>
                  <a:lnTo>
                    <a:pt x="10" y="38"/>
                  </a:lnTo>
                  <a:lnTo>
                    <a:pt x="6" y="28"/>
                  </a:lnTo>
                  <a:lnTo>
                    <a:pt x="2" y="14"/>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39" name="Freeform 74"/>
            <p:cNvSpPr>
              <a:spLocks/>
            </p:cNvSpPr>
            <p:nvPr/>
          </p:nvSpPr>
          <p:spPr bwMode="auto">
            <a:xfrm>
              <a:off x="10904211" y="5312604"/>
              <a:ext cx="172372" cy="226449"/>
            </a:xfrm>
            <a:custGeom>
              <a:avLst/>
              <a:gdLst>
                <a:gd name="T0" fmla="*/ 56 w 102"/>
                <a:gd name="T1" fmla="*/ 0 h 134"/>
                <a:gd name="T2" fmla="*/ 56 w 102"/>
                <a:gd name="T3" fmla="*/ 0 h 134"/>
                <a:gd name="T4" fmla="*/ 60 w 102"/>
                <a:gd name="T5" fmla="*/ 2 h 134"/>
                <a:gd name="T6" fmla="*/ 62 w 102"/>
                <a:gd name="T7" fmla="*/ 8 h 134"/>
                <a:gd name="T8" fmla="*/ 66 w 102"/>
                <a:gd name="T9" fmla="*/ 18 h 134"/>
                <a:gd name="T10" fmla="*/ 72 w 102"/>
                <a:gd name="T11" fmla="*/ 44 h 134"/>
                <a:gd name="T12" fmla="*/ 76 w 102"/>
                <a:gd name="T13" fmla="*/ 56 h 134"/>
                <a:gd name="T14" fmla="*/ 78 w 102"/>
                <a:gd name="T15" fmla="*/ 60 h 134"/>
                <a:gd name="T16" fmla="*/ 82 w 102"/>
                <a:gd name="T17" fmla="*/ 64 h 134"/>
                <a:gd name="T18" fmla="*/ 86 w 102"/>
                <a:gd name="T19" fmla="*/ 66 h 134"/>
                <a:gd name="T20" fmla="*/ 90 w 102"/>
                <a:gd name="T21" fmla="*/ 66 h 134"/>
                <a:gd name="T22" fmla="*/ 96 w 102"/>
                <a:gd name="T23" fmla="*/ 64 h 134"/>
                <a:gd name="T24" fmla="*/ 102 w 102"/>
                <a:gd name="T25" fmla="*/ 60 h 134"/>
                <a:gd name="T26" fmla="*/ 102 w 102"/>
                <a:gd name="T27" fmla="*/ 60 h 134"/>
                <a:gd name="T28" fmla="*/ 98 w 102"/>
                <a:gd name="T29" fmla="*/ 72 h 134"/>
                <a:gd name="T30" fmla="*/ 88 w 102"/>
                <a:gd name="T31" fmla="*/ 84 h 134"/>
                <a:gd name="T32" fmla="*/ 76 w 102"/>
                <a:gd name="T33" fmla="*/ 96 h 134"/>
                <a:gd name="T34" fmla="*/ 62 w 102"/>
                <a:gd name="T35" fmla="*/ 108 h 134"/>
                <a:gd name="T36" fmla="*/ 46 w 102"/>
                <a:gd name="T37" fmla="*/ 118 h 134"/>
                <a:gd name="T38" fmla="*/ 30 w 102"/>
                <a:gd name="T39" fmla="*/ 126 h 134"/>
                <a:gd name="T40" fmla="*/ 14 w 102"/>
                <a:gd name="T41" fmla="*/ 132 h 134"/>
                <a:gd name="T42" fmla="*/ 0 w 102"/>
                <a:gd name="T43" fmla="*/ 134 h 134"/>
                <a:gd name="T44" fmla="*/ 0 w 102"/>
                <a:gd name="T45" fmla="*/ 134 h 134"/>
                <a:gd name="T46" fmla="*/ 12 w 102"/>
                <a:gd name="T47" fmla="*/ 126 h 134"/>
                <a:gd name="T48" fmla="*/ 24 w 102"/>
                <a:gd name="T49" fmla="*/ 116 h 134"/>
                <a:gd name="T50" fmla="*/ 24 w 102"/>
                <a:gd name="T51" fmla="*/ 116 h 134"/>
                <a:gd name="T52" fmla="*/ 20 w 102"/>
                <a:gd name="T53" fmla="*/ 110 h 134"/>
                <a:gd name="T54" fmla="*/ 18 w 102"/>
                <a:gd name="T55" fmla="*/ 106 h 134"/>
                <a:gd name="T56" fmla="*/ 14 w 102"/>
                <a:gd name="T57" fmla="*/ 100 h 134"/>
                <a:gd name="T58" fmla="*/ 14 w 102"/>
                <a:gd name="T59" fmla="*/ 92 h 134"/>
                <a:gd name="T60" fmla="*/ 14 w 102"/>
                <a:gd name="T61" fmla="*/ 92 h 134"/>
                <a:gd name="T62" fmla="*/ 26 w 102"/>
                <a:gd name="T63" fmla="*/ 86 h 134"/>
                <a:gd name="T64" fmla="*/ 38 w 102"/>
                <a:gd name="T65" fmla="*/ 80 h 134"/>
                <a:gd name="T66" fmla="*/ 46 w 102"/>
                <a:gd name="T67" fmla="*/ 70 h 134"/>
                <a:gd name="T68" fmla="*/ 54 w 102"/>
                <a:gd name="T69" fmla="*/ 60 h 134"/>
                <a:gd name="T70" fmla="*/ 58 w 102"/>
                <a:gd name="T71" fmla="*/ 48 h 134"/>
                <a:gd name="T72" fmla="*/ 60 w 102"/>
                <a:gd name="T73" fmla="*/ 34 h 134"/>
                <a:gd name="T74" fmla="*/ 60 w 102"/>
                <a:gd name="T75" fmla="*/ 18 h 134"/>
                <a:gd name="T76" fmla="*/ 56 w 102"/>
                <a:gd name="T77" fmla="*/ 0 h 134"/>
                <a:gd name="T78" fmla="*/ 56 w 102"/>
                <a:gd name="T7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134">
                  <a:moveTo>
                    <a:pt x="56" y="0"/>
                  </a:moveTo>
                  <a:lnTo>
                    <a:pt x="56" y="0"/>
                  </a:lnTo>
                  <a:lnTo>
                    <a:pt x="60" y="2"/>
                  </a:lnTo>
                  <a:lnTo>
                    <a:pt x="62" y="8"/>
                  </a:lnTo>
                  <a:lnTo>
                    <a:pt x="66" y="18"/>
                  </a:lnTo>
                  <a:lnTo>
                    <a:pt x="72" y="44"/>
                  </a:lnTo>
                  <a:lnTo>
                    <a:pt x="76" y="56"/>
                  </a:lnTo>
                  <a:lnTo>
                    <a:pt x="78" y="60"/>
                  </a:lnTo>
                  <a:lnTo>
                    <a:pt x="82" y="64"/>
                  </a:lnTo>
                  <a:lnTo>
                    <a:pt x="86" y="66"/>
                  </a:lnTo>
                  <a:lnTo>
                    <a:pt x="90" y="66"/>
                  </a:lnTo>
                  <a:lnTo>
                    <a:pt x="96" y="64"/>
                  </a:lnTo>
                  <a:lnTo>
                    <a:pt x="102" y="60"/>
                  </a:lnTo>
                  <a:lnTo>
                    <a:pt x="102" y="60"/>
                  </a:lnTo>
                  <a:lnTo>
                    <a:pt x="98" y="72"/>
                  </a:lnTo>
                  <a:lnTo>
                    <a:pt x="88" y="84"/>
                  </a:lnTo>
                  <a:lnTo>
                    <a:pt x="76" y="96"/>
                  </a:lnTo>
                  <a:lnTo>
                    <a:pt x="62" y="108"/>
                  </a:lnTo>
                  <a:lnTo>
                    <a:pt x="46" y="118"/>
                  </a:lnTo>
                  <a:lnTo>
                    <a:pt x="30" y="126"/>
                  </a:lnTo>
                  <a:lnTo>
                    <a:pt x="14" y="132"/>
                  </a:lnTo>
                  <a:lnTo>
                    <a:pt x="0" y="134"/>
                  </a:lnTo>
                  <a:lnTo>
                    <a:pt x="0" y="134"/>
                  </a:lnTo>
                  <a:lnTo>
                    <a:pt x="12" y="126"/>
                  </a:lnTo>
                  <a:lnTo>
                    <a:pt x="24" y="116"/>
                  </a:lnTo>
                  <a:lnTo>
                    <a:pt x="24" y="116"/>
                  </a:lnTo>
                  <a:lnTo>
                    <a:pt x="20" y="110"/>
                  </a:lnTo>
                  <a:lnTo>
                    <a:pt x="18" y="106"/>
                  </a:lnTo>
                  <a:lnTo>
                    <a:pt x="14" y="100"/>
                  </a:lnTo>
                  <a:lnTo>
                    <a:pt x="14" y="92"/>
                  </a:lnTo>
                  <a:lnTo>
                    <a:pt x="14" y="92"/>
                  </a:lnTo>
                  <a:lnTo>
                    <a:pt x="26" y="86"/>
                  </a:lnTo>
                  <a:lnTo>
                    <a:pt x="38" y="80"/>
                  </a:lnTo>
                  <a:lnTo>
                    <a:pt x="46" y="70"/>
                  </a:lnTo>
                  <a:lnTo>
                    <a:pt x="54" y="60"/>
                  </a:lnTo>
                  <a:lnTo>
                    <a:pt x="58" y="48"/>
                  </a:lnTo>
                  <a:lnTo>
                    <a:pt x="60" y="34"/>
                  </a:lnTo>
                  <a:lnTo>
                    <a:pt x="60" y="18"/>
                  </a:lnTo>
                  <a:lnTo>
                    <a:pt x="56" y="0"/>
                  </a:lnTo>
                  <a:lnTo>
                    <a:pt x="56"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0" name="Freeform 75"/>
            <p:cNvSpPr>
              <a:spLocks/>
            </p:cNvSpPr>
            <p:nvPr/>
          </p:nvSpPr>
          <p:spPr bwMode="auto">
            <a:xfrm>
              <a:off x="10542569" y="5515394"/>
              <a:ext cx="331224" cy="199410"/>
            </a:xfrm>
            <a:custGeom>
              <a:avLst/>
              <a:gdLst>
                <a:gd name="T0" fmla="*/ 182 w 196"/>
                <a:gd name="T1" fmla="*/ 0 h 118"/>
                <a:gd name="T2" fmla="*/ 182 w 196"/>
                <a:gd name="T3" fmla="*/ 0 h 118"/>
                <a:gd name="T4" fmla="*/ 190 w 196"/>
                <a:gd name="T5" fmla="*/ 10 h 118"/>
                <a:gd name="T6" fmla="*/ 194 w 196"/>
                <a:gd name="T7" fmla="*/ 16 h 118"/>
                <a:gd name="T8" fmla="*/ 196 w 196"/>
                <a:gd name="T9" fmla="*/ 24 h 118"/>
                <a:gd name="T10" fmla="*/ 196 w 196"/>
                <a:gd name="T11" fmla="*/ 24 h 118"/>
                <a:gd name="T12" fmla="*/ 172 w 196"/>
                <a:gd name="T13" fmla="*/ 36 h 118"/>
                <a:gd name="T14" fmla="*/ 150 w 196"/>
                <a:gd name="T15" fmla="*/ 52 h 118"/>
                <a:gd name="T16" fmla="*/ 106 w 196"/>
                <a:gd name="T17" fmla="*/ 86 h 118"/>
                <a:gd name="T18" fmla="*/ 84 w 196"/>
                <a:gd name="T19" fmla="*/ 100 h 118"/>
                <a:gd name="T20" fmla="*/ 72 w 196"/>
                <a:gd name="T21" fmla="*/ 106 h 118"/>
                <a:gd name="T22" fmla="*/ 60 w 196"/>
                <a:gd name="T23" fmla="*/ 112 h 118"/>
                <a:gd name="T24" fmla="*/ 46 w 196"/>
                <a:gd name="T25" fmla="*/ 116 h 118"/>
                <a:gd name="T26" fmla="*/ 32 w 196"/>
                <a:gd name="T27" fmla="*/ 118 h 118"/>
                <a:gd name="T28" fmla="*/ 16 w 196"/>
                <a:gd name="T29" fmla="*/ 118 h 118"/>
                <a:gd name="T30" fmla="*/ 0 w 196"/>
                <a:gd name="T31" fmla="*/ 118 h 118"/>
                <a:gd name="T32" fmla="*/ 0 w 196"/>
                <a:gd name="T33" fmla="*/ 118 h 118"/>
                <a:gd name="T34" fmla="*/ 8 w 196"/>
                <a:gd name="T35" fmla="*/ 108 h 118"/>
                <a:gd name="T36" fmla="*/ 18 w 196"/>
                <a:gd name="T37" fmla="*/ 98 h 118"/>
                <a:gd name="T38" fmla="*/ 40 w 196"/>
                <a:gd name="T39" fmla="*/ 84 h 118"/>
                <a:gd name="T40" fmla="*/ 66 w 196"/>
                <a:gd name="T41" fmla="*/ 70 h 118"/>
                <a:gd name="T42" fmla="*/ 90 w 196"/>
                <a:gd name="T43" fmla="*/ 60 h 118"/>
                <a:gd name="T44" fmla="*/ 116 w 196"/>
                <a:gd name="T45" fmla="*/ 48 h 118"/>
                <a:gd name="T46" fmla="*/ 142 w 196"/>
                <a:gd name="T47" fmla="*/ 36 h 118"/>
                <a:gd name="T48" fmla="*/ 164 w 196"/>
                <a:gd name="T49" fmla="*/ 20 h 118"/>
                <a:gd name="T50" fmla="*/ 172 w 196"/>
                <a:gd name="T51" fmla="*/ 12 h 118"/>
                <a:gd name="T52" fmla="*/ 182 w 196"/>
                <a:gd name="T53" fmla="*/ 0 h 118"/>
                <a:gd name="T54" fmla="*/ 182 w 196"/>
                <a:gd name="T5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6" h="118">
                  <a:moveTo>
                    <a:pt x="182" y="0"/>
                  </a:moveTo>
                  <a:lnTo>
                    <a:pt x="182" y="0"/>
                  </a:lnTo>
                  <a:lnTo>
                    <a:pt x="190" y="10"/>
                  </a:lnTo>
                  <a:lnTo>
                    <a:pt x="194" y="16"/>
                  </a:lnTo>
                  <a:lnTo>
                    <a:pt x="196" y="24"/>
                  </a:lnTo>
                  <a:lnTo>
                    <a:pt x="196" y="24"/>
                  </a:lnTo>
                  <a:lnTo>
                    <a:pt x="172" y="36"/>
                  </a:lnTo>
                  <a:lnTo>
                    <a:pt x="150" y="52"/>
                  </a:lnTo>
                  <a:lnTo>
                    <a:pt x="106" y="86"/>
                  </a:lnTo>
                  <a:lnTo>
                    <a:pt x="84" y="100"/>
                  </a:lnTo>
                  <a:lnTo>
                    <a:pt x="72" y="106"/>
                  </a:lnTo>
                  <a:lnTo>
                    <a:pt x="60" y="112"/>
                  </a:lnTo>
                  <a:lnTo>
                    <a:pt x="46" y="116"/>
                  </a:lnTo>
                  <a:lnTo>
                    <a:pt x="32" y="118"/>
                  </a:lnTo>
                  <a:lnTo>
                    <a:pt x="16" y="118"/>
                  </a:lnTo>
                  <a:lnTo>
                    <a:pt x="0" y="118"/>
                  </a:lnTo>
                  <a:lnTo>
                    <a:pt x="0" y="118"/>
                  </a:lnTo>
                  <a:lnTo>
                    <a:pt x="8" y="108"/>
                  </a:lnTo>
                  <a:lnTo>
                    <a:pt x="18" y="98"/>
                  </a:lnTo>
                  <a:lnTo>
                    <a:pt x="40" y="84"/>
                  </a:lnTo>
                  <a:lnTo>
                    <a:pt x="66" y="70"/>
                  </a:lnTo>
                  <a:lnTo>
                    <a:pt x="90" y="60"/>
                  </a:lnTo>
                  <a:lnTo>
                    <a:pt x="116" y="48"/>
                  </a:lnTo>
                  <a:lnTo>
                    <a:pt x="142" y="36"/>
                  </a:lnTo>
                  <a:lnTo>
                    <a:pt x="164" y="20"/>
                  </a:lnTo>
                  <a:lnTo>
                    <a:pt x="172" y="12"/>
                  </a:lnTo>
                  <a:lnTo>
                    <a:pt x="182" y="0"/>
                  </a:lnTo>
                  <a:lnTo>
                    <a:pt x="182"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1" name="Freeform 76"/>
            <p:cNvSpPr>
              <a:spLocks/>
            </p:cNvSpPr>
            <p:nvPr/>
          </p:nvSpPr>
          <p:spPr bwMode="auto">
            <a:xfrm>
              <a:off x="9991654" y="5525534"/>
              <a:ext cx="108155" cy="87876"/>
            </a:xfrm>
            <a:custGeom>
              <a:avLst/>
              <a:gdLst>
                <a:gd name="T0" fmla="*/ 8 w 64"/>
                <a:gd name="T1" fmla="*/ 0 h 52"/>
                <a:gd name="T2" fmla="*/ 8 w 64"/>
                <a:gd name="T3" fmla="*/ 0 h 52"/>
                <a:gd name="T4" fmla="*/ 22 w 64"/>
                <a:gd name="T5" fmla="*/ 4 h 52"/>
                <a:gd name="T6" fmla="*/ 36 w 64"/>
                <a:gd name="T7" fmla="*/ 8 h 52"/>
                <a:gd name="T8" fmla="*/ 50 w 64"/>
                <a:gd name="T9" fmla="*/ 8 h 52"/>
                <a:gd name="T10" fmla="*/ 64 w 64"/>
                <a:gd name="T11" fmla="*/ 4 h 52"/>
                <a:gd name="T12" fmla="*/ 64 w 64"/>
                <a:gd name="T13" fmla="*/ 4 h 52"/>
                <a:gd name="T14" fmla="*/ 64 w 64"/>
                <a:gd name="T15" fmla="*/ 14 h 52"/>
                <a:gd name="T16" fmla="*/ 60 w 64"/>
                <a:gd name="T17" fmla="*/ 22 h 52"/>
                <a:gd name="T18" fmla="*/ 54 w 64"/>
                <a:gd name="T19" fmla="*/ 32 h 52"/>
                <a:gd name="T20" fmla="*/ 44 w 64"/>
                <a:gd name="T21" fmla="*/ 40 h 52"/>
                <a:gd name="T22" fmla="*/ 34 w 64"/>
                <a:gd name="T23" fmla="*/ 46 h 52"/>
                <a:gd name="T24" fmla="*/ 22 w 64"/>
                <a:gd name="T25" fmla="*/ 50 h 52"/>
                <a:gd name="T26" fmla="*/ 10 w 64"/>
                <a:gd name="T27" fmla="*/ 52 h 52"/>
                <a:gd name="T28" fmla="*/ 0 w 64"/>
                <a:gd name="T29" fmla="*/ 50 h 52"/>
                <a:gd name="T30" fmla="*/ 0 w 64"/>
                <a:gd name="T31" fmla="*/ 50 h 52"/>
                <a:gd name="T32" fmla="*/ 8 w 64"/>
                <a:gd name="T33" fmla="*/ 28 h 52"/>
                <a:gd name="T34" fmla="*/ 10 w 64"/>
                <a:gd name="T35" fmla="*/ 16 h 52"/>
                <a:gd name="T36" fmla="*/ 8 w 64"/>
                <a:gd name="T37" fmla="*/ 0 h 52"/>
                <a:gd name="T38" fmla="*/ 8 w 64"/>
                <a:gd name="T3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52">
                  <a:moveTo>
                    <a:pt x="8" y="0"/>
                  </a:moveTo>
                  <a:lnTo>
                    <a:pt x="8" y="0"/>
                  </a:lnTo>
                  <a:lnTo>
                    <a:pt x="22" y="4"/>
                  </a:lnTo>
                  <a:lnTo>
                    <a:pt x="36" y="8"/>
                  </a:lnTo>
                  <a:lnTo>
                    <a:pt x="50" y="8"/>
                  </a:lnTo>
                  <a:lnTo>
                    <a:pt x="64" y="4"/>
                  </a:lnTo>
                  <a:lnTo>
                    <a:pt x="64" y="4"/>
                  </a:lnTo>
                  <a:lnTo>
                    <a:pt x="64" y="14"/>
                  </a:lnTo>
                  <a:lnTo>
                    <a:pt x="60" y="22"/>
                  </a:lnTo>
                  <a:lnTo>
                    <a:pt x="54" y="32"/>
                  </a:lnTo>
                  <a:lnTo>
                    <a:pt x="44" y="40"/>
                  </a:lnTo>
                  <a:lnTo>
                    <a:pt x="34" y="46"/>
                  </a:lnTo>
                  <a:lnTo>
                    <a:pt x="22" y="50"/>
                  </a:lnTo>
                  <a:lnTo>
                    <a:pt x="10" y="52"/>
                  </a:lnTo>
                  <a:lnTo>
                    <a:pt x="0" y="50"/>
                  </a:lnTo>
                  <a:lnTo>
                    <a:pt x="0" y="50"/>
                  </a:lnTo>
                  <a:lnTo>
                    <a:pt x="8" y="28"/>
                  </a:lnTo>
                  <a:lnTo>
                    <a:pt x="10" y="16"/>
                  </a:lnTo>
                  <a:lnTo>
                    <a:pt x="8" y="0"/>
                  </a:lnTo>
                  <a:lnTo>
                    <a:pt x="8"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2" name="Freeform 77"/>
            <p:cNvSpPr>
              <a:spLocks/>
            </p:cNvSpPr>
            <p:nvPr/>
          </p:nvSpPr>
          <p:spPr bwMode="auto">
            <a:xfrm>
              <a:off x="3934984" y="5873657"/>
              <a:ext cx="94635" cy="43938"/>
            </a:xfrm>
            <a:custGeom>
              <a:avLst/>
              <a:gdLst>
                <a:gd name="T0" fmla="*/ 34 w 56"/>
                <a:gd name="T1" fmla="*/ 8 h 26"/>
                <a:gd name="T2" fmla="*/ 34 w 56"/>
                <a:gd name="T3" fmla="*/ 8 h 26"/>
                <a:gd name="T4" fmla="*/ 30 w 56"/>
                <a:gd name="T5" fmla="*/ 8 h 26"/>
                <a:gd name="T6" fmla="*/ 26 w 56"/>
                <a:gd name="T7" fmla="*/ 8 h 26"/>
                <a:gd name="T8" fmla="*/ 24 w 56"/>
                <a:gd name="T9" fmla="*/ 12 h 26"/>
                <a:gd name="T10" fmla="*/ 22 w 56"/>
                <a:gd name="T11" fmla="*/ 18 h 26"/>
                <a:gd name="T12" fmla="*/ 20 w 56"/>
                <a:gd name="T13" fmla="*/ 22 h 26"/>
                <a:gd name="T14" fmla="*/ 20 w 56"/>
                <a:gd name="T15" fmla="*/ 22 h 26"/>
                <a:gd name="T16" fmla="*/ 14 w 56"/>
                <a:gd name="T17" fmla="*/ 22 h 26"/>
                <a:gd name="T18" fmla="*/ 10 w 56"/>
                <a:gd name="T19" fmla="*/ 20 h 26"/>
                <a:gd name="T20" fmla="*/ 6 w 56"/>
                <a:gd name="T21" fmla="*/ 18 h 26"/>
                <a:gd name="T22" fmla="*/ 0 w 56"/>
                <a:gd name="T23" fmla="*/ 18 h 26"/>
                <a:gd name="T24" fmla="*/ 0 w 56"/>
                <a:gd name="T25" fmla="*/ 18 h 26"/>
                <a:gd name="T26" fmla="*/ 4 w 56"/>
                <a:gd name="T27" fmla="*/ 14 h 26"/>
                <a:gd name="T28" fmla="*/ 8 w 56"/>
                <a:gd name="T29" fmla="*/ 12 h 26"/>
                <a:gd name="T30" fmla="*/ 8 w 56"/>
                <a:gd name="T31" fmla="*/ 10 h 26"/>
                <a:gd name="T32" fmla="*/ 6 w 56"/>
                <a:gd name="T33" fmla="*/ 8 h 26"/>
                <a:gd name="T34" fmla="*/ 6 w 56"/>
                <a:gd name="T35" fmla="*/ 8 h 26"/>
                <a:gd name="T36" fmla="*/ 10 w 56"/>
                <a:gd name="T37" fmla="*/ 4 h 26"/>
                <a:gd name="T38" fmla="*/ 16 w 56"/>
                <a:gd name="T39" fmla="*/ 2 h 26"/>
                <a:gd name="T40" fmla="*/ 22 w 56"/>
                <a:gd name="T41" fmla="*/ 0 h 26"/>
                <a:gd name="T42" fmla="*/ 28 w 56"/>
                <a:gd name="T43" fmla="*/ 2 h 26"/>
                <a:gd name="T44" fmla="*/ 42 w 56"/>
                <a:gd name="T45" fmla="*/ 4 h 26"/>
                <a:gd name="T46" fmla="*/ 56 w 56"/>
                <a:gd name="T47" fmla="*/ 8 h 26"/>
                <a:gd name="T48" fmla="*/ 56 w 56"/>
                <a:gd name="T49" fmla="*/ 8 h 26"/>
                <a:gd name="T50" fmla="*/ 50 w 56"/>
                <a:gd name="T51" fmla="*/ 14 h 26"/>
                <a:gd name="T52" fmla="*/ 44 w 56"/>
                <a:gd name="T53" fmla="*/ 20 h 26"/>
                <a:gd name="T54" fmla="*/ 36 w 56"/>
                <a:gd name="T55" fmla="*/ 26 h 26"/>
                <a:gd name="T56" fmla="*/ 30 w 56"/>
                <a:gd name="T57" fmla="*/ 26 h 26"/>
                <a:gd name="T58" fmla="*/ 24 w 56"/>
                <a:gd name="T59" fmla="*/ 26 h 26"/>
                <a:gd name="T60" fmla="*/ 24 w 56"/>
                <a:gd name="T61" fmla="*/ 26 h 26"/>
                <a:gd name="T62" fmla="*/ 24 w 56"/>
                <a:gd name="T63" fmla="*/ 22 h 26"/>
                <a:gd name="T64" fmla="*/ 24 w 56"/>
                <a:gd name="T65" fmla="*/ 20 h 26"/>
                <a:gd name="T66" fmla="*/ 28 w 56"/>
                <a:gd name="T67" fmla="*/ 16 h 26"/>
                <a:gd name="T68" fmla="*/ 32 w 56"/>
                <a:gd name="T69" fmla="*/ 12 h 26"/>
                <a:gd name="T70" fmla="*/ 32 w 56"/>
                <a:gd name="T71" fmla="*/ 10 h 26"/>
                <a:gd name="T72" fmla="*/ 34 w 56"/>
                <a:gd name="T73" fmla="*/ 8 h 26"/>
                <a:gd name="T74" fmla="*/ 34 w 56"/>
                <a:gd name="T75"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26">
                  <a:moveTo>
                    <a:pt x="34" y="8"/>
                  </a:moveTo>
                  <a:lnTo>
                    <a:pt x="34" y="8"/>
                  </a:lnTo>
                  <a:lnTo>
                    <a:pt x="30" y="8"/>
                  </a:lnTo>
                  <a:lnTo>
                    <a:pt x="26" y="8"/>
                  </a:lnTo>
                  <a:lnTo>
                    <a:pt x="24" y="12"/>
                  </a:lnTo>
                  <a:lnTo>
                    <a:pt x="22" y="18"/>
                  </a:lnTo>
                  <a:lnTo>
                    <a:pt x="20" y="22"/>
                  </a:lnTo>
                  <a:lnTo>
                    <a:pt x="20" y="22"/>
                  </a:lnTo>
                  <a:lnTo>
                    <a:pt x="14" y="22"/>
                  </a:lnTo>
                  <a:lnTo>
                    <a:pt x="10" y="20"/>
                  </a:lnTo>
                  <a:lnTo>
                    <a:pt x="6" y="18"/>
                  </a:lnTo>
                  <a:lnTo>
                    <a:pt x="0" y="18"/>
                  </a:lnTo>
                  <a:lnTo>
                    <a:pt x="0" y="18"/>
                  </a:lnTo>
                  <a:lnTo>
                    <a:pt x="4" y="14"/>
                  </a:lnTo>
                  <a:lnTo>
                    <a:pt x="8" y="12"/>
                  </a:lnTo>
                  <a:lnTo>
                    <a:pt x="8" y="10"/>
                  </a:lnTo>
                  <a:lnTo>
                    <a:pt x="6" y="8"/>
                  </a:lnTo>
                  <a:lnTo>
                    <a:pt x="6" y="8"/>
                  </a:lnTo>
                  <a:lnTo>
                    <a:pt x="10" y="4"/>
                  </a:lnTo>
                  <a:lnTo>
                    <a:pt x="16" y="2"/>
                  </a:lnTo>
                  <a:lnTo>
                    <a:pt x="22" y="0"/>
                  </a:lnTo>
                  <a:lnTo>
                    <a:pt x="28" y="2"/>
                  </a:lnTo>
                  <a:lnTo>
                    <a:pt x="42" y="4"/>
                  </a:lnTo>
                  <a:lnTo>
                    <a:pt x="56" y="8"/>
                  </a:lnTo>
                  <a:lnTo>
                    <a:pt x="56" y="8"/>
                  </a:lnTo>
                  <a:lnTo>
                    <a:pt x="50" y="14"/>
                  </a:lnTo>
                  <a:lnTo>
                    <a:pt x="44" y="20"/>
                  </a:lnTo>
                  <a:lnTo>
                    <a:pt x="36" y="26"/>
                  </a:lnTo>
                  <a:lnTo>
                    <a:pt x="30" y="26"/>
                  </a:lnTo>
                  <a:lnTo>
                    <a:pt x="24" y="26"/>
                  </a:lnTo>
                  <a:lnTo>
                    <a:pt x="24" y="26"/>
                  </a:lnTo>
                  <a:lnTo>
                    <a:pt x="24" y="22"/>
                  </a:lnTo>
                  <a:lnTo>
                    <a:pt x="24" y="20"/>
                  </a:lnTo>
                  <a:lnTo>
                    <a:pt x="28" y="16"/>
                  </a:lnTo>
                  <a:lnTo>
                    <a:pt x="32" y="12"/>
                  </a:lnTo>
                  <a:lnTo>
                    <a:pt x="32" y="10"/>
                  </a:lnTo>
                  <a:lnTo>
                    <a:pt x="34" y="8"/>
                  </a:lnTo>
                  <a:lnTo>
                    <a:pt x="34" y="8"/>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3" name="Freeform 78"/>
            <p:cNvSpPr>
              <a:spLocks/>
            </p:cNvSpPr>
            <p:nvPr/>
          </p:nvSpPr>
          <p:spPr bwMode="auto">
            <a:xfrm>
              <a:off x="3722053" y="5934494"/>
              <a:ext cx="175752" cy="84496"/>
            </a:xfrm>
            <a:custGeom>
              <a:avLst/>
              <a:gdLst>
                <a:gd name="T0" fmla="*/ 10 w 104"/>
                <a:gd name="T1" fmla="*/ 0 h 50"/>
                <a:gd name="T2" fmla="*/ 10 w 104"/>
                <a:gd name="T3" fmla="*/ 0 h 50"/>
                <a:gd name="T4" fmla="*/ 24 w 104"/>
                <a:gd name="T5" fmla="*/ 2 h 50"/>
                <a:gd name="T6" fmla="*/ 36 w 104"/>
                <a:gd name="T7" fmla="*/ 8 h 50"/>
                <a:gd name="T8" fmla="*/ 46 w 104"/>
                <a:gd name="T9" fmla="*/ 14 h 50"/>
                <a:gd name="T10" fmla="*/ 56 w 104"/>
                <a:gd name="T11" fmla="*/ 22 h 50"/>
                <a:gd name="T12" fmla="*/ 66 w 104"/>
                <a:gd name="T13" fmla="*/ 28 h 50"/>
                <a:gd name="T14" fmla="*/ 76 w 104"/>
                <a:gd name="T15" fmla="*/ 34 h 50"/>
                <a:gd name="T16" fmla="*/ 88 w 104"/>
                <a:gd name="T17" fmla="*/ 40 h 50"/>
                <a:gd name="T18" fmla="*/ 104 w 104"/>
                <a:gd name="T19" fmla="*/ 42 h 50"/>
                <a:gd name="T20" fmla="*/ 104 w 104"/>
                <a:gd name="T21" fmla="*/ 42 h 50"/>
                <a:gd name="T22" fmla="*/ 90 w 104"/>
                <a:gd name="T23" fmla="*/ 46 h 50"/>
                <a:gd name="T24" fmla="*/ 76 w 104"/>
                <a:gd name="T25" fmla="*/ 48 h 50"/>
                <a:gd name="T26" fmla="*/ 60 w 104"/>
                <a:gd name="T27" fmla="*/ 50 h 50"/>
                <a:gd name="T28" fmla="*/ 46 w 104"/>
                <a:gd name="T29" fmla="*/ 48 h 50"/>
                <a:gd name="T30" fmla="*/ 34 w 104"/>
                <a:gd name="T31" fmla="*/ 46 h 50"/>
                <a:gd name="T32" fmla="*/ 22 w 104"/>
                <a:gd name="T33" fmla="*/ 42 h 50"/>
                <a:gd name="T34" fmla="*/ 10 w 104"/>
                <a:gd name="T35" fmla="*/ 36 h 50"/>
                <a:gd name="T36" fmla="*/ 0 w 104"/>
                <a:gd name="T37" fmla="*/ 28 h 50"/>
                <a:gd name="T38" fmla="*/ 0 w 104"/>
                <a:gd name="T39" fmla="*/ 28 h 50"/>
                <a:gd name="T40" fmla="*/ 4 w 104"/>
                <a:gd name="T41" fmla="*/ 12 h 50"/>
                <a:gd name="T42" fmla="*/ 10 w 104"/>
                <a:gd name="T43" fmla="*/ 0 h 50"/>
                <a:gd name="T44" fmla="*/ 10 w 104"/>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4" h="50">
                  <a:moveTo>
                    <a:pt x="10" y="0"/>
                  </a:moveTo>
                  <a:lnTo>
                    <a:pt x="10" y="0"/>
                  </a:lnTo>
                  <a:lnTo>
                    <a:pt x="24" y="2"/>
                  </a:lnTo>
                  <a:lnTo>
                    <a:pt x="36" y="8"/>
                  </a:lnTo>
                  <a:lnTo>
                    <a:pt x="46" y="14"/>
                  </a:lnTo>
                  <a:lnTo>
                    <a:pt x="56" y="22"/>
                  </a:lnTo>
                  <a:lnTo>
                    <a:pt x="66" y="28"/>
                  </a:lnTo>
                  <a:lnTo>
                    <a:pt x="76" y="34"/>
                  </a:lnTo>
                  <a:lnTo>
                    <a:pt x="88" y="40"/>
                  </a:lnTo>
                  <a:lnTo>
                    <a:pt x="104" y="42"/>
                  </a:lnTo>
                  <a:lnTo>
                    <a:pt x="104" y="42"/>
                  </a:lnTo>
                  <a:lnTo>
                    <a:pt x="90" y="46"/>
                  </a:lnTo>
                  <a:lnTo>
                    <a:pt x="76" y="48"/>
                  </a:lnTo>
                  <a:lnTo>
                    <a:pt x="60" y="50"/>
                  </a:lnTo>
                  <a:lnTo>
                    <a:pt x="46" y="48"/>
                  </a:lnTo>
                  <a:lnTo>
                    <a:pt x="34" y="46"/>
                  </a:lnTo>
                  <a:lnTo>
                    <a:pt x="22" y="42"/>
                  </a:lnTo>
                  <a:lnTo>
                    <a:pt x="10" y="36"/>
                  </a:lnTo>
                  <a:lnTo>
                    <a:pt x="0" y="28"/>
                  </a:lnTo>
                  <a:lnTo>
                    <a:pt x="0" y="28"/>
                  </a:lnTo>
                  <a:lnTo>
                    <a:pt x="4" y="12"/>
                  </a:lnTo>
                  <a:lnTo>
                    <a:pt x="10" y="0"/>
                  </a:lnTo>
                  <a:lnTo>
                    <a:pt x="1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4" name="Freeform 79"/>
            <p:cNvSpPr>
              <a:spLocks/>
            </p:cNvSpPr>
            <p:nvPr/>
          </p:nvSpPr>
          <p:spPr bwMode="auto">
            <a:xfrm>
              <a:off x="3117062" y="3146126"/>
              <a:ext cx="30419" cy="47318"/>
            </a:xfrm>
            <a:custGeom>
              <a:avLst/>
              <a:gdLst>
                <a:gd name="T0" fmla="*/ 0 w 18"/>
                <a:gd name="T1" fmla="*/ 14 h 28"/>
                <a:gd name="T2" fmla="*/ 0 w 18"/>
                <a:gd name="T3" fmla="*/ 14 h 28"/>
                <a:gd name="T4" fmla="*/ 2 w 18"/>
                <a:gd name="T5" fmla="*/ 10 h 28"/>
                <a:gd name="T6" fmla="*/ 4 w 18"/>
                <a:gd name="T7" fmla="*/ 4 h 28"/>
                <a:gd name="T8" fmla="*/ 8 w 18"/>
                <a:gd name="T9" fmla="*/ 0 h 28"/>
                <a:gd name="T10" fmla="*/ 10 w 18"/>
                <a:gd name="T11" fmla="*/ 0 h 28"/>
                <a:gd name="T12" fmla="*/ 14 w 18"/>
                <a:gd name="T13" fmla="*/ 0 h 28"/>
                <a:gd name="T14" fmla="*/ 14 w 18"/>
                <a:gd name="T15" fmla="*/ 0 h 28"/>
                <a:gd name="T16" fmla="*/ 14 w 18"/>
                <a:gd name="T17" fmla="*/ 10 h 28"/>
                <a:gd name="T18" fmla="*/ 12 w 18"/>
                <a:gd name="T19" fmla="*/ 12 h 28"/>
                <a:gd name="T20" fmla="*/ 10 w 18"/>
                <a:gd name="T21" fmla="*/ 14 h 28"/>
                <a:gd name="T22" fmla="*/ 10 w 18"/>
                <a:gd name="T23" fmla="*/ 14 h 28"/>
                <a:gd name="T24" fmla="*/ 12 w 18"/>
                <a:gd name="T25" fmla="*/ 18 h 28"/>
                <a:gd name="T26" fmla="*/ 16 w 18"/>
                <a:gd name="T27" fmla="*/ 20 h 28"/>
                <a:gd name="T28" fmla="*/ 18 w 18"/>
                <a:gd name="T29" fmla="*/ 24 h 28"/>
                <a:gd name="T30" fmla="*/ 18 w 18"/>
                <a:gd name="T31" fmla="*/ 28 h 28"/>
                <a:gd name="T32" fmla="*/ 18 w 18"/>
                <a:gd name="T33" fmla="*/ 28 h 28"/>
                <a:gd name="T34" fmla="*/ 14 w 18"/>
                <a:gd name="T35" fmla="*/ 26 h 28"/>
                <a:gd name="T36" fmla="*/ 10 w 18"/>
                <a:gd name="T37" fmla="*/ 22 h 28"/>
                <a:gd name="T38" fmla="*/ 6 w 18"/>
                <a:gd name="T39" fmla="*/ 18 h 28"/>
                <a:gd name="T40" fmla="*/ 0 w 18"/>
                <a:gd name="T41" fmla="*/ 14 h 28"/>
                <a:gd name="T42" fmla="*/ 0 w 18"/>
                <a:gd name="T4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8">
                  <a:moveTo>
                    <a:pt x="0" y="14"/>
                  </a:moveTo>
                  <a:lnTo>
                    <a:pt x="0" y="14"/>
                  </a:lnTo>
                  <a:lnTo>
                    <a:pt x="2" y="10"/>
                  </a:lnTo>
                  <a:lnTo>
                    <a:pt x="4" y="4"/>
                  </a:lnTo>
                  <a:lnTo>
                    <a:pt x="8" y="0"/>
                  </a:lnTo>
                  <a:lnTo>
                    <a:pt x="10" y="0"/>
                  </a:lnTo>
                  <a:lnTo>
                    <a:pt x="14" y="0"/>
                  </a:lnTo>
                  <a:lnTo>
                    <a:pt x="14" y="0"/>
                  </a:lnTo>
                  <a:lnTo>
                    <a:pt x="14" y="10"/>
                  </a:lnTo>
                  <a:lnTo>
                    <a:pt x="12" y="12"/>
                  </a:lnTo>
                  <a:lnTo>
                    <a:pt x="10" y="14"/>
                  </a:lnTo>
                  <a:lnTo>
                    <a:pt x="10" y="14"/>
                  </a:lnTo>
                  <a:lnTo>
                    <a:pt x="12" y="18"/>
                  </a:lnTo>
                  <a:lnTo>
                    <a:pt x="16" y="20"/>
                  </a:lnTo>
                  <a:lnTo>
                    <a:pt x="18" y="24"/>
                  </a:lnTo>
                  <a:lnTo>
                    <a:pt x="18" y="28"/>
                  </a:lnTo>
                  <a:lnTo>
                    <a:pt x="18" y="28"/>
                  </a:lnTo>
                  <a:lnTo>
                    <a:pt x="14" y="26"/>
                  </a:lnTo>
                  <a:lnTo>
                    <a:pt x="10" y="22"/>
                  </a:lnTo>
                  <a:lnTo>
                    <a:pt x="6" y="18"/>
                  </a:lnTo>
                  <a:lnTo>
                    <a:pt x="0" y="14"/>
                  </a:lnTo>
                  <a:lnTo>
                    <a:pt x="0" y="14"/>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sp>
          <p:nvSpPr>
            <p:cNvPr id="145" name="Freeform 80"/>
            <p:cNvSpPr>
              <a:spLocks/>
            </p:cNvSpPr>
            <p:nvPr/>
          </p:nvSpPr>
          <p:spPr bwMode="auto">
            <a:xfrm>
              <a:off x="11039748" y="4602834"/>
              <a:ext cx="30419" cy="64217"/>
            </a:xfrm>
            <a:custGeom>
              <a:avLst/>
              <a:gdLst>
                <a:gd name="T0" fmla="*/ 0 w 18"/>
                <a:gd name="T1" fmla="*/ 0 h 38"/>
                <a:gd name="T2" fmla="*/ 0 w 18"/>
                <a:gd name="T3" fmla="*/ 0 h 38"/>
                <a:gd name="T4" fmla="*/ 6 w 18"/>
                <a:gd name="T5" fmla="*/ 8 h 38"/>
                <a:gd name="T6" fmla="*/ 10 w 18"/>
                <a:gd name="T7" fmla="*/ 18 h 38"/>
                <a:gd name="T8" fmla="*/ 18 w 18"/>
                <a:gd name="T9" fmla="*/ 38 h 38"/>
                <a:gd name="T10" fmla="*/ 18 w 18"/>
                <a:gd name="T11" fmla="*/ 38 h 38"/>
                <a:gd name="T12" fmla="*/ 10 w 18"/>
                <a:gd name="T13" fmla="*/ 32 h 38"/>
                <a:gd name="T14" fmla="*/ 4 w 18"/>
                <a:gd name="T15" fmla="*/ 24 h 38"/>
                <a:gd name="T16" fmla="*/ 0 w 18"/>
                <a:gd name="T17" fmla="*/ 14 h 38"/>
                <a:gd name="T18" fmla="*/ 0 w 18"/>
                <a:gd name="T19" fmla="*/ 0 h 38"/>
                <a:gd name="T20" fmla="*/ 0 w 18"/>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8">
                  <a:moveTo>
                    <a:pt x="0" y="0"/>
                  </a:moveTo>
                  <a:lnTo>
                    <a:pt x="0" y="0"/>
                  </a:lnTo>
                  <a:lnTo>
                    <a:pt x="6" y="8"/>
                  </a:lnTo>
                  <a:lnTo>
                    <a:pt x="10" y="18"/>
                  </a:lnTo>
                  <a:lnTo>
                    <a:pt x="18" y="38"/>
                  </a:lnTo>
                  <a:lnTo>
                    <a:pt x="18" y="38"/>
                  </a:lnTo>
                  <a:lnTo>
                    <a:pt x="10" y="32"/>
                  </a:lnTo>
                  <a:lnTo>
                    <a:pt x="4" y="24"/>
                  </a:lnTo>
                  <a:lnTo>
                    <a:pt x="0" y="14"/>
                  </a:lnTo>
                  <a:lnTo>
                    <a:pt x="0" y="0"/>
                  </a:lnTo>
                  <a:lnTo>
                    <a:pt x="0" y="0"/>
                  </a:lnTo>
                  <a:close/>
                </a:path>
              </a:pathLst>
            </a:custGeom>
            <a:grp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algn="ctr" defTabSz="685568"/>
              <a:endParaRPr lang="en-US" dirty="0">
                <a:solidFill>
                  <a:srgbClr val="FFFFFF"/>
                </a:solidFill>
              </a:endParaRPr>
            </a:p>
          </p:txBody>
        </p:sp>
      </p:grpSp>
      <p:sp>
        <p:nvSpPr>
          <p:cNvPr id="146" name="Oval 145"/>
          <p:cNvSpPr/>
          <p:nvPr/>
        </p:nvSpPr>
        <p:spPr>
          <a:xfrm>
            <a:off x="1206263" y="1896887"/>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47" name="Oval 146"/>
          <p:cNvSpPr/>
          <p:nvPr/>
        </p:nvSpPr>
        <p:spPr>
          <a:xfrm>
            <a:off x="514995" y="1972648"/>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48" name="Oval 147"/>
          <p:cNvSpPr/>
          <p:nvPr/>
        </p:nvSpPr>
        <p:spPr>
          <a:xfrm>
            <a:off x="1322744" y="2427088"/>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49" name="Oval 148"/>
          <p:cNvSpPr/>
          <p:nvPr/>
        </p:nvSpPr>
        <p:spPr>
          <a:xfrm>
            <a:off x="2223873" y="3838684"/>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0" name="Oval 149"/>
          <p:cNvSpPr/>
          <p:nvPr/>
        </p:nvSpPr>
        <p:spPr>
          <a:xfrm>
            <a:off x="1509258" y="1976657"/>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1" name="Oval 150"/>
          <p:cNvSpPr/>
          <p:nvPr/>
        </p:nvSpPr>
        <p:spPr>
          <a:xfrm>
            <a:off x="889529" y="2189834"/>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2" name="Oval 151"/>
          <p:cNvSpPr/>
          <p:nvPr/>
        </p:nvSpPr>
        <p:spPr>
          <a:xfrm>
            <a:off x="1275729" y="2182757"/>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3" name="Oval 152"/>
          <p:cNvSpPr/>
          <p:nvPr/>
        </p:nvSpPr>
        <p:spPr>
          <a:xfrm>
            <a:off x="1424807" y="2175225"/>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4" name="Oval 153"/>
          <p:cNvSpPr/>
          <p:nvPr/>
        </p:nvSpPr>
        <p:spPr>
          <a:xfrm>
            <a:off x="1540996" y="1751449"/>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5" name="Oval 154"/>
          <p:cNvSpPr/>
          <p:nvPr/>
        </p:nvSpPr>
        <p:spPr>
          <a:xfrm>
            <a:off x="662306" y="1663914"/>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7" name="Oval 156"/>
          <p:cNvSpPr/>
          <p:nvPr/>
        </p:nvSpPr>
        <p:spPr>
          <a:xfrm>
            <a:off x="3364453" y="1744856"/>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8" name="Oval 157"/>
          <p:cNvSpPr/>
          <p:nvPr/>
        </p:nvSpPr>
        <p:spPr>
          <a:xfrm>
            <a:off x="3273013" y="1843295"/>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59" name="Oval 158"/>
          <p:cNvSpPr/>
          <p:nvPr/>
        </p:nvSpPr>
        <p:spPr>
          <a:xfrm>
            <a:off x="3486345" y="1564739"/>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0" name="Oval 159"/>
          <p:cNvSpPr/>
          <p:nvPr/>
        </p:nvSpPr>
        <p:spPr>
          <a:xfrm>
            <a:off x="3245084" y="1650203"/>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1" name="Oval 160"/>
          <p:cNvSpPr/>
          <p:nvPr/>
        </p:nvSpPr>
        <p:spPr>
          <a:xfrm>
            <a:off x="3342371" y="1805449"/>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3" name="Oval 162"/>
          <p:cNvSpPr/>
          <p:nvPr/>
        </p:nvSpPr>
        <p:spPr>
          <a:xfrm>
            <a:off x="6482843" y="2119305"/>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4" name="Oval 163"/>
          <p:cNvSpPr/>
          <p:nvPr/>
        </p:nvSpPr>
        <p:spPr>
          <a:xfrm>
            <a:off x="5718799" y="3035980"/>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5" name="Oval 164"/>
          <p:cNvSpPr/>
          <p:nvPr/>
        </p:nvSpPr>
        <p:spPr>
          <a:xfrm>
            <a:off x="7143376" y="4493589"/>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6" name="Oval 165"/>
          <p:cNvSpPr/>
          <p:nvPr/>
        </p:nvSpPr>
        <p:spPr>
          <a:xfrm>
            <a:off x="5190415" y="2805634"/>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7" name="Oval 166"/>
          <p:cNvSpPr/>
          <p:nvPr/>
        </p:nvSpPr>
        <p:spPr>
          <a:xfrm>
            <a:off x="5099359" y="2721513"/>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8" name="Oval 167"/>
          <p:cNvSpPr/>
          <p:nvPr/>
        </p:nvSpPr>
        <p:spPr>
          <a:xfrm>
            <a:off x="7268894" y="4371425"/>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69" name="Oval 168"/>
          <p:cNvSpPr/>
          <p:nvPr/>
        </p:nvSpPr>
        <p:spPr>
          <a:xfrm>
            <a:off x="6806492" y="4229958"/>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70" name="Oval 169"/>
          <p:cNvSpPr/>
          <p:nvPr/>
        </p:nvSpPr>
        <p:spPr>
          <a:xfrm>
            <a:off x="6017035" y="2493581"/>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71" name="TextBox 170"/>
          <p:cNvSpPr txBox="1"/>
          <p:nvPr/>
        </p:nvSpPr>
        <p:spPr bwMode="auto">
          <a:xfrm>
            <a:off x="6653244" y="2217188"/>
            <a:ext cx="1942809" cy="738640"/>
          </a:xfrm>
          <a:prstGeom prst="rect">
            <a:avLst/>
          </a:prstGeom>
          <a:solidFill>
            <a:schemeClr val="tx2">
              <a:lumMod val="75000"/>
              <a:lumOff val="25000"/>
              <a:alpha val="49000"/>
            </a:schemeClr>
          </a:solidFill>
          <a:ln>
            <a:noFill/>
          </a:ln>
          <a:extLst>
            <a:ext uri="{FAA26D3D-D897-4be2-8F04-BA451C77F1D7}">
              <ma14:placeholderFlag xmlns:ma14="http://schemas.microsoft.com/office/mac/drawingml/2011/main" val="1"/>
            </a:ext>
          </a:extLst>
        </p:spPr>
        <p:txBody>
          <a:bodyPr vert="horz" wrap="square" lIns="91416" tIns="45708" rIns="91416" bIns="45708" numCol="1" rtlCol="0" anchor="t" anchorCtr="0" compatLnSpc="1">
            <a:prstTxWarp prst="textNoShape">
              <a:avLst/>
            </a:prstTxWarp>
            <a:spAutoFit/>
          </a:bodyPr>
          <a:lstStyle/>
          <a:p>
            <a:pPr defTabSz="914034"/>
            <a:r>
              <a:rPr lang="en-US" sz="1050" dirty="0">
                <a:solidFill>
                  <a:srgbClr val="002855"/>
                </a:solidFill>
                <a:latin typeface="+mj-lt"/>
                <a:ea typeface="Franklin Gothic Book" charset="0"/>
                <a:cs typeface="Franklin Gothic Book" charset="0"/>
              </a:rPr>
              <a:t>APJC</a:t>
            </a:r>
          </a:p>
          <a:p>
            <a:pPr defTabSz="914034"/>
            <a:endParaRPr lang="en-US" sz="1050" dirty="0">
              <a:solidFill>
                <a:srgbClr val="002855"/>
              </a:solidFill>
              <a:latin typeface="+mj-lt"/>
              <a:ea typeface="Franklin Gothic Book" charset="0"/>
              <a:cs typeface="Franklin Gothic Book" charset="0"/>
            </a:endParaRPr>
          </a:p>
          <a:p>
            <a:pPr defTabSz="914034"/>
            <a:r>
              <a:rPr lang="en-US" sz="1050" dirty="0" smtClean="0">
                <a:solidFill>
                  <a:srgbClr val="002855"/>
                </a:solidFill>
                <a:latin typeface="+mj-lt"/>
                <a:ea typeface="Franklin Gothic Book" charset="0"/>
                <a:cs typeface="Franklin Gothic Book" charset="0"/>
              </a:rPr>
              <a:t>Tokyo </a:t>
            </a:r>
            <a:r>
              <a:rPr lang="en-US" sz="1050" dirty="0">
                <a:solidFill>
                  <a:srgbClr val="002855"/>
                </a:solidFill>
                <a:latin typeface="+mj-lt"/>
                <a:ea typeface="Franklin Gothic Book" charset="0"/>
                <a:cs typeface="Franklin Gothic Book" charset="0"/>
              </a:rPr>
              <a:t>(</a:t>
            </a:r>
            <a:r>
              <a:rPr lang="en-US" sz="1050" dirty="0" smtClean="0">
                <a:solidFill>
                  <a:srgbClr val="002855"/>
                </a:solidFill>
                <a:latin typeface="+mj-lt"/>
                <a:ea typeface="Franklin Gothic Book" charset="0"/>
                <a:cs typeface="Franklin Gothic Book" charset="0"/>
              </a:rPr>
              <a:t>APR 2016) </a:t>
            </a:r>
            <a:endParaRPr lang="en-US" sz="1050" dirty="0">
              <a:solidFill>
                <a:srgbClr val="002855"/>
              </a:solidFill>
              <a:latin typeface="+mj-lt"/>
              <a:ea typeface="Franklin Gothic Book" charset="0"/>
              <a:cs typeface="Franklin Gothic Book" charset="0"/>
            </a:endParaRPr>
          </a:p>
          <a:p>
            <a:pPr defTabSz="914034"/>
            <a:r>
              <a:rPr lang="en-US" sz="1050" dirty="0" smtClean="0">
                <a:solidFill>
                  <a:srgbClr val="002855"/>
                </a:solidFill>
                <a:latin typeface="+mj-lt"/>
                <a:ea typeface="Franklin Gothic Book" charset="0"/>
                <a:cs typeface="Franklin Gothic Book" charset="0"/>
              </a:rPr>
              <a:t>  NG </a:t>
            </a:r>
            <a:r>
              <a:rPr lang="en-US" sz="1050" dirty="0" err="1" smtClean="0">
                <a:solidFill>
                  <a:srgbClr val="002855"/>
                </a:solidFill>
                <a:latin typeface="+mj-lt"/>
                <a:ea typeface="Franklin Gothic Book" charset="0"/>
                <a:cs typeface="Franklin Gothic Book" charset="0"/>
              </a:rPr>
              <a:t>TOWER化</a:t>
            </a:r>
            <a:endParaRPr lang="en-US" sz="1050" dirty="0" smtClean="0">
              <a:solidFill>
                <a:srgbClr val="002855"/>
              </a:solidFill>
              <a:latin typeface="+mj-lt"/>
              <a:ea typeface="Franklin Gothic Book" charset="0"/>
              <a:cs typeface="Franklin Gothic Book" charset="0"/>
            </a:endParaRPr>
          </a:p>
        </p:txBody>
      </p:sp>
      <p:sp>
        <p:nvSpPr>
          <p:cNvPr id="172" name="Oval 171"/>
          <p:cNvSpPr/>
          <p:nvPr/>
        </p:nvSpPr>
        <p:spPr>
          <a:xfrm>
            <a:off x="3976136" y="4105662"/>
            <a:ext cx="91440" cy="9144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73" name="Oval 172"/>
          <p:cNvSpPr/>
          <p:nvPr/>
        </p:nvSpPr>
        <p:spPr>
          <a:xfrm>
            <a:off x="6099610" y="2318130"/>
            <a:ext cx="91440" cy="91440"/>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74" name="Oval 173"/>
          <p:cNvSpPr/>
          <p:nvPr/>
        </p:nvSpPr>
        <p:spPr>
          <a:xfrm>
            <a:off x="4579572" y="2495653"/>
            <a:ext cx="91440" cy="91440"/>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75" name="Oval 174"/>
          <p:cNvSpPr/>
          <p:nvPr/>
        </p:nvSpPr>
        <p:spPr>
          <a:xfrm>
            <a:off x="5783415" y="3133783"/>
            <a:ext cx="91440" cy="91440"/>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
        <p:nvSpPr>
          <p:cNvPr id="176" name="Oval 175"/>
          <p:cNvSpPr/>
          <p:nvPr/>
        </p:nvSpPr>
        <p:spPr>
          <a:xfrm>
            <a:off x="3250931" y="1791679"/>
            <a:ext cx="91440" cy="91440"/>
          </a:xfrm>
          <a:prstGeom prst="ellipse">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lIns="68565" tIns="34286" rIns="68565" bIns="34286"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6DB344"/>
              </a:solidFill>
            </a:endParaRPr>
          </a:p>
        </p:txBody>
      </p:sp>
    </p:spTree>
    <p:extLst>
      <p:ext uri="{BB962C8B-B14F-4D97-AF65-F5344CB8AC3E}">
        <p14:creationId xmlns:p14="http://schemas.microsoft.com/office/powerpoint/2010/main" val="258177223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2" presetClass="entr" presetSubtype="4" fill="hold" grpId="0" nodeType="afterEffect">
                                  <p:stCondLst>
                                    <p:cond delay="0"/>
                                  </p:stCondLst>
                                  <p:childTnLst>
                                    <p:set>
                                      <p:cBhvr>
                                        <p:cTn id="12" dur="1" fill="hold">
                                          <p:stCondLst>
                                            <p:cond delay="0"/>
                                          </p:stCondLst>
                                        </p:cTn>
                                        <p:tgtEl>
                                          <p:spTgt spid="152"/>
                                        </p:tgtEl>
                                        <p:attrNameLst>
                                          <p:attrName>style.visibility</p:attrName>
                                        </p:attrNameLst>
                                      </p:cBhvr>
                                      <p:to>
                                        <p:strVal val="visible"/>
                                      </p:to>
                                    </p:set>
                                    <p:animEffect transition="in" filter="wipe(down)">
                                      <p:cBhvr>
                                        <p:cTn id="13" dur="500"/>
                                        <p:tgtEl>
                                          <p:spTgt spid="152"/>
                                        </p:tgtEl>
                                      </p:cBhvr>
                                    </p:animEffect>
                                  </p:childTnLst>
                                </p:cTn>
                              </p:par>
                              <p:par>
                                <p:cTn id="14" presetID="22" presetClass="entr" presetSubtype="4" fill="hold" grpId="0" nodeType="withEffect">
                                  <p:stCondLst>
                                    <p:cond delay="0"/>
                                  </p:stCondLst>
                                  <p:childTnLst>
                                    <p:set>
                                      <p:cBhvr>
                                        <p:cTn id="15" dur="1" fill="hold">
                                          <p:stCondLst>
                                            <p:cond delay="0"/>
                                          </p:stCondLst>
                                        </p:cTn>
                                        <p:tgtEl>
                                          <p:spTgt spid="148"/>
                                        </p:tgtEl>
                                        <p:attrNameLst>
                                          <p:attrName>style.visibility</p:attrName>
                                        </p:attrNameLst>
                                      </p:cBhvr>
                                      <p:to>
                                        <p:strVal val="visible"/>
                                      </p:to>
                                    </p:set>
                                    <p:animEffect transition="in" filter="wipe(down)">
                                      <p:cBhvr>
                                        <p:cTn id="16" dur="500"/>
                                        <p:tgtEl>
                                          <p:spTgt spid="148"/>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151"/>
                                        </p:tgtEl>
                                        <p:attrNameLst>
                                          <p:attrName>style.visibility</p:attrName>
                                        </p:attrNameLst>
                                      </p:cBhvr>
                                      <p:to>
                                        <p:strVal val="visible"/>
                                      </p:to>
                                    </p:set>
                                    <p:animEffect transition="in" filter="wipe(down)">
                                      <p:cBhvr>
                                        <p:cTn id="19" dur="500"/>
                                        <p:tgtEl>
                                          <p:spTgt spid="151"/>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146"/>
                                        </p:tgtEl>
                                        <p:attrNameLst>
                                          <p:attrName>style.visibility</p:attrName>
                                        </p:attrNameLst>
                                      </p:cBhvr>
                                      <p:to>
                                        <p:strVal val="visible"/>
                                      </p:to>
                                    </p:set>
                                    <p:animEffect transition="in" filter="wipe(down)">
                                      <p:cBhvr>
                                        <p:cTn id="22" dur="500"/>
                                        <p:tgtEl>
                                          <p:spTgt spid="146"/>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147"/>
                                        </p:tgtEl>
                                        <p:attrNameLst>
                                          <p:attrName>style.visibility</p:attrName>
                                        </p:attrNameLst>
                                      </p:cBhvr>
                                      <p:to>
                                        <p:strVal val="visible"/>
                                      </p:to>
                                    </p:set>
                                    <p:animEffect transition="in" filter="wipe(down)">
                                      <p:cBhvr>
                                        <p:cTn id="25" dur="500"/>
                                        <p:tgtEl>
                                          <p:spTgt spid="147"/>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150"/>
                                        </p:tgtEl>
                                        <p:attrNameLst>
                                          <p:attrName>style.visibility</p:attrName>
                                        </p:attrNameLst>
                                      </p:cBhvr>
                                      <p:to>
                                        <p:strVal val="visible"/>
                                      </p:to>
                                    </p:set>
                                    <p:animEffect transition="in" filter="wipe(down)">
                                      <p:cBhvr>
                                        <p:cTn id="28" dur="500"/>
                                        <p:tgtEl>
                                          <p:spTgt spid="150"/>
                                        </p:tgtEl>
                                      </p:cBhvr>
                                    </p:animEffect>
                                  </p:childTnLst>
                                </p:cTn>
                              </p:par>
                              <p:par>
                                <p:cTn id="29" presetID="22" presetClass="entr" presetSubtype="4" fill="hold" grpId="0" nodeType="withEffect">
                                  <p:stCondLst>
                                    <p:cond delay="0"/>
                                  </p:stCondLst>
                                  <p:childTnLst>
                                    <p:set>
                                      <p:cBhvr>
                                        <p:cTn id="30" dur="1" fill="hold">
                                          <p:stCondLst>
                                            <p:cond delay="0"/>
                                          </p:stCondLst>
                                        </p:cTn>
                                        <p:tgtEl>
                                          <p:spTgt spid="153"/>
                                        </p:tgtEl>
                                        <p:attrNameLst>
                                          <p:attrName>style.visibility</p:attrName>
                                        </p:attrNameLst>
                                      </p:cBhvr>
                                      <p:to>
                                        <p:strVal val="visible"/>
                                      </p:to>
                                    </p:set>
                                    <p:animEffect transition="in" filter="wipe(down)">
                                      <p:cBhvr>
                                        <p:cTn id="31" dur="500"/>
                                        <p:tgtEl>
                                          <p:spTgt spid="153"/>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55"/>
                                        </p:tgtEl>
                                        <p:attrNameLst>
                                          <p:attrName>style.visibility</p:attrName>
                                        </p:attrNameLst>
                                      </p:cBhvr>
                                      <p:to>
                                        <p:strVal val="visible"/>
                                      </p:to>
                                    </p:set>
                                    <p:animEffect transition="in" filter="wipe(down)">
                                      <p:cBhvr>
                                        <p:cTn id="34" dur="500"/>
                                        <p:tgtEl>
                                          <p:spTgt spid="155"/>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54"/>
                                        </p:tgtEl>
                                        <p:attrNameLst>
                                          <p:attrName>style.visibility</p:attrName>
                                        </p:attrNameLst>
                                      </p:cBhvr>
                                      <p:to>
                                        <p:strVal val="visible"/>
                                      </p:to>
                                    </p:set>
                                    <p:animEffect transition="in" filter="wipe(down)">
                                      <p:cBhvr>
                                        <p:cTn id="37" dur="500"/>
                                        <p:tgtEl>
                                          <p:spTgt spid="154"/>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49"/>
                                        </p:tgtEl>
                                        <p:attrNameLst>
                                          <p:attrName>style.visibility</p:attrName>
                                        </p:attrNameLst>
                                      </p:cBhvr>
                                      <p:to>
                                        <p:strVal val="visible"/>
                                      </p:to>
                                    </p:set>
                                    <p:animEffect transition="in" filter="wipe(down)">
                                      <p:cBhvr>
                                        <p:cTn id="40" dur="500"/>
                                        <p:tgtEl>
                                          <p:spTgt spid="149"/>
                                        </p:tgtEl>
                                      </p:cBhvr>
                                    </p:animEffect>
                                  </p:childTnLst>
                                </p:cTn>
                              </p:par>
                            </p:childTnLst>
                          </p:cTn>
                        </p:par>
                        <p:par>
                          <p:cTn id="41" fill="hold">
                            <p:stCondLst>
                              <p:cond delay="1500"/>
                            </p:stCondLst>
                            <p:childTnLst>
                              <p:par>
                                <p:cTn id="42" presetID="22" presetClass="entr" presetSubtype="4" fill="hold" grpId="0" nodeType="afterEffect">
                                  <p:stCondLst>
                                    <p:cond delay="0"/>
                                  </p:stCondLst>
                                  <p:childTnLst>
                                    <p:set>
                                      <p:cBhvr>
                                        <p:cTn id="43" dur="1" fill="hold">
                                          <p:stCondLst>
                                            <p:cond delay="0"/>
                                          </p:stCondLst>
                                        </p:cTn>
                                        <p:tgtEl>
                                          <p:spTgt spid="159"/>
                                        </p:tgtEl>
                                        <p:attrNameLst>
                                          <p:attrName>style.visibility</p:attrName>
                                        </p:attrNameLst>
                                      </p:cBhvr>
                                      <p:to>
                                        <p:strVal val="visible"/>
                                      </p:to>
                                    </p:set>
                                    <p:animEffect transition="in" filter="wipe(down)">
                                      <p:cBhvr>
                                        <p:cTn id="44" dur="500"/>
                                        <p:tgtEl>
                                          <p:spTgt spid="159"/>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160"/>
                                        </p:tgtEl>
                                        <p:attrNameLst>
                                          <p:attrName>style.visibility</p:attrName>
                                        </p:attrNameLst>
                                      </p:cBhvr>
                                      <p:to>
                                        <p:strVal val="visible"/>
                                      </p:to>
                                    </p:set>
                                    <p:animEffect transition="in" filter="wipe(down)">
                                      <p:cBhvr>
                                        <p:cTn id="47" dur="500"/>
                                        <p:tgtEl>
                                          <p:spTgt spid="160"/>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158"/>
                                        </p:tgtEl>
                                        <p:attrNameLst>
                                          <p:attrName>style.visibility</p:attrName>
                                        </p:attrNameLst>
                                      </p:cBhvr>
                                      <p:to>
                                        <p:strVal val="visible"/>
                                      </p:to>
                                    </p:set>
                                    <p:animEffect transition="in" filter="wipe(down)">
                                      <p:cBhvr>
                                        <p:cTn id="50" dur="500"/>
                                        <p:tgtEl>
                                          <p:spTgt spid="158"/>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157"/>
                                        </p:tgtEl>
                                        <p:attrNameLst>
                                          <p:attrName>style.visibility</p:attrName>
                                        </p:attrNameLst>
                                      </p:cBhvr>
                                      <p:to>
                                        <p:strVal val="visible"/>
                                      </p:to>
                                    </p:set>
                                    <p:animEffect transition="in" filter="wipe(down)">
                                      <p:cBhvr>
                                        <p:cTn id="53" dur="500"/>
                                        <p:tgtEl>
                                          <p:spTgt spid="157"/>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61"/>
                                        </p:tgtEl>
                                        <p:attrNameLst>
                                          <p:attrName>style.visibility</p:attrName>
                                        </p:attrNameLst>
                                      </p:cBhvr>
                                      <p:to>
                                        <p:strVal val="visible"/>
                                      </p:to>
                                    </p:set>
                                    <p:animEffect transition="in" filter="wipe(down)">
                                      <p:cBhvr>
                                        <p:cTn id="56" dur="500"/>
                                        <p:tgtEl>
                                          <p:spTgt spid="161"/>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172"/>
                                        </p:tgtEl>
                                        <p:attrNameLst>
                                          <p:attrName>style.visibility</p:attrName>
                                        </p:attrNameLst>
                                      </p:cBhvr>
                                      <p:to>
                                        <p:strVal val="visible"/>
                                      </p:to>
                                    </p:set>
                                    <p:animEffect transition="in" filter="wipe(down)">
                                      <p:cBhvr>
                                        <p:cTn id="59" dur="500"/>
                                        <p:tgtEl>
                                          <p:spTgt spid="172"/>
                                        </p:tgtEl>
                                      </p:cBhvr>
                                    </p:animEffect>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grpId="0" nodeType="clickEffect">
                                  <p:stCondLst>
                                    <p:cond delay="0"/>
                                  </p:stCondLst>
                                  <p:childTnLst>
                                    <p:set>
                                      <p:cBhvr>
                                        <p:cTn id="63" dur="1" fill="hold">
                                          <p:stCondLst>
                                            <p:cond delay="0"/>
                                          </p:stCondLst>
                                        </p:cTn>
                                        <p:tgtEl>
                                          <p:spTgt spid="171"/>
                                        </p:tgtEl>
                                        <p:attrNameLst>
                                          <p:attrName>style.visibility</p:attrName>
                                        </p:attrNameLst>
                                      </p:cBhvr>
                                      <p:to>
                                        <p:strVal val="visible"/>
                                      </p:to>
                                    </p:set>
                                    <p:animEffect transition="in" filter="fade">
                                      <p:cBhvr>
                                        <p:cTn id="64" dur="1000"/>
                                        <p:tgtEl>
                                          <p:spTgt spid="171"/>
                                        </p:tgtEl>
                                      </p:cBhvr>
                                    </p:animEffect>
                                    <p:anim calcmode="lin" valueType="num">
                                      <p:cBhvr>
                                        <p:cTn id="65" dur="1000" fill="hold"/>
                                        <p:tgtEl>
                                          <p:spTgt spid="171"/>
                                        </p:tgtEl>
                                        <p:attrNameLst>
                                          <p:attrName>ppt_x</p:attrName>
                                        </p:attrNameLst>
                                      </p:cBhvr>
                                      <p:tavLst>
                                        <p:tav tm="0">
                                          <p:val>
                                            <p:strVal val="#ppt_x"/>
                                          </p:val>
                                        </p:tav>
                                        <p:tav tm="100000">
                                          <p:val>
                                            <p:strVal val="#ppt_x"/>
                                          </p:val>
                                        </p:tav>
                                      </p:tavLst>
                                    </p:anim>
                                    <p:anim calcmode="lin" valueType="num">
                                      <p:cBhvr>
                                        <p:cTn id="66" dur="1000" fill="hold"/>
                                        <p:tgtEl>
                                          <p:spTgt spid="171"/>
                                        </p:tgtEl>
                                        <p:attrNameLst>
                                          <p:attrName>ppt_y</p:attrName>
                                        </p:attrNameLst>
                                      </p:cBhvr>
                                      <p:tavLst>
                                        <p:tav tm="0">
                                          <p:val>
                                            <p:strVal val="#ppt_y+.1"/>
                                          </p:val>
                                        </p:tav>
                                        <p:tav tm="100000">
                                          <p:val>
                                            <p:strVal val="#ppt_y"/>
                                          </p:val>
                                        </p:tav>
                                      </p:tavLst>
                                    </p:anim>
                                  </p:childTnLst>
                                </p:cTn>
                              </p:par>
                            </p:childTnLst>
                          </p:cTn>
                        </p:par>
                        <p:par>
                          <p:cTn id="67" fill="hold">
                            <p:stCondLst>
                              <p:cond delay="1000"/>
                            </p:stCondLst>
                            <p:childTnLst>
                              <p:par>
                                <p:cTn id="68" presetID="22" presetClass="entr" presetSubtype="4" fill="hold" grpId="0" nodeType="afterEffect">
                                  <p:stCondLst>
                                    <p:cond delay="0"/>
                                  </p:stCondLst>
                                  <p:childTnLst>
                                    <p:set>
                                      <p:cBhvr>
                                        <p:cTn id="69" dur="1" fill="hold">
                                          <p:stCondLst>
                                            <p:cond delay="0"/>
                                          </p:stCondLst>
                                        </p:cTn>
                                        <p:tgtEl>
                                          <p:spTgt spid="168"/>
                                        </p:tgtEl>
                                        <p:attrNameLst>
                                          <p:attrName>style.visibility</p:attrName>
                                        </p:attrNameLst>
                                      </p:cBhvr>
                                      <p:to>
                                        <p:strVal val="visible"/>
                                      </p:to>
                                    </p:set>
                                    <p:animEffect transition="in" filter="wipe(down)">
                                      <p:cBhvr>
                                        <p:cTn id="70" dur="500"/>
                                        <p:tgtEl>
                                          <p:spTgt spid="168"/>
                                        </p:tgtEl>
                                      </p:cBhvr>
                                    </p:animEffect>
                                  </p:childTnLst>
                                </p:cTn>
                              </p:par>
                              <p:par>
                                <p:cTn id="71" presetID="22" presetClass="entr" presetSubtype="4" fill="hold" grpId="0" nodeType="withEffect">
                                  <p:stCondLst>
                                    <p:cond delay="0"/>
                                  </p:stCondLst>
                                  <p:childTnLst>
                                    <p:set>
                                      <p:cBhvr>
                                        <p:cTn id="72" dur="1" fill="hold">
                                          <p:stCondLst>
                                            <p:cond delay="0"/>
                                          </p:stCondLst>
                                        </p:cTn>
                                        <p:tgtEl>
                                          <p:spTgt spid="165"/>
                                        </p:tgtEl>
                                        <p:attrNameLst>
                                          <p:attrName>style.visibility</p:attrName>
                                        </p:attrNameLst>
                                      </p:cBhvr>
                                      <p:to>
                                        <p:strVal val="visible"/>
                                      </p:to>
                                    </p:set>
                                    <p:animEffect transition="in" filter="wipe(down)">
                                      <p:cBhvr>
                                        <p:cTn id="73" dur="500"/>
                                        <p:tgtEl>
                                          <p:spTgt spid="165"/>
                                        </p:tgtEl>
                                      </p:cBhvr>
                                    </p:animEffect>
                                  </p:childTnLst>
                                </p:cTn>
                              </p:par>
                              <p:par>
                                <p:cTn id="74" presetID="22" presetClass="entr" presetSubtype="4" fill="hold" grpId="0" nodeType="withEffect">
                                  <p:stCondLst>
                                    <p:cond delay="0"/>
                                  </p:stCondLst>
                                  <p:childTnLst>
                                    <p:set>
                                      <p:cBhvr>
                                        <p:cTn id="75" dur="1" fill="hold">
                                          <p:stCondLst>
                                            <p:cond delay="0"/>
                                          </p:stCondLst>
                                        </p:cTn>
                                        <p:tgtEl>
                                          <p:spTgt spid="169"/>
                                        </p:tgtEl>
                                        <p:attrNameLst>
                                          <p:attrName>style.visibility</p:attrName>
                                        </p:attrNameLst>
                                      </p:cBhvr>
                                      <p:to>
                                        <p:strVal val="visible"/>
                                      </p:to>
                                    </p:set>
                                    <p:animEffect transition="in" filter="wipe(down)">
                                      <p:cBhvr>
                                        <p:cTn id="76" dur="500"/>
                                        <p:tgtEl>
                                          <p:spTgt spid="169"/>
                                        </p:tgtEl>
                                      </p:cBhvr>
                                    </p:animEffect>
                                  </p:childTnLst>
                                </p:cTn>
                              </p:par>
                              <p:par>
                                <p:cTn id="77" presetID="22" presetClass="entr" presetSubtype="4" fill="hold" grpId="0" nodeType="withEffect">
                                  <p:stCondLst>
                                    <p:cond delay="0"/>
                                  </p:stCondLst>
                                  <p:childTnLst>
                                    <p:set>
                                      <p:cBhvr>
                                        <p:cTn id="78" dur="1" fill="hold">
                                          <p:stCondLst>
                                            <p:cond delay="0"/>
                                          </p:stCondLst>
                                        </p:cTn>
                                        <p:tgtEl>
                                          <p:spTgt spid="166"/>
                                        </p:tgtEl>
                                        <p:attrNameLst>
                                          <p:attrName>style.visibility</p:attrName>
                                        </p:attrNameLst>
                                      </p:cBhvr>
                                      <p:to>
                                        <p:strVal val="visible"/>
                                      </p:to>
                                    </p:set>
                                    <p:animEffect transition="in" filter="wipe(down)">
                                      <p:cBhvr>
                                        <p:cTn id="79" dur="500"/>
                                        <p:tgtEl>
                                          <p:spTgt spid="166"/>
                                        </p:tgtEl>
                                      </p:cBhvr>
                                    </p:animEffect>
                                  </p:childTnLst>
                                </p:cTn>
                              </p:par>
                              <p:par>
                                <p:cTn id="80" presetID="22" presetClass="entr" presetSubtype="4" fill="hold" grpId="0" nodeType="withEffect">
                                  <p:stCondLst>
                                    <p:cond delay="0"/>
                                  </p:stCondLst>
                                  <p:childTnLst>
                                    <p:set>
                                      <p:cBhvr>
                                        <p:cTn id="81" dur="1" fill="hold">
                                          <p:stCondLst>
                                            <p:cond delay="0"/>
                                          </p:stCondLst>
                                        </p:cTn>
                                        <p:tgtEl>
                                          <p:spTgt spid="167"/>
                                        </p:tgtEl>
                                        <p:attrNameLst>
                                          <p:attrName>style.visibility</p:attrName>
                                        </p:attrNameLst>
                                      </p:cBhvr>
                                      <p:to>
                                        <p:strVal val="visible"/>
                                      </p:to>
                                    </p:set>
                                    <p:animEffect transition="in" filter="wipe(down)">
                                      <p:cBhvr>
                                        <p:cTn id="82" dur="500"/>
                                        <p:tgtEl>
                                          <p:spTgt spid="167"/>
                                        </p:tgtEl>
                                      </p:cBhvr>
                                    </p:animEffect>
                                  </p:childTnLst>
                                </p:cTn>
                              </p:par>
                              <p:par>
                                <p:cTn id="83" presetID="22" presetClass="entr" presetSubtype="4" fill="hold" grpId="0" nodeType="withEffect">
                                  <p:stCondLst>
                                    <p:cond delay="0"/>
                                  </p:stCondLst>
                                  <p:childTnLst>
                                    <p:set>
                                      <p:cBhvr>
                                        <p:cTn id="84" dur="1" fill="hold">
                                          <p:stCondLst>
                                            <p:cond delay="0"/>
                                          </p:stCondLst>
                                        </p:cTn>
                                        <p:tgtEl>
                                          <p:spTgt spid="164"/>
                                        </p:tgtEl>
                                        <p:attrNameLst>
                                          <p:attrName>style.visibility</p:attrName>
                                        </p:attrNameLst>
                                      </p:cBhvr>
                                      <p:to>
                                        <p:strVal val="visible"/>
                                      </p:to>
                                    </p:set>
                                    <p:animEffect transition="in" filter="wipe(down)">
                                      <p:cBhvr>
                                        <p:cTn id="85" dur="500"/>
                                        <p:tgtEl>
                                          <p:spTgt spid="164"/>
                                        </p:tgtEl>
                                      </p:cBhvr>
                                    </p:animEffect>
                                  </p:childTnLst>
                                </p:cTn>
                              </p:par>
                              <p:par>
                                <p:cTn id="86" presetID="22" presetClass="entr" presetSubtype="4" fill="hold" grpId="0" nodeType="withEffect">
                                  <p:stCondLst>
                                    <p:cond delay="0"/>
                                  </p:stCondLst>
                                  <p:childTnLst>
                                    <p:set>
                                      <p:cBhvr>
                                        <p:cTn id="87" dur="1" fill="hold">
                                          <p:stCondLst>
                                            <p:cond delay="0"/>
                                          </p:stCondLst>
                                        </p:cTn>
                                        <p:tgtEl>
                                          <p:spTgt spid="170"/>
                                        </p:tgtEl>
                                        <p:attrNameLst>
                                          <p:attrName>style.visibility</p:attrName>
                                        </p:attrNameLst>
                                      </p:cBhvr>
                                      <p:to>
                                        <p:strVal val="visible"/>
                                      </p:to>
                                    </p:set>
                                    <p:animEffect transition="in" filter="wipe(down)">
                                      <p:cBhvr>
                                        <p:cTn id="88" dur="500"/>
                                        <p:tgtEl>
                                          <p:spTgt spid="170"/>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163"/>
                                        </p:tgtEl>
                                        <p:attrNameLst>
                                          <p:attrName>style.visibility</p:attrName>
                                        </p:attrNameLst>
                                      </p:cBhvr>
                                      <p:to>
                                        <p:strVal val="visible"/>
                                      </p:to>
                                    </p:set>
                                    <p:animEffect transition="in" filter="wipe(down)">
                                      <p:cBhvr>
                                        <p:cTn id="91" dur="500"/>
                                        <p:tgtEl>
                                          <p:spTgt spid="163"/>
                                        </p:tgtEl>
                                      </p:cBhvr>
                                    </p:animEffect>
                                  </p:childTnLst>
                                </p:cTn>
                              </p:par>
                            </p:childTnLst>
                          </p:cTn>
                        </p:par>
                        <p:par>
                          <p:cTn id="92" fill="hold">
                            <p:stCondLst>
                              <p:cond delay="1500"/>
                            </p:stCondLst>
                            <p:childTnLst>
                              <p:par>
                                <p:cTn id="93" presetID="22" presetClass="entr" presetSubtype="4" fill="hold" grpId="0" nodeType="afterEffect">
                                  <p:stCondLst>
                                    <p:cond delay="0"/>
                                  </p:stCondLst>
                                  <p:childTnLst>
                                    <p:set>
                                      <p:cBhvr>
                                        <p:cTn id="94" dur="1" fill="hold">
                                          <p:stCondLst>
                                            <p:cond delay="0"/>
                                          </p:stCondLst>
                                        </p:cTn>
                                        <p:tgtEl>
                                          <p:spTgt spid="174"/>
                                        </p:tgtEl>
                                        <p:attrNameLst>
                                          <p:attrName>style.visibility</p:attrName>
                                        </p:attrNameLst>
                                      </p:cBhvr>
                                      <p:to>
                                        <p:strVal val="visible"/>
                                      </p:to>
                                    </p:set>
                                    <p:animEffect transition="in" filter="wipe(down)">
                                      <p:cBhvr>
                                        <p:cTn id="95" dur="500"/>
                                        <p:tgtEl>
                                          <p:spTgt spid="174"/>
                                        </p:tgtEl>
                                      </p:cBhvr>
                                    </p:animEffect>
                                  </p:childTnLst>
                                </p:cTn>
                              </p:par>
                              <p:par>
                                <p:cTn id="96" presetID="22" presetClass="entr" presetSubtype="4" fill="hold" grpId="0" nodeType="withEffect">
                                  <p:stCondLst>
                                    <p:cond delay="0"/>
                                  </p:stCondLst>
                                  <p:childTnLst>
                                    <p:set>
                                      <p:cBhvr>
                                        <p:cTn id="97" dur="1" fill="hold">
                                          <p:stCondLst>
                                            <p:cond delay="0"/>
                                          </p:stCondLst>
                                        </p:cTn>
                                        <p:tgtEl>
                                          <p:spTgt spid="173"/>
                                        </p:tgtEl>
                                        <p:attrNameLst>
                                          <p:attrName>style.visibility</p:attrName>
                                        </p:attrNameLst>
                                      </p:cBhvr>
                                      <p:to>
                                        <p:strVal val="visible"/>
                                      </p:to>
                                    </p:set>
                                    <p:animEffect transition="in" filter="wipe(down)">
                                      <p:cBhvr>
                                        <p:cTn id="98" dur="500"/>
                                        <p:tgtEl>
                                          <p:spTgt spid="173"/>
                                        </p:tgtEl>
                                      </p:cBhvr>
                                    </p:animEffect>
                                  </p:childTnLst>
                                </p:cTn>
                              </p:par>
                              <p:par>
                                <p:cTn id="99" presetID="22" presetClass="entr" presetSubtype="4" fill="hold" grpId="0" nodeType="withEffect">
                                  <p:stCondLst>
                                    <p:cond delay="0"/>
                                  </p:stCondLst>
                                  <p:childTnLst>
                                    <p:set>
                                      <p:cBhvr>
                                        <p:cTn id="100" dur="1" fill="hold">
                                          <p:stCondLst>
                                            <p:cond delay="0"/>
                                          </p:stCondLst>
                                        </p:cTn>
                                        <p:tgtEl>
                                          <p:spTgt spid="175"/>
                                        </p:tgtEl>
                                        <p:attrNameLst>
                                          <p:attrName>style.visibility</p:attrName>
                                        </p:attrNameLst>
                                      </p:cBhvr>
                                      <p:to>
                                        <p:strVal val="visible"/>
                                      </p:to>
                                    </p:set>
                                    <p:animEffect transition="in" filter="wipe(down)">
                                      <p:cBhvr>
                                        <p:cTn id="101" dur="500"/>
                                        <p:tgtEl>
                                          <p:spTgt spid="175"/>
                                        </p:tgtEl>
                                      </p:cBhvr>
                                    </p:animEffect>
                                  </p:childTnLst>
                                </p:cTn>
                              </p:par>
                              <p:par>
                                <p:cTn id="102" presetID="22" presetClass="entr" presetSubtype="4" fill="hold" grpId="0" nodeType="withEffect">
                                  <p:stCondLst>
                                    <p:cond delay="0"/>
                                  </p:stCondLst>
                                  <p:childTnLst>
                                    <p:set>
                                      <p:cBhvr>
                                        <p:cTn id="103" dur="1" fill="hold">
                                          <p:stCondLst>
                                            <p:cond delay="0"/>
                                          </p:stCondLst>
                                        </p:cTn>
                                        <p:tgtEl>
                                          <p:spTgt spid="176"/>
                                        </p:tgtEl>
                                        <p:attrNameLst>
                                          <p:attrName>style.visibility</p:attrName>
                                        </p:attrNameLst>
                                      </p:cBhvr>
                                      <p:to>
                                        <p:strVal val="visible"/>
                                      </p:to>
                                    </p:set>
                                    <p:animEffect transition="in" filter="wipe(down)">
                                      <p:cBhvr>
                                        <p:cTn id="104" dur="500"/>
                                        <p:tgtEl>
                                          <p:spTgt spid="1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 grpId="0" animBg="1"/>
      <p:bldP spid="147" grpId="0" animBg="1"/>
      <p:bldP spid="148" grpId="0" animBg="1"/>
      <p:bldP spid="149" grpId="0" animBg="1"/>
      <p:bldP spid="150" grpId="0" animBg="1"/>
      <p:bldP spid="151" grpId="0" animBg="1"/>
      <p:bldP spid="152" grpId="0" animBg="1"/>
      <p:bldP spid="153" grpId="0" animBg="1"/>
      <p:bldP spid="154" grpId="0" animBg="1"/>
      <p:bldP spid="155" grpId="0" animBg="1"/>
      <p:bldP spid="157" grpId="0" animBg="1"/>
      <p:bldP spid="158" grpId="0" animBg="1"/>
      <p:bldP spid="159" grpId="0" animBg="1"/>
      <p:bldP spid="160" grpId="0" animBg="1"/>
      <p:bldP spid="161" grpId="0" animBg="1"/>
      <p:bldP spid="163" grpId="0" animBg="1"/>
      <p:bldP spid="164" grpId="0" animBg="1"/>
      <p:bldP spid="165" grpId="0" animBg="1"/>
      <p:bldP spid="166" grpId="0" animBg="1"/>
      <p:bldP spid="167" grpId="0" animBg="1"/>
      <p:bldP spid="168" grpId="0" animBg="1"/>
      <p:bldP spid="169" grpId="0" animBg="1"/>
      <p:bldP spid="170" grpId="0" animBg="1"/>
      <p:bldP spid="171" grpId="0" animBg="1"/>
      <p:bldP spid="172" grpId="0" animBg="1"/>
      <p:bldP spid="173" grpId="0" animBg="1"/>
      <p:bldP spid="174" grpId="0" animBg="1"/>
      <p:bldP spid="175" grpId="0" animBg="1"/>
      <p:bldP spid="176"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587286" y="616252"/>
            <a:ext cx="5752190" cy="4127485"/>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193388" y="41043"/>
            <a:ext cx="8345488" cy="731837"/>
          </a:xfrm>
        </p:spPr>
        <p:txBody>
          <a:bodyPr/>
          <a:lstStyle/>
          <a:p>
            <a:r>
              <a:rPr lang="ja-JP" altLang="en-US" dirty="0" smtClean="0"/>
              <a:t>サービス確認ツールの強化</a:t>
            </a:r>
            <a:endParaRPr lang="en-US" dirty="0"/>
          </a:p>
        </p:txBody>
      </p:sp>
      <p:sp>
        <p:nvSpPr>
          <p:cNvPr id="4" name="Rectangle 3"/>
          <p:cNvSpPr/>
          <p:nvPr/>
        </p:nvSpPr>
        <p:spPr>
          <a:xfrm>
            <a:off x="1587290" y="4746699"/>
            <a:ext cx="4301177" cy="369332"/>
          </a:xfrm>
          <a:prstGeom prst="rect">
            <a:avLst/>
          </a:prstGeom>
        </p:spPr>
        <p:txBody>
          <a:bodyPr wrap="none">
            <a:spAutoFit/>
          </a:bodyPr>
          <a:lstStyle/>
          <a:p>
            <a:r>
              <a:rPr lang="en-GB" dirty="0">
                <a:solidFill>
                  <a:srgbClr val="00B0F0"/>
                </a:solidFill>
              </a:rPr>
              <a:t>http://servicestatus.sco.cisco.com/status</a:t>
            </a:r>
          </a:p>
        </p:txBody>
      </p:sp>
      <p:pic>
        <p:nvPicPr>
          <p:cNvPr id="5" name="Picture 4"/>
          <p:cNvPicPr>
            <a:picLocks noChangeAspect="1"/>
          </p:cNvPicPr>
          <p:nvPr/>
        </p:nvPicPr>
        <p:blipFill>
          <a:blip r:embed="rId3"/>
          <a:stretch>
            <a:fillRect/>
          </a:stretch>
        </p:blipFill>
        <p:spPr>
          <a:xfrm>
            <a:off x="142441" y="1684812"/>
            <a:ext cx="8648942" cy="2074181"/>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6" name="Rectangle 5"/>
          <p:cNvSpPr/>
          <p:nvPr/>
        </p:nvSpPr>
        <p:spPr>
          <a:xfrm>
            <a:off x="2395849" y="1244474"/>
            <a:ext cx="412089" cy="197011"/>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Rectangle 9"/>
          <p:cNvSpPr/>
          <p:nvPr/>
        </p:nvSpPr>
        <p:spPr>
          <a:xfrm>
            <a:off x="7719802" y="582514"/>
            <a:ext cx="1298158" cy="646331"/>
          </a:xfrm>
          <a:prstGeom prst="rect">
            <a:avLst/>
          </a:prstGeom>
        </p:spPr>
        <p:txBody>
          <a:bodyPr wrap="square">
            <a:spAutoFit/>
          </a:bodyPr>
          <a:lstStyle/>
          <a:p>
            <a:r>
              <a:rPr lang="en-GB" dirty="0" smtClean="0">
                <a:solidFill>
                  <a:schemeClr val="accent1"/>
                </a:solidFill>
              </a:rPr>
              <a:t>Last </a:t>
            </a:r>
            <a:br>
              <a:rPr lang="en-GB" dirty="0" smtClean="0">
                <a:solidFill>
                  <a:schemeClr val="accent1"/>
                </a:solidFill>
              </a:rPr>
            </a:br>
            <a:r>
              <a:rPr lang="en-GB" dirty="0" smtClean="0">
                <a:solidFill>
                  <a:schemeClr val="accent1"/>
                </a:solidFill>
              </a:rPr>
              <a:t>30 Days</a:t>
            </a:r>
            <a:endParaRPr lang="en-GB" dirty="0">
              <a:solidFill>
                <a:schemeClr val="accent1"/>
              </a:solidFill>
            </a:endParaRPr>
          </a:p>
        </p:txBody>
      </p:sp>
    </p:spTree>
    <p:extLst>
      <p:ext uri="{BB962C8B-B14F-4D97-AF65-F5344CB8AC3E}">
        <p14:creationId xmlns:p14="http://schemas.microsoft.com/office/powerpoint/2010/main" val="358347384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1587286" y="616252"/>
            <a:ext cx="5752190" cy="4127485"/>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4" name="Rectangle 3"/>
          <p:cNvSpPr/>
          <p:nvPr/>
        </p:nvSpPr>
        <p:spPr>
          <a:xfrm>
            <a:off x="1587290" y="4746699"/>
            <a:ext cx="4301177" cy="369332"/>
          </a:xfrm>
          <a:prstGeom prst="rect">
            <a:avLst/>
          </a:prstGeom>
        </p:spPr>
        <p:txBody>
          <a:bodyPr wrap="none">
            <a:spAutoFit/>
          </a:bodyPr>
          <a:lstStyle/>
          <a:p>
            <a:r>
              <a:rPr lang="en-GB" dirty="0">
                <a:solidFill>
                  <a:srgbClr val="00B0F0"/>
                </a:solidFill>
              </a:rPr>
              <a:t>http://servicestatus.sco.cisco.com/status</a:t>
            </a:r>
          </a:p>
        </p:txBody>
      </p:sp>
      <p:sp>
        <p:nvSpPr>
          <p:cNvPr id="9" name="Rectangle 8"/>
          <p:cNvSpPr/>
          <p:nvPr/>
        </p:nvSpPr>
        <p:spPr>
          <a:xfrm>
            <a:off x="1652026" y="1245575"/>
            <a:ext cx="412089" cy="197011"/>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5" name="Picture 4"/>
          <p:cNvPicPr>
            <a:picLocks noChangeAspect="1"/>
          </p:cNvPicPr>
          <p:nvPr/>
        </p:nvPicPr>
        <p:blipFill>
          <a:blip r:embed="rId3"/>
          <a:stretch>
            <a:fillRect/>
          </a:stretch>
        </p:blipFill>
        <p:spPr>
          <a:xfrm>
            <a:off x="562232" y="1825705"/>
            <a:ext cx="7723456" cy="2598148"/>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11" name="Rectangle 10"/>
          <p:cNvSpPr/>
          <p:nvPr/>
        </p:nvSpPr>
        <p:spPr>
          <a:xfrm>
            <a:off x="7631130" y="582514"/>
            <a:ext cx="1298158" cy="646331"/>
          </a:xfrm>
          <a:prstGeom prst="rect">
            <a:avLst/>
          </a:prstGeom>
        </p:spPr>
        <p:txBody>
          <a:bodyPr wrap="square">
            <a:spAutoFit/>
          </a:bodyPr>
          <a:lstStyle/>
          <a:p>
            <a:r>
              <a:rPr lang="en-GB" dirty="0" smtClean="0">
                <a:solidFill>
                  <a:schemeClr val="accent1"/>
                </a:solidFill>
              </a:rPr>
              <a:t>Current Status</a:t>
            </a:r>
            <a:endParaRPr lang="en-GB" dirty="0">
              <a:solidFill>
                <a:schemeClr val="accent1"/>
              </a:solidFill>
            </a:endParaRPr>
          </a:p>
        </p:txBody>
      </p:sp>
      <p:sp>
        <p:nvSpPr>
          <p:cNvPr id="13" name="Title 1"/>
          <p:cNvSpPr txBox="1">
            <a:spLocks/>
          </p:cNvSpPr>
          <p:nvPr/>
        </p:nvSpPr>
        <p:spPr bwMode="auto">
          <a:xfrm>
            <a:off x="193388" y="4104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mtClean="0"/>
              <a:t>サービス確認ツールの強化</a:t>
            </a:r>
            <a:endParaRPr lang="ja-JP" altLang="en-US"/>
          </a:p>
        </p:txBody>
      </p:sp>
    </p:spTree>
    <p:extLst>
      <p:ext uri="{BB962C8B-B14F-4D97-AF65-F5344CB8AC3E}">
        <p14:creationId xmlns:p14="http://schemas.microsoft.com/office/powerpoint/2010/main" val="387159066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2"/>
          <a:stretch>
            <a:fillRect/>
          </a:stretch>
        </p:blipFill>
        <p:spPr>
          <a:xfrm>
            <a:off x="1587286" y="616252"/>
            <a:ext cx="5752190" cy="4127485"/>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4" name="Rectangle 3"/>
          <p:cNvSpPr/>
          <p:nvPr/>
        </p:nvSpPr>
        <p:spPr>
          <a:xfrm>
            <a:off x="1587290" y="4746699"/>
            <a:ext cx="4301177" cy="369332"/>
          </a:xfrm>
          <a:prstGeom prst="rect">
            <a:avLst/>
          </a:prstGeom>
        </p:spPr>
        <p:txBody>
          <a:bodyPr wrap="none">
            <a:spAutoFit/>
          </a:bodyPr>
          <a:lstStyle/>
          <a:p>
            <a:r>
              <a:rPr lang="en-GB" dirty="0">
                <a:solidFill>
                  <a:srgbClr val="00B0F0"/>
                </a:solidFill>
              </a:rPr>
              <a:t>http://servicestatus.sco.cisco.com/status</a:t>
            </a: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b="-718"/>
          <a:stretch/>
        </p:blipFill>
        <p:spPr>
          <a:xfrm>
            <a:off x="405850" y="1708028"/>
            <a:ext cx="8287788" cy="2038789"/>
          </a:xfrm>
          <a:prstGeom prst="rect">
            <a:avLst/>
          </a:prstGeom>
          <a:ln>
            <a:solidFill>
              <a:schemeClr val="tx1">
                <a:lumMod val="50000"/>
              </a:schemeClr>
            </a:solid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4"/>
          <a:stretch>
            <a:fillRect/>
          </a:stretch>
        </p:blipFill>
        <p:spPr>
          <a:xfrm>
            <a:off x="1434065" y="2121904"/>
            <a:ext cx="7518518" cy="605518"/>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11" name="Rectangle 10"/>
          <p:cNvSpPr/>
          <p:nvPr/>
        </p:nvSpPr>
        <p:spPr>
          <a:xfrm>
            <a:off x="7492588" y="582514"/>
            <a:ext cx="1298158" cy="646331"/>
          </a:xfrm>
          <a:prstGeom prst="rect">
            <a:avLst/>
          </a:prstGeom>
        </p:spPr>
        <p:txBody>
          <a:bodyPr wrap="square">
            <a:spAutoFit/>
          </a:bodyPr>
          <a:lstStyle/>
          <a:p>
            <a:r>
              <a:rPr lang="en-GB" dirty="0" smtClean="0">
                <a:solidFill>
                  <a:schemeClr val="accent1"/>
                </a:solidFill>
              </a:rPr>
              <a:t>Status of Services</a:t>
            </a:r>
            <a:endParaRPr lang="en-GB" dirty="0">
              <a:solidFill>
                <a:schemeClr val="accent1"/>
              </a:solidFill>
            </a:endParaRPr>
          </a:p>
        </p:txBody>
      </p:sp>
      <p:sp>
        <p:nvSpPr>
          <p:cNvPr id="13" name="Title 1"/>
          <p:cNvSpPr>
            <a:spLocks noGrp="1"/>
          </p:cNvSpPr>
          <p:nvPr>
            <p:ph type="title"/>
          </p:nvPr>
        </p:nvSpPr>
        <p:spPr>
          <a:xfrm>
            <a:off x="193388" y="41043"/>
            <a:ext cx="8345488" cy="731837"/>
          </a:xfrm>
        </p:spPr>
        <p:txBody>
          <a:bodyPr/>
          <a:lstStyle/>
          <a:p>
            <a:r>
              <a:rPr lang="ja-JP" altLang="en-US" dirty="0" smtClean="0"/>
              <a:t>サービス確認ツールの強化</a:t>
            </a:r>
            <a:endParaRPr lang="en-US" dirty="0"/>
          </a:p>
        </p:txBody>
      </p:sp>
    </p:spTree>
    <p:extLst>
      <p:ext uri="{BB962C8B-B14F-4D97-AF65-F5344CB8AC3E}">
        <p14:creationId xmlns:p14="http://schemas.microsoft.com/office/powerpoint/2010/main" val="301350671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現在発生中の事象について通知</a:t>
            </a:r>
            <a:endParaRPr lang="en-US" dirty="0"/>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a:ext>
            </a:extLst>
          </a:blip>
          <a:srcRect t="5988"/>
          <a:stretch/>
        </p:blipFill>
        <p:spPr>
          <a:xfrm>
            <a:off x="1051969" y="1040275"/>
            <a:ext cx="6690763" cy="3836976"/>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4" name="Rectangle 3"/>
          <p:cNvSpPr/>
          <p:nvPr/>
        </p:nvSpPr>
        <p:spPr>
          <a:xfrm>
            <a:off x="2655435" y="3309044"/>
            <a:ext cx="4352268" cy="647963"/>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888895930"/>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49667" y="1540553"/>
            <a:ext cx="7410507" cy="2278837"/>
          </a:xfrm>
        </p:spPr>
        <p:txBody>
          <a:bodyPr/>
          <a:lstStyle/>
          <a:p>
            <a:r>
              <a:rPr lang="en-US" dirty="0" smtClean="0"/>
              <a:t>Mobility</a:t>
            </a:r>
            <a:endParaRPr lang="en-US" dirty="0"/>
          </a:p>
        </p:txBody>
      </p:sp>
      <p:grpSp>
        <p:nvGrpSpPr>
          <p:cNvPr id="11" name="Group 10"/>
          <p:cNvGrpSpPr/>
          <p:nvPr/>
        </p:nvGrpSpPr>
        <p:grpSpPr>
          <a:xfrm>
            <a:off x="5002002" y="2104329"/>
            <a:ext cx="1417633" cy="1355382"/>
            <a:chOff x="5576275" y="2104327"/>
            <a:chExt cx="1417633" cy="1355382"/>
          </a:xfrm>
        </p:grpSpPr>
        <p:grpSp>
          <p:nvGrpSpPr>
            <p:cNvPr id="6" name="Group 5"/>
            <p:cNvGrpSpPr/>
            <p:nvPr/>
          </p:nvGrpSpPr>
          <p:grpSpPr>
            <a:xfrm>
              <a:off x="5644912" y="2104327"/>
              <a:ext cx="1289963" cy="1320747"/>
              <a:chOff x="5644912" y="2104327"/>
              <a:chExt cx="1289963" cy="1320747"/>
            </a:xfrm>
          </p:grpSpPr>
          <p:pic>
            <p:nvPicPr>
              <p:cNvPr id="4" name="Picture 4"/>
              <p:cNvPicPr>
                <a:picLocks noChangeAspect="1" noChangeArrowheads="1"/>
              </p:cNvPicPr>
              <p:nvPr/>
            </p:nvPicPr>
            <p:blipFill rotWithShape="1">
              <a:blip r:embed="rId2">
                <a:extLst>
                  <a:ext uri="{28A0092B-C50C-407E-A947-70E740481C1C}">
                    <a14:useLocalDpi xmlns:a14="http://schemas.microsoft.com/office/drawing/2010/main"/>
                  </a:ext>
                </a:extLst>
              </a:blip>
              <a:srcRect/>
              <a:stretch/>
            </p:blipFill>
            <p:spPr bwMode="auto">
              <a:xfrm>
                <a:off x="5644912" y="2104327"/>
                <a:ext cx="1289963" cy="13207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ounded Rectangle 1"/>
              <p:cNvSpPr/>
              <p:nvPr/>
            </p:nvSpPr>
            <p:spPr>
              <a:xfrm>
                <a:off x="5644913" y="2134844"/>
                <a:ext cx="1289962" cy="1290229"/>
              </a:xfrm>
              <a:prstGeom prst="roundRect">
                <a:avLst/>
              </a:prstGeom>
              <a:no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7" name="Rectangle 6"/>
            <p:cNvSpPr/>
            <p:nvPr/>
          </p:nvSpPr>
          <p:spPr>
            <a:xfrm>
              <a:off x="6859368" y="2104327"/>
              <a:ext cx="134540" cy="1264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Rectangle 7"/>
            <p:cNvSpPr/>
            <p:nvPr/>
          </p:nvSpPr>
          <p:spPr>
            <a:xfrm>
              <a:off x="6859367" y="3333267"/>
              <a:ext cx="134540" cy="1264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 name="Rectangle 8"/>
            <p:cNvSpPr/>
            <p:nvPr/>
          </p:nvSpPr>
          <p:spPr>
            <a:xfrm>
              <a:off x="5582507" y="3333267"/>
              <a:ext cx="134540" cy="1264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 name="Rectangle 9"/>
            <p:cNvSpPr/>
            <p:nvPr/>
          </p:nvSpPr>
          <p:spPr>
            <a:xfrm>
              <a:off x="5576275" y="2108446"/>
              <a:ext cx="134540" cy="12644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Tree>
    <p:extLst>
      <p:ext uri="{BB962C8B-B14F-4D97-AF65-F5344CB8AC3E}">
        <p14:creationId xmlns:p14="http://schemas.microsoft.com/office/powerpoint/2010/main" val="427054839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122831"/>
            <a:ext cx="8345488" cy="731837"/>
          </a:xfrm>
        </p:spPr>
        <p:txBody>
          <a:bodyPr/>
          <a:lstStyle/>
          <a:p>
            <a:r>
              <a:rPr lang="en-US" dirty="0" smtClean="0"/>
              <a:t>CWS </a:t>
            </a:r>
            <a:r>
              <a:rPr lang="ja-JP" altLang="en-US" dirty="0" smtClean="0"/>
              <a:t>モバイル</a:t>
            </a:r>
            <a:r>
              <a:rPr lang="en-US" altLang="ja-JP" dirty="0" smtClean="0"/>
              <a:t>  - CWS</a:t>
            </a:r>
            <a:r>
              <a:rPr lang="ja-JP" altLang="en-US" dirty="0" smtClean="0"/>
              <a:t>モバイルブラウザ</a:t>
            </a:r>
            <a:endParaRPr lang="en-US" dirty="0"/>
          </a:p>
        </p:txBody>
      </p:sp>
      <p:sp>
        <p:nvSpPr>
          <p:cNvPr id="6" name="Rounded Rectangle 5"/>
          <p:cNvSpPr>
            <a:spLocks noChangeAspect="1"/>
          </p:cNvSpPr>
          <p:nvPr/>
        </p:nvSpPr>
        <p:spPr>
          <a:xfrm>
            <a:off x="2621877" y="3536514"/>
            <a:ext cx="1943494" cy="1412237"/>
          </a:xfrm>
          <a:prstGeom prst="roundRect">
            <a:avLst>
              <a:gd name="adj" fmla="val 4002"/>
            </a:avLst>
          </a:prstGeom>
          <a:gradFill rotWithShape="1">
            <a:gsLst>
              <a:gs pos="0">
                <a:schemeClr val="accent1">
                  <a:lumMod val="75000"/>
                </a:schemeClr>
              </a:gs>
              <a:gs pos="1000">
                <a:schemeClr val="accent1">
                  <a:lumMod val="60000"/>
                  <a:lumOff val="40000"/>
                </a:schemeClr>
              </a:gs>
              <a:gs pos="39000">
                <a:schemeClr val="accent1">
                  <a:lumMod val="75000"/>
                </a:schemeClr>
              </a:gs>
              <a:gs pos="98000">
                <a:srgbClr val="001E2A"/>
              </a:gs>
              <a:gs pos="100000">
                <a:schemeClr val="accent1">
                  <a:lumMod val="50000"/>
                </a:schemeClr>
              </a:gs>
            </a:gsLst>
            <a:lin ang="5400000" scaled="0"/>
          </a:gradFill>
          <a:ln w="12700" algn="ctr">
            <a:solidFill>
              <a:schemeClr val="tx1"/>
            </a:solidFill>
            <a:round/>
            <a:headEnd/>
            <a:tailEnd/>
          </a:ln>
          <a:effectLst>
            <a:outerShdw blurRad="254000" dist="127000" dir="2700000" algn="tl" rotWithShape="0">
              <a:prstClr val="black">
                <a:alpha val="40000"/>
              </a:prstClr>
            </a:outerShdw>
          </a:effectLst>
          <a:scene3d>
            <a:camera prst="orthographicFront"/>
            <a:lightRig rig="brightRoom" dir="t"/>
          </a:scene3d>
          <a:sp3d prstMaterial="metal">
            <a:bevelT w="38100" h="38100" prst="softRound"/>
            <a:bevelB w="38100" h="38100" prst="softRound"/>
          </a:sp3d>
        </p:spPr>
        <p:txBody>
          <a:bodyPr wrap="none" lIns="27360" tIns="13684" rIns="27360" bIns="13684" anchor="ctr"/>
          <a:lstStyle/>
          <a:p>
            <a:pPr eaLnBrk="0" fontAlgn="base" hangingPunct="0">
              <a:lnSpc>
                <a:spcPct val="90000"/>
              </a:lnSpc>
            </a:pPr>
            <a:endParaRPr lang="en-US" sz="1350" b="1" dirty="0">
              <a:solidFill>
                <a:srgbClr val="FFFFFF"/>
              </a:solidFill>
              <a:latin typeface="+mj-lt"/>
              <a:ea typeface="ＭＳ Ｐゴシック" pitchFamily="34" charset="-128"/>
            </a:endParaRPr>
          </a:p>
        </p:txBody>
      </p:sp>
      <p:sp>
        <p:nvSpPr>
          <p:cNvPr id="7" name="Rounded Rectangle 6"/>
          <p:cNvSpPr>
            <a:spLocks noChangeAspect="1"/>
          </p:cNvSpPr>
          <p:nvPr/>
        </p:nvSpPr>
        <p:spPr>
          <a:xfrm>
            <a:off x="4616158" y="3536514"/>
            <a:ext cx="1943494" cy="1412237"/>
          </a:xfrm>
          <a:prstGeom prst="roundRect">
            <a:avLst>
              <a:gd name="adj" fmla="val 4002"/>
            </a:avLst>
          </a:prstGeom>
          <a:gradFill rotWithShape="1">
            <a:gsLst>
              <a:gs pos="0">
                <a:schemeClr val="accent1">
                  <a:lumMod val="75000"/>
                </a:schemeClr>
              </a:gs>
              <a:gs pos="1000">
                <a:schemeClr val="accent1">
                  <a:lumMod val="60000"/>
                  <a:lumOff val="40000"/>
                </a:schemeClr>
              </a:gs>
              <a:gs pos="39000">
                <a:schemeClr val="accent1">
                  <a:lumMod val="75000"/>
                </a:schemeClr>
              </a:gs>
              <a:gs pos="98000">
                <a:srgbClr val="001E2A"/>
              </a:gs>
              <a:gs pos="100000">
                <a:schemeClr val="accent1">
                  <a:lumMod val="50000"/>
                </a:schemeClr>
              </a:gs>
            </a:gsLst>
            <a:lin ang="5400000" scaled="0"/>
          </a:gradFill>
          <a:ln w="12700" algn="ctr">
            <a:solidFill>
              <a:schemeClr val="tx1"/>
            </a:solidFill>
            <a:round/>
            <a:headEnd/>
            <a:tailEnd/>
          </a:ln>
          <a:effectLst>
            <a:outerShdw blurRad="254000" dist="127000" dir="2700000" algn="tl" rotWithShape="0">
              <a:prstClr val="black">
                <a:alpha val="40000"/>
              </a:prstClr>
            </a:outerShdw>
          </a:effectLst>
          <a:scene3d>
            <a:camera prst="orthographicFront"/>
            <a:lightRig rig="brightRoom" dir="t"/>
          </a:scene3d>
          <a:sp3d prstMaterial="metal">
            <a:bevelT w="38100" h="38100" prst="softRound"/>
            <a:bevelB w="38100" h="38100" prst="softRound"/>
          </a:sp3d>
        </p:spPr>
        <p:txBody>
          <a:bodyPr wrap="none" lIns="27360" tIns="13684" rIns="27360" bIns="13684" anchor="ctr"/>
          <a:lstStyle/>
          <a:p>
            <a:pPr eaLnBrk="0" fontAlgn="base" hangingPunct="0">
              <a:lnSpc>
                <a:spcPct val="90000"/>
              </a:lnSpc>
            </a:pPr>
            <a:endParaRPr lang="en-US" sz="1350" b="1" dirty="0">
              <a:solidFill>
                <a:srgbClr val="FFFFFF"/>
              </a:solidFill>
              <a:latin typeface="+mj-lt"/>
              <a:ea typeface="ＭＳ Ｐゴシック" pitchFamily="34" charset="-128"/>
            </a:endParaRPr>
          </a:p>
        </p:txBody>
      </p:sp>
      <p:sp>
        <p:nvSpPr>
          <p:cNvPr id="8" name="Rounded Rectangle 7"/>
          <p:cNvSpPr>
            <a:spLocks noChangeAspect="1"/>
          </p:cNvSpPr>
          <p:nvPr/>
        </p:nvSpPr>
        <p:spPr>
          <a:xfrm>
            <a:off x="6614871" y="3536514"/>
            <a:ext cx="1943494" cy="1412237"/>
          </a:xfrm>
          <a:prstGeom prst="roundRect">
            <a:avLst>
              <a:gd name="adj" fmla="val 4002"/>
            </a:avLst>
          </a:prstGeom>
          <a:gradFill rotWithShape="1">
            <a:gsLst>
              <a:gs pos="0">
                <a:schemeClr val="accent1">
                  <a:lumMod val="75000"/>
                </a:schemeClr>
              </a:gs>
              <a:gs pos="1000">
                <a:schemeClr val="accent1">
                  <a:lumMod val="60000"/>
                  <a:lumOff val="40000"/>
                </a:schemeClr>
              </a:gs>
              <a:gs pos="39000">
                <a:schemeClr val="accent1">
                  <a:lumMod val="75000"/>
                </a:schemeClr>
              </a:gs>
              <a:gs pos="98000">
                <a:srgbClr val="001E2A"/>
              </a:gs>
              <a:gs pos="100000">
                <a:schemeClr val="accent1">
                  <a:lumMod val="50000"/>
                </a:schemeClr>
              </a:gs>
            </a:gsLst>
            <a:lin ang="5400000" scaled="0"/>
          </a:gradFill>
          <a:ln w="12700" algn="ctr">
            <a:solidFill>
              <a:schemeClr val="tx1"/>
            </a:solidFill>
            <a:round/>
            <a:headEnd/>
            <a:tailEnd/>
          </a:ln>
          <a:effectLst>
            <a:outerShdw blurRad="254000" dist="127000" dir="2700000" algn="tl" rotWithShape="0">
              <a:prstClr val="black">
                <a:alpha val="40000"/>
              </a:prstClr>
            </a:outerShdw>
          </a:effectLst>
          <a:scene3d>
            <a:camera prst="orthographicFront"/>
            <a:lightRig rig="brightRoom" dir="t"/>
          </a:scene3d>
          <a:sp3d prstMaterial="metal">
            <a:bevelT w="38100" h="38100" prst="softRound"/>
            <a:bevelB w="38100" h="38100" prst="softRound"/>
          </a:sp3d>
        </p:spPr>
        <p:txBody>
          <a:bodyPr wrap="none" lIns="27360" tIns="13684" rIns="27360" bIns="13684" anchor="ctr"/>
          <a:lstStyle/>
          <a:p>
            <a:pPr eaLnBrk="0" fontAlgn="base" hangingPunct="0">
              <a:lnSpc>
                <a:spcPct val="90000"/>
              </a:lnSpc>
            </a:pPr>
            <a:endParaRPr lang="en-US" sz="1350" b="1" dirty="0">
              <a:solidFill>
                <a:srgbClr val="FFFFFF"/>
              </a:solidFill>
              <a:latin typeface="+mj-lt"/>
              <a:ea typeface="ＭＳ Ｐゴシック" pitchFamily="34" charset="-128"/>
            </a:endParaRPr>
          </a:p>
        </p:txBody>
      </p:sp>
      <p:sp>
        <p:nvSpPr>
          <p:cNvPr id="9" name="Rounded Rectangle 8"/>
          <p:cNvSpPr>
            <a:spLocks noChangeAspect="1"/>
          </p:cNvSpPr>
          <p:nvPr/>
        </p:nvSpPr>
        <p:spPr>
          <a:xfrm>
            <a:off x="627598" y="3536514"/>
            <a:ext cx="1943494" cy="1412237"/>
          </a:xfrm>
          <a:prstGeom prst="roundRect">
            <a:avLst>
              <a:gd name="adj" fmla="val 4002"/>
            </a:avLst>
          </a:prstGeom>
          <a:gradFill rotWithShape="1">
            <a:gsLst>
              <a:gs pos="0">
                <a:schemeClr val="accent1">
                  <a:lumMod val="75000"/>
                </a:schemeClr>
              </a:gs>
              <a:gs pos="1000">
                <a:schemeClr val="accent1">
                  <a:lumMod val="60000"/>
                  <a:lumOff val="40000"/>
                </a:schemeClr>
              </a:gs>
              <a:gs pos="39000">
                <a:schemeClr val="accent1">
                  <a:lumMod val="75000"/>
                </a:schemeClr>
              </a:gs>
              <a:gs pos="98000">
                <a:srgbClr val="001E2A"/>
              </a:gs>
              <a:gs pos="100000">
                <a:schemeClr val="accent1">
                  <a:lumMod val="50000"/>
                </a:schemeClr>
              </a:gs>
            </a:gsLst>
            <a:lin ang="5400000" scaled="0"/>
          </a:gradFill>
          <a:ln w="12700" algn="ctr">
            <a:solidFill>
              <a:schemeClr val="tx1"/>
            </a:solidFill>
            <a:round/>
            <a:headEnd/>
            <a:tailEnd/>
          </a:ln>
          <a:effectLst>
            <a:outerShdw blurRad="254000" dist="127000" dir="2700000" algn="tl" rotWithShape="0">
              <a:prstClr val="black">
                <a:alpha val="40000"/>
              </a:prstClr>
            </a:outerShdw>
          </a:effectLst>
          <a:scene3d>
            <a:camera prst="orthographicFront"/>
            <a:lightRig rig="brightRoom" dir="t"/>
          </a:scene3d>
          <a:sp3d prstMaterial="metal">
            <a:bevelT w="38100" h="38100" prst="softRound"/>
            <a:bevelB w="38100" h="38100" prst="softRound"/>
          </a:sp3d>
        </p:spPr>
        <p:txBody>
          <a:bodyPr wrap="none" lIns="27360" tIns="13684" rIns="27360" bIns="13684" anchor="ctr"/>
          <a:lstStyle/>
          <a:p>
            <a:pPr eaLnBrk="0" fontAlgn="base" hangingPunct="0">
              <a:lnSpc>
                <a:spcPct val="90000"/>
              </a:lnSpc>
            </a:pPr>
            <a:endParaRPr lang="en-US" sz="1350" b="1" dirty="0">
              <a:solidFill>
                <a:srgbClr val="FFFFFF"/>
              </a:solidFill>
              <a:latin typeface="+mj-lt"/>
              <a:ea typeface="ＭＳ Ｐゴシック" pitchFamily="34" charset="-128"/>
            </a:endParaRPr>
          </a:p>
        </p:txBody>
      </p:sp>
      <p:graphicFrame>
        <p:nvGraphicFramePr>
          <p:cNvPr id="10" name="Table 9"/>
          <p:cNvGraphicFramePr>
            <a:graphicFrameLocks noGrp="1" noChangeAspect="1"/>
          </p:cNvGraphicFramePr>
          <p:nvPr>
            <p:extLst>
              <p:ext uri="{D42A27DB-BD31-4B8C-83A1-F6EECF244321}">
                <p14:modId xmlns:p14="http://schemas.microsoft.com/office/powerpoint/2010/main" val="2492924625"/>
              </p:ext>
            </p:extLst>
          </p:nvPr>
        </p:nvGraphicFramePr>
        <p:xfrm>
          <a:off x="611415" y="3523707"/>
          <a:ext cx="7930766" cy="1414339"/>
        </p:xfrm>
        <a:graphic>
          <a:graphicData uri="http://schemas.openxmlformats.org/drawingml/2006/table">
            <a:tbl>
              <a:tblPr firstRow="1" bandRow="1">
                <a:tableStyleId>{2D5ABB26-0587-4C30-8999-92F81FD0307C}</a:tableStyleId>
              </a:tblPr>
              <a:tblGrid>
                <a:gridCol w="1982691">
                  <a:extLst>
                    <a:ext uri="{9D8B030D-6E8A-4147-A177-3AD203B41FA5}">
                      <a16:colId xmlns="" xmlns:a16="http://schemas.microsoft.com/office/drawing/2014/main" val="20000"/>
                    </a:ext>
                  </a:extLst>
                </a:gridCol>
                <a:gridCol w="1982691">
                  <a:extLst>
                    <a:ext uri="{9D8B030D-6E8A-4147-A177-3AD203B41FA5}">
                      <a16:colId xmlns="" xmlns:a16="http://schemas.microsoft.com/office/drawing/2014/main" val="20001"/>
                    </a:ext>
                  </a:extLst>
                </a:gridCol>
                <a:gridCol w="2050580">
                  <a:extLst>
                    <a:ext uri="{9D8B030D-6E8A-4147-A177-3AD203B41FA5}">
                      <a16:colId xmlns="" xmlns:a16="http://schemas.microsoft.com/office/drawing/2014/main" val="20002"/>
                    </a:ext>
                  </a:extLst>
                </a:gridCol>
                <a:gridCol w="1914804">
                  <a:extLst>
                    <a:ext uri="{9D8B030D-6E8A-4147-A177-3AD203B41FA5}">
                      <a16:colId xmlns="" xmlns:a16="http://schemas.microsoft.com/office/drawing/2014/main" val="20003"/>
                    </a:ext>
                  </a:extLst>
                </a:gridCol>
              </a:tblGrid>
              <a:tr h="465114">
                <a:tc>
                  <a:txBody>
                    <a:bodyPr/>
                    <a:lstStyle/>
                    <a:p>
                      <a:pPr algn="ctr"/>
                      <a:r>
                        <a:rPr lang="ja-JP" altLang="en-US" sz="1400" b="1" dirty="0" smtClean="0">
                          <a:solidFill>
                            <a:srgbClr val="FFFFFF"/>
                          </a:solidFill>
                        </a:rPr>
                        <a:t>トラフィックリダイレクト</a:t>
                      </a:r>
                      <a:endParaRPr lang="en-US" sz="1400" b="1" dirty="0" smtClean="0">
                        <a:solidFill>
                          <a:srgbClr val="FFFFFF"/>
                        </a:solidFill>
                      </a:endParaRPr>
                    </a:p>
                  </a:txBody>
                  <a:tcPr marL="91416" marR="91416"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1400" b="1" dirty="0" smtClean="0">
                          <a:solidFill>
                            <a:srgbClr val="FFFFFF"/>
                          </a:solidFill>
                        </a:rPr>
                        <a:t>認証</a:t>
                      </a:r>
                      <a:endParaRPr lang="en-US" sz="1400" b="1" dirty="0" smtClean="0">
                        <a:solidFill>
                          <a:srgbClr val="FFFFFF"/>
                        </a:solidFill>
                      </a:endParaRPr>
                    </a:p>
                  </a:txBody>
                  <a:tcPr marL="91416" marR="91416"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1400" b="1" dirty="0" smtClean="0">
                          <a:solidFill>
                            <a:srgbClr val="FFFFFF"/>
                          </a:solidFill>
                        </a:rPr>
                        <a:t>セキュリティ</a:t>
                      </a:r>
                      <a:endParaRPr lang="en-US" sz="1400" b="1" dirty="0" smtClean="0">
                        <a:solidFill>
                          <a:srgbClr val="FFFFFF"/>
                        </a:solidFill>
                      </a:endParaRPr>
                    </a:p>
                  </a:txBody>
                  <a:tcPr marL="91416" marR="91416"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1400" b="1" dirty="0" smtClean="0">
                          <a:solidFill>
                            <a:srgbClr val="FFFFFF"/>
                          </a:solidFill>
                        </a:rPr>
                        <a:t>マネージメント</a:t>
                      </a:r>
                      <a:endParaRPr lang="en-US" sz="1400" b="1" dirty="0" smtClean="0">
                        <a:solidFill>
                          <a:srgbClr val="FFFFFF"/>
                        </a:solidFill>
                      </a:endParaRPr>
                    </a:p>
                  </a:txBody>
                  <a:tcPr marL="91416" marR="91416"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949225">
                <a:tc>
                  <a:txBody>
                    <a:bodyPr/>
                    <a:lstStyle/>
                    <a:p>
                      <a:pPr algn="ctr"/>
                      <a:r>
                        <a:rPr lang="ja-JP" altLang="en-US" sz="1400" dirty="0" smtClean="0">
                          <a:solidFill>
                            <a:srgbClr val="FFFFFF"/>
                          </a:solidFill>
                        </a:rPr>
                        <a:t>モバイルデバイスのウェブトラフィックを</a:t>
                      </a:r>
                      <a:r>
                        <a:rPr lang="en-US" altLang="ja-JP" sz="1400" dirty="0" smtClean="0">
                          <a:solidFill>
                            <a:srgbClr val="FFFFFF"/>
                          </a:solidFill>
                        </a:rPr>
                        <a:t>CWS</a:t>
                      </a:r>
                      <a:r>
                        <a:rPr lang="ja-JP" altLang="en-US" sz="1400" dirty="0" smtClean="0">
                          <a:solidFill>
                            <a:srgbClr val="FFFFFF"/>
                          </a:solidFill>
                        </a:rPr>
                        <a:t>へリダイレクト</a:t>
                      </a:r>
                      <a:endParaRPr lang="en-US" sz="1400" dirty="0" smtClean="0">
                        <a:solidFill>
                          <a:srgbClr val="FFFFFF"/>
                        </a:solidFill>
                      </a:endParaRPr>
                    </a:p>
                  </a:txBody>
                  <a:tcPr marL="91416" marR="91416"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aseline="0" dirty="0" smtClean="0">
                          <a:solidFill>
                            <a:srgbClr val="FFFFFF"/>
                          </a:solidFill>
                        </a:rPr>
                        <a:t>CWS </a:t>
                      </a:r>
                      <a:r>
                        <a:rPr lang="ja-JP" altLang="en-US" sz="1400" baseline="0" dirty="0" smtClean="0">
                          <a:solidFill>
                            <a:srgbClr val="FFFFFF"/>
                          </a:solidFill>
                        </a:rPr>
                        <a:t>グループキー</a:t>
                      </a:r>
                      <a:r>
                        <a:rPr lang="en-US" sz="1400" baseline="0" dirty="0" smtClean="0">
                          <a:solidFill>
                            <a:srgbClr val="FFFFFF"/>
                          </a:solidFill>
                        </a:rPr>
                        <a:t> </a:t>
                      </a:r>
                      <a:r>
                        <a:rPr lang="ja-JP" altLang="en-US" sz="1400" baseline="0" dirty="0" smtClean="0">
                          <a:solidFill>
                            <a:srgbClr val="FFFFFF"/>
                          </a:solidFill>
                        </a:rPr>
                        <a:t>または</a:t>
                      </a:r>
                      <a:r>
                        <a:rPr lang="en-US" sz="1400" baseline="0" dirty="0" smtClean="0">
                          <a:solidFill>
                            <a:srgbClr val="FFFFFF"/>
                          </a:solidFill>
                        </a:rPr>
                        <a:t> SAML</a:t>
                      </a:r>
                      <a:r>
                        <a:rPr lang="ja-JP" altLang="en-US" sz="1400" baseline="0" dirty="0" smtClean="0">
                          <a:solidFill>
                            <a:srgbClr val="FFFFFF"/>
                          </a:solidFill>
                        </a:rPr>
                        <a:t>認証が可能</a:t>
                      </a:r>
                      <a:endParaRPr lang="en-US" sz="1400" dirty="0" smtClean="0">
                        <a:solidFill>
                          <a:srgbClr val="FFFFFF"/>
                        </a:solidFill>
                      </a:endParaRPr>
                    </a:p>
                  </a:txBody>
                  <a:tcPr marL="107972" marR="91416"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ja-JP" altLang="en-US" sz="1400" dirty="0" smtClean="0">
                          <a:solidFill>
                            <a:srgbClr val="FFFFFF"/>
                          </a:solidFill>
                        </a:rPr>
                        <a:t>ウェブフィルタリングと検査を行うことでセキュリティを高める</a:t>
                      </a:r>
                      <a:endParaRPr lang="en-US" sz="1400" dirty="0" smtClean="0">
                        <a:solidFill>
                          <a:srgbClr val="FFFFFF"/>
                        </a:solidFill>
                      </a:endParaRPr>
                    </a:p>
                  </a:txBody>
                  <a:tcPr marL="107972" marR="91416"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ja-JP" sz="1400" dirty="0" smtClean="0">
                          <a:solidFill>
                            <a:srgbClr val="FFFFFF"/>
                          </a:solidFill>
                        </a:rPr>
                        <a:t>MDM</a:t>
                      </a:r>
                      <a:r>
                        <a:rPr lang="ja-JP" altLang="en-US" sz="1400" dirty="0" smtClean="0">
                          <a:solidFill>
                            <a:srgbClr val="FFFFFF"/>
                          </a:solidFill>
                        </a:rPr>
                        <a:t>や</a:t>
                      </a:r>
                      <a:r>
                        <a:rPr lang="en-US" altLang="ja-JP" sz="1400" dirty="0" smtClean="0">
                          <a:solidFill>
                            <a:srgbClr val="FFFFFF"/>
                          </a:solidFill>
                        </a:rPr>
                        <a:t>Email</a:t>
                      </a:r>
                      <a:r>
                        <a:rPr lang="ja-JP" altLang="en-US" sz="1400" dirty="0" smtClean="0">
                          <a:solidFill>
                            <a:srgbClr val="FFFFFF"/>
                          </a:solidFill>
                        </a:rPr>
                        <a:t>通知を通じてアプリストアから配布できる</a:t>
                      </a:r>
                      <a:endParaRPr lang="en-US" sz="1400" dirty="0">
                        <a:solidFill>
                          <a:srgbClr val="FFFFFF"/>
                        </a:solidFill>
                      </a:endParaRPr>
                    </a:p>
                  </a:txBody>
                  <a:tcPr marL="107972" marR="91416" marT="34290" marB="3429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bl>
          </a:graphicData>
        </a:graphic>
      </p:graphicFrame>
      <p:grpSp>
        <p:nvGrpSpPr>
          <p:cNvPr id="11" name="Group 10"/>
          <p:cNvGrpSpPr>
            <a:grpSpLocks noChangeAspect="1"/>
          </p:cNvGrpSpPr>
          <p:nvPr/>
        </p:nvGrpSpPr>
        <p:grpSpPr>
          <a:xfrm>
            <a:off x="1297810" y="1582682"/>
            <a:ext cx="7400618" cy="503165"/>
            <a:chOff x="3" y="5992956"/>
            <a:chExt cx="12188825" cy="865045"/>
          </a:xfrm>
        </p:grpSpPr>
        <p:sp>
          <p:nvSpPr>
            <p:cNvPr id="12" name="Rectangle 11"/>
            <p:cNvSpPr/>
            <p:nvPr/>
          </p:nvSpPr>
          <p:spPr>
            <a:xfrm>
              <a:off x="3" y="5992956"/>
              <a:ext cx="12188825" cy="865045"/>
            </a:xfrm>
            <a:prstGeom prst="rect">
              <a:avLst/>
            </a:prstGeom>
            <a:gradFill flip="none" rotWithShape="1">
              <a:gsLst>
                <a:gs pos="0">
                  <a:schemeClr val="accent1"/>
                </a:gs>
                <a:gs pos="77000">
                  <a:schemeClr val="accent5"/>
                </a:gs>
                <a:gs pos="100000">
                  <a:srgbClr val="39BBB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51440" tIns="25721" rIns="51440" bIns="25721" rtlCol="0" anchor="ctr"/>
            <a:lstStyle/>
            <a:p>
              <a:pPr algn="ctr" defTabSz="456873"/>
              <a:endParaRPr lang="en-US" sz="1350" b="1" dirty="0">
                <a:solidFill>
                  <a:srgbClr val="FFFFFF"/>
                </a:solidFill>
              </a:endParaRPr>
            </a:p>
          </p:txBody>
        </p:sp>
        <p:pic>
          <p:nvPicPr>
            <p:cNvPr id="13" name="Picture 10"/>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6720392" y="6273572"/>
              <a:ext cx="1358012" cy="35332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 name="Picture 56" descr="IBM_rev"/>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67067" y="6301681"/>
              <a:ext cx="718319" cy="297107"/>
            </a:xfrm>
            <a:prstGeom prst="rect">
              <a:avLst/>
            </a:prstGeom>
            <a:noFill/>
            <a:ln w="9525">
              <a:noFill/>
              <a:miter lim="800000"/>
              <a:headEnd/>
              <a:tailEnd/>
            </a:ln>
          </p:spPr>
        </p:pic>
        <p:pic>
          <p:nvPicPr>
            <p:cNvPr id="15" name="Picture 114"/>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84356" y="6295674"/>
              <a:ext cx="761316" cy="309120"/>
            </a:xfrm>
            <a:prstGeom prst="rect">
              <a:avLst/>
            </a:prstGeom>
            <a:noFill/>
            <a:ln w="9525" algn="ctr">
              <a:noFill/>
              <a:miter lim="800000"/>
              <a:headEnd/>
              <a:tailEnd/>
            </a:ln>
          </p:spPr>
        </p:pic>
        <p:pic>
          <p:nvPicPr>
            <p:cNvPr id="16" name="Picture 58"/>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410026" y="6295674"/>
              <a:ext cx="599610" cy="309120"/>
            </a:xfrm>
            <a:prstGeom prst="rect">
              <a:avLst/>
            </a:prstGeom>
            <a:noFill/>
            <a:ln w="9525" algn="ctr">
              <a:noFill/>
              <a:miter lim="800000"/>
              <a:headEnd/>
              <a:tailEnd/>
            </a:ln>
          </p:spPr>
        </p:pic>
        <p:pic>
          <p:nvPicPr>
            <p:cNvPr id="17" name="Picture 1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553124" y="6209696"/>
              <a:ext cx="487737" cy="481077"/>
            </a:xfrm>
            <a:prstGeom prst="rect">
              <a:avLst/>
            </a:prstGeom>
          </p:spPr>
        </p:pic>
        <p:pic>
          <p:nvPicPr>
            <p:cNvPr id="18" name="Picture 21" descr="Cisco_Logo_RGB-2Color_Video"/>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9709926" y="6267465"/>
              <a:ext cx="777773" cy="410491"/>
            </a:xfrm>
            <a:prstGeom prst="rect">
              <a:avLst/>
            </a:prstGeom>
            <a:noFill/>
            <a:ln w="9525">
              <a:noFill/>
              <a:miter lim="800000"/>
              <a:headEnd/>
              <a:tailEnd/>
            </a:ln>
          </p:spPr>
        </p:pic>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0718156" y="6257508"/>
              <a:ext cx="1047097" cy="385453"/>
            </a:xfrm>
            <a:prstGeom prst="rect">
              <a:avLst/>
            </a:prstGeom>
          </p:spPr>
        </p:pic>
        <p:pic>
          <p:nvPicPr>
            <p:cNvPr id="20" name="Picture 19"/>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55600" y="6225863"/>
              <a:ext cx="976874" cy="448742"/>
            </a:xfrm>
            <a:prstGeom prst="rect">
              <a:avLst/>
            </a:prstGeom>
          </p:spPr>
        </p:pic>
        <p:pic>
          <p:nvPicPr>
            <p:cNvPr id="21" name="Picture 10" descr="http://www.maas360.com/themes/maasweb2011/images/maas-logo-white.png"/>
            <p:cNvPicPr>
              <a:picLocks noChangeAspect="1" noChangeArrowheads="1"/>
            </p:cNvPicPr>
            <p:nvPr/>
          </p:nvPicPr>
          <p:blipFill>
            <a:blip r:embed="rId10" cstate="print">
              <a:extLst>
                <a:ext uri="{28A0092B-C50C-407E-A947-70E740481C1C}">
                  <a14:useLocalDpi xmlns:a14="http://schemas.microsoft.com/office/drawing/2010/main"/>
                </a:ext>
              </a:extLst>
            </a:blip>
            <a:stretch>
              <a:fillRect/>
            </a:stretch>
          </p:blipFill>
          <p:spPr bwMode="auto">
            <a:xfrm>
              <a:off x="1807194" y="6245968"/>
              <a:ext cx="885153" cy="408532"/>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35" name="TextBox 34"/>
          <p:cNvSpPr txBox="1"/>
          <p:nvPr/>
        </p:nvSpPr>
        <p:spPr>
          <a:xfrm>
            <a:off x="402635" y="1739112"/>
            <a:ext cx="598111" cy="300018"/>
          </a:xfrm>
          <a:prstGeom prst="rect">
            <a:avLst/>
          </a:prstGeom>
          <a:noFill/>
        </p:spPr>
        <p:txBody>
          <a:bodyPr wrap="none" lIns="91376" tIns="45688" rIns="91376" bIns="45688" rtlCol="0">
            <a:spAutoFit/>
          </a:bodyPr>
          <a:lstStyle/>
          <a:p>
            <a:r>
              <a:rPr lang="en-US" sz="1350" dirty="0">
                <a:solidFill>
                  <a:schemeClr val="tx2"/>
                </a:solidFill>
              </a:rPr>
              <a:t>MDM</a:t>
            </a:r>
          </a:p>
        </p:txBody>
      </p:sp>
      <p:pic>
        <p:nvPicPr>
          <p:cNvPr id="39" name="Picture 4" descr="https://www.chamberorganizer.com/app_launch_apple.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565667" y="742180"/>
            <a:ext cx="716121" cy="71612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http://sahrzad.net/blog/wp-content/uploads/2015/07/Android_logo.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581964" y="734207"/>
            <a:ext cx="1000279" cy="75020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429716" y="2315588"/>
            <a:ext cx="7818171" cy="1123727"/>
            <a:chOff x="324516" y="1830066"/>
            <a:chExt cx="7818171" cy="1123727"/>
          </a:xfrm>
        </p:grpSpPr>
        <p:pic>
          <p:nvPicPr>
            <p:cNvPr id="22" name="Picture 8" descr="http://d36wcsykcv5g5l.cloudfront.net/2013/uploads/devices3.png"/>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381348" y="1830066"/>
              <a:ext cx="1298570" cy="1123727"/>
            </a:xfrm>
            <a:prstGeom prst="rect">
              <a:avLst/>
            </a:prstGeom>
            <a:noFill/>
            <a:extLst>
              <a:ext uri="{909E8E84-426E-40dd-AFC4-6F175D3DCCD1}">
                <a14:hiddenFill xmlns:a14="http://schemas.microsoft.com/office/drawing/2010/main">
                  <a:solidFill>
                    <a:srgbClr val="FFFFFF"/>
                  </a:solidFill>
                </a14:hiddenFill>
              </a:ext>
            </a:extLst>
          </p:spPr>
        </p:pic>
        <p:grpSp>
          <p:nvGrpSpPr>
            <p:cNvPr id="23" name="Group 22"/>
            <p:cNvGrpSpPr>
              <a:grpSpLocks noChangeAspect="1"/>
            </p:cNvGrpSpPr>
            <p:nvPr/>
          </p:nvGrpSpPr>
          <p:grpSpPr>
            <a:xfrm>
              <a:off x="6653554" y="1895819"/>
              <a:ext cx="1489133" cy="900909"/>
              <a:chOff x="11243270" y="325535"/>
              <a:chExt cx="1106424" cy="669374"/>
            </a:xfrm>
          </p:grpSpPr>
          <p:sp>
            <p:nvSpPr>
              <p:cNvPr id="24" name="Rectangle 23"/>
              <p:cNvSpPr/>
              <p:nvPr/>
            </p:nvSpPr>
            <p:spPr bwMode="auto">
              <a:xfrm>
                <a:off x="11243270" y="325535"/>
                <a:ext cx="1106424" cy="669374"/>
              </a:xfrm>
              <a:prstGeom prst="rect">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44" tIns="34272" rIns="34272" bIns="68544" numCol="1" spcCol="0" rtlCol="0" fromWordArt="0" anchor="b" anchorCtr="0" forceAA="0" compatLnSpc="1">
                <a:prstTxWarp prst="textNoShape">
                  <a:avLst/>
                </a:prstTxWarp>
                <a:noAutofit/>
              </a:bodyPr>
              <a:lstStyle/>
              <a:p>
                <a:pPr algn="ctr" defTabSz="684794" fontAlgn="base">
                  <a:spcBef>
                    <a:spcPct val="0"/>
                  </a:spcBef>
                  <a:spcAft>
                    <a:spcPct val="0"/>
                  </a:spcAft>
                </a:pPr>
                <a:endParaRPr lang="en-US" sz="1575" spc="-75" dirty="0">
                  <a:ln w="3175">
                    <a:noFill/>
                  </a:ln>
                  <a:gradFill flip="none" rotWithShape="1">
                    <a:gsLst>
                      <a:gs pos="0">
                        <a:srgbClr val="1B3B41">
                          <a:lumMod val="65000"/>
                          <a:lumOff val="35000"/>
                        </a:srgbClr>
                      </a:gs>
                      <a:gs pos="86000">
                        <a:srgbClr val="1B3B41">
                          <a:lumMod val="65000"/>
                          <a:lumOff val="35000"/>
                        </a:srgbClr>
                      </a:gs>
                    </a:gsLst>
                    <a:lin ang="5400000" scaled="0"/>
                    <a:tileRect/>
                  </a:gradFill>
                  <a:cs typeface="Arial" charset="0"/>
                </a:endParaRPr>
              </a:p>
            </p:txBody>
          </p:sp>
          <p:grpSp>
            <p:nvGrpSpPr>
              <p:cNvPr id="25" name="Group 24"/>
              <p:cNvGrpSpPr/>
              <p:nvPr/>
            </p:nvGrpSpPr>
            <p:grpSpPr>
              <a:xfrm>
                <a:off x="11407862" y="366936"/>
                <a:ext cx="777240" cy="539496"/>
                <a:chOff x="11454660" y="478323"/>
                <a:chExt cx="437727" cy="302970"/>
              </a:xfrm>
            </p:grpSpPr>
            <p:sp>
              <p:nvSpPr>
                <p:cNvPr id="26" name="Oval 2"/>
                <p:cNvSpPr/>
                <p:nvPr/>
              </p:nvSpPr>
              <p:spPr bwMode="auto">
                <a:xfrm>
                  <a:off x="11454660" y="478323"/>
                  <a:ext cx="437727" cy="302970"/>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53" tIns="41127" rIns="41127" bIns="82253" numCol="1" spcCol="0" rtlCol="0" fromWordArt="0" anchor="b" anchorCtr="0" forceAA="0" compatLnSpc="1">
                  <a:prstTxWarp prst="textNoShape">
                    <a:avLst/>
                  </a:prstTxWarp>
                  <a:noAutofit/>
                </a:bodyPr>
                <a:lstStyle/>
                <a:p>
                  <a:pPr algn="ctr" defTabSz="821751" fontAlgn="base">
                    <a:spcBef>
                      <a:spcPct val="0"/>
                    </a:spcBef>
                    <a:spcAft>
                      <a:spcPct val="0"/>
                    </a:spcAft>
                  </a:pPr>
                  <a:endParaRPr lang="en-US" sz="1350" spc="-45"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 name="Group 26"/>
                <p:cNvGrpSpPr/>
                <p:nvPr/>
              </p:nvGrpSpPr>
              <p:grpSpPr>
                <a:xfrm>
                  <a:off x="11519241" y="617344"/>
                  <a:ext cx="285308" cy="80850"/>
                  <a:chOff x="691827" y="3506031"/>
                  <a:chExt cx="2666757" cy="755693"/>
                </a:xfrm>
                <a:solidFill>
                  <a:schemeClr val="accent5"/>
                </a:solidFill>
              </p:grpSpPr>
              <p:grpSp>
                <p:nvGrpSpPr>
                  <p:cNvPr id="28" name="Group 27"/>
                  <p:cNvGrpSpPr>
                    <a:grpSpLocks noChangeAspect="1"/>
                  </p:cNvGrpSpPr>
                  <p:nvPr/>
                </p:nvGrpSpPr>
                <p:grpSpPr>
                  <a:xfrm rot="20679101">
                    <a:off x="691827" y="3506031"/>
                    <a:ext cx="758555" cy="755693"/>
                    <a:chOff x="7798595" y="7042151"/>
                    <a:chExt cx="420688" cy="419100"/>
                  </a:xfrm>
                  <a:grpFill/>
                </p:grpSpPr>
                <p:sp>
                  <p:nvSpPr>
                    <p:cNvPr id="33"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p>
                  </p:txBody>
                </p:sp>
                <p:sp>
                  <p:nvSpPr>
                    <p:cNvPr id="34"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p>
                  </p:txBody>
                </p:sp>
              </p:grpSp>
              <p:grpSp>
                <p:nvGrpSpPr>
                  <p:cNvPr id="29" name="Group 5"/>
                  <p:cNvGrpSpPr>
                    <a:grpSpLocks noChangeAspect="1"/>
                  </p:cNvGrpSpPr>
                  <p:nvPr/>
                </p:nvGrpSpPr>
                <p:grpSpPr bwMode="auto">
                  <a:xfrm>
                    <a:off x="1450697" y="3636763"/>
                    <a:ext cx="1907887" cy="613019"/>
                    <a:chOff x="-78" y="-1937"/>
                    <a:chExt cx="7678" cy="2467"/>
                  </a:xfrm>
                  <a:grpFill/>
                </p:grpSpPr>
                <p:sp>
                  <p:nvSpPr>
                    <p:cNvPr id="30"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p>
                  </p:txBody>
                </p:sp>
                <p:sp>
                  <p:nvSpPr>
                    <p:cNvPr id="31"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p>
                  </p:txBody>
                </p:sp>
                <p:sp>
                  <p:nvSpPr>
                    <p:cNvPr id="32"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p>
                  </p:txBody>
                </p:sp>
              </p:grpSp>
            </p:grpSp>
          </p:grpSp>
        </p:grpSp>
        <p:sp>
          <p:nvSpPr>
            <p:cNvPr id="36" name="TextBox 35"/>
            <p:cNvSpPr txBox="1"/>
            <p:nvPr/>
          </p:nvSpPr>
          <p:spPr>
            <a:xfrm>
              <a:off x="324516" y="2058267"/>
              <a:ext cx="1070474" cy="715516"/>
            </a:xfrm>
            <a:prstGeom prst="rect">
              <a:avLst/>
            </a:prstGeom>
            <a:noFill/>
          </p:spPr>
          <p:txBody>
            <a:bodyPr wrap="square" lIns="91376" tIns="45688" rIns="91376" bIns="45688" rtlCol="0">
              <a:spAutoFit/>
            </a:bodyPr>
            <a:lstStyle/>
            <a:p>
              <a:r>
                <a:rPr lang="en-US" sz="1350" dirty="0">
                  <a:solidFill>
                    <a:schemeClr val="tx2"/>
                  </a:solidFill>
                </a:rPr>
                <a:t>CWS </a:t>
              </a:r>
            </a:p>
            <a:p>
              <a:r>
                <a:rPr lang="ja-JP" altLang="en-US" sz="1350" dirty="0" smtClean="0">
                  <a:solidFill>
                    <a:schemeClr val="tx2"/>
                  </a:solidFill>
                </a:rPr>
                <a:t>モバイル</a:t>
              </a:r>
              <a:endParaRPr lang="en-US" altLang="ja-JP" sz="1350" dirty="0" smtClean="0">
                <a:solidFill>
                  <a:schemeClr val="tx2"/>
                </a:solidFill>
              </a:endParaRPr>
            </a:p>
            <a:p>
              <a:r>
                <a:rPr lang="ja-JP" altLang="en-US" sz="1350" dirty="0" smtClean="0">
                  <a:solidFill>
                    <a:schemeClr val="tx2"/>
                  </a:solidFill>
                </a:rPr>
                <a:t>ブラウザ</a:t>
              </a:r>
              <a:endParaRPr lang="en-US" sz="1350" dirty="0" smtClean="0">
                <a:solidFill>
                  <a:schemeClr val="tx2"/>
                </a:solidFill>
              </a:endParaRPr>
            </a:p>
          </p:txBody>
        </p:sp>
        <p:cxnSp>
          <p:nvCxnSpPr>
            <p:cNvPr id="37" name="Straight Arrow Connector 36"/>
            <p:cNvCxnSpPr/>
            <p:nvPr/>
          </p:nvCxnSpPr>
          <p:spPr>
            <a:xfrm>
              <a:off x="2763441" y="2351790"/>
              <a:ext cx="3705837" cy="0"/>
            </a:xfrm>
            <a:prstGeom prst="straightConnector1">
              <a:avLst/>
            </a:prstGeom>
            <a:ln w="508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168663" y="2014643"/>
              <a:ext cx="2882408" cy="507767"/>
            </a:xfrm>
            <a:prstGeom prst="rect">
              <a:avLst/>
            </a:prstGeom>
            <a:noFill/>
          </p:spPr>
          <p:txBody>
            <a:bodyPr wrap="square" lIns="91376" tIns="45688" rIns="91376" bIns="45688" rtlCol="0">
              <a:spAutoFit/>
            </a:bodyPr>
            <a:lstStyle/>
            <a:p>
              <a:pPr algn="ctr"/>
              <a:r>
                <a:rPr lang="en-US" sz="1350" dirty="0">
                  <a:solidFill>
                    <a:schemeClr val="tx2"/>
                  </a:solidFill>
                </a:rPr>
                <a:t>Browser </a:t>
              </a:r>
              <a:r>
                <a:rPr lang="en-US" sz="1350" dirty="0" smtClean="0">
                  <a:solidFill>
                    <a:schemeClr val="tx2"/>
                  </a:solidFill>
                </a:rPr>
                <a:t>Traffic</a:t>
              </a:r>
              <a:endParaRPr lang="en-US" sz="1350" dirty="0">
                <a:solidFill>
                  <a:schemeClr val="tx2"/>
                </a:solidFill>
              </a:endParaRPr>
            </a:p>
            <a:p>
              <a:pPr algn="ctr"/>
              <a:endParaRPr lang="en-US" sz="1350" dirty="0">
                <a:solidFill>
                  <a:schemeClr val="tx2"/>
                </a:solidFill>
              </a:endParaRPr>
            </a:p>
          </p:txBody>
        </p:sp>
      </p:grpSp>
      <p:sp>
        <p:nvSpPr>
          <p:cNvPr id="41" name="TextBox 40"/>
          <p:cNvSpPr txBox="1"/>
          <p:nvPr/>
        </p:nvSpPr>
        <p:spPr>
          <a:xfrm>
            <a:off x="402630" y="914782"/>
            <a:ext cx="1040540" cy="300018"/>
          </a:xfrm>
          <a:prstGeom prst="rect">
            <a:avLst/>
          </a:prstGeom>
          <a:noFill/>
        </p:spPr>
        <p:txBody>
          <a:bodyPr wrap="none" lIns="91376" tIns="45688" rIns="91376" bIns="45688" rtlCol="0">
            <a:spAutoFit/>
          </a:bodyPr>
          <a:lstStyle/>
          <a:p>
            <a:r>
              <a:rPr lang="en-US" sz="1350" dirty="0" smtClean="0">
                <a:solidFill>
                  <a:schemeClr val="tx2"/>
                </a:solidFill>
              </a:rPr>
              <a:t>App Stores</a:t>
            </a:r>
            <a:endParaRPr lang="en-US" sz="1350" dirty="0">
              <a:solidFill>
                <a:schemeClr val="tx2"/>
              </a:solidFill>
            </a:endParaRPr>
          </a:p>
        </p:txBody>
      </p:sp>
    </p:spTree>
    <p:extLst>
      <p:ext uri="{BB962C8B-B14F-4D97-AF65-F5344CB8AC3E}">
        <p14:creationId xmlns:p14="http://schemas.microsoft.com/office/powerpoint/2010/main" val="3058333986"/>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WS </a:t>
            </a:r>
            <a:r>
              <a:rPr lang="ja-JP" altLang="en-US" dirty="0" smtClean="0"/>
              <a:t>モバイル</a:t>
            </a:r>
            <a:r>
              <a:rPr lang="en-US" altLang="ja-JP" dirty="0" smtClean="0"/>
              <a:t> - </a:t>
            </a:r>
            <a:r>
              <a:rPr lang="ja-JP" altLang="en-US" dirty="0" smtClean="0"/>
              <a:t>フェーズ</a:t>
            </a:r>
            <a:r>
              <a:rPr lang="en-US" dirty="0" smtClean="0"/>
              <a:t>2 Chromebooks</a:t>
            </a:r>
            <a:endParaRPr lang="en-US" dirty="0"/>
          </a:p>
        </p:txBody>
      </p:sp>
      <p:sp>
        <p:nvSpPr>
          <p:cNvPr id="6" name="TextBox 5"/>
          <p:cNvSpPr txBox="1"/>
          <p:nvPr/>
        </p:nvSpPr>
        <p:spPr>
          <a:xfrm>
            <a:off x="7735986" y="170163"/>
            <a:ext cx="1329570" cy="274158"/>
          </a:xfrm>
          <a:prstGeom prst="rect">
            <a:avLst/>
          </a:prstGeom>
          <a:noFill/>
        </p:spPr>
        <p:txBody>
          <a:bodyPr wrap="square" lIns="68556" tIns="34279" rIns="68556" bIns="34279" rtlCol="0">
            <a:spAutoFit/>
          </a:bodyPr>
          <a:lstStyle/>
          <a:p>
            <a:pPr defTabSz="685577">
              <a:lnSpc>
                <a:spcPct val="80000"/>
              </a:lnSpc>
              <a:spcBef>
                <a:spcPct val="0"/>
              </a:spcBef>
            </a:pPr>
            <a:r>
              <a:rPr lang="en-GB" sz="1600" dirty="0" smtClean="0">
                <a:solidFill>
                  <a:srgbClr val="00A2BF"/>
                </a:solidFill>
                <a:latin typeface="+mj-lt"/>
                <a:ea typeface="+mj-ea"/>
                <a:cs typeface="CiscoSans"/>
              </a:rPr>
              <a:t>Q3 CY2016</a:t>
            </a:r>
            <a:endParaRPr lang="en-GB" sz="1600" dirty="0">
              <a:solidFill>
                <a:srgbClr val="00A2BF"/>
              </a:solidFill>
              <a:latin typeface="+mj-lt"/>
              <a:ea typeface="+mj-ea"/>
              <a:cs typeface="CiscoSans"/>
            </a:endParaRPr>
          </a:p>
        </p:txBody>
      </p:sp>
      <p:grpSp>
        <p:nvGrpSpPr>
          <p:cNvPr id="5" name="Group 4"/>
          <p:cNvGrpSpPr/>
          <p:nvPr/>
        </p:nvGrpSpPr>
        <p:grpSpPr>
          <a:xfrm>
            <a:off x="364939" y="1093860"/>
            <a:ext cx="3125428" cy="1615233"/>
            <a:chOff x="437766" y="1393261"/>
            <a:chExt cx="2241000" cy="1958546"/>
          </a:xfrm>
        </p:grpSpPr>
        <p:sp>
          <p:nvSpPr>
            <p:cNvPr id="7" name="TextBox 6"/>
            <p:cNvSpPr txBox="1"/>
            <p:nvPr/>
          </p:nvSpPr>
          <p:spPr>
            <a:xfrm>
              <a:off x="437766" y="2225047"/>
              <a:ext cx="2241000" cy="1126760"/>
            </a:xfrm>
            <a:prstGeom prst="rect">
              <a:avLst/>
            </a:prstGeom>
            <a:gradFill rotWithShape="1">
              <a:gsLst>
                <a:gs pos="0">
                  <a:srgbClr val="00A3DE">
                    <a:tint val="100000"/>
                    <a:shade val="100000"/>
                    <a:satMod val="130000"/>
                  </a:srgbClr>
                </a:gs>
                <a:gs pos="100000">
                  <a:srgbClr val="00A3DE">
                    <a:tint val="50000"/>
                    <a:shade val="100000"/>
                    <a:satMod val="350000"/>
                  </a:srgbClr>
                </a:gs>
              </a:gsLst>
              <a:lin ang="16200000" scaled="0"/>
            </a:gradFill>
            <a:ln>
              <a:noFill/>
            </a:ln>
            <a:effectLst>
              <a:outerShdw blurRad="50800" dist="38100" dir="5400000" algn="t" rotWithShape="0">
                <a:prstClr val="black">
                  <a:alpha val="40000"/>
                </a:prstClr>
              </a:outerShdw>
            </a:effectLst>
          </p:spPr>
          <p:txBody>
            <a:bodyPr wrap="square" lIns="154325" tIns="25721" rIns="51442" bIns="25721" rtlCol="0" anchor="ctr" anchorCtr="0">
              <a:noAutofit/>
            </a:bodyPr>
            <a:lstStyle>
              <a:defPPr>
                <a:defRPr lang="en-US"/>
              </a:defPPr>
              <a:lvl1pPr marR="0" lvl="0" defTabSz="914362" fontAlgn="auto">
                <a:lnSpc>
                  <a:spcPct val="100000"/>
                </a:lnSpc>
                <a:spcBef>
                  <a:spcPts val="0"/>
                </a:spcBef>
                <a:spcAft>
                  <a:spcPts val="0"/>
                </a:spcAft>
                <a:buClrTx/>
                <a:buSzTx/>
                <a:tabLst/>
                <a:defRPr kumimoji="0" sz="2800" b="0" i="0" u="none" strike="noStrike" kern="0" cap="none" spc="0" normalizeH="0" baseline="0">
                  <a:ln>
                    <a:noFill/>
                  </a:ln>
                  <a:solidFill>
                    <a:schemeClr val="accent4">
                      <a:lumMod val="50000"/>
                    </a:schemeClr>
                  </a:solidFill>
                  <a:uLnTx/>
                  <a:uFillTx/>
                  <a:latin typeface="Arial"/>
                </a:defRPr>
              </a:lvl1pPr>
            </a:lstStyle>
            <a:p>
              <a:pPr marL="285750" indent="-285750">
                <a:buFont typeface="Arial" panose="020B0604020202020204" pitchFamily="34" charset="0"/>
                <a:buChar char="•"/>
              </a:pPr>
              <a:r>
                <a:rPr lang="ja-JP" altLang="en-US" sz="1400" dirty="0" smtClean="0">
                  <a:solidFill>
                    <a:schemeClr val="accent4">
                      <a:lumMod val="25000"/>
                    </a:schemeClr>
                  </a:solidFill>
                </a:rPr>
                <a:t>配布、設定をすべてマネージできる</a:t>
              </a:r>
              <a:endParaRPr lang="en-US" sz="1400" dirty="0">
                <a:solidFill>
                  <a:schemeClr val="accent4">
                    <a:lumMod val="25000"/>
                  </a:schemeClr>
                </a:solidFill>
              </a:endParaRPr>
            </a:p>
          </p:txBody>
        </p:sp>
        <p:sp>
          <p:nvSpPr>
            <p:cNvPr id="8" name="Rectangle 7"/>
            <p:cNvSpPr/>
            <p:nvPr/>
          </p:nvSpPr>
          <p:spPr>
            <a:xfrm>
              <a:off x="437766" y="1393261"/>
              <a:ext cx="2241000" cy="84055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n w="25400" cap="flat" cmpd="sng" algn="ctr">
              <a:noFill/>
              <a:prstDash val="solid"/>
            </a:ln>
            <a:effectLst>
              <a:outerShdw blurRad="50800" dist="38100" dir="5400000" algn="t" rotWithShape="0">
                <a:prstClr val="black">
                  <a:alpha val="40000"/>
                </a:prstClr>
              </a:outerShdw>
            </a:effectLst>
          </p:spPr>
          <p:txBody>
            <a:bodyPr lIns="51442" tIns="25721" rIns="51442" bIns="25721" rtlCol="0" anchor="ctr"/>
            <a:lstStyle/>
            <a:p>
              <a:pPr algn="ctr" defTabSz="514397">
                <a:defRPr/>
              </a:pPr>
              <a:r>
                <a:rPr lang="ja-JP" altLang="en-US" sz="1400" kern="0" dirty="0" smtClean="0">
                  <a:solidFill>
                    <a:prstClr val="white"/>
                  </a:solidFill>
                  <a:latin typeface="Arial"/>
                </a:rPr>
                <a:t>教育機関での需要</a:t>
              </a:r>
              <a:endParaRPr lang="en-US" sz="1400" kern="0" dirty="0">
                <a:solidFill>
                  <a:prstClr val="white"/>
                </a:solidFill>
                <a:latin typeface="Arial"/>
              </a:endParaRPr>
            </a:p>
          </p:txBody>
        </p:sp>
      </p:grpSp>
      <p:grpSp>
        <p:nvGrpSpPr>
          <p:cNvPr id="9" name="Group 8"/>
          <p:cNvGrpSpPr/>
          <p:nvPr/>
        </p:nvGrpSpPr>
        <p:grpSpPr>
          <a:xfrm>
            <a:off x="5524955" y="1093860"/>
            <a:ext cx="3125428" cy="1615233"/>
            <a:chOff x="437766" y="1393261"/>
            <a:chExt cx="2241000" cy="1958546"/>
          </a:xfrm>
        </p:grpSpPr>
        <p:sp>
          <p:nvSpPr>
            <p:cNvPr id="10" name="TextBox 9"/>
            <p:cNvSpPr txBox="1"/>
            <p:nvPr/>
          </p:nvSpPr>
          <p:spPr>
            <a:xfrm>
              <a:off x="437766" y="2225047"/>
              <a:ext cx="2241000" cy="1126760"/>
            </a:xfrm>
            <a:prstGeom prst="rect">
              <a:avLst/>
            </a:prstGeom>
            <a:gradFill rotWithShape="1">
              <a:gsLst>
                <a:gs pos="0">
                  <a:srgbClr val="00A3DE">
                    <a:tint val="100000"/>
                    <a:shade val="100000"/>
                    <a:satMod val="130000"/>
                  </a:srgbClr>
                </a:gs>
                <a:gs pos="100000">
                  <a:srgbClr val="00A3DE">
                    <a:tint val="50000"/>
                    <a:shade val="100000"/>
                    <a:satMod val="350000"/>
                  </a:srgbClr>
                </a:gs>
              </a:gsLst>
              <a:lin ang="16200000" scaled="0"/>
            </a:gradFill>
            <a:ln>
              <a:noFill/>
            </a:ln>
            <a:effectLst>
              <a:outerShdw blurRad="50800" dist="38100" dir="5400000" algn="t" rotWithShape="0">
                <a:prstClr val="black">
                  <a:alpha val="40000"/>
                </a:prstClr>
              </a:outerShdw>
            </a:effectLst>
          </p:spPr>
          <p:txBody>
            <a:bodyPr wrap="square" lIns="154325" tIns="25721" rIns="51442" bIns="25721" rtlCol="0" anchor="ctr" anchorCtr="0">
              <a:noAutofit/>
            </a:bodyPr>
            <a:lstStyle>
              <a:defPPr>
                <a:defRPr lang="en-US"/>
              </a:defPPr>
              <a:lvl1pPr marR="0" lvl="0" defTabSz="914362" fontAlgn="auto">
                <a:lnSpc>
                  <a:spcPct val="100000"/>
                </a:lnSpc>
                <a:spcBef>
                  <a:spcPts val="0"/>
                </a:spcBef>
                <a:spcAft>
                  <a:spcPts val="0"/>
                </a:spcAft>
                <a:buClrTx/>
                <a:buSzTx/>
                <a:tabLst/>
                <a:defRPr kumimoji="0" sz="2800" b="0" i="0" u="none" strike="noStrike" kern="0" cap="none" spc="0" normalizeH="0" baseline="0">
                  <a:ln>
                    <a:noFill/>
                  </a:ln>
                  <a:solidFill>
                    <a:schemeClr val="accent4">
                      <a:lumMod val="50000"/>
                    </a:schemeClr>
                  </a:solidFill>
                  <a:uLnTx/>
                  <a:uFillTx/>
                  <a:latin typeface="Arial"/>
                </a:defRPr>
              </a:lvl1pPr>
            </a:lstStyle>
            <a:p>
              <a:pPr marL="177800" indent="-177800">
                <a:buFont typeface="Arial" panose="020B0604020202020204" pitchFamily="34" charset="0"/>
                <a:buChar char="•"/>
              </a:pPr>
              <a:r>
                <a:rPr lang="en-US" altLang="ja-JP" sz="1400" dirty="0" smtClean="0">
                  <a:solidFill>
                    <a:schemeClr val="accent4">
                      <a:lumMod val="25000"/>
                    </a:schemeClr>
                  </a:solidFill>
                </a:rPr>
                <a:t>Email</a:t>
              </a:r>
              <a:r>
                <a:rPr lang="ja-JP" altLang="en-US" sz="1400" dirty="0" smtClean="0">
                  <a:solidFill>
                    <a:schemeClr val="accent4">
                      <a:lumMod val="25000"/>
                    </a:schemeClr>
                  </a:solidFill>
                </a:rPr>
                <a:t>を用いた認証</a:t>
              </a:r>
              <a:endParaRPr lang="en-US" altLang="ja-JP" sz="1400" dirty="0">
                <a:solidFill>
                  <a:schemeClr val="accent4">
                    <a:lumMod val="25000"/>
                  </a:schemeClr>
                </a:solidFill>
              </a:endParaRPr>
            </a:p>
            <a:p>
              <a:pPr marL="177800" indent="-177800">
                <a:buFont typeface="Arial" panose="020B0604020202020204" pitchFamily="34" charset="0"/>
                <a:buChar char="•"/>
              </a:pPr>
              <a:r>
                <a:rPr lang="en-US" sz="1400" dirty="0" smtClean="0">
                  <a:solidFill>
                    <a:schemeClr val="accent4">
                      <a:lumMod val="25000"/>
                    </a:schemeClr>
                  </a:solidFill>
                </a:rPr>
                <a:t>YouTube </a:t>
              </a:r>
              <a:r>
                <a:rPr lang="en-US" sz="1400" dirty="0">
                  <a:solidFill>
                    <a:schemeClr val="accent4">
                      <a:lumMod val="25000"/>
                    </a:schemeClr>
                  </a:solidFill>
                </a:rPr>
                <a:t>for </a:t>
              </a:r>
              <a:r>
                <a:rPr lang="en-US" sz="1400" dirty="0" smtClean="0">
                  <a:solidFill>
                    <a:schemeClr val="accent4">
                      <a:lumMod val="25000"/>
                    </a:schemeClr>
                  </a:solidFill>
                </a:rPr>
                <a:t>Schools</a:t>
              </a:r>
            </a:p>
            <a:p>
              <a:pPr marL="177800" indent="-177800">
                <a:buFont typeface="Arial" panose="020B0604020202020204" pitchFamily="34" charset="0"/>
                <a:buChar char="•"/>
              </a:pPr>
              <a:r>
                <a:rPr lang="en-US" sz="1400" dirty="0" smtClean="0">
                  <a:solidFill>
                    <a:schemeClr val="accent4">
                      <a:lumMod val="25000"/>
                    </a:schemeClr>
                  </a:solidFill>
                </a:rPr>
                <a:t>Safe </a:t>
              </a:r>
              <a:r>
                <a:rPr lang="en-US" sz="1400" dirty="0">
                  <a:solidFill>
                    <a:schemeClr val="accent4">
                      <a:lumMod val="25000"/>
                    </a:schemeClr>
                  </a:solidFill>
                </a:rPr>
                <a:t>Search</a:t>
              </a:r>
            </a:p>
          </p:txBody>
        </p:sp>
        <p:sp>
          <p:nvSpPr>
            <p:cNvPr id="11" name="Rectangle 10"/>
            <p:cNvSpPr/>
            <p:nvPr/>
          </p:nvSpPr>
          <p:spPr>
            <a:xfrm>
              <a:off x="437766" y="1393261"/>
              <a:ext cx="2241000" cy="84055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n w="25400" cap="flat" cmpd="sng" algn="ctr">
              <a:noFill/>
              <a:prstDash val="solid"/>
            </a:ln>
            <a:effectLst>
              <a:outerShdw blurRad="50800" dist="38100" dir="5400000" algn="t" rotWithShape="0">
                <a:prstClr val="black">
                  <a:alpha val="40000"/>
                </a:prstClr>
              </a:outerShdw>
            </a:effectLst>
          </p:spPr>
          <p:txBody>
            <a:bodyPr lIns="51442" tIns="25721" rIns="51442" bIns="25721" rtlCol="0" anchor="ctr"/>
            <a:lstStyle/>
            <a:p>
              <a:pPr algn="ctr" defTabSz="514397">
                <a:defRPr/>
              </a:pPr>
              <a:r>
                <a:rPr lang="en-US" sz="1400" kern="0" dirty="0" smtClean="0">
                  <a:solidFill>
                    <a:prstClr val="white"/>
                  </a:solidFill>
                  <a:latin typeface="Arial"/>
                </a:rPr>
                <a:t>Google </a:t>
              </a:r>
              <a:r>
                <a:rPr lang="en-US" sz="1400" kern="0" dirty="0">
                  <a:solidFill>
                    <a:prstClr val="white"/>
                  </a:solidFill>
                  <a:latin typeface="Arial"/>
                </a:rPr>
                <a:t>Apps </a:t>
              </a:r>
              <a:r>
                <a:rPr lang="en-US" sz="1400" kern="0" dirty="0" smtClean="0">
                  <a:solidFill>
                    <a:prstClr val="white"/>
                  </a:solidFill>
                  <a:latin typeface="Arial"/>
                </a:rPr>
                <a:t>for Education</a:t>
              </a:r>
              <a:r>
                <a:rPr lang="ja-JP" altLang="en-US" sz="1400" kern="0" dirty="0" smtClean="0">
                  <a:solidFill>
                    <a:prstClr val="white"/>
                  </a:solidFill>
                  <a:latin typeface="Arial"/>
                </a:rPr>
                <a:t>との連携</a:t>
              </a:r>
              <a:endParaRPr lang="en-US" sz="1400" kern="0" dirty="0">
                <a:solidFill>
                  <a:prstClr val="white"/>
                </a:solidFill>
                <a:latin typeface="Arial"/>
              </a:endParaRPr>
            </a:p>
          </p:txBody>
        </p:sp>
      </p:grpSp>
      <p:grpSp>
        <p:nvGrpSpPr>
          <p:cNvPr id="12" name="Group 11"/>
          <p:cNvGrpSpPr/>
          <p:nvPr/>
        </p:nvGrpSpPr>
        <p:grpSpPr>
          <a:xfrm>
            <a:off x="364939" y="2875850"/>
            <a:ext cx="3125428" cy="1615233"/>
            <a:chOff x="437766" y="1393261"/>
            <a:chExt cx="2241000" cy="1958546"/>
          </a:xfrm>
        </p:grpSpPr>
        <p:sp>
          <p:nvSpPr>
            <p:cNvPr id="13" name="TextBox 12"/>
            <p:cNvSpPr txBox="1"/>
            <p:nvPr/>
          </p:nvSpPr>
          <p:spPr>
            <a:xfrm>
              <a:off x="437766" y="2225047"/>
              <a:ext cx="2241000" cy="1126760"/>
            </a:xfrm>
            <a:prstGeom prst="rect">
              <a:avLst/>
            </a:prstGeom>
            <a:gradFill rotWithShape="1">
              <a:gsLst>
                <a:gs pos="0">
                  <a:srgbClr val="00A3DE">
                    <a:tint val="100000"/>
                    <a:shade val="100000"/>
                    <a:satMod val="130000"/>
                  </a:srgbClr>
                </a:gs>
                <a:gs pos="100000">
                  <a:srgbClr val="00A3DE">
                    <a:tint val="50000"/>
                    <a:shade val="100000"/>
                    <a:satMod val="350000"/>
                  </a:srgbClr>
                </a:gs>
              </a:gsLst>
              <a:lin ang="16200000" scaled="0"/>
            </a:gradFill>
            <a:ln>
              <a:noFill/>
            </a:ln>
            <a:effectLst>
              <a:outerShdw blurRad="50800" dist="38100" dir="5400000" algn="t" rotWithShape="0">
                <a:prstClr val="black">
                  <a:alpha val="40000"/>
                </a:prstClr>
              </a:outerShdw>
            </a:effectLst>
          </p:spPr>
          <p:txBody>
            <a:bodyPr wrap="square" lIns="154325" tIns="25721" rIns="51442" bIns="25721" rtlCol="0" anchor="ctr" anchorCtr="0">
              <a:noAutofit/>
            </a:bodyPr>
            <a:lstStyle>
              <a:defPPr>
                <a:defRPr lang="en-US"/>
              </a:defPPr>
              <a:lvl1pPr marR="0" lvl="0" defTabSz="914362" fontAlgn="auto">
                <a:lnSpc>
                  <a:spcPct val="100000"/>
                </a:lnSpc>
                <a:spcBef>
                  <a:spcPts val="0"/>
                </a:spcBef>
                <a:spcAft>
                  <a:spcPts val="0"/>
                </a:spcAft>
                <a:buClrTx/>
                <a:buSzTx/>
                <a:tabLst/>
                <a:defRPr kumimoji="0" sz="2800" b="0" i="0" u="none" strike="noStrike" kern="0" cap="none" spc="0" normalizeH="0" baseline="0">
                  <a:ln>
                    <a:noFill/>
                  </a:ln>
                  <a:solidFill>
                    <a:schemeClr val="accent4">
                      <a:lumMod val="50000"/>
                    </a:schemeClr>
                  </a:solidFill>
                  <a:uLnTx/>
                  <a:uFillTx/>
                  <a:latin typeface="Arial"/>
                </a:defRPr>
              </a:lvl1pPr>
            </a:lstStyle>
            <a:p>
              <a:pPr marL="177800" indent="-177800">
                <a:buFont typeface="Arial" panose="020B0604020202020204" pitchFamily="34" charset="0"/>
                <a:buChar char="•"/>
              </a:pPr>
              <a:endParaRPr lang="en-US" sz="1400" dirty="0" smtClean="0">
                <a:solidFill>
                  <a:schemeClr val="accent4">
                    <a:lumMod val="25000"/>
                  </a:schemeClr>
                </a:solidFill>
              </a:endParaRPr>
            </a:p>
            <a:p>
              <a:pPr marL="177800" indent="-177800">
                <a:buFont typeface="Arial" panose="020B0604020202020204" pitchFamily="34" charset="0"/>
                <a:buChar char="•"/>
              </a:pPr>
              <a:r>
                <a:rPr lang="en-US" sz="1400" dirty="0" smtClean="0">
                  <a:solidFill>
                    <a:schemeClr val="accent4">
                      <a:lumMod val="25000"/>
                    </a:schemeClr>
                  </a:solidFill>
                </a:rPr>
                <a:t>Connector</a:t>
              </a:r>
              <a:r>
                <a:rPr lang="ja-JP" altLang="en-US" sz="1400" dirty="0" smtClean="0">
                  <a:solidFill>
                    <a:schemeClr val="accent4">
                      <a:lumMod val="25000"/>
                    </a:schemeClr>
                  </a:solidFill>
                </a:rPr>
                <a:t>とライセンスキーの連動</a:t>
              </a:r>
              <a:endParaRPr lang="en-US" sz="1400" dirty="0" smtClean="0">
                <a:solidFill>
                  <a:schemeClr val="accent4">
                    <a:lumMod val="25000"/>
                  </a:schemeClr>
                </a:solidFill>
              </a:endParaRPr>
            </a:p>
            <a:p>
              <a:pPr marL="177800" indent="-177800">
                <a:buFont typeface="Arial" panose="020B0604020202020204" pitchFamily="34" charset="0"/>
                <a:buChar char="•"/>
              </a:pPr>
              <a:r>
                <a:rPr lang="ja-JP" altLang="en-US" sz="1400" dirty="0" smtClean="0">
                  <a:solidFill>
                    <a:schemeClr val="accent4">
                      <a:lumMod val="25000"/>
                    </a:schemeClr>
                  </a:solidFill>
                </a:rPr>
                <a:t>モバイルブラウザ用のインフラ上で実現できる</a:t>
              </a:r>
              <a:endParaRPr lang="en-US" sz="1400" dirty="0" smtClean="0">
                <a:solidFill>
                  <a:schemeClr val="accent4">
                    <a:lumMod val="25000"/>
                  </a:schemeClr>
                </a:solidFill>
              </a:endParaRPr>
            </a:p>
          </p:txBody>
        </p:sp>
        <p:sp>
          <p:nvSpPr>
            <p:cNvPr id="14" name="Rectangle 13"/>
            <p:cNvSpPr/>
            <p:nvPr/>
          </p:nvSpPr>
          <p:spPr>
            <a:xfrm>
              <a:off x="437766" y="1393261"/>
              <a:ext cx="2241000" cy="84055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n w="25400" cap="flat" cmpd="sng" algn="ctr">
              <a:noFill/>
              <a:prstDash val="solid"/>
            </a:ln>
            <a:effectLst>
              <a:outerShdw blurRad="50800" dist="38100" dir="5400000" algn="t" rotWithShape="0">
                <a:prstClr val="black">
                  <a:alpha val="40000"/>
                </a:prstClr>
              </a:outerShdw>
            </a:effectLst>
          </p:spPr>
          <p:txBody>
            <a:bodyPr lIns="51442" tIns="25721" rIns="51442" bIns="25721" rtlCol="0" anchor="ctr"/>
            <a:lstStyle/>
            <a:p>
              <a:pPr algn="ctr" defTabSz="514397">
                <a:defRPr/>
              </a:pPr>
              <a:r>
                <a:rPr lang="en-US" sz="1400" kern="0" dirty="0" smtClean="0">
                  <a:solidFill>
                    <a:prstClr val="white"/>
                  </a:solidFill>
                  <a:latin typeface="Arial"/>
                </a:rPr>
                <a:t>Light-weight Chrome </a:t>
              </a:r>
              <a:r>
                <a:rPr lang="ja-JP" altLang="en-US" sz="1400" kern="0" dirty="0" smtClean="0">
                  <a:solidFill>
                    <a:prstClr val="white"/>
                  </a:solidFill>
                  <a:latin typeface="Arial"/>
                </a:rPr>
                <a:t>エクステンション</a:t>
              </a:r>
              <a:endParaRPr lang="en-US" sz="1400" kern="0" dirty="0">
                <a:solidFill>
                  <a:prstClr val="white"/>
                </a:solidFill>
                <a:latin typeface="Arial"/>
              </a:endParaRPr>
            </a:p>
          </p:txBody>
        </p:sp>
      </p:grpSp>
      <p:grpSp>
        <p:nvGrpSpPr>
          <p:cNvPr id="15" name="Group 14"/>
          <p:cNvGrpSpPr/>
          <p:nvPr/>
        </p:nvGrpSpPr>
        <p:grpSpPr>
          <a:xfrm>
            <a:off x="5524955" y="2875850"/>
            <a:ext cx="3125428" cy="1615233"/>
            <a:chOff x="437766" y="1393261"/>
            <a:chExt cx="2241000" cy="1958546"/>
          </a:xfrm>
        </p:grpSpPr>
        <p:sp>
          <p:nvSpPr>
            <p:cNvPr id="16" name="TextBox 15"/>
            <p:cNvSpPr txBox="1"/>
            <p:nvPr/>
          </p:nvSpPr>
          <p:spPr>
            <a:xfrm>
              <a:off x="437766" y="2225047"/>
              <a:ext cx="2241000" cy="1126760"/>
            </a:xfrm>
            <a:prstGeom prst="rect">
              <a:avLst/>
            </a:prstGeom>
            <a:gradFill rotWithShape="1">
              <a:gsLst>
                <a:gs pos="0">
                  <a:srgbClr val="00A3DE">
                    <a:tint val="100000"/>
                    <a:shade val="100000"/>
                    <a:satMod val="130000"/>
                  </a:srgbClr>
                </a:gs>
                <a:gs pos="100000">
                  <a:srgbClr val="00A3DE">
                    <a:tint val="50000"/>
                    <a:shade val="100000"/>
                    <a:satMod val="350000"/>
                  </a:srgbClr>
                </a:gs>
              </a:gsLst>
              <a:lin ang="16200000" scaled="0"/>
            </a:gradFill>
            <a:ln>
              <a:noFill/>
            </a:ln>
            <a:effectLst>
              <a:outerShdw blurRad="50800" dist="38100" dir="5400000" algn="t" rotWithShape="0">
                <a:prstClr val="black">
                  <a:alpha val="40000"/>
                </a:prstClr>
              </a:outerShdw>
            </a:effectLst>
          </p:spPr>
          <p:txBody>
            <a:bodyPr wrap="square" lIns="154325" tIns="25721" rIns="51442" bIns="25721" rtlCol="0" anchor="ctr" anchorCtr="0">
              <a:noAutofit/>
            </a:bodyPr>
            <a:lstStyle>
              <a:defPPr>
                <a:defRPr lang="en-US"/>
              </a:defPPr>
              <a:lvl1pPr marR="0" lvl="0" defTabSz="914362" fontAlgn="auto">
                <a:lnSpc>
                  <a:spcPct val="100000"/>
                </a:lnSpc>
                <a:spcBef>
                  <a:spcPts val="0"/>
                </a:spcBef>
                <a:spcAft>
                  <a:spcPts val="0"/>
                </a:spcAft>
                <a:buClrTx/>
                <a:buSzTx/>
                <a:tabLst/>
                <a:defRPr kumimoji="0" sz="2800" b="0" i="0" u="none" strike="noStrike" kern="0" cap="none" spc="0" normalizeH="0" baseline="0">
                  <a:ln>
                    <a:noFill/>
                  </a:ln>
                  <a:solidFill>
                    <a:schemeClr val="accent4">
                      <a:lumMod val="50000"/>
                    </a:schemeClr>
                  </a:solidFill>
                  <a:uLnTx/>
                  <a:uFillTx/>
                  <a:latin typeface="Arial"/>
                </a:defRPr>
              </a:lvl1pPr>
            </a:lstStyle>
            <a:p>
              <a:pPr marL="177800" indent="-177800">
                <a:buFont typeface="Arial" panose="020B0604020202020204" pitchFamily="34" charset="0"/>
                <a:buChar char="•"/>
              </a:pPr>
              <a:r>
                <a:rPr lang="en-US" altLang="ja-JP" sz="1400" dirty="0" smtClean="0">
                  <a:solidFill>
                    <a:schemeClr val="accent4">
                      <a:lumMod val="25000"/>
                    </a:schemeClr>
                  </a:solidFill>
                </a:rPr>
                <a:t>CWS</a:t>
              </a:r>
              <a:r>
                <a:rPr lang="ja-JP" altLang="en-US" sz="1400" dirty="0" smtClean="0">
                  <a:solidFill>
                    <a:schemeClr val="accent4">
                      <a:lumMod val="25000"/>
                    </a:schemeClr>
                  </a:solidFill>
                </a:rPr>
                <a:t>タワーの自動検知</a:t>
              </a:r>
              <a:endParaRPr lang="en-US" sz="1400" dirty="0" smtClean="0">
                <a:solidFill>
                  <a:schemeClr val="accent4">
                    <a:lumMod val="25000"/>
                  </a:schemeClr>
                </a:solidFill>
              </a:endParaRPr>
            </a:p>
            <a:p>
              <a:pPr marL="177800" indent="-177800">
                <a:buFont typeface="Arial" panose="020B0604020202020204" pitchFamily="34" charset="0"/>
                <a:buChar char="•"/>
              </a:pPr>
              <a:r>
                <a:rPr lang="en-US" sz="1400" dirty="0" smtClean="0">
                  <a:solidFill>
                    <a:schemeClr val="accent4">
                      <a:lumMod val="25000"/>
                    </a:schemeClr>
                  </a:solidFill>
                </a:rPr>
                <a:t>Trusted Network Detection</a:t>
              </a:r>
            </a:p>
            <a:p>
              <a:pPr marL="177800" indent="-177800">
                <a:buFont typeface="Arial" panose="020B0604020202020204" pitchFamily="34" charset="0"/>
                <a:buChar char="•"/>
              </a:pPr>
              <a:r>
                <a:rPr lang="ja-JP" altLang="en-US" sz="1400" dirty="0" smtClean="0">
                  <a:solidFill>
                    <a:schemeClr val="accent4">
                      <a:lumMod val="25000"/>
                    </a:schemeClr>
                  </a:solidFill>
                </a:rPr>
                <a:t>ホワイトリスト（クラウドバイパス）</a:t>
              </a:r>
              <a:endParaRPr lang="en-US" sz="1400" dirty="0" smtClean="0">
                <a:solidFill>
                  <a:schemeClr val="accent4">
                    <a:lumMod val="25000"/>
                  </a:schemeClr>
                </a:solidFill>
              </a:endParaRPr>
            </a:p>
          </p:txBody>
        </p:sp>
        <p:sp>
          <p:nvSpPr>
            <p:cNvPr id="17" name="Rectangle 16"/>
            <p:cNvSpPr/>
            <p:nvPr/>
          </p:nvSpPr>
          <p:spPr>
            <a:xfrm>
              <a:off x="437766" y="1393261"/>
              <a:ext cx="2241000" cy="840553"/>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n w="25400" cap="flat" cmpd="sng" algn="ctr">
              <a:noFill/>
              <a:prstDash val="solid"/>
            </a:ln>
            <a:effectLst>
              <a:outerShdw blurRad="50800" dist="38100" dir="5400000" algn="t" rotWithShape="0">
                <a:prstClr val="black">
                  <a:alpha val="40000"/>
                </a:prstClr>
              </a:outerShdw>
            </a:effectLst>
          </p:spPr>
          <p:txBody>
            <a:bodyPr lIns="51442" tIns="25721" rIns="51442" bIns="25721" rtlCol="0" anchor="ctr"/>
            <a:lstStyle/>
            <a:p>
              <a:pPr algn="ctr" defTabSz="514397">
                <a:defRPr/>
              </a:pPr>
              <a:r>
                <a:rPr lang="ja-JP" altLang="en-US" sz="1400" kern="0" dirty="0" smtClean="0">
                  <a:solidFill>
                    <a:prstClr val="white"/>
                  </a:solidFill>
                  <a:latin typeface="Arial"/>
                </a:rPr>
                <a:t>ローミング機能</a:t>
              </a:r>
              <a:endParaRPr lang="en-US" sz="1400" kern="0" dirty="0">
                <a:solidFill>
                  <a:prstClr val="white"/>
                </a:solidFill>
                <a:latin typeface="Arial"/>
              </a:endParaRPr>
            </a:p>
          </p:txBody>
        </p:sp>
      </p:grpSp>
      <p:pic>
        <p:nvPicPr>
          <p:cNvPr id="18" name="Picture 2" descr="http://antzfxway.com/wp-content/uploads/2010/08/chrome-extensions-logo.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04476" y="2994948"/>
            <a:ext cx="1774002" cy="1141684"/>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https://www.cirrusinsight.com/wp-content/uploads/2014/11/Google-Apps-for-Education.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92761" y="1330095"/>
            <a:ext cx="1801905" cy="9050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037104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par>
                          <p:cTn id="13" fill="hold">
                            <p:stCondLst>
                              <p:cond delay="500"/>
                            </p:stCondLst>
                            <p:childTnLst>
                              <p:par>
                                <p:cTn id="14" presetID="10" presetClass="entr" presetSubtype="0" fill="hold" nodeType="after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par>
                          <p:cTn id="22" fill="hold">
                            <p:stCondLst>
                              <p:cond delay="500"/>
                            </p:stCondLst>
                            <p:childTnLst>
                              <p:par>
                                <p:cTn id="23" presetID="10" presetClass="entr" presetSubtype="0" fill="hold" nodeType="afterEffect">
                                  <p:stCondLst>
                                    <p:cond delay="50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500"/>
                                        <p:tgtEl>
                                          <p:spTgt spid="18"/>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17893" y="1540553"/>
            <a:ext cx="7742281" cy="2278837"/>
          </a:xfrm>
        </p:spPr>
        <p:txBody>
          <a:bodyPr/>
          <a:lstStyle/>
          <a:p>
            <a:r>
              <a:rPr lang="en-US" dirty="0" smtClean="0"/>
              <a:t> CWS &amp; </a:t>
            </a:r>
            <a:br>
              <a:rPr lang="en-US" dirty="0" smtClean="0"/>
            </a:br>
            <a:r>
              <a:rPr lang="en-US" dirty="0" smtClean="0"/>
              <a:t>Office 365</a:t>
            </a:r>
            <a:endParaRPr lang="en-US" dirty="0"/>
          </a:p>
        </p:txBody>
      </p:sp>
      <p:grpSp>
        <p:nvGrpSpPr>
          <p:cNvPr id="5" name="Group 4"/>
          <p:cNvGrpSpPr/>
          <p:nvPr/>
        </p:nvGrpSpPr>
        <p:grpSpPr>
          <a:xfrm>
            <a:off x="4802625" y="1835372"/>
            <a:ext cx="2953593" cy="1618407"/>
            <a:chOff x="4199765" y="1634591"/>
            <a:chExt cx="2953593" cy="1618407"/>
          </a:xfrm>
        </p:grpSpPr>
        <p:pic>
          <p:nvPicPr>
            <p:cNvPr id="19458" name="Picture 2" descr="http://rack.2.mshcdn.com/media/ZgkyMDE0LzEwLzI3L2Q3L21pY3Jvc29mdG9mLjJhZjc1LmpwZwpwCXRodW1iCTE0Mzh4CmUJanBn/ec54d6e5/9f1/microsoft-office-365.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4199765" y="1634591"/>
              <a:ext cx="2953593" cy="161840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ttp://rack.2.mshcdn.com/media/ZgkyMDE0LzEwLzI3L2Q3L21pY3Jvc29mdG9mLjJhZjc1LmpwZwpwCXRodW1iCTE0Mzh4CmUJanBn/ec54d6e5/9f1/microsoft-office-365.jpg"/>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5858633" y="1772156"/>
              <a:ext cx="1246073" cy="784927"/>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337361" y="2213171"/>
              <a:ext cx="807805" cy="369332"/>
            </a:xfrm>
            <a:prstGeom prst="rect">
              <a:avLst/>
            </a:prstGeom>
            <a:noFill/>
          </p:spPr>
          <p:txBody>
            <a:bodyPr wrap="square" rtlCol="0">
              <a:spAutoFit/>
            </a:bodyPr>
            <a:lstStyle/>
            <a:p>
              <a:r>
                <a:rPr lang="en-US" b="1" dirty="0" smtClean="0">
                  <a:solidFill>
                    <a:schemeClr val="tx2"/>
                  </a:solidFill>
                </a:rPr>
                <a:t>CWS</a:t>
              </a:r>
              <a:endParaRPr lang="en-US" b="1" dirty="0">
                <a:solidFill>
                  <a:schemeClr val="tx2"/>
                </a:solidFill>
              </a:endParaRPr>
            </a:p>
          </p:txBody>
        </p:sp>
        <p:grpSp>
          <p:nvGrpSpPr>
            <p:cNvPr id="22" name="Group 21"/>
            <p:cNvGrpSpPr>
              <a:grpSpLocks noChangeAspect="1"/>
            </p:cNvGrpSpPr>
            <p:nvPr/>
          </p:nvGrpSpPr>
          <p:grpSpPr>
            <a:xfrm rot="20679101">
              <a:off x="6229475" y="2220487"/>
              <a:ext cx="213254" cy="261824"/>
              <a:chOff x="7798595" y="7042151"/>
              <a:chExt cx="420688" cy="419100"/>
            </a:xfrm>
            <a:solidFill>
              <a:schemeClr val="tx2"/>
            </a:solidFill>
          </p:grpSpPr>
          <p:sp>
            <p:nvSpPr>
              <p:cNvPr id="23"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solidFill>
                    <a:schemeClr val="tx2"/>
                  </a:solidFill>
                </a:endParaRPr>
              </a:p>
            </p:txBody>
          </p:sp>
          <p:sp>
            <p:nvSpPr>
              <p:cNvPr id="24"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solidFill>
                    <a:schemeClr val="tx2"/>
                  </a:solidFill>
                </a:endParaRPr>
              </a:p>
            </p:txBody>
          </p:sp>
        </p:grpSp>
      </p:grpSp>
    </p:spTree>
    <p:extLst>
      <p:ext uri="{BB962C8B-B14F-4D97-AF65-F5344CB8AC3E}">
        <p14:creationId xmlns:p14="http://schemas.microsoft.com/office/powerpoint/2010/main" val="384045427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226410"/>
            <a:ext cx="8470032" cy="3361776"/>
          </a:xfrm>
        </p:spPr>
        <p:txBody>
          <a:bodyPr/>
          <a:lstStyle/>
          <a:p>
            <a:r>
              <a:rPr lang="en-US" altLang="ja-JP" dirty="0" smtClean="0"/>
              <a:t>O365</a:t>
            </a:r>
            <a:r>
              <a:rPr lang="ja-JP" altLang="en-US" dirty="0" smtClean="0"/>
              <a:t>との通信フローは以下の設定が現状望ましい</a:t>
            </a:r>
            <a:endParaRPr lang="en-US" dirty="0" smtClean="0"/>
          </a:p>
          <a:p>
            <a:pPr lvl="1"/>
            <a:r>
              <a:rPr lang="en-US" dirty="0" smtClean="0"/>
              <a:t>Allow all</a:t>
            </a:r>
          </a:p>
          <a:p>
            <a:pPr lvl="1"/>
            <a:r>
              <a:rPr lang="en-US" dirty="0" smtClean="0"/>
              <a:t>Deny all</a:t>
            </a:r>
          </a:p>
          <a:p>
            <a:pPr lvl="1"/>
            <a:r>
              <a:rPr lang="en-US" dirty="0" smtClean="0"/>
              <a:t>Decrypt </a:t>
            </a:r>
            <a:r>
              <a:rPr lang="en-US" dirty="0"/>
              <a:t>(allow) all O365 </a:t>
            </a:r>
            <a:r>
              <a:rPr lang="en-US" dirty="0" smtClean="0"/>
              <a:t>traffic</a:t>
            </a:r>
          </a:p>
          <a:p>
            <a:pPr lvl="0">
              <a:buClr>
                <a:srgbClr val="676767"/>
              </a:buClr>
            </a:pPr>
            <a:r>
              <a:rPr lang="ja-JP" altLang="en-US" dirty="0" smtClean="0"/>
              <a:t>現在様々な</a:t>
            </a:r>
            <a:r>
              <a:rPr lang="en-US" altLang="ja-JP" dirty="0" smtClean="0"/>
              <a:t>CWS</a:t>
            </a:r>
            <a:r>
              <a:rPr lang="ja-JP" altLang="en-US" dirty="0" smtClean="0"/>
              <a:t>デプロイメント環境で相互接続性を確認中</a:t>
            </a:r>
            <a:endParaRPr lang="en-US" dirty="0" smtClean="0"/>
          </a:p>
          <a:p>
            <a:pPr lvl="1"/>
            <a:r>
              <a:rPr lang="en-US" dirty="0" smtClean="0"/>
              <a:t>O365 </a:t>
            </a:r>
            <a:r>
              <a:rPr lang="ja-JP" altLang="en-US" dirty="0" smtClean="0"/>
              <a:t>送信先</a:t>
            </a:r>
            <a:r>
              <a:rPr lang="en-US" dirty="0" smtClean="0"/>
              <a:t>URL’s </a:t>
            </a:r>
            <a:r>
              <a:rPr lang="ja-JP" altLang="en-US" dirty="0" smtClean="0"/>
              <a:t>と</a:t>
            </a:r>
            <a:r>
              <a:rPr lang="en-US" dirty="0" smtClean="0"/>
              <a:t> IP’s</a:t>
            </a:r>
            <a:r>
              <a:rPr lang="ja-JP" altLang="en-US" dirty="0" smtClean="0"/>
              <a:t>はクラウド上で維持されており、変更の可能性がある</a:t>
            </a:r>
            <a:endParaRPr lang="en-US" dirty="0" smtClean="0"/>
          </a:p>
          <a:p>
            <a:pPr lvl="1"/>
            <a:r>
              <a:rPr lang="ja-JP" altLang="en-US" dirty="0" smtClean="0"/>
              <a:t>多くの場合、</a:t>
            </a:r>
            <a:r>
              <a:rPr lang="en-US" altLang="ja-JP" dirty="0" smtClean="0"/>
              <a:t>O365</a:t>
            </a:r>
            <a:r>
              <a:rPr lang="ja-JP" altLang="en-US" dirty="0" smtClean="0"/>
              <a:t>への通信が異なるポリシーに判定されてしまい、結果として問題が起きやすい環境にある</a:t>
            </a:r>
            <a:endParaRPr lang="en-US" dirty="0" smtClean="0"/>
          </a:p>
        </p:txBody>
      </p:sp>
      <p:sp>
        <p:nvSpPr>
          <p:cNvPr id="8" name="Title 1"/>
          <p:cNvSpPr>
            <a:spLocks noGrp="1"/>
          </p:cNvSpPr>
          <p:nvPr>
            <p:ph type="title"/>
          </p:nvPr>
        </p:nvSpPr>
        <p:spPr>
          <a:xfrm>
            <a:off x="437766" y="341315"/>
            <a:ext cx="8345488" cy="731837"/>
          </a:xfrm>
        </p:spPr>
        <p:txBody>
          <a:bodyPr/>
          <a:lstStyle/>
          <a:p>
            <a:r>
              <a:rPr lang="en-US" altLang="ja-JP" dirty="0" smtClean="0"/>
              <a:t>CWS </a:t>
            </a:r>
            <a:r>
              <a:rPr lang="ja-JP" altLang="en-US" dirty="0" smtClean="0"/>
              <a:t>と</a:t>
            </a:r>
            <a:r>
              <a:rPr lang="en-US" dirty="0" smtClean="0"/>
              <a:t>Office 365</a:t>
            </a:r>
            <a:r>
              <a:rPr lang="ja-JP" altLang="en-US" dirty="0" smtClean="0"/>
              <a:t>相互利用</a:t>
            </a:r>
            <a:r>
              <a:rPr lang="en-US" dirty="0" smtClean="0"/>
              <a:t> </a:t>
            </a:r>
            <a:r>
              <a:rPr lang="en-US" altLang="en-US" dirty="0"/>
              <a:t>　</a:t>
            </a:r>
            <a:endParaRPr lang="en-US" dirty="0"/>
          </a:p>
        </p:txBody>
      </p:sp>
      <p:pic>
        <p:nvPicPr>
          <p:cNvPr id="6" name="Picture 8" descr="https://officeblogseast.blob.core.windows.net/wp-content/2014/10/OneDrive_rgb_Blue2728.pn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7109865" y="341315"/>
            <a:ext cx="1056766" cy="9946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14401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Effect transition="in" filter="fade">
                                      <p:cBhvr>
                                        <p:cTn id="13" dur="500"/>
                                        <p:tgtEl>
                                          <p:spTgt spid="4">
                                            <p:txEl>
                                              <p:pRg st="3" end="3"/>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4">
                                            <p:txEl>
                                              <p:pRg st="4" end="4"/>
                                            </p:txEl>
                                          </p:spTgt>
                                        </p:tgtEl>
                                        <p:attrNameLst>
                                          <p:attrName>style.visibility</p:attrName>
                                        </p:attrNameLst>
                                      </p:cBhvr>
                                      <p:to>
                                        <p:strVal val="visible"/>
                                      </p:to>
                                    </p:set>
                                    <p:animEffect transition="in" filter="fade">
                                      <p:cBhvr>
                                        <p:cTn id="16" dur="500"/>
                                        <p:tgtEl>
                                          <p:spTgt spid="4">
                                            <p:txEl>
                                              <p:pRg st="4" end="4"/>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animEffect transition="in" filter="fade">
                                      <p:cBhvr>
                                        <p:cTn id="19" dur="500"/>
                                        <p:tgtEl>
                                          <p:spTgt spid="4">
                                            <p:txEl>
                                              <p:pRg st="5" end="5"/>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4">
                                            <p:txEl>
                                              <p:pRg st="6" end="6"/>
                                            </p:txEl>
                                          </p:spTgt>
                                        </p:tgtEl>
                                        <p:attrNameLst>
                                          <p:attrName>style.visibility</p:attrName>
                                        </p:attrNameLst>
                                      </p:cBhvr>
                                      <p:to>
                                        <p:strVal val="visible"/>
                                      </p:to>
                                    </p:set>
                                    <p:animEffect transition="in" filter="fade">
                                      <p:cBhvr>
                                        <p:cTn id="22" dur="500"/>
                                        <p:tgtEl>
                                          <p:spTgt spid="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Rectangle 473"/>
          <p:cNvSpPr/>
          <p:nvPr/>
        </p:nvSpPr>
        <p:spPr>
          <a:xfrm>
            <a:off x="745971" y="2904259"/>
            <a:ext cx="8123223" cy="1648139"/>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fontAlgn="auto">
              <a:spcBef>
                <a:spcPts val="0"/>
              </a:spcBef>
              <a:spcAft>
                <a:spcPts val="0"/>
              </a:spcAft>
            </a:pPr>
            <a:endParaRPr lang="en-IN" sz="1400" dirty="0">
              <a:solidFill>
                <a:srgbClr val="FFFFFF"/>
              </a:solidFill>
              <a:latin typeface="+mj-lt"/>
              <a:cs typeface="Arial" panose="020B0604020202020204" pitchFamily="34" charset="0"/>
            </a:endParaRPr>
          </a:p>
        </p:txBody>
      </p:sp>
      <p:sp>
        <p:nvSpPr>
          <p:cNvPr id="158" name="Rectangle 157"/>
          <p:cNvSpPr/>
          <p:nvPr/>
        </p:nvSpPr>
        <p:spPr>
          <a:xfrm>
            <a:off x="745967" y="746273"/>
            <a:ext cx="8123224" cy="2153887"/>
          </a:xfrm>
          <a:prstGeom prst="rect">
            <a:avLst/>
          </a:prstGeom>
          <a:solidFill>
            <a:schemeClr val="bg1">
              <a:lumMod val="95000"/>
            </a:schemeClr>
          </a:solidFill>
          <a:ln w="3175" cap="flat" cmpd="sng" algn="ctr">
            <a:solidFill>
              <a:schemeClr val="bg1">
                <a:lumMod val="50000"/>
              </a:schemeClr>
            </a:solidFill>
            <a:prstDash val="solid"/>
          </a:ln>
          <a:effectLst/>
        </p:spPr>
        <p:txBody>
          <a:bodyPr lIns="91436" tIns="45718" rIns="91436" bIns="45718" rtlCol="0" anchor="ctr"/>
          <a:lstStyle/>
          <a:p>
            <a:pPr algn="ctr" defTabSz="1218173">
              <a:defRPr/>
            </a:pPr>
            <a:endParaRPr lang="en-US" sz="2400" kern="0">
              <a:solidFill>
                <a:prstClr val="white"/>
              </a:solidFill>
              <a:latin typeface="+mj-lt"/>
            </a:endParaRPr>
          </a:p>
        </p:txBody>
      </p:sp>
      <p:cxnSp>
        <p:nvCxnSpPr>
          <p:cNvPr id="469" name="Straight Connector 468"/>
          <p:cNvCxnSpPr/>
          <p:nvPr/>
        </p:nvCxnSpPr>
        <p:spPr>
          <a:xfrm>
            <a:off x="7108401" y="746273"/>
            <a:ext cx="0" cy="215798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p:nvPr/>
        </p:nvCxnSpPr>
        <p:spPr>
          <a:xfrm>
            <a:off x="3884344" y="746273"/>
            <a:ext cx="0" cy="215798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5" name="Rectangle 244"/>
          <p:cNvSpPr/>
          <p:nvPr/>
        </p:nvSpPr>
        <p:spPr>
          <a:xfrm>
            <a:off x="887858" y="23408"/>
            <a:ext cx="8256142" cy="502920"/>
          </a:xfrm>
          <a:prstGeom prst="rect">
            <a:avLst/>
          </a:prstGeom>
          <a:solidFill>
            <a:schemeClr val="accent1"/>
          </a:solidFill>
          <a:ln w="3175" cap="flat" cmpd="sng" algn="ctr">
            <a:solidFill>
              <a:srgbClr val="0079A4"/>
            </a:solidFill>
            <a:prstDash val="solid"/>
          </a:ln>
          <a:effectLst/>
        </p:spPr>
        <p:txBody>
          <a:bodyPr lIns="91436" tIns="45718" rIns="91436" bIns="45718" rtlCol="0" anchor="ctr"/>
          <a:lstStyle/>
          <a:p>
            <a:pPr algn="ctr" defTabSz="913630"/>
            <a:r>
              <a:rPr lang="en-US" sz="2400" kern="0" dirty="0">
                <a:solidFill>
                  <a:prstClr val="white"/>
                </a:solidFill>
                <a:latin typeface="+mj-lt"/>
              </a:rPr>
              <a:t>Cisco Web Security </a:t>
            </a:r>
          </a:p>
        </p:txBody>
      </p:sp>
      <p:sp>
        <p:nvSpPr>
          <p:cNvPr id="246" name="Rectangle 245"/>
          <p:cNvSpPr/>
          <p:nvPr/>
        </p:nvSpPr>
        <p:spPr>
          <a:xfrm>
            <a:off x="1" y="23407"/>
            <a:ext cx="894702" cy="502920"/>
          </a:xfrm>
          <a:prstGeom prst="rect">
            <a:avLst/>
          </a:prstGeom>
          <a:solidFill>
            <a:schemeClr val="tx2"/>
          </a:solidFill>
        </p:spPr>
        <p:txBody>
          <a:bodyPr wrap="square" lIns="68523" tIns="68523" rIns="68523" bIns="68523" anchor="ctr">
            <a:noAutofit/>
          </a:bodyPr>
          <a:lstStyle/>
          <a:p>
            <a:pPr algn="ctr" defTabSz="513921">
              <a:lnSpc>
                <a:spcPct val="95000"/>
              </a:lnSpc>
              <a:spcBef>
                <a:spcPts val="810"/>
              </a:spcBef>
              <a:buClr>
                <a:srgbClr val="D81F28"/>
              </a:buClr>
              <a:buSzPct val="90000"/>
            </a:pPr>
            <a:endParaRPr lang="en-US" sz="1500" kern="0" dirty="0">
              <a:solidFill>
                <a:srgbClr val="FFFFFF"/>
              </a:solidFill>
              <a:latin typeface="+mj-lt"/>
              <a:cs typeface="CiscoSans"/>
            </a:endParaRPr>
          </a:p>
        </p:txBody>
      </p:sp>
      <p:grpSp>
        <p:nvGrpSpPr>
          <p:cNvPr id="30" name="Group 261"/>
          <p:cNvGrpSpPr>
            <a:grpSpLocks noChangeAspect="1"/>
          </p:cNvGrpSpPr>
          <p:nvPr/>
        </p:nvGrpSpPr>
        <p:grpSpPr>
          <a:xfrm>
            <a:off x="8053299" y="59042"/>
            <a:ext cx="633498" cy="439719"/>
            <a:chOff x="8365057" y="228525"/>
            <a:chExt cx="582779" cy="404516"/>
          </a:xfrm>
        </p:grpSpPr>
        <p:sp>
          <p:nvSpPr>
            <p:cNvPr id="253" name="Oval 2"/>
            <p:cNvSpPr/>
            <p:nvPr/>
          </p:nvSpPr>
          <p:spPr bwMode="auto">
            <a:xfrm>
              <a:off x="8365057" y="228525"/>
              <a:ext cx="582779" cy="40451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53" tIns="41127" rIns="41127" bIns="82253" numCol="1" spcCol="0" rtlCol="0" fromWordArt="0" anchor="b" anchorCtr="0" forceAA="0" compatLnSpc="1">
              <a:prstTxWarp prst="textNoShape">
                <a:avLst/>
              </a:prstTxWarp>
              <a:noAutofit/>
            </a:bodyPr>
            <a:lstStyle/>
            <a:p>
              <a:pPr algn="ctr" defTabSz="822142">
                <a:defRPr/>
              </a:pPr>
              <a:endParaRPr lang="en-US" kern="0" spc="-45"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737" name="Group 253"/>
            <p:cNvGrpSpPr/>
            <p:nvPr/>
          </p:nvGrpSpPr>
          <p:grpSpPr>
            <a:xfrm>
              <a:off x="8455611" y="410086"/>
              <a:ext cx="375284" cy="116057"/>
              <a:chOff x="11164204" y="489310"/>
              <a:chExt cx="500378" cy="154743"/>
            </a:xfrm>
          </p:grpSpPr>
          <p:sp>
            <p:nvSpPr>
              <p:cNvPr id="255" name="Freeform 22"/>
              <p:cNvSpPr>
                <a:spLocks/>
              </p:cNvSpPr>
              <p:nvPr/>
            </p:nvSpPr>
            <p:spPr bwMode="auto">
              <a:xfrm rot="20679101">
                <a:off x="11198231" y="489310"/>
                <a:ext cx="97855" cy="104132"/>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6" name="Freeform 23"/>
              <p:cNvSpPr>
                <a:spLocks/>
              </p:cNvSpPr>
              <p:nvPr/>
            </p:nvSpPr>
            <p:spPr bwMode="auto">
              <a:xfrm rot="20679101">
                <a:off x="11164204" y="539921"/>
                <a:ext cx="97855" cy="104132"/>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7" name="Freeform 6"/>
              <p:cNvSpPr>
                <a:spLocks/>
              </p:cNvSpPr>
              <p:nvPr/>
            </p:nvSpPr>
            <p:spPr bwMode="auto">
              <a:xfrm>
                <a:off x="11302237" y="519616"/>
                <a:ext cx="108401" cy="11675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8" name="Freeform 7"/>
              <p:cNvSpPr>
                <a:spLocks/>
              </p:cNvSpPr>
              <p:nvPr/>
            </p:nvSpPr>
            <p:spPr bwMode="auto">
              <a:xfrm>
                <a:off x="11408562" y="521888"/>
                <a:ext cx="158237" cy="11211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9" name="Freeform 8"/>
              <p:cNvSpPr>
                <a:spLocks/>
              </p:cNvSpPr>
              <p:nvPr/>
            </p:nvSpPr>
            <p:spPr bwMode="auto">
              <a:xfrm>
                <a:off x="11562268" y="519616"/>
                <a:ext cx="102314" cy="11675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grpSp>
      </p:grpSp>
      <p:sp>
        <p:nvSpPr>
          <p:cNvPr id="247" name="Oval 2"/>
          <p:cNvSpPr/>
          <p:nvPr/>
        </p:nvSpPr>
        <p:spPr bwMode="auto">
          <a:xfrm>
            <a:off x="150398" y="69208"/>
            <a:ext cx="618034" cy="410787"/>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65" tIns="54834" rIns="54834" bIns="109665" numCol="1" spcCol="0" rtlCol="0" fromWordArt="0" anchor="b" anchorCtr="0" forceAA="0" compatLnSpc="1">
            <a:prstTxWarp prst="textNoShape">
              <a:avLst/>
            </a:prstTxWarp>
            <a:noAutofit/>
          </a:bodyPr>
          <a:lstStyle/>
          <a:p>
            <a:pPr algn="ctr" defTabSz="1096189">
              <a:defRPr/>
            </a:pPr>
            <a:endParaRPr lang="en-US" sz="2400" kern="0" spc="-6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8" name="Rectangle 247"/>
          <p:cNvSpPr/>
          <p:nvPr/>
        </p:nvSpPr>
        <p:spPr>
          <a:xfrm>
            <a:off x="154493" y="167209"/>
            <a:ext cx="633239" cy="311607"/>
          </a:xfrm>
          <a:prstGeom prst="rect">
            <a:avLst/>
          </a:prstGeom>
        </p:spPr>
        <p:txBody>
          <a:bodyPr wrap="none" lIns="91436" tIns="45718" rIns="91436" bIns="45718">
            <a:spAutoFit/>
          </a:bodyPr>
          <a:lstStyle/>
          <a:p>
            <a:pPr defTabSz="914103">
              <a:defRPr/>
            </a:pPr>
            <a:r>
              <a:rPr lang="en-US" sz="1400" kern="0" dirty="0">
                <a:ln w="3175">
                  <a:noFill/>
                </a:ln>
                <a:solidFill>
                  <a:srgbClr val="435153">
                    <a:lumMod val="50000"/>
                  </a:srgbClr>
                </a:solidFill>
                <a:latin typeface="+mj-lt"/>
                <a:cs typeface="Arial" charset="0"/>
              </a:rPr>
              <a:t>Talos</a:t>
            </a:r>
            <a:endParaRPr lang="en-US" kern="0" dirty="0">
              <a:solidFill>
                <a:srgbClr val="435153">
                  <a:lumMod val="50000"/>
                </a:srgbClr>
              </a:solidFill>
              <a:latin typeface="+mj-lt"/>
            </a:endParaRPr>
          </a:p>
        </p:txBody>
      </p:sp>
      <p:grpSp>
        <p:nvGrpSpPr>
          <p:cNvPr id="748" name="Group 79"/>
          <p:cNvGrpSpPr/>
          <p:nvPr/>
        </p:nvGrpSpPr>
        <p:grpSpPr>
          <a:xfrm>
            <a:off x="775280" y="168579"/>
            <a:ext cx="257417" cy="247198"/>
            <a:chOff x="775274" y="334231"/>
            <a:chExt cx="257417" cy="247198"/>
          </a:xfrm>
        </p:grpSpPr>
        <p:sp>
          <p:nvSpPr>
            <p:cNvPr id="249" name="Oval 248"/>
            <p:cNvSpPr/>
            <p:nvPr/>
          </p:nvSpPr>
          <p:spPr>
            <a:xfrm>
              <a:off x="775274" y="334231"/>
              <a:ext cx="257417" cy="247198"/>
            </a:xfrm>
            <a:prstGeom prst="ellipse">
              <a:avLst/>
            </a:prstGeom>
            <a:solidFill>
              <a:srgbClr val="0B0B0D"/>
            </a:solidFill>
            <a:ln w="9525" cap="flat" cmpd="sng" algn="ctr">
              <a:gradFill flip="none" rotWithShape="1">
                <a:gsLst>
                  <a:gs pos="0">
                    <a:srgbClr val="D81F28"/>
                  </a:gs>
                  <a:gs pos="96000">
                    <a:srgbClr val="00B0F0"/>
                  </a:gs>
                </a:gsLst>
                <a:lin ang="5400000" scaled="1"/>
                <a:tileRect/>
              </a:gradFill>
              <a:prstDash val="solid"/>
            </a:ln>
            <a:effectLst/>
          </p:spPr>
          <p:txBody>
            <a:bodyPr rtlCol="0" anchor="ctr"/>
            <a:lstStyle/>
            <a:p>
              <a:pPr algn="ctr" defTabSz="1218173">
                <a:defRPr/>
              </a:pPr>
              <a:endParaRPr lang="en-US" sz="2400" kern="0">
                <a:solidFill>
                  <a:prstClr val="white"/>
                </a:solidFill>
                <a:latin typeface="+mj-lt"/>
              </a:endParaRPr>
            </a:p>
          </p:txBody>
        </p:sp>
        <p:sp>
          <p:nvSpPr>
            <p:cNvPr id="250" name="Freeform 427"/>
            <p:cNvSpPr>
              <a:spLocks noEditPoints="1"/>
            </p:cNvSpPr>
            <p:nvPr/>
          </p:nvSpPr>
          <p:spPr bwMode="auto">
            <a:xfrm>
              <a:off x="818147" y="384494"/>
              <a:ext cx="76554" cy="159927"/>
            </a:xfrm>
            <a:custGeom>
              <a:avLst/>
              <a:gdLst>
                <a:gd name="T0" fmla="*/ 496 w 798"/>
                <a:gd name="T1" fmla="*/ 1229 h 1735"/>
                <a:gd name="T2" fmla="*/ 436 w 798"/>
                <a:gd name="T3" fmla="*/ 1169 h 1735"/>
                <a:gd name="T4" fmla="*/ 391 w 798"/>
                <a:gd name="T5" fmla="*/ 1110 h 1735"/>
                <a:gd name="T6" fmla="*/ 351 w 798"/>
                <a:gd name="T7" fmla="*/ 1037 h 1735"/>
                <a:gd name="T8" fmla="*/ 326 w 798"/>
                <a:gd name="T9" fmla="*/ 971 h 1735"/>
                <a:gd name="T10" fmla="*/ 307 w 798"/>
                <a:gd name="T11" fmla="*/ 882 h 1735"/>
                <a:gd name="T12" fmla="*/ 302 w 798"/>
                <a:gd name="T13" fmla="*/ 808 h 1735"/>
                <a:gd name="T14" fmla="*/ 304 w 798"/>
                <a:gd name="T15" fmla="*/ 752 h 1735"/>
                <a:gd name="T16" fmla="*/ 313 w 798"/>
                <a:gd name="T17" fmla="*/ 697 h 1735"/>
                <a:gd name="T18" fmla="*/ 327 w 798"/>
                <a:gd name="T19" fmla="*/ 642 h 1735"/>
                <a:gd name="T20" fmla="*/ 347 w 798"/>
                <a:gd name="T21" fmla="*/ 589 h 1735"/>
                <a:gd name="T22" fmla="*/ 397 w 798"/>
                <a:gd name="T23" fmla="*/ 497 h 1735"/>
                <a:gd name="T24" fmla="*/ 464 w 798"/>
                <a:gd name="T25" fmla="*/ 415 h 1735"/>
                <a:gd name="T26" fmla="*/ 577 w 798"/>
                <a:gd name="T27" fmla="*/ 328 h 1735"/>
                <a:gd name="T28" fmla="*/ 668 w 798"/>
                <a:gd name="T29" fmla="*/ 285 h 1735"/>
                <a:gd name="T30" fmla="*/ 723 w 798"/>
                <a:gd name="T31" fmla="*/ 236 h 1735"/>
                <a:gd name="T32" fmla="*/ 749 w 798"/>
                <a:gd name="T33" fmla="*/ 168 h 1735"/>
                <a:gd name="T34" fmla="*/ 739 w 798"/>
                <a:gd name="T35" fmla="*/ 95 h 1735"/>
                <a:gd name="T36" fmla="*/ 707 w 798"/>
                <a:gd name="T37" fmla="*/ 45 h 1735"/>
                <a:gd name="T38" fmla="*/ 646 w 798"/>
                <a:gd name="T39" fmla="*/ 7 h 1735"/>
                <a:gd name="T40" fmla="*/ 573 w 798"/>
                <a:gd name="T41" fmla="*/ 2 h 1735"/>
                <a:gd name="T42" fmla="*/ 463 w 798"/>
                <a:gd name="T43" fmla="*/ 47 h 1735"/>
                <a:gd name="T44" fmla="*/ 284 w 798"/>
                <a:gd name="T45" fmla="*/ 171 h 1735"/>
                <a:gd name="T46" fmla="*/ 173 w 798"/>
                <a:gd name="T47" fmla="*/ 293 h 1735"/>
                <a:gd name="T48" fmla="*/ 74 w 798"/>
                <a:gd name="T49" fmla="*/ 462 h 1735"/>
                <a:gd name="T50" fmla="*/ 71 w 798"/>
                <a:gd name="T51" fmla="*/ 469 h 1735"/>
                <a:gd name="T52" fmla="*/ 40 w 798"/>
                <a:gd name="T53" fmla="*/ 551 h 1735"/>
                <a:gd name="T54" fmla="*/ 18 w 798"/>
                <a:gd name="T55" fmla="*/ 636 h 1735"/>
                <a:gd name="T56" fmla="*/ 4 w 798"/>
                <a:gd name="T57" fmla="*/ 721 h 1735"/>
                <a:gd name="T58" fmla="*/ 0 w 798"/>
                <a:gd name="T59" fmla="*/ 813 h 1735"/>
                <a:gd name="T60" fmla="*/ 6 w 798"/>
                <a:gd name="T61" fmla="*/ 909 h 1735"/>
                <a:gd name="T62" fmla="*/ 20 w 798"/>
                <a:gd name="T63" fmla="*/ 986 h 1735"/>
                <a:gd name="T64" fmla="*/ 38 w 798"/>
                <a:gd name="T65" fmla="*/ 1059 h 1735"/>
                <a:gd name="T66" fmla="*/ 68 w 798"/>
                <a:gd name="T67" fmla="*/ 1142 h 1735"/>
                <a:gd name="T68" fmla="*/ 102 w 798"/>
                <a:gd name="T69" fmla="*/ 1214 h 1735"/>
                <a:gd name="T70" fmla="*/ 197 w 798"/>
                <a:gd name="T71" fmla="*/ 1355 h 1735"/>
                <a:gd name="T72" fmla="*/ 184 w 798"/>
                <a:gd name="T73" fmla="*/ 1610 h 1735"/>
                <a:gd name="T74" fmla="*/ 149 w 798"/>
                <a:gd name="T75" fmla="*/ 1659 h 1735"/>
                <a:gd name="T76" fmla="*/ 152 w 798"/>
                <a:gd name="T77" fmla="*/ 1707 h 1735"/>
                <a:gd name="T78" fmla="*/ 203 w 798"/>
                <a:gd name="T79" fmla="*/ 1733 h 1735"/>
                <a:gd name="T80" fmla="*/ 639 w 798"/>
                <a:gd name="T81" fmla="*/ 1734 h 1735"/>
                <a:gd name="T82" fmla="*/ 719 w 798"/>
                <a:gd name="T83" fmla="*/ 1706 h 1735"/>
                <a:gd name="T84" fmla="*/ 776 w 798"/>
                <a:gd name="T85" fmla="*/ 1642 h 1735"/>
                <a:gd name="T86" fmla="*/ 798 w 798"/>
                <a:gd name="T87" fmla="*/ 1559 h 1735"/>
                <a:gd name="T88" fmla="*/ 792 w 798"/>
                <a:gd name="T89" fmla="*/ 1127 h 1735"/>
                <a:gd name="T90" fmla="*/ 761 w 798"/>
                <a:gd name="T91" fmla="*/ 1085 h 1735"/>
                <a:gd name="T92" fmla="*/ 709 w 798"/>
                <a:gd name="T93" fmla="*/ 1093 h 1735"/>
                <a:gd name="T94" fmla="*/ 315 w 798"/>
                <a:gd name="T95" fmla="*/ 265 h 1735"/>
                <a:gd name="T96" fmla="*/ 437 w 798"/>
                <a:gd name="T97" fmla="*/ 166 h 1735"/>
                <a:gd name="T98" fmla="*/ 576 w 798"/>
                <a:gd name="T99" fmla="*/ 94 h 1735"/>
                <a:gd name="T100" fmla="*/ 622 w 798"/>
                <a:gd name="T101" fmla="*/ 95 h 1735"/>
                <a:gd name="T102" fmla="*/ 655 w 798"/>
                <a:gd name="T103" fmla="*/ 129 h 1735"/>
                <a:gd name="T104" fmla="*/ 658 w 798"/>
                <a:gd name="T105" fmla="*/ 163 h 1735"/>
                <a:gd name="T106" fmla="*/ 626 w 798"/>
                <a:gd name="T107" fmla="*/ 204 h 1735"/>
                <a:gd name="T108" fmla="*/ 532 w 798"/>
                <a:gd name="T109" fmla="*/ 250 h 1735"/>
                <a:gd name="T110" fmla="*/ 401 w 798"/>
                <a:gd name="T111" fmla="*/ 351 h 1735"/>
                <a:gd name="T112" fmla="*/ 369 w 798"/>
                <a:gd name="T113" fmla="*/ 367 h 1735"/>
                <a:gd name="T114" fmla="*/ 321 w 798"/>
                <a:gd name="T115" fmla="*/ 355 h 1735"/>
                <a:gd name="T116" fmla="*/ 302 w 798"/>
                <a:gd name="T117" fmla="*/ 331 h 1735"/>
                <a:gd name="T118" fmla="*/ 307 w 798"/>
                <a:gd name="T119" fmla="*/ 274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5">
                  <a:moveTo>
                    <a:pt x="672" y="1122"/>
                  </a:moveTo>
                  <a:lnTo>
                    <a:pt x="535" y="1259"/>
                  </a:lnTo>
                  <a:lnTo>
                    <a:pt x="535" y="1259"/>
                  </a:lnTo>
                  <a:lnTo>
                    <a:pt x="515" y="1245"/>
                  </a:lnTo>
                  <a:lnTo>
                    <a:pt x="496" y="1229"/>
                  </a:lnTo>
                  <a:lnTo>
                    <a:pt x="477" y="1212"/>
                  </a:lnTo>
                  <a:lnTo>
                    <a:pt x="459" y="1195"/>
                  </a:lnTo>
                  <a:lnTo>
                    <a:pt x="459" y="1195"/>
                  </a:lnTo>
                  <a:lnTo>
                    <a:pt x="436" y="1169"/>
                  </a:lnTo>
                  <a:lnTo>
                    <a:pt x="436" y="1169"/>
                  </a:lnTo>
                  <a:lnTo>
                    <a:pt x="424" y="1154"/>
                  </a:lnTo>
                  <a:lnTo>
                    <a:pt x="411" y="1138"/>
                  </a:lnTo>
                  <a:lnTo>
                    <a:pt x="411" y="1138"/>
                  </a:lnTo>
                  <a:lnTo>
                    <a:pt x="401" y="1124"/>
                  </a:lnTo>
                  <a:lnTo>
                    <a:pt x="391" y="1110"/>
                  </a:lnTo>
                  <a:lnTo>
                    <a:pt x="391" y="1110"/>
                  </a:lnTo>
                  <a:lnTo>
                    <a:pt x="376" y="1085"/>
                  </a:lnTo>
                  <a:lnTo>
                    <a:pt x="362" y="1060"/>
                  </a:lnTo>
                  <a:lnTo>
                    <a:pt x="362" y="1060"/>
                  </a:lnTo>
                  <a:lnTo>
                    <a:pt x="351" y="1037"/>
                  </a:lnTo>
                  <a:lnTo>
                    <a:pt x="351" y="1037"/>
                  </a:lnTo>
                  <a:lnTo>
                    <a:pt x="340" y="1010"/>
                  </a:lnTo>
                  <a:lnTo>
                    <a:pt x="330" y="982"/>
                  </a:lnTo>
                  <a:lnTo>
                    <a:pt x="330" y="982"/>
                  </a:lnTo>
                  <a:lnTo>
                    <a:pt x="326" y="971"/>
                  </a:lnTo>
                  <a:lnTo>
                    <a:pt x="326" y="971"/>
                  </a:lnTo>
                  <a:lnTo>
                    <a:pt x="317" y="936"/>
                  </a:lnTo>
                  <a:lnTo>
                    <a:pt x="310" y="901"/>
                  </a:lnTo>
                  <a:lnTo>
                    <a:pt x="310" y="901"/>
                  </a:lnTo>
                  <a:lnTo>
                    <a:pt x="307" y="882"/>
                  </a:lnTo>
                  <a:lnTo>
                    <a:pt x="307" y="882"/>
                  </a:lnTo>
                  <a:lnTo>
                    <a:pt x="303" y="846"/>
                  </a:lnTo>
                  <a:lnTo>
                    <a:pt x="302" y="827"/>
                  </a:lnTo>
                  <a:lnTo>
                    <a:pt x="302" y="808"/>
                  </a:lnTo>
                  <a:lnTo>
                    <a:pt x="302" y="808"/>
                  </a:lnTo>
                  <a:lnTo>
                    <a:pt x="302" y="806"/>
                  </a:lnTo>
                  <a:lnTo>
                    <a:pt x="302" y="806"/>
                  </a:lnTo>
                  <a:lnTo>
                    <a:pt x="303" y="778"/>
                  </a:lnTo>
                  <a:lnTo>
                    <a:pt x="304" y="752"/>
                  </a:lnTo>
                  <a:lnTo>
                    <a:pt x="304" y="752"/>
                  </a:lnTo>
                  <a:lnTo>
                    <a:pt x="308" y="726"/>
                  </a:lnTo>
                  <a:lnTo>
                    <a:pt x="308" y="726"/>
                  </a:lnTo>
                  <a:lnTo>
                    <a:pt x="310" y="712"/>
                  </a:lnTo>
                  <a:lnTo>
                    <a:pt x="313" y="697"/>
                  </a:lnTo>
                  <a:lnTo>
                    <a:pt x="313" y="697"/>
                  </a:lnTo>
                  <a:lnTo>
                    <a:pt x="315" y="687"/>
                  </a:lnTo>
                  <a:lnTo>
                    <a:pt x="318" y="676"/>
                  </a:lnTo>
                  <a:lnTo>
                    <a:pt x="318" y="676"/>
                  </a:lnTo>
                  <a:lnTo>
                    <a:pt x="323" y="659"/>
                  </a:lnTo>
                  <a:lnTo>
                    <a:pt x="327" y="642"/>
                  </a:lnTo>
                  <a:lnTo>
                    <a:pt x="327" y="642"/>
                  </a:lnTo>
                  <a:lnTo>
                    <a:pt x="333" y="627"/>
                  </a:lnTo>
                  <a:lnTo>
                    <a:pt x="333" y="627"/>
                  </a:lnTo>
                  <a:lnTo>
                    <a:pt x="339" y="608"/>
                  </a:lnTo>
                  <a:lnTo>
                    <a:pt x="347" y="589"/>
                  </a:lnTo>
                  <a:lnTo>
                    <a:pt x="347" y="589"/>
                  </a:lnTo>
                  <a:lnTo>
                    <a:pt x="358" y="565"/>
                  </a:lnTo>
                  <a:lnTo>
                    <a:pt x="369" y="542"/>
                  </a:lnTo>
                  <a:lnTo>
                    <a:pt x="383" y="519"/>
                  </a:lnTo>
                  <a:lnTo>
                    <a:pt x="397" y="497"/>
                  </a:lnTo>
                  <a:lnTo>
                    <a:pt x="412" y="475"/>
                  </a:lnTo>
                  <a:lnTo>
                    <a:pt x="429" y="454"/>
                  </a:lnTo>
                  <a:lnTo>
                    <a:pt x="446" y="435"/>
                  </a:lnTo>
                  <a:lnTo>
                    <a:pt x="464" y="415"/>
                  </a:lnTo>
                  <a:lnTo>
                    <a:pt x="464" y="415"/>
                  </a:lnTo>
                  <a:lnTo>
                    <a:pt x="486" y="395"/>
                  </a:lnTo>
                  <a:lnTo>
                    <a:pt x="507" y="376"/>
                  </a:lnTo>
                  <a:lnTo>
                    <a:pt x="530" y="359"/>
                  </a:lnTo>
                  <a:lnTo>
                    <a:pt x="553" y="343"/>
                  </a:lnTo>
                  <a:lnTo>
                    <a:pt x="577" y="328"/>
                  </a:lnTo>
                  <a:lnTo>
                    <a:pt x="602" y="314"/>
                  </a:lnTo>
                  <a:lnTo>
                    <a:pt x="627" y="302"/>
                  </a:lnTo>
                  <a:lnTo>
                    <a:pt x="654" y="291"/>
                  </a:lnTo>
                  <a:lnTo>
                    <a:pt x="654" y="291"/>
                  </a:lnTo>
                  <a:lnTo>
                    <a:pt x="668" y="285"/>
                  </a:lnTo>
                  <a:lnTo>
                    <a:pt x="682" y="277"/>
                  </a:lnTo>
                  <a:lnTo>
                    <a:pt x="693" y="268"/>
                  </a:lnTo>
                  <a:lnTo>
                    <a:pt x="704" y="258"/>
                  </a:lnTo>
                  <a:lnTo>
                    <a:pt x="714" y="247"/>
                  </a:lnTo>
                  <a:lnTo>
                    <a:pt x="723" y="236"/>
                  </a:lnTo>
                  <a:lnTo>
                    <a:pt x="730" y="223"/>
                  </a:lnTo>
                  <a:lnTo>
                    <a:pt x="737" y="210"/>
                  </a:lnTo>
                  <a:lnTo>
                    <a:pt x="742" y="197"/>
                  </a:lnTo>
                  <a:lnTo>
                    <a:pt x="746" y="183"/>
                  </a:lnTo>
                  <a:lnTo>
                    <a:pt x="749" y="168"/>
                  </a:lnTo>
                  <a:lnTo>
                    <a:pt x="750" y="154"/>
                  </a:lnTo>
                  <a:lnTo>
                    <a:pt x="749" y="140"/>
                  </a:lnTo>
                  <a:lnTo>
                    <a:pt x="747" y="125"/>
                  </a:lnTo>
                  <a:lnTo>
                    <a:pt x="744" y="110"/>
                  </a:lnTo>
                  <a:lnTo>
                    <a:pt x="739" y="95"/>
                  </a:lnTo>
                  <a:lnTo>
                    <a:pt x="739" y="95"/>
                  </a:lnTo>
                  <a:lnTo>
                    <a:pt x="732" y="82"/>
                  </a:lnTo>
                  <a:lnTo>
                    <a:pt x="725" y="68"/>
                  </a:lnTo>
                  <a:lnTo>
                    <a:pt x="716" y="56"/>
                  </a:lnTo>
                  <a:lnTo>
                    <a:pt x="707" y="45"/>
                  </a:lnTo>
                  <a:lnTo>
                    <a:pt x="696" y="35"/>
                  </a:lnTo>
                  <a:lnTo>
                    <a:pt x="685" y="27"/>
                  </a:lnTo>
                  <a:lnTo>
                    <a:pt x="672" y="18"/>
                  </a:lnTo>
                  <a:lnTo>
                    <a:pt x="659" y="12"/>
                  </a:lnTo>
                  <a:lnTo>
                    <a:pt x="646" y="7"/>
                  </a:lnTo>
                  <a:lnTo>
                    <a:pt x="632" y="3"/>
                  </a:lnTo>
                  <a:lnTo>
                    <a:pt x="617" y="1"/>
                  </a:lnTo>
                  <a:lnTo>
                    <a:pt x="603" y="0"/>
                  </a:lnTo>
                  <a:lnTo>
                    <a:pt x="588" y="0"/>
                  </a:lnTo>
                  <a:lnTo>
                    <a:pt x="573" y="2"/>
                  </a:lnTo>
                  <a:lnTo>
                    <a:pt x="558" y="5"/>
                  </a:lnTo>
                  <a:lnTo>
                    <a:pt x="544" y="10"/>
                  </a:lnTo>
                  <a:lnTo>
                    <a:pt x="544" y="10"/>
                  </a:lnTo>
                  <a:lnTo>
                    <a:pt x="503" y="28"/>
                  </a:lnTo>
                  <a:lnTo>
                    <a:pt x="463" y="47"/>
                  </a:lnTo>
                  <a:lnTo>
                    <a:pt x="425" y="67"/>
                  </a:lnTo>
                  <a:lnTo>
                    <a:pt x="388" y="91"/>
                  </a:lnTo>
                  <a:lnTo>
                    <a:pt x="352" y="115"/>
                  </a:lnTo>
                  <a:lnTo>
                    <a:pt x="317" y="143"/>
                  </a:lnTo>
                  <a:lnTo>
                    <a:pt x="284" y="171"/>
                  </a:lnTo>
                  <a:lnTo>
                    <a:pt x="252" y="202"/>
                  </a:lnTo>
                  <a:lnTo>
                    <a:pt x="252" y="202"/>
                  </a:lnTo>
                  <a:lnTo>
                    <a:pt x="224" y="231"/>
                  </a:lnTo>
                  <a:lnTo>
                    <a:pt x="197" y="261"/>
                  </a:lnTo>
                  <a:lnTo>
                    <a:pt x="173" y="293"/>
                  </a:lnTo>
                  <a:lnTo>
                    <a:pt x="150" y="324"/>
                  </a:lnTo>
                  <a:lnTo>
                    <a:pt x="129" y="358"/>
                  </a:lnTo>
                  <a:lnTo>
                    <a:pt x="108" y="392"/>
                  </a:lnTo>
                  <a:lnTo>
                    <a:pt x="90" y="426"/>
                  </a:lnTo>
                  <a:lnTo>
                    <a:pt x="74" y="462"/>
                  </a:lnTo>
                  <a:lnTo>
                    <a:pt x="74" y="462"/>
                  </a:lnTo>
                  <a:lnTo>
                    <a:pt x="72" y="466"/>
                  </a:lnTo>
                  <a:lnTo>
                    <a:pt x="72" y="466"/>
                  </a:lnTo>
                  <a:lnTo>
                    <a:pt x="71" y="469"/>
                  </a:lnTo>
                  <a:lnTo>
                    <a:pt x="71" y="469"/>
                  </a:lnTo>
                  <a:lnTo>
                    <a:pt x="57" y="502"/>
                  </a:lnTo>
                  <a:lnTo>
                    <a:pt x="45" y="535"/>
                  </a:lnTo>
                  <a:lnTo>
                    <a:pt x="45" y="535"/>
                  </a:lnTo>
                  <a:lnTo>
                    <a:pt x="40" y="551"/>
                  </a:lnTo>
                  <a:lnTo>
                    <a:pt x="40" y="551"/>
                  </a:lnTo>
                  <a:lnTo>
                    <a:pt x="31" y="583"/>
                  </a:lnTo>
                  <a:lnTo>
                    <a:pt x="23" y="615"/>
                  </a:lnTo>
                  <a:lnTo>
                    <a:pt x="23" y="615"/>
                  </a:lnTo>
                  <a:lnTo>
                    <a:pt x="21" y="625"/>
                  </a:lnTo>
                  <a:lnTo>
                    <a:pt x="18" y="636"/>
                  </a:lnTo>
                  <a:lnTo>
                    <a:pt x="18" y="636"/>
                  </a:lnTo>
                  <a:lnTo>
                    <a:pt x="13" y="668"/>
                  </a:lnTo>
                  <a:lnTo>
                    <a:pt x="7" y="701"/>
                  </a:lnTo>
                  <a:lnTo>
                    <a:pt x="7" y="701"/>
                  </a:lnTo>
                  <a:lnTo>
                    <a:pt x="4" y="721"/>
                  </a:lnTo>
                  <a:lnTo>
                    <a:pt x="4" y="721"/>
                  </a:lnTo>
                  <a:lnTo>
                    <a:pt x="1" y="764"/>
                  </a:lnTo>
                  <a:lnTo>
                    <a:pt x="0" y="808"/>
                  </a:lnTo>
                  <a:lnTo>
                    <a:pt x="0" y="808"/>
                  </a:lnTo>
                  <a:lnTo>
                    <a:pt x="0" y="813"/>
                  </a:lnTo>
                  <a:lnTo>
                    <a:pt x="0" y="813"/>
                  </a:lnTo>
                  <a:lnTo>
                    <a:pt x="1" y="849"/>
                  </a:lnTo>
                  <a:lnTo>
                    <a:pt x="4" y="884"/>
                  </a:lnTo>
                  <a:lnTo>
                    <a:pt x="4" y="884"/>
                  </a:lnTo>
                  <a:lnTo>
                    <a:pt x="6" y="909"/>
                  </a:lnTo>
                  <a:lnTo>
                    <a:pt x="6" y="909"/>
                  </a:lnTo>
                  <a:lnTo>
                    <a:pt x="11" y="936"/>
                  </a:lnTo>
                  <a:lnTo>
                    <a:pt x="15" y="963"/>
                  </a:lnTo>
                  <a:lnTo>
                    <a:pt x="15" y="963"/>
                  </a:lnTo>
                  <a:lnTo>
                    <a:pt x="20" y="986"/>
                  </a:lnTo>
                  <a:lnTo>
                    <a:pt x="20" y="986"/>
                  </a:lnTo>
                  <a:lnTo>
                    <a:pt x="27" y="1020"/>
                  </a:lnTo>
                  <a:lnTo>
                    <a:pt x="36" y="1053"/>
                  </a:lnTo>
                  <a:lnTo>
                    <a:pt x="36" y="1053"/>
                  </a:lnTo>
                  <a:lnTo>
                    <a:pt x="38" y="1059"/>
                  </a:lnTo>
                  <a:lnTo>
                    <a:pt x="38" y="1059"/>
                  </a:lnTo>
                  <a:lnTo>
                    <a:pt x="50" y="1097"/>
                  </a:lnTo>
                  <a:lnTo>
                    <a:pt x="65" y="1134"/>
                  </a:lnTo>
                  <a:lnTo>
                    <a:pt x="65" y="1134"/>
                  </a:lnTo>
                  <a:lnTo>
                    <a:pt x="68" y="1142"/>
                  </a:lnTo>
                  <a:lnTo>
                    <a:pt x="68" y="1142"/>
                  </a:lnTo>
                  <a:lnTo>
                    <a:pt x="83" y="1175"/>
                  </a:lnTo>
                  <a:lnTo>
                    <a:pt x="100" y="1209"/>
                  </a:lnTo>
                  <a:lnTo>
                    <a:pt x="100" y="1209"/>
                  </a:lnTo>
                  <a:lnTo>
                    <a:pt x="102" y="1214"/>
                  </a:lnTo>
                  <a:lnTo>
                    <a:pt x="102" y="1214"/>
                  </a:lnTo>
                  <a:lnTo>
                    <a:pt x="123" y="1251"/>
                  </a:lnTo>
                  <a:lnTo>
                    <a:pt x="146" y="1286"/>
                  </a:lnTo>
                  <a:lnTo>
                    <a:pt x="171" y="1322"/>
                  </a:lnTo>
                  <a:lnTo>
                    <a:pt x="197" y="1355"/>
                  </a:lnTo>
                  <a:lnTo>
                    <a:pt x="225" y="1387"/>
                  </a:lnTo>
                  <a:lnTo>
                    <a:pt x="254" y="1418"/>
                  </a:lnTo>
                  <a:lnTo>
                    <a:pt x="286" y="1448"/>
                  </a:lnTo>
                  <a:lnTo>
                    <a:pt x="318" y="1476"/>
                  </a:lnTo>
                  <a:lnTo>
                    <a:pt x="184" y="1610"/>
                  </a:lnTo>
                  <a:lnTo>
                    <a:pt x="184" y="1610"/>
                  </a:lnTo>
                  <a:lnTo>
                    <a:pt x="173" y="1623"/>
                  </a:lnTo>
                  <a:lnTo>
                    <a:pt x="162" y="1635"/>
                  </a:lnTo>
                  <a:lnTo>
                    <a:pt x="155" y="1647"/>
                  </a:lnTo>
                  <a:lnTo>
                    <a:pt x="149" y="1659"/>
                  </a:lnTo>
                  <a:lnTo>
                    <a:pt x="146" y="1670"/>
                  </a:lnTo>
                  <a:lnTo>
                    <a:pt x="145" y="1680"/>
                  </a:lnTo>
                  <a:lnTo>
                    <a:pt x="145" y="1689"/>
                  </a:lnTo>
                  <a:lnTo>
                    <a:pt x="148" y="1698"/>
                  </a:lnTo>
                  <a:lnTo>
                    <a:pt x="152" y="1707"/>
                  </a:lnTo>
                  <a:lnTo>
                    <a:pt x="158" y="1714"/>
                  </a:lnTo>
                  <a:lnTo>
                    <a:pt x="167" y="1720"/>
                  </a:lnTo>
                  <a:lnTo>
                    <a:pt x="177" y="1726"/>
                  </a:lnTo>
                  <a:lnTo>
                    <a:pt x="189" y="1730"/>
                  </a:lnTo>
                  <a:lnTo>
                    <a:pt x="203" y="1733"/>
                  </a:lnTo>
                  <a:lnTo>
                    <a:pt x="219" y="1735"/>
                  </a:lnTo>
                  <a:lnTo>
                    <a:pt x="236" y="1735"/>
                  </a:lnTo>
                  <a:lnTo>
                    <a:pt x="620" y="1735"/>
                  </a:lnTo>
                  <a:lnTo>
                    <a:pt x="620" y="1735"/>
                  </a:lnTo>
                  <a:lnTo>
                    <a:pt x="639" y="1734"/>
                  </a:lnTo>
                  <a:lnTo>
                    <a:pt x="656" y="1732"/>
                  </a:lnTo>
                  <a:lnTo>
                    <a:pt x="673" y="1727"/>
                  </a:lnTo>
                  <a:lnTo>
                    <a:pt x="690" y="1722"/>
                  </a:lnTo>
                  <a:lnTo>
                    <a:pt x="705" y="1714"/>
                  </a:lnTo>
                  <a:lnTo>
                    <a:pt x="719" y="1706"/>
                  </a:lnTo>
                  <a:lnTo>
                    <a:pt x="732" y="1695"/>
                  </a:lnTo>
                  <a:lnTo>
                    <a:pt x="746" y="1683"/>
                  </a:lnTo>
                  <a:lnTo>
                    <a:pt x="757" y="1671"/>
                  </a:lnTo>
                  <a:lnTo>
                    <a:pt x="767" y="1658"/>
                  </a:lnTo>
                  <a:lnTo>
                    <a:pt x="776" y="1642"/>
                  </a:lnTo>
                  <a:lnTo>
                    <a:pt x="783" y="1627"/>
                  </a:lnTo>
                  <a:lnTo>
                    <a:pt x="790" y="1611"/>
                  </a:lnTo>
                  <a:lnTo>
                    <a:pt x="794" y="1594"/>
                  </a:lnTo>
                  <a:lnTo>
                    <a:pt x="797" y="1576"/>
                  </a:lnTo>
                  <a:lnTo>
                    <a:pt x="798" y="1559"/>
                  </a:lnTo>
                  <a:lnTo>
                    <a:pt x="798" y="1174"/>
                  </a:lnTo>
                  <a:lnTo>
                    <a:pt x="798" y="1174"/>
                  </a:lnTo>
                  <a:lnTo>
                    <a:pt x="797" y="1157"/>
                  </a:lnTo>
                  <a:lnTo>
                    <a:pt x="795" y="1140"/>
                  </a:lnTo>
                  <a:lnTo>
                    <a:pt x="792" y="1127"/>
                  </a:lnTo>
                  <a:lnTo>
                    <a:pt x="788" y="1115"/>
                  </a:lnTo>
                  <a:lnTo>
                    <a:pt x="782" y="1105"/>
                  </a:lnTo>
                  <a:lnTo>
                    <a:pt x="776" y="1097"/>
                  </a:lnTo>
                  <a:lnTo>
                    <a:pt x="769" y="1089"/>
                  </a:lnTo>
                  <a:lnTo>
                    <a:pt x="761" y="1085"/>
                  </a:lnTo>
                  <a:lnTo>
                    <a:pt x="752" y="1083"/>
                  </a:lnTo>
                  <a:lnTo>
                    <a:pt x="743" y="1082"/>
                  </a:lnTo>
                  <a:lnTo>
                    <a:pt x="731" y="1083"/>
                  </a:lnTo>
                  <a:lnTo>
                    <a:pt x="721" y="1087"/>
                  </a:lnTo>
                  <a:lnTo>
                    <a:pt x="709" y="1093"/>
                  </a:lnTo>
                  <a:lnTo>
                    <a:pt x="698" y="1101"/>
                  </a:lnTo>
                  <a:lnTo>
                    <a:pt x="686" y="1110"/>
                  </a:lnTo>
                  <a:lnTo>
                    <a:pt x="672" y="1122"/>
                  </a:lnTo>
                  <a:lnTo>
                    <a:pt x="672" y="1122"/>
                  </a:lnTo>
                  <a:close/>
                  <a:moveTo>
                    <a:pt x="315" y="265"/>
                  </a:moveTo>
                  <a:lnTo>
                    <a:pt x="315" y="265"/>
                  </a:lnTo>
                  <a:lnTo>
                    <a:pt x="344" y="238"/>
                  </a:lnTo>
                  <a:lnTo>
                    <a:pt x="374" y="212"/>
                  </a:lnTo>
                  <a:lnTo>
                    <a:pt x="405" y="189"/>
                  </a:lnTo>
                  <a:lnTo>
                    <a:pt x="437" y="166"/>
                  </a:lnTo>
                  <a:lnTo>
                    <a:pt x="470" y="146"/>
                  </a:lnTo>
                  <a:lnTo>
                    <a:pt x="505" y="127"/>
                  </a:lnTo>
                  <a:lnTo>
                    <a:pt x="541" y="109"/>
                  </a:lnTo>
                  <a:lnTo>
                    <a:pt x="576" y="94"/>
                  </a:lnTo>
                  <a:lnTo>
                    <a:pt x="576" y="94"/>
                  </a:lnTo>
                  <a:lnTo>
                    <a:pt x="583" y="92"/>
                  </a:lnTo>
                  <a:lnTo>
                    <a:pt x="589" y="91"/>
                  </a:lnTo>
                  <a:lnTo>
                    <a:pt x="600" y="90"/>
                  </a:lnTo>
                  <a:lnTo>
                    <a:pt x="612" y="92"/>
                  </a:lnTo>
                  <a:lnTo>
                    <a:pt x="622" y="95"/>
                  </a:lnTo>
                  <a:lnTo>
                    <a:pt x="633" y="101"/>
                  </a:lnTo>
                  <a:lnTo>
                    <a:pt x="642" y="108"/>
                  </a:lnTo>
                  <a:lnTo>
                    <a:pt x="649" y="117"/>
                  </a:lnTo>
                  <a:lnTo>
                    <a:pt x="652" y="122"/>
                  </a:lnTo>
                  <a:lnTo>
                    <a:pt x="655" y="129"/>
                  </a:lnTo>
                  <a:lnTo>
                    <a:pt x="655" y="129"/>
                  </a:lnTo>
                  <a:lnTo>
                    <a:pt x="657" y="134"/>
                  </a:lnTo>
                  <a:lnTo>
                    <a:pt x="658" y="140"/>
                  </a:lnTo>
                  <a:lnTo>
                    <a:pt x="659" y="152"/>
                  </a:lnTo>
                  <a:lnTo>
                    <a:pt x="658" y="163"/>
                  </a:lnTo>
                  <a:lnTo>
                    <a:pt x="654" y="175"/>
                  </a:lnTo>
                  <a:lnTo>
                    <a:pt x="649" y="185"/>
                  </a:lnTo>
                  <a:lnTo>
                    <a:pt x="641" y="194"/>
                  </a:lnTo>
                  <a:lnTo>
                    <a:pt x="632" y="201"/>
                  </a:lnTo>
                  <a:lnTo>
                    <a:pt x="626" y="204"/>
                  </a:lnTo>
                  <a:lnTo>
                    <a:pt x="620" y="206"/>
                  </a:lnTo>
                  <a:lnTo>
                    <a:pt x="620" y="206"/>
                  </a:lnTo>
                  <a:lnTo>
                    <a:pt x="590" y="219"/>
                  </a:lnTo>
                  <a:lnTo>
                    <a:pt x="560" y="234"/>
                  </a:lnTo>
                  <a:lnTo>
                    <a:pt x="532" y="250"/>
                  </a:lnTo>
                  <a:lnTo>
                    <a:pt x="503" y="267"/>
                  </a:lnTo>
                  <a:lnTo>
                    <a:pt x="477" y="286"/>
                  </a:lnTo>
                  <a:lnTo>
                    <a:pt x="450" y="306"/>
                  </a:lnTo>
                  <a:lnTo>
                    <a:pt x="425" y="328"/>
                  </a:lnTo>
                  <a:lnTo>
                    <a:pt x="401" y="351"/>
                  </a:lnTo>
                  <a:lnTo>
                    <a:pt x="401" y="351"/>
                  </a:lnTo>
                  <a:lnTo>
                    <a:pt x="396" y="355"/>
                  </a:lnTo>
                  <a:lnTo>
                    <a:pt x="391" y="359"/>
                  </a:lnTo>
                  <a:lnTo>
                    <a:pt x="381" y="364"/>
                  </a:lnTo>
                  <a:lnTo>
                    <a:pt x="369" y="367"/>
                  </a:lnTo>
                  <a:lnTo>
                    <a:pt x="358" y="368"/>
                  </a:lnTo>
                  <a:lnTo>
                    <a:pt x="347" y="367"/>
                  </a:lnTo>
                  <a:lnTo>
                    <a:pt x="336" y="364"/>
                  </a:lnTo>
                  <a:lnTo>
                    <a:pt x="325" y="359"/>
                  </a:lnTo>
                  <a:lnTo>
                    <a:pt x="321" y="355"/>
                  </a:lnTo>
                  <a:lnTo>
                    <a:pt x="315" y="351"/>
                  </a:lnTo>
                  <a:lnTo>
                    <a:pt x="315" y="351"/>
                  </a:lnTo>
                  <a:lnTo>
                    <a:pt x="311" y="347"/>
                  </a:lnTo>
                  <a:lnTo>
                    <a:pt x="307" y="342"/>
                  </a:lnTo>
                  <a:lnTo>
                    <a:pt x="302" y="331"/>
                  </a:lnTo>
                  <a:lnTo>
                    <a:pt x="299" y="319"/>
                  </a:lnTo>
                  <a:lnTo>
                    <a:pt x="298" y="308"/>
                  </a:lnTo>
                  <a:lnTo>
                    <a:pt x="299" y="297"/>
                  </a:lnTo>
                  <a:lnTo>
                    <a:pt x="302" y="286"/>
                  </a:lnTo>
                  <a:lnTo>
                    <a:pt x="307" y="274"/>
                  </a:lnTo>
                  <a:lnTo>
                    <a:pt x="311" y="270"/>
                  </a:lnTo>
                  <a:lnTo>
                    <a:pt x="315" y="265"/>
                  </a:lnTo>
                  <a:lnTo>
                    <a:pt x="315" y="265"/>
                  </a:lnTo>
                  <a:close/>
                </a:path>
              </a:pathLst>
            </a:custGeom>
            <a:solidFill>
              <a:schemeClr val="accent4"/>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sp>
          <p:nvSpPr>
            <p:cNvPr id="251" name="Freeform 428"/>
            <p:cNvSpPr>
              <a:spLocks noEditPoints="1"/>
            </p:cNvSpPr>
            <p:nvPr/>
          </p:nvSpPr>
          <p:spPr bwMode="auto">
            <a:xfrm>
              <a:off x="906117" y="373530"/>
              <a:ext cx="78883" cy="159927"/>
            </a:xfrm>
            <a:custGeom>
              <a:avLst/>
              <a:gdLst>
                <a:gd name="T0" fmla="*/ 794 w 798"/>
                <a:gd name="T1" fmla="*/ 850 h 1736"/>
                <a:gd name="T2" fmla="*/ 783 w 798"/>
                <a:gd name="T3" fmla="*/ 772 h 1736"/>
                <a:gd name="T4" fmla="*/ 762 w 798"/>
                <a:gd name="T5" fmla="*/ 681 h 1736"/>
                <a:gd name="T6" fmla="*/ 731 w 798"/>
                <a:gd name="T7" fmla="*/ 594 h 1736"/>
                <a:gd name="T8" fmla="*/ 697 w 798"/>
                <a:gd name="T9" fmla="*/ 522 h 1736"/>
                <a:gd name="T10" fmla="*/ 602 w 798"/>
                <a:gd name="T11" fmla="*/ 380 h 1736"/>
                <a:gd name="T12" fmla="*/ 614 w 798"/>
                <a:gd name="T13" fmla="*/ 125 h 1736"/>
                <a:gd name="T14" fmla="*/ 649 w 798"/>
                <a:gd name="T15" fmla="*/ 76 h 1736"/>
                <a:gd name="T16" fmla="*/ 647 w 798"/>
                <a:gd name="T17" fmla="*/ 28 h 1736"/>
                <a:gd name="T18" fmla="*/ 596 w 798"/>
                <a:gd name="T19" fmla="*/ 2 h 1736"/>
                <a:gd name="T20" fmla="*/ 160 w 798"/>
                <a:gd name="T21" fmla="*/ 1 h 1736"/>
                <a:gd name="T22" fmla="*/ 79 w 798"/>
                <a:gd name="T23" fmla="*/ 29 h 1736"/>
                <a:gd name="T24" fmla="*/ 23 w 798"/>
                <a:gd name="T25" fmla="*/ 93 h 1736"/>
                <a:gd name="T26" fmla="*/ 0 w 798"/>
                <a:gd name="T27" fmla="*/ 177 h 1736"/>
                <a:gd name="T28" fmla="*/ 6 w 798"/>
                <a:gd name="T29" fmla="*/ 608 h 1736"/>
                <a:gd name="T30" fmla="*/ 38 w 798"/>
                <a:gd name="T31" fmla="*/ 650 h 1736"/>
                <a:gd name="T32" fmla="*/ 89 w 798"/>
                <a:gd name="T33" fmla="*/ 642 h 1736"/>
                <a:gd name="T34" fmla="*/ 263 w 798"/>
                <a:gd name="T35" fmla="*/ 476 h 1736"/>
                <a:gd name="T36" fmla="*/ 339 w 798"/>
                <a:gd name="T37" fmla="*/ 539 h 1736"/>
                <a:gd name="T38" fmla="*/ 387 w 798"/>
                <a:gd name="T39" fmla="*/ 596 h 1736"/>
                <a:gd name="T40" fmla="*/ 436 w 798"/>
                <a:gd name="T41" fmla="*/ 675 h 1736"/>
                <a:gd name="T42" fmla="*/ 468 w 798"/>
                <a:gd name="T43" fmla="*/ 753 h 1736"/>
                <a:gd name="T44" fmla="*/ 489 w 798"/>
                <a:gd name="T45" fmla="*/ 834 h 1736"/>
                <a:gd name="T46" fmla="*/ 496 w 798"/>
                <a:gd name="T47" fmla="*/ 908 h 1736"/>
                <a:gd name="T48" fmla="*/ 494 w 798"/>
                <a:gd name="T49" fmla="*/ 983 h 1736"/>
                <a:gd name="T50" fmla="*/ 486 w 798"/>
                <a:gd name="T51" fmla="*/ 1038 h 1736"/>
                <a:gd name="T52" fmla="*/ 471 w 798"/>
                <a:gd name="T53" fmla="*/ 1093 h 1736"/>
                <a:gd name="T54" fmla="*/ 452 w 798"/>
                <a:gd name="T55" fmla="*/ 1146 h 1736"/>
                <a:gd name="T56" fmla="*/ 401 w 798"/>
                <a:gd name="T57" fmla="*/ 1238 h 1736"/>
                <a:gd name="T58" fmla="*/ 334 w 798"/>
                <a:gd name="T59" fmla="*/ 1320 h 1736"/>
                <a:gd name="T60" fmla="*/ 221 w 798"/>
                <a:gd name="T61" fmla="*/ 1407 h 1736"/>
                <a:gd name="T62" fmla="*/ 131 w 798"/>
                <a:gd name="T63" fmla="*/ 1450 h 1736"/>
                <a:gd name="T64" fmla="*/ 76 w 798"/>
                <a:gd name="T65" fmla="*/ 1499 h 1736"/>
                <a:gd name="T66" fmla="*/ 50 w 798"/>
                <a:gd name="T67" fmla="*/ 1567 h 1736"/>
                <a:gd name="T68" fmla="*/ 59 w 798"/>
                <a:gd name="T69" fmla="*/ 1640 h 1736"/>
                <a:gd name="T70" fmla="*/ 92 w 798"/>
                <a:gd name="T71" fmla="*/ 1690 h 1736"/>
                <a:gd name="T72" fmla="*/ 153 w 798"/>
                <a:gd name="T73" fmla="*/ 1728 h 1736"/>
                <a:gd name="T74" fmla="*/ 226 w 798"/>
                <a:gd name="T75" fmla="*/ 1734 h 1736"/>
                <a:gd name="T76" fmla="*/ 335 w 798"/>
                <a:gd name="T77" fmla="*/ 1689 h 1736"/>
                <a:gd name="T78" fmla="*/ 514 w 798"/>
                <a:gd name="T79" fmla="*/ 1563 h 1736"/>
                <a:gd name="T80" fmla="*/ 625 w 798"/>
                <a:gd name="T81" fmla="*/ 1442 h 1736"/>
                <a:gd name="T82" fmla="*/ 725 w 798"/>
                <a:gd name="T83" fmla="*/ 1273 h 1736"/>
                <a:gd name="T84" fmla="*/ 728 w 798"/>
                <a:gd name="T85" fmla="*/ 1266 h 1736"/>
                <a:gd name="T86" fmla="*/ 759 w 798"/>
                <a:gd name="T87" fmla="*/ 1184 h 1736"/>
                <a:gd name="T88" fmla="*/ 780 w 798"/>
                <a:gd name="T89" fmla="*/ 1099 h 1736"/>
                <a:gd name="T90" fmla="*/ 794 w 798"/>
                <a:gd name="T91" fmla="*/ 1015 h 1736"/>
                <a:gd name="T92" fmla="*/ 798 w 798"/>
                <a:gd name="T93" fmla="*/ 923 h 1736"/>
                <a:gd name="T94" fmla="*/ 424 w 798"/>
                <a:gd name="T95" fmla="*/ 1523 h 1736"/>
                <a:gd name="T96" fmla="*/ 258 w 798"/>
                <a:gd name="T97" fmla="*/ 1626 h 1736"/>
                <a:gd name="T98" fmla="*/ 198 w 798"/>
                <a:gd name="T99" fmla="*/ 1645 h 1736"/>
                <a:gd name="T100" fmla="*/ 149 w 798"/>
                <a:gd name="T101" fmla="*/ 1618 h 1736"/>
                <a:gd name="T102" fmla="*/ 140 w 798"/>
                <a:gd name="T103" fmla="*/ 1595 h 1736"/>
                <a:gd name="T104" fmla="*/ 157 w 798"/>
                <a:gd name="T105" fmla="*/ 1542 h 1736"/>
                <a:gd name="T106" fmla="*/ 208 w 798"/>
                <a:gd name="T107" fmla="*/ 1516 h 1736"/>
                <a:gd name="T108" fmla="*/ 348 w 798"/>
                <a:gd name="T109" fmla="*/ 1429 h 1736"/>
                <a:gd name="T110" fmla="*/ 407 w 798"/>
                <a:gd name="T111" fmla="*/ 1376 h 1736"/>
                <a:gd name="T112" fmla="*/ 463 w 798"/>
                <a:gd name="T113" fmla="*/ 1371 h 1736"/>
                <a:gd name="T114" fmla="*/ 487 w 798"/>
                <a:gd name="T115" fmla="*/ 1389 h 1736"/>
                <a:gd name="T116" fmla="*/ 500 w 798"/>
                <a:gd name="T117" fmla="*/ 1438 h 1736"/>
                <a:gd name="T118" fmla="*/ 483 w 798"/>
                <a:gd name="T119" fmla="*/ 1470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6">
                  <a:moveTo>
                    <a:pt x="798" y="923"/>
                  </a:moveTo>
                  <a:lnTo>
                    <a:pt x="798" y="923"/>
                  </a:lnTo>
                  <a:lnTo>
                    <a:pt x="797" y="886"/>
                  </a:lnTo>
                  <a:lnTo>
                    <a:pt x="794" y="850"/>
                  </a:lnTo>
                  <a:lnTo>
                    <a:pt x="794" y="850"/>
                  </a:lnTo>
                  <a:lnTo>
                    <a:pt x="792" y="827"/>
                  </a:lnTo>
                  <a:lnTo>
                    <a:pt x="792" y="827"/>
                  </a:lnTo>
                  <a:lnTo>
                    <a:pt x="787" y="799"/>
                  </a:lnTo>
                  <a:lnTo>
                    <a:pt x="783" y="772"/>
                  </a:lnTo>
                  <a:lnTo>
                    <a:pt x="783" y="772"/>
                  </a:lnTo>
                  <a:lnTo>
                    <a:pt x="779" y="749"/>
                  </a:lnTo>
                  <a:lnTo>
                    <a:pt x="779" y="749"/>
                  </a:lnTo>
                  <a:lnTo>
                    <a:pt x="771" y="715"/>
                  </a:lnTo>
                  <a:lnTo>
                    <a:pt x="762" y="681"/>
                  </a:lnTo>
                  <a:lnTo>
                    <a:pt x="762" y="681"/>
                  </a:lnTo>
                  <a:lnTo>
                    <a:pt x="761" y="677"/>
                  </a:lnTo>
                  <a:lnTo>
                    <a:pt x="761" y="677"/>
                  </a:lnTo>
                  <a:lnTo>
                    <a:pt x="748" y="638"/>
                  </a:lnTo>
                  <a:lnTo>
                    <a:pt x="733" y="601"/>
                  </a:lnTo>
                  <a:lnTo>
                    <a:pt x="731" y="594"/>
                  </a:lnTo>
                  <a:lnTo>
                    <a:pt x="731" y="594"/>
                  </a:lnTo>
                  <a:lnTo>
                    <a:pt x="716" y="560"/>
                  </a:lnTo>
                  <a:lnTo>
                    <a:pt x="699" y="525"/>
                  </a:lnTo>
                  <a:lnTo>
                    <a:pt x="699" y="525"/>
                  </a:lnTo>
                  <a:lnTo>
                    <a:pt x="697" y="522"/>
                  </a:lnTo>
                  <a:lnTo>
                    <a:pt x="697" y="522"/>
                  </a:lnTo>
                  <a:lnTo>
                    <a:pt x="675" y="484"/>
                  </a:lnTo>
                  <a:lnTo>
                    <a:pt x="653" y="449"/>
                  </a:lnTo>
                  <a:lnTo>
                    <a:pt x="628" y="414"/>
                  </a:lnTo>
                  <a:lnTo>
                    <a:pt x="602" y="380"/>
                  </a:lnTo>
                  <a:lnTo>
                    <a:pt x="573" y="348"/>
                  </a:lnTo>
                  <a:lnTo>
                    <a:pt x="544" y="317"/>
                  </a:lnTo>
                  <a:lnTo>
                    <a:pt x="513" y="287"/>
                  </a:lnTo>
                  <a:lnTo>
                    <a:pt x="479" y="260"/>
                  </a:lnTo>
                  <a:lnTo>
                    <a:pt x="614" y="125"/>
                  </a:lnTo>
                  <a:lnTo>
                    <a:pt x="614" y="125"/>
                  </a:lnTo>
                  <a:lnTo>
                    <a:pt x="626" y="112"/>
                  </a:lnTo>
                  <a:lnTo>
                    <a:pt x="635" y="100"/>
                  </a:lnTo>
                  <a:lnTo>
                    <a:pt x="644" y="87"/>
                  </a:lnTo>
                  <a:lnTo>
                    <a:pt x="649" y="76"/>
                  </a:lnTo>
                  <a:lnTo>
                    <a:pt x="653" y="65"/>
                  </a:lnTo>
                  <a:lnTo>
                    <a:pt x="654" y="55"/>
                  </a:lnTo>
                  <a:lnTo>
                    <a:pt x="654" y="46"/>
                  </a:lnTo>
                  <a:lnTo>
                    <a:pt x="651" y="36"/>
                  </a:lnTo>
                  <a:lnTo>
                    <a:pt x="647" y="28"/>
                  </a:lnTo>
                  <a:lnTo>
                    <a:pt x="640" y="21"/>
                  </a:lnTo>
                  <a:lnTo>
                    <a:pt x="631" y="15"/>
                  </a:lnTo>
                  <a:lnTo>
                    <a:pt x="621" y="9"/>
                  </a:lnTo>
                  <a:lnTo>
                    <a:pt x="609" y="5"/>
                  </a:lnTo>
                  <a:lnTo>
                    <a:pt x="596" y="2"/>
                  </a:lnTo>
                  <a:lnTo>
                    <a:pt x="579" y="0"/>
                  </a:lnTo>
                  <a:lnTo>
                    <a:pt x="562" y="0"/>
                  </a:lnTo>
                  <a:lnTo>
                    <a:pt x="178" y="0"/>
                  </a:lnTo>
                  <a:lnTo>
                    <a:pt x="178" y="0"/>
                  </a:lnTo>
                  <a:lnTo>
                    <a:pt x="160" y="1"/>
                  </a:lnTo>
                  <a:lnTo>
                    <a:pt x="142" y="3"/>
                  </a:lnTo>
                  <a:lnTo>
                    <a:pt x="126" y="7"/>
                  </a:lnTo>
                  <a:lnTo>
                    <a:pt x="109" y="13"/>
                  </a:lnTo>
                  <a:lnTo>
                    <a:pt x="94" y="21"/>
                  </a:lnTo>
                  <a:lnTo>
                    <a:pt x="79" y="29"/>
                  </a:lnTo>
                  <a:lnTo>
                    <a:pt x="65" y="40"/>
                  </a:lnTo>
                  <a:lnTo>
                    <a:pt x="53" y="52"/>
                  </a:lnTo>
                  <a:lnTo>
                    <a:pt x="41" y="64"/>
                  </a:lnTo>
                  <a:lnTo>
                    <a:pt x="31" y="78"/>
                  </a:lnTo>
                  <a:lnTo>
                    <a:pt x="23" y="93"/>
                  </a:lnTo>
                  <a:lnTo>
                    <a:pt x="14" y="108"/>
                  </a:lnTo>
                  <a:lnTo>
                    <a:pt x="8" y="124"/>
                  </a:lnTo>
                  <a:lnTo>
                    <a:pt x="4" y="142"/>
                  </a:lnTo>
                  <a:lnTo>
                    <a:pt x="1" y="159"/>
                  </a:lnTo>
                  <a:lnTo>
                    <a:pt x="0" y="177"/>
                  </a:lnTo>
                  <a:lnTo>
                    <a:pt x="0" y="561"/>
                  </a:lnTo>
                  <a:lnTo>
                    <a:pt x="0" y="561"/>
                  </a:lnTo>
                  <a:lnTo>
                    <a:pt x="1" y="579"/>
                  </a:lnTo>
                  <a:lnTo>
                    <a:pt x="3" y="594"/>
                  </a:lnTo>
                  <a:lnTo>
                    <a:pt x="6" y="608"/>
                  </a:lnTo>
                  <a:lnTo>
                    <a:pt x="10" y="620"/>
                  </a:lnTo>
                  <a:lnTo>
                    <a:pt x="15" y="630"/>
                  </a:lnTo>
                  <a:lnTo>
                    <a:pt x="23" y="638"/>
                  </a:lnTo>
                  <a:lnTo>
                    <a:pt x="30" y="645"/>
                  </a:lnTo>
                  <a:lnTo>
                    <a:pt x="38" y="650"/>
                  </a:lnTo>
                  <a:lnTo>
                    <a:pt x="46" y="653"/>
                  </a:lnTo>
                  <a:lnTo>
                    <a:pt x="56" y="653"/>
                  </a:lnTo>
                  <a:lnTo>
                    <a:pt x="66" y="652"/>
                  </a:lnTo>
                  <a:lnTo>
                    <a:pt x="78" y="647"/>
                  </a:lnTo>
                  <a:lnTo>
                    <a:pt x="89" y="642"/>
                  </a:lnTo>
                  <a:lnTo>
                    <a:pt x="101" y="634"/>
                  </a:lnTo>
                  <a:lnTo>
                    <a:pt x="113" y="625"/>
                  </a:lnTo>
                  <a:lnTo>
                    <a:pt x="126" y="613"/>
                  </a:lnTo>
                  <a:lnTo>
                    <a:pt x="263" y="476"/>
                  </a:lnTo>
                  <a:lnTo>
                    <a:pt x="263" y="476"/>
                  </a:lnTo>
                  <a:lnTo>
                    <a:pt x="284" y="490"/>
                  </a:lnTo>
                  <a:lnTo>
                    <a:pt x="303" y="506"/>
                  </a:lnTo>
                  <a:lnTo>
                    <a:pt x="321" y="522"/>
                  </a:lnTo>
                  <a:lnTo>
                    <a:pt x="339" y="539"/>
                  </a:lnTo>
                  <a:lnTo>
                    <a:pt x="339" y="539"/>
                  </a:lnTo>
                  <a:lnTo>
                    <a:pt x="351" y="553"/>
                  </a:lnTo>
                  <a:lnTo>
                    <a:pt x="362" y="566"/>
                  </a:lnTo>
                  <a:lnTo>
                    <a:pt x="362" y="566"/>
                  </a:lnTo>
                  <a:lnTo>
                    <a:pt x="375" y="581"/>
                  </a:lnTo>
                  <a:lnTo>
                    <a:pt x="387" y="596"/>
                  </a:lnTo>
                  <a:lnTo>
                    <a:pt x="387" y="596"/>
                  </a:lnTo>
                  <a:lnTo>
                    <a:pt x="408" y="627"/>
                  </a:lnTo>
                  <a:lnTo>
                    <a:pt x="408" y="627"/>
                  </a:lnTo>
                  <a:lnTo>
                    <a:pt x="422" y="651"/>
                  </a:lnTo>
                  <a:lnTo>
                    <a:pt x="436" y="675"/>
                  </a:lnTo>
                  <a:lnTo>
                    <a:pt x="436" y="675"/>
                  </a:lnTo>
                  <a:lnTo>
                    <a:pt x="447" y="698"/>
                  </a:lnTo>
                  <a:lnTo>
                    <a:pt x="447" y="698"/>
                  </a:lnTo>
                  <a:lnTo>
                    <a:pt x="458" y="725"/>
                  </a:lnTo>
                  <a:lnTo>
                    <a:pt x="468" y="753"/>
                  </a:lnTo>
                  <a:lnTo>
                    <a:pt x="468" y="753"/>
                  </a:lnTo>
                  <a:lnTo>
                    <a:pt x="472" y="764"/>
                  </a:lnTo>
                  <a:lnTo>
                    <a:pt x="472" y="764"/>
                  </a:lnTo>
                  <a:lnTo>
                    <a:pt x="482" y="798"/>
                  </a:lnTo>
                  <a:lnTo>
                    <a:pt x="489" y="834"/>
                  </a:lnTo>
                  <a:lnTo>
                    <a:pt x="489" y="834"/>
                  </a:lnTo>
                  <a:lnTo>
                    <a:pt x="491" y="853"/>
                  </a:lnTo>
                  <a:lnTo>
                    <a:pt x="491" y="853"/>
                  </a:lnTo>
                  <a:lnTo>
                    <a:pt x="495" y="889"/>
                  </a:lnTo>
                  <a:lnTo>
                    <a:pt x="496" y="908"/>
                  </a:lnTo>
                  <a:lnTo>
                    <a:pt x="497" y="927"/>
                  </a:lnTo>
                  <a:lnTo>
                    <a:pt x="497" y="927"/>
                  </a:lnTo>
                  <a:lnTo>
                    <a:pt x="497" y="927"/>
                  </a:lnTo>
                  <a:lnTo>
                    <a:pt x="496" y="956"/>
                  </a:lnTo>
                  <a:lnTo>
                    <a:pt x="494" y="983"/>
                  </a:lnTo>
                  <a:lnTo>
                    <a:pt x="494" y="983"/>
                  </a:lnTo>
                  <a:lnTo>
                    <a:pt x="491" y="1007"/>
                  </a:lnTo>
                  <a:lnTo>
                    <a:pt x="491" y="1007"/>
                  </a:lnTo>
                  <a:lnTo>
                    <a:pt x="488" y="1023"/>
                  </a:lnTo>
                  <a:lnTo>
                    <a:pt x="486" y="1038"/>
                  </a:lnTo>
                  <a:lnTo>
                    <a:pt x="486" y="1038"/>
                  </a:lnTo>
                  <a:lnTo>
                    <a:pt x="480" y="1059"/>
                  </a:lnTo>
                  <a:lnTo>
                    <a:pt x="480" y="1059"/>
                  </a:lnTo>
                  <a:lnTo>
                    <a:pt x="476" y="1076"/>
                  </a:lnTo>
                  <a:lnTo>
                    <a:pt x="471" y="1093"/>
                  </a:lnTo>
                  <a:lnTo>
                    <a:pt x="471" y="1093"/>
                  </a:lnTo>
                  <a:lnTo>
                    <a:pt x="466" y="1108"/>
                  </a:lnTo>
                  <a:lnTo>
                    <a:pt x="466" y="1108"/>
                  </a:lnTo>
                  <a:lnTo>
                    <a:pt x="459" y="1127"/>
                  </a:lnTo>
                  <a:lnTo>
                    <a:pt x="452" y="1146"/>
                  </a:lnTo>
                  <a:lnTo>
                    <a:pt x="452" y="1146"/>
                  </a:lnTo>
                  <a:lnTo>
                    <a:pt x="441" y="1170"/>
                  </a:lnTo>
                  <a:lnTo>
                    <a:pt x="428" y="1193"/>
                  </a:lnTo>
                  <a:lnTo>
                    <a:pt x="415" y="1216"/>
                  </a:lnTo>
                  <a:lnTo>
                    <a:pt x="401" y="1238"/>
                  </a:lnTo>
                  <a:lnTo>
                    <a:pt x="386" y="1259"/>
                  </a:lnTo>
                  <a:lnTo>
                    <a:pt x="369" y="1281"/>
                  </a:lnTo>
                  <a:lnTo>
                    <a:pt x="352" y="1300"/>
                  </a:lnTo>
                  <a:lnTo>
                    <a:pt x="334" y="1320"/>
                  </a:lnTo>
                  <a:lnTo>
                    <a:pt x="334" y="1320"/>
                  </a:lnTo>
                  <a:lnTo>
                    <a:pt x="313" y="1340"/>
                  </a:lnTo>
                  <a:lnTo>
                    <a:pt x="291" y="1358"/>
                  </a:lnTo>
                  <a:lnTo>
                    <a:pt x="268" y="1376"/>
                  </a:lnTo>
                  <a:lnTo>
                    <a:pt x="245" y="1392"/>
                  </a:lnTo>
                  <a:lnTo>
                    <a:pt x="221" y="1407"/>
                  </a:lnTo>
                  <a:lnTo>
                    <a:pt x="196" y="1421"/>
                  </a:lnTo>
                  <a:lnTo>
                    <a:pt x="170" y="1433"/>
                  </a:lnTo>
                  <a:lnTo>
                    <a:pt x="145" y="1444"/>
                  </a:lnTo>
                  <a:lnTo>
                    <a:pt x="145" y="1444"/>
                  </a:lnTo>
                  <a:lnTo>
                    <a:pt x="131" y="1450"/>
                  </a:lnTo>
                  <a:lnTo>
                    <a:pt x="117" y="1458"/>
                  </a:lnTo>
                  <a:lnTo>
                    <a:pt x="105" y="1468"/>
                  </a:lnTo>
                  <a:lnTo>
                    <a:pt x="94" y="1477"/>
                  </a:lnTo>
                  <a:lnTo>
                    <a:pt x="85" y="1488"/>
                  </a:lnTo>
                  <a:lnTo>
                    <a:pt x="76" y="1499"/>
                  </a:lnTo>
                  <a:lnTo>
                    <a:pt x="67" y="1511"/>
                  </a:lnTo>
                  <a:lnTo>
                    <a:pt x="61" y="1525"/>
                  </a:lnTo>
                  <a:lnTo>
                    <a:pt x="56" y="1538"/>
                  </a:lnTo>
                  <a:lnTo>
                    <a:pt x="52" y="1552"/>
                  </a:lnTo>
                  <a:lnTo>
                    <a:pt x="50" y="1567"/>
                  </a:lnTo>
                  <a:lnTo>
                    <a:pt x="49" y="1581"/>
                  </a:lnTo>
                  <a:lnTo>
                    <a:pt x="49" y="1596"/>
                  </a:lnTo>
                  <a:lnTo>
                    <a:pt x="51" y="1610"/>
                  </a:lnTo>
                  <a:lnTo>
                    <a:pt x="54" y="1626"/>
                  </a:lnTo>
                  <a:lnTo>
                    <a:pt x="59" y="1640"/>
                  </a:lnTo>
                  <a:lnTo>
                    <a:pt x="59" y="1640"/>
                  </a:lnTo>
                  <a:lnTo>
                    <a:pt x="65" y="1654"/>
                  </a:lnTo>
                  <a:lnTo>
                    <a:pt x="74" y="1668"/>
                  </a:lnTo>
                  <a:lnTo>
                    <a:pt x="82" y="1679"/>
                  </a:lnTo>
                  <a:lnTo>
                    <a:pt x="92" y="1690"/>
                  </a:lnTo>
                  <a:lnTo>
                    <a:pt x="102" y="1700"/>
                  </a:lnTo>
                  <a:lnTo>
                    <a:pt x="114" y="1709"/>
                  </a:lnTo>
                  <a:lnTo>
                    <a:pt x="127" y="1716"/>
                  </a:lnTo>
                  <a:lnTo>
                    <a:pt x="140" y="1723"/>
                  </a:lnTo>
                  <a:lnTo>
                    <a:pt x="153" y="1728"/>
                  </a:lnTo>
                  <a:lnTo>
                    <a:pt x="167" y="1732"/>
                  </a:lnTo>
                  <a:lnTo>
                    <a:pt x="182" y="1735"/>
                  </a:lnTo>
                  <a:lnTo>
                    <a:pt x="196" y="1736"/>
                  </a:lnTo>
                  <a:lnTo>
                    <a:pt x="210" y="1735"/>
                  </a:lnTo>
                  <a:lnTo>
                    <a:pt x="226" y="1734"/>
                  </a:lnTo>
                  <a:lnTo>
                    <a:pt x="240" y="1730"/>
                  </a:lnTo>
                  <a:lnTo>
                    <a:pt x="255" y="1725"/>
                  </a:lnTo>
                  <a:lnTo>
                    <a:pt x="255" y="1725"/>
                  </a:lnTo>
                  <a:lnTo>
                    <a:pt x="296" y="1708"/>
                  </a:lnTo>
                  <a:lnTo>
                    <a:pt x="335" y="1689"/>
                  </a:lnTo>
                  <a:lnTo>
                    <a:pt x="373" y="1668"/>
                  </a:lnTo>
                  <a:lnTo>
                    <a:pt x="410" y="1644"/>
                  </a:lnTo>
                  <a:lnTo>
                    <a:pt x="447" y="1620"/>
                  </a:lnTo>
                  <a:lnTo>
                    <a:pt x="482" y="1593"/>
                  </a:lnTo>
                  <a:lnTo>
                    <a:pt x="514" y="1563"/>
                  </a:lnTo>
                  <a:lnTo>
                    <a:pt x="547" y="1533"/>
                  </a:lnTo>
                  <a:lnTo>
                    <a:pt x="547" y="1533"/>
                  </a:lnTo>
                  <a:lnTo>
                    <a:pt x="574" y="1504"/>
                  </a:lnTo>
                  <a:lnTo>
                    <a:pt x="601" y="1474"/>
                  </a:lnTo>
                  <a:lnTo>
                    <a:pt x="625" y="1442"/>
                  </a:lnTo>
                  <a:lnTo>
                    <a:pt x="649" y="1410"/>
                  </a:lnTo>
                  <a:lnTo>
                    <a:pt x="670" y="1377"/>
                  </a:lnTo>
                  <a:lnTo>
                    <a:pt x="691" y="1343"/>
                  </a:lnTo>
                  <a:lnTo>
                    <a:pt x="708" y="1308"/>
                  </a:lnTo>
                  <a:lnTo>
                    <a:pt x="725" y="1273"/>
                  </a:lnTo>
                  <a:lnTo>
                    <a:pt x="725" y="1273"/>
                  </a:lnTo>
                  <a:lnTo>
                    <a:pt x="727" y="1269"/>
                  </a:lnTo>
                  <a:lnTo>
                    <a:pt x="727" y="1269"/>
                  </a:lnTo>
                  <a:lnTo>
                    <a:pt x="728" y="1266"/>
                  </a:lnTo>
                  <a:lnTo>
                    <a:pt x="728" y="1266"/>
                  </a:lnTo>
                  <a:lnTo>
                    <a:pt x="742" y="1233"/>
                  </a:lnTo>
                  <a:lnTo>
                    <a:pt x="754" y="1198"/>
                  </a:lnTo>
                  <a:lnTo>
                    <a:pt x="754" y="1198"/>
                  </a:lnTo>
                  <a:lnTo>
                    <a:pt x="759" y="1184"/>
                  </a:lnTo>
                  <a:lnTo>
                    <a:pt x="759" y="1184"/>
                  </a:lnTo>
                  <a:lnTo>
                    <a:pt x="768" y="1151"/>
                  </a:lnTo>
                  <a:lnTo>
                    <a:pt x="776" y="1118"/>
                  </a:lnTo>
                  <a:lnTo>
                    <a:pt x="776" y="1118"/>
                  </a:lnTo>
                  <a:lnTo>
                    <a:pt x="778" y="1109"/>
                  </a:lnTo>
                  <a:lnTo>
                    <a:pt x="780" y="1099"/>
                  </a:lnTo>
                  <a:lnTo>
                    <a:pt x="780" y="1099"/>
                  </a:lnTo>
                  <a:lnTo>
                    <a:pt x="786" y="1066"/>
                  </a:lnTo>
                  <a:lnTo>
                    <a:pt x="791" y="1031"/>
                  </a:lnTo>
                  <a:lnTo>
                    <a:pt x="791" y="1031"/>
                  </a:lnTo>
                  <a:lnTo>
                    <a:pt x="794" y="1015"/>
                  </a:lnTo>
                  <a:lnTo>
                    <a:pt x="794" y="1015"/>
                  </a:lnTo>
                  <a:lnTo>
                    <a:pt x="797" y="971"/>
                  </a:lnTo>
                  <a:lnTo>
                    <a:pt x="798" y="927"/>
                  </a:lnTo>
                  <a:lnTo>
                    <a:pt x="798" y="927"/>
                  </a:lnTo>
                  <a:lnTo>
                    <a:pt x="798" y="923"/>
                  </a:lnTo>
                  <a:lnTo>
                    <a:pt x="798" y="923"/>
                  </a:lnTo>
                  <a:close/>
                  <a:moveTo>
                    <a:pt x="483" y="1470"/>
                  </a:moveTo>
                  <a:lnTo>
                    <a:pt x="483" y="1470"/>
                  </a:lnTo>
                  <a:lnTo>
                    <a:pt x="454" y="1497"/>
                  </a:lnTo>
                  <a:lnTo>
                    <a:pt x="424" y="1523"/>
                  </a:lnTo>
                  <a:lnTo>
                    <a:pt x="393" y="1546"/>
                  </a:lnTo>
                  <a:lnTo>
                    <a:pt x="361" y="1569"/>
                  </a:lnTo>
                  <a:lnTo>
                    <a:pt x="328" y="1589"/>
                  </a:lnTo>
                  <a:lnTo>
                    <a:pt x="294" y="1608"/>
                  </a:lnTo>
                  <a:lnTo>
                    <a:pt x="258" y="1626"/>
                  </a:lnTo>
                  <a:lnTo>
                    <a:pt x="221" y="1641"/>
                  </a:lnTo>
                  <a:lnTo>
                    <a:pt x="221" y="1641"/>
                  </a:lnTo>
                  <a:lnTo>
                    <a:pt x="216" y="1643"/>
                  </a:lnTo>
                  <a:lnTo>
                    <a:pt x="210" y="1644"/>
                  </a:lnTo>
                  <a:lnTo>
                    <a:pt x="198" y="1645"/>
                  </a:lnTo>
                  <a:lnTo>
                    <a:pt x="187" y="1644"/>
                  </a:lnTo>
                  <a:lnTo>
                    <a:pt x="176" y="1640"/>
                  </a:lnTo>
                  <a:lnTo>
                    <a:pt x="165" y="1635"/>
                  </a:lnTo>
                  <a:lnTo>
                    <a:pt x="156" y="1627"/>
                  </a:lnTo>
                  <a:lnTo>
                    <a:pt x="149" y="1618"/>
                  </a:lnTo>
                  <a:lnTo>
                    <a:pt x="146" y="1612"/>
                  </a:lnTo>
                  <a:lnTo>
                    <a:pt x="144" y="1607"/>
                  </a:lnTo>
                  <a:lnTo>
                    <a:pt x="144" y="1607"/>
                  </a:lnTo>
                  <a:lnTo>
                    <a:pt x="142" y="1601"/>
                  </a:lnTo>
                  <a:lnTo>
                    <a:pt x="140" y="1595"/>
                  </a:lnTo>
                  <a:lnTo>
                    <a:pt x="140" y="1583"/>
                  </a:lnTo>
                  <a:lnTo>
                    <a:pt x="141" y="1572"/>
                  </a:lnTo>
                  <a:lnTo>
                    <a:pt x="144" y="1560"/>
                  </a:lnTo>
                  <a:lnTo>
                    <a:pt x="150" y="1550"/>
                  </a:lnTo>
                  <a:lnTo>
                    <a:pt x="157" y="1542"/>
                  </a:lnTo>
                  <a:lnTo>
                    <a:pt x="166" y="1534"/>
                  </a:lnTo>
                  <a:lnTo>
                    <a:pt x="171" y="1531"/>
                  </a:lnTo>
                  <a:lnTo>
                    <a:pt x="178" y="1529"/>
                  </a:lnTo>
                  <a:lnTo>
                    <a:pt x="178" y="1529"/>
                  </a:lnTo>
                  <a:lnTo>
                    <a:pt x="208" y="1516"/>
                  </a:lnTo>
                  <a:lnTo>
                    <a:pt x="238" y="1501"/>
                  </a:lnTo>
                  <a:lnTo>
                    <a:pt x="267" y="1485"/>
                  </a:lnTo>
                  <a:lnTo>
                    <a:pt x="295" y="1468"/>
                  </a:lnTo>
                  <a:lnTo>
                    <a:pt x="322" y="1449"/>
                  </a:lnTo>
                  <a:lnTo>
                    <a:pt x="348" y="1429"/>
                  </a:lnTo>
                  <a:lnTo>
                    <a:pt x="373" y="1407"/>
                  </a:lnTo>
                  <a:lnTo>
                    <a:pt x="398" y="1384"/>
                  </a:lnTo>
                  <a:lnTo>
                    <a:pt x="398" y="1384"/>
                  </a:lnTo>
                  <a:lnTo>
                    <a:pt x="402" y="1380"/>
                  </a:lnTo>
                  <a:lnTo>
                    <a:pt x="407" y="1376"/>
                  </a:lnTo>
                  <a:lnTo>
                    <a:pt x="417" y="1371"/>
                  </a:lnTo>
                  <a:lnTo>
                    <a:pt x="428" y="1368"/>
                  </a:lnTo>
                  <a:lnTo>
                    <a:pt x="440" y="1367"/>
                  </a:lnTo>
                  <a:lnTo>
                    <a:pt x="452" y="1368"/>
                  </a:lnTo>
                  <a:lnTo>
                    <a:pt x="463" y="1371"/>
                  </a:lnTo>
                  <a:lnTo>
                    <a:pt x="473" y="1376"/>
                  </a:lnTo>
                  <a:lnTo>
                    <a:pt x="478" y="1380"/>
                  </a:lnTo>
                  <a:lnTo>
                    <a:pt x="483" y="1384"/>
                  </a:lnTo>
                  <a:lnTo>
                    <a:pt x="483" y="1384"/>
                  </a:lnTo>
                  <a:lnTo>
                    <a:pt x="487" y="1389"/>
                  </a:lnTo>
                  <a:lnTo>
                    <a:pt x="491" y="1393"/>
                  </a:lnTo>
                  <a:lnTo>
                    <a:pt x="496" y="1404"/>
                  </a:lnTo>
                  <a:lnTo>
                    <a:pt x="500" y="1416"/>
                  </a:lnTo>
                  <a:lnTo>
                    <a:pt x="501" y="1427"/>
                  </a:lnTo>
                  <a:lnTo>
                    <a:pt x="500" y="1438"/>
                  </a:lnTo>
                  <a:lnTo>
                    <a:pt x="496" y="1449"/>
                  </a:lnTo>
                  <a:lnTo>
                    <a:pt x="491" y="1459"/>
                  </a:lnTo>
                  <a:lnTo>
                    <a:pt x="487" y="1465"/>
                  </a:lnTo>
                  <a:lnTo>
                    <a:pt x="483" y="1470"/>
                  </a:lnTo>
                  <a:lnTo>
                    <a:pt x="483" y="1470"/>
                  </a:lnTo>
                  <a:close/>
                </a:path>
              </a:pathLst>
            </a:custGeom>
            <a:solidFill>
              <a:schemeClr val="accent5"/>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grpSp>
      <p:grpSp>
        <p:nvGrpSpPr>
          <p:cNvPr id="804" name="Group 452"/>
          <p:cNvGrpSpPr/>
          <p:nvPr/>
        </p:nvGrpSpPr>
        <p:grpSpPr>
          <a:xfrm>
            <a:off x="1248373" y="58768"/>
            <a:ext cx="1600337" cy="436202"/>
            <a:chOff x="1058898" y="186328"/>
            <a:chExt cx="1855141" cy="505654"/>
          </a:xfrm>
          <a:effectLst/>
        </p:grpSpPr>
        <p:sp>
          <p:nvSpPr>
            <p:cNvPr id="454" name="Freeform 453"/>
            <p:cNvSpPr/>
            <p:nvPr/>
          </p:nvSpPr>
          <p:spPr>
            <a:xfrm>
              <a:off x="2412434" y="186328"/>
              <a:ext cx="501605" cy="505654"/>
            </a:xfrm>
            <a:custGeom>
              <a:avLst/>
              <a:gdLst>
                <a:gd name="connsiteX0" fmla="*/ 452960 w 501605"/>
                <a:gd name="connsiteY0" fmla="*/ 229818 h 505654"/>
                <a:gd name="connsiteX1" fmla="*/ 367081 w 501605"/>
                <a:gd name="connsiteY1" fmla="*/ 239377 h 505654"/>
                <a:gd name="connsiteX2" fmla="*/ 356323 w 501605"/>
                <a:gd name="connsiteY2" fmla="*/ 305199 h 505654"/>
                <a:gd name="connsiteX3" fmla="*/ 428564 w 501605"/>
                <a:gd name="connsiteY3" fmla="*/ 346540 h 505654"/>
                <a:gd name="connsiteX4" fmla="*/ 452960 w 501605"/>
                <a:gd name="connsiteY4" fmla="*/ 229818 h 505654"/>
                <a:gd name="connsiteX5" fmla="*/ 248779 w 501605"/>
                <a:gd name="connsiteY5" fmla="*/ 227417 h 505654"/>
                <a:gd name="connsiteX6" fmla="*/ 223368 w 501605"/>
                <a:gd name="connsiteY6" fmla="*/ 252828 h 505654"/>
                <a:gd name="connsiteX7" fmla="*/ 248779 w 501605"/>
                <a:gd name="connsiteY7" fmla="*/ 278239 h 505654"/>
                <a:gd name="connsiteX8" fmla="*/ 274190 w 501605"/>
                <a:gd name="connsiteY8" fmla="*/ 252828 h 505654"/>
                <a:gd name="connsiteX9" fmla="*/ 248779 w 501605"/>
                <a:gd name="connsiteY9" fmla="*/ 227417 h 505654"/>
                <a:gd name="connsiteX10" fmla="*/ 248778 w 501605"/>
                <a:gd name="connsiteY10" fmla="*/ 199164 h 505654"/>
                <a:gd name="connsiteX11" fmla="*/ 302442 w 501605"/>
                <a:gd name="connsiteY11" fmla="*/ 252827 h 505654"/>
                <a:gd name="connsiteX12" fmla="*/ 248778 w 501605"/>
                <a:gd name="connsiteY12" fmla="*/ 306490 h 505654"/>
                <a:gd name="connsiteX13" fmla="*/ 195115 w 501605"/>
                <a:gd name="connsiteY13" fmla="*/ 252827 h 505654"/>
                <a:gd name="connsiteX14" fmla="*/ 248778 w 501605"/>
                <a:gd name="connsiteY14" fmla="*/ 199164 h 505654"/>
                <a:gd name="connsiteX15" fmla="*/ 248778 w 501605"/>
                <a:gd name="connsiteY15" fmla="*/ 172268 h 505654"/>
                <a:gd name="connsiteX16" fmla="*/ 168219 w 501605"/>
                <a:gd name="connsiteY16" fmla="*/ 252827 h 505654"/>
                <a:gd name="connsiteX17" fmla="*/ 248778 w 501605"/>
                <a:gd name="connsiteY17" fmla="*/ 333386 h 505654"/>
                <a:gd name="connsiteX18" fmla="*/ 329337 w 501605"/>
                <a:gd name="connsiteY18" fmla="*/ 252827 h 505654"/>
                <a:gd name="connsiteX19" fmla="*/ 248778 w 501605"/>
                <a:gd name="connsiteY19" fmla="*/ 172268 h 505654"/>
                <a:gd name="connsiteX20" fmla="*/ 441058 w 501605"/>
                <a:gd name="connsiteY20" fmla="*/ 167875 h 505654"/>
                <a:gd name="connsiteX21" fmla="*/ 359176 w 501605"/>
                <a:gd name="connsiteY21" fmla="*/ 199205 h 505654"/>
                <a:gd name="connsiteX22" fmla="*/ 366035 w 501605"/>
                <a:gd name="connsiteY22" fmla="*/ 222131 h 505654"/>
                <a:gd name="connsiteX23" fmla="*/ 451669 w 501605"/>
                <a:gd name="connsiteY23" fmla="*/ 203344 h 505654"/>
                <a:gd name="connsiteX24" fmla="*/ 441058 w 501605"/>
                <a:gd name="connsiteY24" fmla="*/ 167875 h 505654"/>
                <a:gd name="connsiteX25" fmla="*/ 248778 w 501605"/>
                <a:gd name="connsiteY25" fmla="*/ 0 h 505654"/>
                <a:gd name="connsiteX26" fmla="*/ 501605 w 501605"/>
                <a:gd name="connsiteY26" fmla="*/ 252827 h 505654"/>
                <a:gd name="connsiteX27" fmla="*/ 248778 w 501605"/>
                <a:gd name="connsiteY27" fmla="*/ 505654 h 505654"/>
                <a:gd name="connsiteX28" fmla="*/ 150367 w 501605"/>
                <a:gd name="connsiteY28" fmla="*/ 485786 h 505654"/>
                <a:gd name="connsiteX29" fmla="*/ 121352 w 501605"/>
                <a:gd name="connsiteY29" fmla="*/ 470037 h 505654"/>
                <a:gd name="connsiteX30" fmla="*/ 132673 w 501605"/>
                <a:gd name="connsiteY30" fmla="*/ 453246 h 505654"/>
                <a:gd name="connsiteX31" fmla="*/ 139416 w 501605"/>
                <a:gd name="connsiteY31" fmla="*/ 419845 h 505654"/>
                <a:gd name="connsiteX32" fmla="*/ 139416 w 501605"/>
                <a:gd name="connsiteY32" fmla="*/ 318583 h 505654"/>
                <a:gd name="connsiteX33" fmla="*/ 53606 w 501605"/>
                <a:gd name="connsiteY33" fmla="*/ 232773 h 505654"/>
                <a:gd name="connsiteX34" fmla="*/ 0 w 501605"/>
                <a:gd name="connsiteY34" fmla="*/ 232773 h 505654"/>
                <a:gd name="connsiteX35" fmla="*/ 15820 w 501605"/>
                <a:gd name="connsiteY35" fmla="*/ 154416 h 505654"/>
                <a:gd name="connsiteX36" fmla="*/ 248778 w 501605"/>
                <a:gd name="connsiteY36" fmla="*/ 0 h 50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05" h="505654">
                  <a:moveTo>
                    <a:pt x="452960" y="229818"/>
                  </a:moveTo>
                  <a:lnTo>
                    <a:pt x="367081" y="239377"/>
                  </a:lnTo>
                  <a:cubicBezTo>
                    <a:pt x="370067" y="261317"/>
                    <a:pt x="367053" y="284116"/>
                    <a:pt x="356323" y="305199"/>
                  </a:cubicBezTo>
                  <a:lnTo>
                    <a:pt x="428564" y="346540"/>
                  </a:lnTo>
                  <a:cubicBezTo>
                    <a:pt x="444412" y="309348"/>
                    <a:pt x="456830" y="273869"/>
                    <a:pt x="452960" y="229818"/>
                  </a:cubicBezTo>
                  <a:close/>
                  <a:moveTo>
                    <a:pt x="248779" y="227417"/>
                  </a:moveTo>
                  <a:cubicBezTo>
                    <a:pt x="234745" y="227417"/>
                    <a:pt x="223368" y="238794"/>
                    <a:pt x="223368" y="252828"/>
                  </a:cubicBezTo>
                  <a:cubicBezTo>
                    <a:pt x="223368" y="266862"/>
                    <a:pt x="234745" y="278239"/>
                    <a:pt x="248779" y="278239"/>
                  </a:cubicBezTo>
                  <a:cubicBezTo>
                    <a:pt x="262813" y="278239"/>
                    <a:pt x="274190" y="266862"/>
                    <a:pt x="274190" y="252828"/>
                  </a:cubicBezTo>
                  <a:cubicBezTo>
                    <a:pt x="274190" y="238794"/>
                    <a:pt x="262813" y="227417"/>
                    <a:pt x="248779" y="227417"/>
                  </a:cubicBezTo>
                  <a:close/>
                  <a:moveTo>
                    <a:pt x="248778" y="199164"/>
                  </a:moveTo>
                  <a:cubicBezTo>
                    <a:pt x="278416" y="199164"/>
                    <a:pt x="302442" y="223190"/>
                    <a:pt x="302442" y="252827"/>
                  </a:cubicBezTo>
                  <a:cubicBezTo>
                    <a:pt x="302442" y="282464"/>
                    <a:pt x="278416" y="306490"/>
                    <a:pt x="248778" y="306490"/>
                  </a:cubicBezTo>
                  <a:cubicBezTo>
                    <a:pt x="219141" y="306490"/>
                    <a:pt x="195115" y="282464"/>
                    <a:pt x="195115" y="252827"/>
                  </a:cubicBezTo>
                  <a:cubicBezTo>
                    <a:pt x="195115" y="223190"/>
                    <a:pt x="219141" y="199164"/>
                    <a:pt x="248778" y="199164"/>
                  </a:cubicBezTo>
                  <a:close/>
                  <a:moveTo>
                    <a:pt x="248778" y="172268"/>
                  </a:moveTo>
                  <a:cubicBezTo>
                    <a:pt x="204287" y="172268"/>
                    <a:pt x="168219" y="208335"/>
                    <a:pt x="168219" y="252827"/>
                  </a:cubicBezTo>
                  <a:cubicBezTo>
                    <a:pt x="168219" y="297319"/>
                    <a:pt x="204287" y="333386"/>
                    <a:pt x="248778" y="333386"/>
                  </a:cubicBezTo>
                  <a:cubicBezTo>
                    <a:pt x="293270" y="333386"/>
                    <a:pt x="329337" y="297319"/>
                    <a:pt x="329337" y="252827"/>
                  </a:cubicBezTo>
                  <a:cubicBezTo>
                    <a:pt x="329337" y="208335"/>
                    <a:pt x="293270" y="172268"/>
                    <a:pt x="248778" y="172268"/>
                  </a:cubicBezTo>
                  <a:close/>
                  <a:moveTo>
                    <a:pt x="441058" y="167875"/>
                  </a:moveTo>
                  <a:lnTo>
                    <a:pt x="359176" y="199205"/>
                  </a:lnTo>
                  <a:cubicBezTo>
                    <a:pt x="364034" y="206847"/>
                    <a:pt x="366320" y="214489"/>
                    <a:pt x="366035" y="222131"/>
                  </a:cubicBezTo>
                  <a:lnTo>
                    <a:pt x="451669" y="203344"/>
                  </a:lnTo>
                  <a:cubicBezTo>
                    <a:pt x="448775" y="191521"/>
                    <a:pt x="446524" y="179698"/>
                    <a:pt x="441058" y="167875"/>
                  </a:cubicBezTo>
                  <a:close/>
                  <a:moveTo>
                    <a:pt x="248778" y="0"/>
                  </a:moveTo>
                  <a:cubicBezTo>
                    <a:pt x="388410" y="0"/>
                    <a:pt x="501605" y="113195"/>
                    <a:pt x="501605" y="252827"/>
                  </a:cubicBezTo>
                  <a:cubicBezTo>
                    <a:pt x="501605" y="392459"/>
                    <a:pt x="388410" y="505654"/>
                    <a:pt x="248778" y="505654"/>
                  </a:cubicBezTo>
                  <a:cubicBezTo>
                    <a:pt x="213870" y="505654"/>
                    <a:pt x="180614" y="498579"/>
                    <a:pt x="150367" y="485786"/>
                  </a:cubicBezTo>
                  <a:lnTo>
                    <a:pt x="121352" y="470037"/>
                  </a:lnTo>
                  <a:lnTo>
                    <a:pt x="132673" y="453246"/>
                  </a:lnTo>
                  <a:cubicBezTo>
                    <a:pt x="137015" y="442980"/>
                    <a:pt x="139416" y="431693"/>
                    <a:pt x="139416" y="419845"/>
                  </a:cubicBezTo>
                  <a:lnTo>
                    <a:pt x="139416" y="318583"/>
                  </a:lnTo>
                  <a:cubicBezTo>
                    <a:pt x="139416" y="271191"/>
                    <a:pt x="100998" y="232773"/>
                    <a:pt x="53606" y="232773"/>
                  </a:cubicBezTo>
                  <a:lnTo>
                    <a:pt x="0" y="232773"/>
                  </a:lnTo>
                  <a:lnTo>
                    <a:pt x="15820" y="154416"/>
                  </a:lnTo>
                  <a:cubicBezTo>
                    <a:pt x="54201" y="63672"/>
                    <a:pt x="144054" y="0"/>
                    <a:pt x="248778"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algn="ctr"/>
              <a:endParaRPr lang="en-US" sz="800" b="1" dirty="0">
                <a:latin typeface="+mj-lt"/>
                <a:cs typeface="Arial" panose="020B0604020202020204" pitchFamily="34" charset="0"/>
              </a:endParaRPr>
            </a:p>
          </p:txBody>
        </p:sp>
        <p:sp>
          <p:nvSpPr>
            <p:cNvPr id="455" name="Rectangle 454"/>
            <p:cNvSpPr/>
            <p:nvPr/>
          </p:nvSpPr>
          <p:spPr>
            <a:xfrm>
              <a:off x="2465232" y="298791"/>
              <a:ext cx="378611" cy="2585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algn="ctr"/>
              <a:r>
                <a:rPr lang="en-US" sz="800" b="1" dirty="0">
                  <a:solidFill>
                    <a:srgbClr val="577190"/>
                  </a:solidFill>
                  <a:latin typeface="+mj-lt"/>
                  <a:cs typeface="Arial" panose="020B0604020202020204" pitchFamily="34" charset="0"/>
                </a:rPr>
                <a:t>WSAv</a:t>
              </a:r>
            </a:p>
          </p:txBody>
        </p:sp>
        <p:sp>
          <p:nvSpPr>
            <p:cNvPr id="456" name="Freeform 455"/>
            <p:cNvSpPr/>
            <p:nvPr/>
          </p:nvSpPr>
          <p:spPr>
            <a:xfrm>
              <a:off x="1058898" y="431270"/>
              <a:ext cx="1478095" cy="260712"/>
            </a:xfrm>
            <a:custGeom>
              <a:avLst/>
              <a:gdLst>
                <a:gd name="connsiteX0" fmla="*/ 1114121 w 2382618"/>
                <a:gd name="connsiteY0" fmla="*/ 172782 h 462280"/>
                <a:gd name="connsiteX1" fmla="*/ 1072907 w 2382618"/>
                <a:gd name="connsiteY1" fmla="*/ 213996 h 462280"/>
                <a:gd name="connsiteX2" fmla="*/ 1072907 w 2382618"/>
                <a:gd name="connsiteY2" fmla="*/ 248285 h 462280"/>
                <a:gd name="connsiteX3" fmla="*/ 1114121 w 2382618"/>
                <a:gd name="connsiteY3" fmla="*/ 289499 h 462280"/>
                <a:gd name="connsiteX4" fmla="*/ 2103111 w 2382618"/>
                <a:gd name="connsiteY4" fmla="*/ 289499 h 462280"/>
                <a:gd name="connsiteX5" fmla="*/ 2144325 w 2382618"/>
                <a:gd name="connsiteY5" fmla="*/ 248285 h 462280"/>
                <a:gd name="connsiteX6" fmla="*/ 2144325 w 2382618"/>
                <a:gd name="connsiteY6" fmla="*/ 213996 h 462280"/>
                <a:gd name="connsiteX7" fmla="*/ 2103111 w 2382618"/>
                <a:gd name="connsiteY7" fmla="*/ 172782 h 462280"/>
                <a:gd name="connsiteX8" fmla="*/ 300516 w 2382618"/>
                <a:gd name="connsiteY8" fmla="*/ 172720 h 462280"/>
                <a:gd name="connsiteX9" fmla="*/ 242096 w 2382618"/>
                <a:gd name="connsiteY9" fmla="*/ 231140 h 462280"/>
                <a:gd name="connsiteX10" fmla="*/ 300516 w 2382618"/>
                <a:gd name="connsiteY10" fmla="*/ 289560 h 462280"/>
                <a:gd name="connsiteX11" fmla="*/ 358936 w 2382618"/>
                <a:gd name="connsiteY11" fmla="*/ 231140 h 462280"/>
                <a:gd name="connsiteX12" fmla="*/ 300516 w 2382618"/>
                <a:gd name="connsiteY12" fmla="*/ 172720 h 462280"/>
                <a:gd name="connsiteX13" fmla="*/ 122768 w 2382618"/>
                <a:gd name="connsiteY13" fmla="*/ 0 h 462280"/>
                <a:gd name="connsiteX14" fmla="*/ 2259850 w 2382618"/>
                <a:gd name="connsiteY14" fmla="*/ 0 h 462280"/>
                <a:gd name="connsiteX15" fmla="*/ 2382618 w 2382618"/>
                <a:gd name="connsiteY15" fmla="*/ 122768 h 462280"/>
                <a:gd name="connsiteX16" fmla="*/ 2382618 w 2382618"/>
                <a:gd name="connsiteY16" fmla="*/ 339512 h 462280"/>
                <a:gd name="connsiteX17" fmla="*/ 2259850 w 2382618"/>
                <a:gd name="connsiteY17" fmla="*/ 462280 h 462280"/>
                <a:gd name="connsiteX18" fmla="*/ 122768 w 2382618"/>
                <a:gd name="connsiteY18" fmla="*/ 462280 h 462280"/>
                <a:gd name="connsiteX19" fmla="*/ 0 w 2382618"/>
                <a:gd name="connsiteY19" fmla="*/ 339512 h 462280"/>
                <a:gd name="connsiteX20" fmla="*/ 0 w 2382618"/>
                <a:gd name="connsiteY20" fmla="*/ 122768 h 462280"/>
                <a:gd name="connsiteX21" fmla="*/ 122768 w 2382618"/>
                <a:gd name="connsiteY21" fmla="*/ 0 h 46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2618" h="462280">
                  <a:moveTo>
                    <a:pt x="1114121" y="172782"/>
                  </a:moveTo>
                  <a:cubicBezTo>
                    <a:pt x="1091359" y="172782"/>
                    <a:pt x="1072907" y="191234"/>
                    <a:pt x="1072907" y="213996"/>
                  </a:cubicBezTo>
                  <a:lnTo>
                    <a:pt x="1072907" y="248285"/>
                  </a:lnTo>
                  <a:cubicBezTo>
                    <a:pt x="1072907" y="271047"/>
                    <a:pt x="1091359" y="289499"/>
                    <a:pt x="1114121" y="289499"/>
                  </a:cubicBezTo>
                  <a:lnTo>
                    <a:pt x="2103111" y="289499"/>
                  </a:lnTo>
                  <a:cubicBezTo>
                    <a:pt x="2125873" y="289499"/>
                    <a:pt x="2144325" y="271047"/>
                    <a:pt x="2144325" y="248285"/>
                  </a:cubicBezTo>
                  <a:lnTo>
                    <a:pt x="2144325" y="213996"/>
                  </a:lnTo>
                  <a:cubicBezTo>
                    <a:pt x="2144325" y="191234"/>
                    <a:pt x="2125873" y="172782"/>
                    <a:pt x="2103111" y="172782"/>
                  </a:cubicBezTo>
                  <a:close/>
                  <a:moveTo>
                    <a:pt x="300516" y="172720"/>
                  </a:moveTo>
                  <a:cubicBezTo>
                    <a:pt x="268252" y="172720"/>
                    <a:pt x="242096" y="198876"/>
                    <a:pt x="242096" y="231140"/>
                  </a:cubicBezTo>
                  <a:cubicBezTo>
                    <a:pt x="242096" y="263404"/>
                    <a:pt x="268252" y="289560"/>
                    <a:pt x="300516" y="289560"/>
                  </a:cubicBezTo>
                  <a:cubicBezTo>
                    <a:pt x="332780" y="289560"/>
                    <a:pt x="358936" y="263404"/>
                    <a:pt x="358936" y="231140"/>
                  </a:cubicBezTo>
                  <a:cubicBezTo>
                    <a:pt x="358936" y="198876"/>
                    <a:pt x="332780" y="172720"/>
                    <a:pt x="300516" y="172720"/>
                  </a:cubicBezTo>
                  <a:close/>
                  <a:moveTo>
                    <a:pt x="122768" y="0"/>
                  </a:moveTo>
                  <a:lnTo>
                    <a:pt x="2259850" y="0"/>
                  </a:lnTo>
                  <a:cubicBezTo>
                    <a:pt x="2327653" y="0"/>
                    <a:pt x="2382618" y="54965"/>
                    <a:pt x="2382618" y="122768"/>
                  </a:cubicBezTo>
                  <a:lnTo>
                    <a:pt x="2382618" y="339512"/>
                  </a:lnTo>
                  <a:cubicBezTo>
                    <a:pt x="2382618" y="407315"/>
                    <a:pt x="2327653" y="462280"/>
                    <a:pt x="2259850" y="462280"/>
                  </a:cubicBezTo>
                  <a:lnTo>
                    <a:pt x="122768" y="462280"/>
                  </a:lnTo>
                  <a:cubicBezTo>
                    <a:pt x="54965" y="462280"/>
                    <a:pt x="0" y="407315"/>
                    <a:pt x="0" y="339512"/>
                  </a:cubicBezTo>
                  <a:lnTo>
                    <a:pt x="0" y="122768"/>
                  </a:lnTo>
                  <a:cubicBezTo>
                    <a:pt x="0" y="54965"/>
                    <a:pt x="54965" y="0"/>
                    <a:pt x="122768"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solidFill>
                    <a:srgbClr val="577190"/>
                  </a:solidFill>
                  <a:latin typeface="+mj-lt"/>
                  <a:cs typeface="Arial" panose="020B0604020202020204" pitchFamily="34" charset="0"/>
                </a:rPr>
                <a:t>WSA</a:t>
              </a:r>
            </a:p>
          </p:txBody>
        </p:sp>
      </p:grpSp>
      <p:sp>
        <p:nvSpPr>
          <p:cNvPr id="464" name="Freeform 463"/>
          <p:cNvSpPr>
            <a:spLocks/>
          </p:cNvSpPr>
          <p:nvPr/>
        </p:nvSpPr>
        <p:spPr bwMode="auto">
          <a:xfrm>
            <a:off x="8085366" y="1239117"/>
            <a:ext cx="655189" cy="1203308"/>
          </a:xfrm>
          <a:custGeom>
            <a:avLst/>
            <a:gdLst>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65340 h 665340"/>
              <a:gd name="connsiteX6" fmla="*/ 0 w 761971"/>
              <a:gd name="connsiteY6" fmla="*/ 66534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50336 h 665340"/>
              <a:gd name="connsiteX6" fmla="*/ 0 w 761971"/>
              <a:gd name="connsiteY6" fmla="*/ 665340 h 665340"/>
              <a:gd name="connsiteX7" fmla="*/ 0 w 761971"/>
              <a:gd name="connsiteY7" fmla="*/ 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0028 w 761971"/>
              <a:gd name="connsiteY5" fmla="*/ 652211 h 665340"/>
              <a:gd name="connsiteX6" fmla="*/ 0 w 761971"/>
              <a:gd name="connsiteY6" fmla="*/ 665340 h 665340"/>
              <a:gd name="connsiteX7" fmla="*/ 0 w 761971"/>
              <a:gd name="connsiteY7" fmla="*/ 0 h 66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71" h="665340">
                <a:moveTo>
                  <a:pt x="0" y="0"/>
                </a:moveTo>
                <a:lnTo>
                  <a:pt x="182340" y="3210"/>
                </a:lnTo>
                <a:lnTo>
                  <a:pt x="370242" y="5806"/>
                </a:lnTo>
                <a:lnTo>
                  <a:pt x="563325" y="8470"/>
                </a:lnTo>
                <a:lnTo>
                  <a:pt x="761971" y="10792"/>
                </a:lnTo>
                <a:cubicBezTo>
                  <a:pt x="761323" y="224598"/>
                  <a:pt x="760676" y="438405"/>
                  <a:pt x="760028" y="652211"/>
                </a:cubicBezTo>
                <a:lnTo>
                  <a:pt x="0" y="665340"/>
                </a:lnTo>
                <a:lnTo>
                  <a:pt x="0" y="0"/>
                </a:ln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a typeface="+mn-ea"/>
              <a:cs typeface="+mn-cs"/>
            </a:endParaRPr>
          </a:p>
        </p:txBody>
      </p:sp>
      <p:sp>
        <p:nvSpPr>
          <p:cNvPr id="529" name="Rectangle 528"/>
          <p:cNvSpPr/>
          <p:nvPr/>
        </p:nvSpPr>
        <p:spPr>
          <a:xfrm>
            <a:off x="5843944" y="3958567"/>
            <a:ext cx="3025246" cy="510465"/>
          </a:xfrm>
          <a:prstGeom prst="rect">
            <a:avLst/>
          </a:prstGeom>
          <a:solidFill>
            <a:schemeClr val="bg1">
              <a:lumMod val="95000"/>
            </a:schemeClr>
          </a:solidFill>
          <a:ln w="3175" cap="flat" cmpd="sng" algn="ctr">
            <a:solidFill>
              <a:schemeClr val="bg1">
                <a:lumMod val="65000"/>
              </a:schemeClr>
            </a:solidFill>
            <a:prstDash val="solid"/>
          </a:ln>
          <a:effectLst/>
        </p:spPr>
        <p:txBody>
          <a:bodyPr lIns="91436" tIns="45718" rIns="91436" bIns="45718" rtlCol="0" anchor="t"/>
          <a:lstStyle/>
          <a:p>
            <a:pPr defTabSz="1218173">
              <a:defRPr/>
            </a:pPr>
            <a:r>
              <a:rPr lang="en-US" sz="1000" kern="0" dirty="0">
                <a:solidFill>
                  <a:srgbClr val="676767">
                    <a:lumMod val="75000"/>
                  </a:srgbClr>
                </a:solidFill>
                <a:latin typeface="+mj-lt"/>
              </a:rPr>
              <a:t>Key:</a:t>
            </a:r>
          </a:p>
        </p:txBody>
      </p:sp>
      <p:sp>
        <p:nvSpPr>
          <p:cNvPr id="231" name="Rectangle 230"/>
          <p:cNvSpPr/>
          <p:nvPr/>
        </p:nvSpPr>
        <p:spPr>
          <a:xfrm>
            <a:off x="5843950" y="2942415"/>
            <a:ext cx="3025245" cy="990942"/>
          </a:xfrm>
          <a:prstGeom prst="rect">
            <a:avLst/>
          </a:prstGeom>
          <a:solidFill>
            <a:schemeClr val="bg1">
              <a:lumMod val="95000"/>
            </a:schemeClr>
          </a:solidFill>
          <a:ln w="635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4" name="Rectangle 3"/>
          <p:cNvSpPr/>
          <p:nvPr/>
        </p:nvSpPr>
        <p:spPr>
          <a:xfrm rot="204779">
            <a:off x="977182" y="772472"/>
            <a:ext cx="2673314" cy="261042"/>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tx2">
                    <a:lumMod val="75000"/>
                  </a:schemeClr>
                </a:solidFill>
                <a:latin typeface="+mj-lt"/>
              </a:rPr>
              <a:t>Before</a:t>
            </a:r>
          </a:p>
        </p:txBody>
      </p:sp>
      <p:sp>
        <p:nvSpPr>
          <p:cNvPr id="2" name="Freeform 13"/>
          <p:cNvSpPr>
            <a:spLocks/>
          </p:cNvSpPr>
          <p:nvPr/>
        </p:nvSpPr>
        <p:spPr bwMode="auto">
          <a:xfrm>
            <a:off x="989889" y="2463389"/>
            <a:ext cx="7760205" cy="257844"/>
          </a:xfrm>
          <a:custGeom>
            <a:avLst/>
            <a:gdLst>
              <a:gd name="T0" fmla="*/ 13526 w 13526"/>
              <a:gd name="T1" fmla="*/ 13 h 467"/>
              <a:gd name="T2" fmla="*/ 13126 w 13526"/>
              <a:gd name="T3" fmla="*/ 7 h 467"/>
              <a:gd name="T4" fmla="*/ 12300 w 13526"/>
              <a:gd name="T5" fmla="*/ 1 h 467"/>
              <a:gd name="T6" fmla="*/ 11798 w 13526"/>
              <a:gd name="T7" fmla="*/ 0 h 467"/>
              <a:gd name="T8" fmla="*/ 11400 w 13526"/>
              <a:gd name="T9" fmla="*/ 1 h 467"/>
              <a:gd name="T10" fmla="*/ 10582 w 13526"/>
              <a:gd name="T11" fmla="*/ 7 h 467"/>
              <a:gd name="T12" fmla="*/ 10104 w 13526"/>
              <a:gd name="T13" fmla="*/ 13 h 467"/>
              <a:gd name="T14" fmla="*/ 9704 w 13526"/>
              <a:gd name="T15" fmla="*/ 19 h 467"/>
              <a:gd name="T16" fmla="*/ 8886 w 13526"/>
              <a:gd name="T17" fmla="*/ 34 h 467"/>
              <a:gd name="T18" fmla="*/ 8411 w 13526"/>
              <a:gd name="T19" fmla="*/ 46 h 467"/>
              <a:gd name="T20" fmla="*/ 8009 w 13526"/>
              <a:gd name="T21" fmla="*/ 55 h 467"/>
              <a:gd name="T22" fmla="*/ 7191 w 13526"/>
              <a:gd name="T23" fmla="*/ 80 h 467"/>
              <a:gd name="T24" fmla="*/ 6717 w 13526"/>
              <a:gd name="T25" fmla="*/ 95 h 467"/>
              <a:gd name="T26" fmla="*/ 6314 w 13526"/>
              <a:gd name="T27" fmla="*/ 110 h 467"/>
              <a:gd name="T28" fmla="*/ 5495 w 13526"/>
              <a:gd name="T29" fmla="*/ 141 h 467"/>
              <a:gd name="T30" fmla="*/ 5023 w 13526"/>
              <a:gd name="T31" fmla="*/ 160 h 467"/>
              <a:gd name="T32" fmla="*/ 4617 w 13526"/>
              <a:gd name="T33" fmla="*/ 178 h 467"/>
              <a:gd name="T34" fmla="*/ 3799 w 13526"/>
              <a:gd name="T35" fmla="*/ 217 h 467"/>
              <a:gd name="T36" fmla="*/ 3329 w 13526"/>
              <a:gd name="T37" fmla="*/ 240 h 467"/>
              <a:gd name="T38" fmla="*/ 2918 w 13526"/>
              <a:gd name="T39" fmla="*/ 261 h 467"/>
              <a:gd name="T40" fmla="*/ 2099 w 13526"/>
              <a:gd name="T41" fmla="*/ 306 h 467"/>
              <a:gd name="T42" fmla="*/ 1636 w 13526"/>
              <a:gd name="T43" fmla="*/ 332 h 467"/>
              <a:gd name="T44" fmla="*/ 1032 w 13526"/>
              <a:gd name="T45" fmla="*/ 369 h 467"/>
              <a:gd name="T46" fmla="*/ 201 w 13526"/>
              <a:gd name="T47" fmla="*/ 423 h 467"/>
              <a:gd name="T48" fmla="*/ 0 w 13526"/>
              <a:gd name="T49" fmla="*/ 437 h 467"/>
              <a:gd name="T50" fmla="*/ 4 w 13526"/>
              <a:gd name="T51" fmla="*/ 466 h 467"/>
              <a:gd name="T52" fmla="*/ 203 w 13526"/>
              <a:gd name="T53" fmla="*/ 453 h 467"/>
              <a:gd name="T54" fmla="*/ 1034 w 13526"/>
              <a:gd name="T55" fmla="*/ 399 h 467"/>
              <a:gd name="T56" fmla="*/ 1697 w 13526"/>
              <a:gd name="T57" fmla="*/ 359 h 467"/>
              <a:gd name="T58" fmla="*/ 2101 w 13526"/>
              <a:gd name="T59" fmla="*/ 336 h 467"/>
              <a:gd name="T60" fmla="*/ 2920 w 13526"/>
              <a:gd name="T61" fmla="*/ 291 h 467"/>
              <a:gd name="T62" fmla="*/ 3391 w 13526"/>
              <a:gd name="T63" fmla="*/ 267 h 467"/>
              <a:gd name="T64" fmla="*/ 3801 w 13526"/>
              <a:gd name="T65" fmla="*/ 247 h 467"/>
              <a:gd name="T66" fmla="*/ 4619 w 13526"/>
              <a:gd name="T67" fmla="*/ 208 h 467"/>
              <a:gd name="T68" fmla="*/ 5084 w 13526"/>
              <a:gd name="T69" fmla="*/ 188 h 467"/>
              <a:gd name="T70" fmla="*/ 5496 w 13526"/>
              <a:gd name="T71" fmla="*/ 171 h 467"/>
              <a:gd name="T72" fmla="*/ 6315 w 13526"/>
              <a:gd name="T73" fmla="*/ 140 h 467"/>
              <a:gd name="T74" fmla="*/ 6778 w 13526"/>
              <a:gd name="T75" fmla="*/ 124 h 467"/>
              <a:gd name="T76" fmla="*/ 7192 w 13526"/>
              <a:gd name="T77" fmla="*/ 110 h 467"/>
              <a:gd name="T78" fmla="*/ 8010 w 13526"/>
              <a:gd name="T79" fmla="*/ 85 h 467"/>
              <a:gd name="T80" fmla="*/ 8471 w 13526"/>
              <a:gd name="T81" fmla="*/ 74 h 467"/>
              <a:gd name="T82" fmla="*/ 8887 w 13526"/>
              <a:gd name="T83" fmla="*/ 64 h 467"/>
              <a:gd name="T84" fmla="*/ 9705 w 13526"/>
              <a:gd name="T85" fmla="*/ 49 h 467"/>
              <a:gd name="T86" fmla="*/ 10165 w 13526"/>
              <a:gd name="T87" fmla="*/ 42 h 467"/>
              <a:gd name="T88" fmla="*/ 10582 w 13526"/>
              <a:gd name="T89" fmla="*/ 37 h 467"/>
              <a:gd name="T90" fmla="*/ 11400 w 13526"/>
              <a:gd name="T91" fmla="*/ 31 h 467"/>
              <a:gd name="T92" fmla="*/ 11877 w 13526"/>
              <a:gd name="T93" fmla="*/ 30 h 467"/>
              <a:gd name="T94" fmla="*/ 12300 w 13526"/>
              <a:gd name="T95" fmla="*/ 31 h 467"/>
              <a:gd name="T96" fmla="*/ 13126 w 13526"/>
              <a:gd name="T97" fmla="*/ 37 h 467"/>
              <a:gd name="T98" fmla="*/ 13526 w 13526"/>
              <a:gd name="T99" fmla="*/ 4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26" h="467">
                <a:moveTo>
                  <a:pt x="13526" y="13"/>
                </a:moveTo>
                <a:lnTo>
                  <a:pt x="13526" y="13"/>
                </a:lnTo>
                <a:lnTo>
                  <a:pt x="13526" y="13"/>
                </a:lnTo>
                <a:lnTo>
                  <a:pt x="13126" y="7"/>
                </a:lnTo>
                <a:lnTo>
                  <a:pt x="12718" y="3"/>
                </a:lnTo>
                <a:lnTo>
                  <a:pt x="12300" y="1"/>
                </a:lnTo>
                <a:lnTo>
                  <a:pt x="11877" y="0"/>
                </a:lnTo>
                <a:lnTo>
                  <a:pt x="11798" y="0"/>
                </a:lnTo>
                <a:lnTo>
                  <a:pt x="11798" y="0"/>
                </a:lnTo>
                <a:lnTo>
                  <a:pt x="11400" y="1"/>
                </a:lnTo>
                <a:lnTo>
                  <a:pt x="10994" y="3"/>
                </a:lnTo>
                <a:lnTo>
                  <a:pt x="10582" y="7"/>
                </a:lnTo>
                <a:lnTo>
                  <a:pt x="10164" y="12"/>
                </a:lnTo>
                <a:lnTo>
                  <a:pt x="10104" y="13"/>
                </a:lnTo>
                <a:lnTo>
                  <a:pt x="10104" y="13"/>
                </a:lnTo>
                <a:lnTo>
                  <a:pt x="9704" y="19"/>
                </a:lnTo>
                <a:lnTo>
                  <a:pt x="9298" y="25"/>
                </a:lnTo>
                <a:lnTo>
                  <a:pt x="8886" y="34"/>
                </a:lnTo>
                <a:lnTo>
                  <a:pt x="8471" y="44"/>
                </a:lnTo>
                <a:lnTo>
                  <a:pt x="8411" y="46"/>
                </a:lnTo>
                <a:lnTo>
                  <a:pt x="8411" y="46"/>
                </a:lnTo>
                <a:lnTo>
                  <a:pt x="8009" y="55"/>
                </a:lnTo>
                <a:lnTo>
                  <a:pt x="7602" y="67"/>
                </a:lnTo>
                <a:lnTo>
                  <a:pt x="7191" y="80"/>
                </a:lnTo>
                <a:lnTo>
                  <a:pt x="6777" y="94"/>
                </a:lnTo>
                <a:lnTo>
                  <a:pt x="6717" y="95"/>
                </a:lnTo>
                <a:lnTo>
                  <a:pt x="6717" y="95"/>
                </a:lnTo>
                <a:lnTo>
                  <a:pt x="6314" y="110"/>
                </a:lnTo>
                <a:lnTo>
                  <a:pt x="5905" y="125"/>
                </a:lnTo>
                <a:lnTo>
                  <a:pt x="5495" y="141"/>
                </a:lnTo>
                <a:lnTo>
                  <a:pt x="5083" y="158"/>
                </a:lnTo>
                <a:lnTo>
                  <a:pt x="5023" y="160"/>
                </a:lnTo>
                <a:lnTo>
                  <a:pt x="5023" y="160"/>
                </a:lnTo>
                <a:lnTo>
                  <a:pt x="4617" y="178"/>
                </a:lnTo>
                <a:lnTo>
                  <a:pt x="4208" y="198"/>
                </a:lnTo>
                <a:lnTo>
                  <a:pt x="3799" y="217"/>
                </a:lnTo>
                <a:lnTo>
                  <a:pt x="3389" y="237"/>
                </a:lnTo>
                <a:lnTo>
                  <a:pt x="3329" y="240"/>
                </a:lnTo>
                <a:lnTo>
                  <a:pt x="3329" y="240"/>
                </a:lnTo>
                <a:lnTo>
                  <a:pt x="2918" y="261"/>
                </a:lnTo>
                <a:lnTo>
                  <a:pt x="2508" y="283"/>
                </a:lnTo>
                <a:lnTo>
                  <a:pt x="2099" y="306"/>
                </a:lnTo>
                <a:lnTo>
                  <a:pt x="1696" y="329"/>
                </a:lnTo>
                <a:lnTo>
                  <a:pt x="1636" y="332"/>
                </a:lnTo>
                <a:lnTo>
                  <a:pt x="1636" y="332"/>
                </a:lnTo>
                <a:lnTo>
                  <a:pt x="1032" y="369"/>
                </a:lnTo>
                <a:lnTo>
                  <a:pt x="550" y="400"/>
                </a:lnTo>
                <a:lnTo>
                  <a:pt x="201" y="423"/>
                </a:lnTo>
                <a:lnTo>
                  <a:pt x="2" y="437"/>
                </a:lnTo>
                <a:lnTo>
                  <a:pt x="0" y="437"/>
                </a:lnTo>
                <a:lnTo>
                  <a:pt x="0" y="467"/>
                </a:lnTo>
                <a:lnTo>
                  <a:pt x="4" y="466"/>
                </a:lnTo>
                <a:lnTo>
                  <a:pt x="4" y="466"/>
                </a:lnTo>
                <a:lnTo>
                  <a:pt x="203" y="453"/>
                </a:lnTo>
                <a:lnTo>
                  <a:pt x="552" y="430"/>
                </a:lnTo>
                <a:lnTo>
                  <a:pt x="1034" y="399"/>
                </a:lnTo>
                <a:lnTo>
                  <a:pt x="1637" y="362"/>
                </a:lnTo>
                <a:lnTo>
                  <a:pt x="1697" y="359"/>
                </a:lnTo>
                <a:lnTo>
                  <a:pt x="1697" y="359"/>
                </a:lnTo>
                <a:lnTo>
                  <a:pt x="2101" y="336"/>
                </a:lnTo>
                <a:lnTo>
                  <a:pt x="2509" y="313"/>
                </a:lnTo>
                <a:lnTo>
                  <a:pt x="2920" y="291"/>
                </a:lnTo>
                <a:lnTo>
                  <a:pt x="3331" y="269"/>
                </a:lnTo>
                <a:lnTo>
                  <a:pt x="3391" y="267"/>
                </a:lnTo>
                <a:lnTo>
                  <a:pt x="3391" y="267"/>
                </a:lnTo>
                <a:lnTo>
                  <a:pt x="3801" y="247"/>
                </a:lnTo>
                <a:lnTo>
                  <a:pt x="4210" y="226"/>
                </a:lnTo>
                <a:lnTo>
                  <a:pt x="4619" y="208"/>
                </a:lnTo>
                <a:lnTo>
                  <a:pt x="5024" y="190"/>
                </a:lnTo>
                <a:lnTo>
                  <a:pt x="5084" y="188"/>
                </a:lnTo>
                <a:lnTo>
                  <a:pt x="5084" y="188"/>
                </a:lnTo>
                <a:lnTo>
                  <a:pt x="5496" y="171"/>
                </a:lnTo>
                <a:lnTo>
                  <a:pt x="5906" y="155"/>
                </a:lnTo>
                <a:lnTo>
                  <a:pt x="6315" y="140"/>
                </a:lnTo>
                <a:lnTo>
                  <a:pt x="6718" y="125"/>
                </a:lnTo>
                <a:lnTo>
                  <a:pt x="6778" y="124"/>
                </a:lnTo>
                <a:lnTo>
                  <a:pt x="6778" y="124"/>
                </a:lnTo>
                <a:lnTo>
                  <a:pt x="7192" y="110"/>
                </a:lnTo>
                <a:lnTo>
                  <a:pt x="7602" y="97"/>
                </a:lnTo>
                <a:lnTo>
                  <a:pt x="8010" y="85"/>
                </a:lnTo>
                <a:lnTo>
                  <a:pt x="8411" y="76"/>
                </a:lnTo>
                <a:lnTo>
                  <a:pt x="8471" y="74"/>
                </a:lnTo>
                <a:lnTo>
                  <a:pt x="8471" y="74"/>
                </a:lnTo>
                <a:lnTo>
                  <a:pt x="8887" y="64"/>
                </a:lnTo>
                <a:lnTo>
                  <a:pt x="9299" y="55"/>
                </a:lnTo>
                <a:lnTo>
                  <a:pt x="9705" y="49"/>
                </a:lnTo>
                <a:lnTo>
                  <a:pt x="10105" y="43"/>
                </a:lnTo>
                <a:lnTo>
                  <a:pt x="10165" y="42"/>
                </a:lnTo>
                <a:lnTo>
                  <a:pt x="10165" y="42"/>
                </a:lnTo>
                <a:lnTo>
                  <a:pt x="10582" y="37"/>
                </a:lnTo>
                <a:lnTo>
                  <a:pt x="10994" y="33"/>
                </a:lnTo>
                <a:lnTo>
                  <a:pt x="11400" y="31"/>
                </a:lnTo>
                <a:lnTo>
                  <a:pt x="11798" y="30"/>
                </a:lnTo>
                <a:lnTo>
                  <a:pt x="11877" y="30"/>
                </a:lnTo>
                <a:lnTo>
                  <a:pt x="11877" y="30"/>
                </a:lnTo>
                <a:lnTo>
                  <a:pt x="12300" y="31"/>
                </a:lnTo>
                <a:lnTo>
                  <a:pt x="12716" y="33"/>
                </a:lnTo>
                <a:lnTo>
                  <a:pt x="13126" y="37"/>
                </a:lnTo>
                <a:lnTo>
                  <a:pt x="13525" y="43"/>
                </a:lnTo>
                <a:lnTo>
                  <a:pt x="13526" y="43"/>
                </a:lnTo>
                <a:lnTo>
                  <a:pt x="13526" y="13"/>
                </a:lnTo>
                <a:close/>
              </a:path>
            </a:pathLst>
          </a:custGeom>
          <a:solidFill>
            <a:schemeClr val="accent3"/>
          </a:solidFill>
          <a:ln>
            <a:noFill/>
          </a:ln>
        </p:spPr>
        <p:txBody>
          <a:bodyPr vert="horz" wrap="square" lIns="91412" tIns="45706" rIns="91412" bIns="45706" numCol="1" anchor="t" anchorCtr="0" compatLnSpc="1">
            <a:prstTxWarp prst="textNoShape">
              <a:avLst/>
            </a:prstTxWarp>
          </a:bodyPr>
          <a:lstStyle/>
          <a:p>
            <a:pPr defTabSz="914103"/>
            <a:endParaRPr lang="en-US" kern="0">
              <a:solidFill>
                <a:srgbClr val="FFFFFF"/>
              </a:solidFill>
              <a:latin typeface="+mj-lt"/>
            </a:endParaRPr>
          </a:p>
        </p:txBody>
      </p:sp>
      <p:sp>
        <p:nvSpPr>
          <p:cNvPr id="3" name="Freeform 14"/>
          <p:cNvSpPr>
            <a:spLocks/>
          </p:cNvSpPr>
          <p:nvPr/>
        </p:nvSpPr>
        <p:spPr bwMode="auto">
          <a:xfrm>
            <a:off x="989889" y="938362"/>
            <a:ext cx="7760205" cy="250131"/>
          </a:xfrm>
          <a:custGeom>
            <a:avLst/>
            <a:gdLst>
              <a:gd name="T0" fmla="*/ 13526 w 13526"/>
              <a:gd name="T1" fmla="*/ 422 h 453"/>
              <a:gd name="T2" fmla="*/ 12812 w 13526"/>
              <a:gd name="T3" fmla="*/ 423 h 453"/>
              <a:gd name="T4" fmla="*/ 12334 w 13526"/>
              <a:gd name="T5" fmla="*/ 422 h 453"/>
              <a:gd name="T6" fmla="*/ 11798 w 13526"/>
              <a:gd name="T7" fmla="*/ 421 h 453"/>
              <a:gd name="T8" fmla="*/ 11386 w 13526"/>
              <a:gd name="T9" fmla="*/ 419 h 453"/>
              <a:gd name="T10" fmla="*/ 10568 w 13526"/>
              <a:gd name="T11" fmla="*/ 413 h 453"/>
              <a:gd name="T12" fmla="*/ 10105 w 13526"/>
              <a:gd name="T13" fmla="*/ 408 h 453"/>
              <a:gd name="T14" fmla="*/ 9692 w 13526"/>
              <a:gd name="T15" fmla="*/ 403 h 453"/>
              <a:gd name="T16" fmla="*/ 8873 w 13526"/>
              <a:gd name="T17" fmla="*/ 391 h 453"/>
              <a:gd name="T18" fmla="*/ 8411 w 13526"/>
              <a:gd name="T19" fmla="*/ 384 h 453"/>
              <a:gd name="T20" fmla="*/ 7997 w 13526"/>
              <a:gd name="T21" fmla="*/ 375 h 453"/>
              <a:gd name="T22" fmla="*/ 7179 w 13526"/>
              <a:gd name="T23" fmla="*/ 357 h 453"/>
              <a:gd name="T24" fmla="*/ 6717 w 13526"/>
              <a:gd name="T25" fmla="*/ 345 h 453"/>
              <a:gd name="T26" fmla="*/ 6302 w 13526"/>
              <a:gd name="T27" fmla="*/ 334 h 453"/>
              <a:gd name="T28" fmla="*/ 5484 w 13526"/>
              <a:gd name="T29" fmla="*/ 307 h 453"/>
              <a:gd name="T30" fmla="*/ 5024 w 13526"/>
              <a:gd name="T31" fmla="*/ 291 h 453"/>
              <a:gd name="T32" fmla="*/ 4606 w 13526"/>
              <a:gd name="T33" fmla="*/ 275 h 453"/>
              <a:gd name="T34" fmla="*/ 3788 w 13526"/>
              <a:gd name="T35" fmla="*/ 241 h 453"/>
              <a:gd name="T36" fmla="*/ 3331 w 13526"/>
              <a:gd name="T37" fmla="*/ 219 h 453"/>
              <a:gd name="T38" fmla="*/ 2906 w 13526"/>
              <a:gd name="T39" fmla="*/ 198 h 453"/>
              <a:gd name="T40" fmla="*/ 2088 w 13526"/>
              <a:gd name="T41" fmla="*/ 152 h 453"/>
              <a:gd name="T42" fmla="*/ 1637 w 13526"/>
              <a:gd name="T43" fmla="*/ 124 h 453"/>
              <a:gd name="T44" fmla="*/ 1314 w 13526"/>
              <a:gd name="T45" fmla="*/ 103 h 453"/>
              <a:gd name="T46" fmla="*/ 772 w 13526"/>
              <a:gd name="T47" fmla="*/ 64 h 453"/>
              <a:gd name="T48" fmla="*/ 366 w 13526"/>
              <a:gd name="T49" fmla="*/ 32 h 453"/>
              <a:gd name="T50" fmla="*/ 5 w 13526"/>
              <a:gd name="T51" fmla="*/ 0 h 453"/>
              <a:gd name="T52" fmla="*/ 0 w 13526"/>
              <a:gd name="T53" fmla="*/ 30 h 453"/>
              <a:gd name="T54" fmla="*/ 2 w 13526"/>
              <a:gd name="T55" fmla="*/ 30 h 453"/>
              <a:gd name="T56" fmla="*/ 363 w 13526"/>
              <a:gd name="T57" fmla="*/ 62 h 453"/>
              <a:gd name="T58" fmla="*/ 770 w 13526"/>
              <a:gd name="T59" fmla="*/ 94 h 453"/>
              <a:gd name="T60" fmla="*/ 1312 w 13526"/>
              <a:gd name="T61" fmla="*/ 133 h 453"/>
              <a:gd name="T62" fmla="*/ 1696 w 13526"/>
              <a:gd name="T63" fmla="*/ 158 h 453"/>
              <a:gd name="T64" fmla="*/ 2086 w 13526"/>
              <a:gd name="T65" fmla="*/ 182 h 453"/>
              <a:gd name="T66" fmla="*/ 2905 w 13526"/>
              <a:gd name="T67" fmla="*/ 228 h 453"/>
              <a:gd name="T68" fmla="*/ 3389 w 13526"/>
              <a:gd name="T69" fmla="*/ 251 h 453"/>
              <a:gd name="T70" fmla="*/ 3787 w 13526"/>
              <a:gd name="T71" fmla="*/ 270 h 453"/>
              <a:gd name="T72" fmla="*/ 4605 w 13526"/>
              <a:gd name="T73" fmla="*/ 305 h 453"/>
              <a:gd name="T74" fmla="*/ 5083 w 13526"/>
              <a:gd name="T75" fmla="*/ 323 h 453"/>
              <a:gd name="T76" fmla="*/ 5483 w 13526"/>
              <a:gd name="T77" fmla="*/ 337 h 453"/>
              <a:gd name="T78" fmla="*/ 6301 w 13526"/>
              <a:gd name="T79" fmla="*/ 363 h 453"/>
              <a:gd name="T80" fmla="*/ 6777 w 13526"/>
              <a:gd name="T81" fmla="*/ 376 h 453"/>
              <a:gd name="T82" fmla="*/ 7178 w 13526"/>
              <a:gd name="T83" fmla="*/ 387 h 453"/>
              <a:gd name="T84" fmla="*/ 7997 w 13526"/>
              <a:gd name="T85" fmla="*/ 405 h 453"/>
              <a:gd name="T86" fmla="*/ 8470 w 13526"/>
              <a:gd name="T87" fmla="*/ 415 h 453"/>
              <a:gd name="T88" fmla="*/ 8873 w 13526"/>
              <a:gd name="T89" fmla="*/ 421 h 453"/>
              <a:gd name="T90" fmla="*/ 9691 w 13526"/>
              <a:gd name="T91" fmla="*/ 433 h 453"/>
              <a:gd name="T92" fmla="*/ 10164 w 13526"/>
              <a:gd name="T93" fmla="*/ 439 h 453"/>
              <a:gd name="T94" fmla="*/ 10568 w 13526"/>
              <a:gd name="T95" fmla="*/ 443 h 453"/>
              <a:gd name="T96" fmla="*/ 11386 w 13526"/>
              <a:gd name="T97" fmla="*/ 449 h 453"/>
              <a:gd name="T98" fmla="*/ 11858 w 13526"/>
              <a:gd name="T99" fmla="*/ 451 h 453"/>
              <a:gd name="T100" fmla="*/ 12334 w 13526"/>
              <a:gd name="T101" fmla="*/ 452 h 453"/>
              <a:gd name="T102" fmla="*/ 12812 w 13526"/>
              <a:gd name="T103" fmla="*/ 453 h 453"/>
              <a:gd name="T104" fmla="*/ 13526 w 13526"/>
              <a:gd name="T105" fmla="*/ 452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26" h="453">
                <a:moveTo>
                  <a:pt x="13526" y="422"/>
                </a:moveTo>
                <a:lnTo>
                  <a:pt x="13526" y="422"/>
                </a:lnTo>
                <a:lnTo>
                  <a:pt x="13526" y="422"/>
                </a:lnTo>
                <a:lnTo>
                  <a:pt x="12812" y="423"/>
                </a:lnTo>
                <a:lnTo>
                  <a:pt x="12812" y="423"/>
                </a:lnTo>
                <a:lnTo>
                  <a:pt x="12334" y="422"/>
                </a:lnTo>
                <a:lnTo>
                  <a:pt x="11858" y="421"/>
                </a:lnTo>
                <a:lnTo>
                  <a:pt x="11798" y="421"/>
                </a:lnTo>
                <a:lnTo>
                  <a:pt x="11798" y="421"/>
                </a:lnTo>
                <a:lnTo>
                  <a:pt x="11386" y="419"/>
                </a:lnTo>
                <a:lnTo>
                  <a:pt x="10975" y="416"/>
                </a:lnTo>
                <a:lnTo>
                  <a:pt x="10568" y="413"/>
                </a:lnTo>
                <a:lnTo>
                  <a:pt x="10165" y="409"/>
                </a:lnTo>
                <a:lnTo>
                  <a:pt x="10105" y="408"/>
                </a:lnTo>
                <a:lnTo>
                  <a:pt x="10105" y="408"/>
                </a:lnTo>
                <a:lnTo>
                  <a:pt x="9692" y="403"/>
                </a:lnTo>
                <a:lnTo>
                  <a:pt x="9280" y="398"/>
                </a:lnTo>
                <a:lnTo>
                  <a:pt x="8873" y="391"/>
                </a:lnTo>
                <a:lnTo>
                  <a:pt x="8471" y="385"/>
                </a:lnTo>
                <a:lnTo>
                  <a:pt x="8411" y="384"/>
                </a:lnTo>
                <a:lnTo>
                  <a:pt x="8411" y="384"/>
                </a:lnTo>
                <a:lnTo>
                  <a:pt x="7997" y="375"/>
                </a:lnTo>
                <a:lnTo>
                  <a:pt x="7586" y="367"/>
                </a:lnTo>
                <a:lnTo>
                  <a:pt x="7179" y="357"/>
                </a:lnTo>
                <a:lnTo>
                  <a:pt x="6777" y="346"/>
                </a:lnTo>
                <a:lnTo>
                  <a:pt x="6717" y="345"/>
                </a:lnTo>
                <a:lnTo>
                  <a:pt x="6717" y="345"/>
                </a:lnTo>
                <a:lnTo>
                  <a:pt x="6302" y="334"/>
                </a:lnTo>
                <a:lnTo>
                  <a:pt x="5890" y="321"/>
                </a:lnTo>
                <a:lnTo>
                  <a:pt x="5484" y="307"/>
                </a:lnTo>
                <a:lnTo>
                  <a:pt x="5084" y="293"/>
                </a:lnTo>
                <a:lnTo>
                  <a:pt x="5024" y="291"/>
                </a:lnTo>
                <a:lnTo>
                  <a:pt x="5024" y="291"/>
                </a:lnTo>
                <a:lnTo>
                  <a:pt x="4606" y="275"/>
                </a:lnTo>
                <a:lnTo>
                  <a:pt x="4194" y="258"/>
                </a:lnTo>
                <a:lnTo>
                  <a:pt x="3788" y="241"/>
                </a:lnTo>
                <a:lnTo>
                  <a:pt x="3391" y="221"/>
                </a:lnTo>
                <a:lnTo>
                  <a:pt x="3331" y="219"/>
                </a:lnTo>
                <a:lnTo>
                  <a:pt x="3331" y="219"/>
                </a:lnTo>
                <a:lnTo>
                  <a:pt x="2906" y="198"/>
                </a:lnTo>
                <a:lnTo>
                  <a:pt x="2491" y="175"/>
                </a:lnTo>
                <a:lnTo>
                  <a:pt x="2088" y="152"/>
                </a:lnTo>
                <a:lnTo>
                  <a:pt x="1697" y="128"/>
                </a:lnTo>
                <a:lnTo>
                  <a:pt x="1637" y="124"/>
                </a:lnTo>
                <a:lnTo>
                  <a:pt x="1637" y="124"/>
                </a:lnTo>
                <a:lnTo>
                  <a:pt x="1314" y="103"/>
                </a:lnTo>
                <a:lnTo>
                  <a:pt x="1026" y="82"/>
                </a:lnTo>
                <a:lnTo>
                  <a:pt x="772" y="64"/>
                </a:lnTo>
                <a:lnTo>
                  <a:pt x="552" y="47"/>
                </a:lnTo>
                <a:lnTo>
                  <a:pt x="366" y="32"/>
                </a:lnTo>
                <a:lnTo>
                  <a:pt x="212" y="19"/>
                </a:lnTo>
                <a:lnTo>
                  <a:pt x="5" y="0"/>
                </a:lnTo>
                <a:lnTo>
                  <a:pt x="0" y="0"/>
                </a:lnTo>
                <a:lnTo>
                  <a:pt x="0" y="30"/>
                </a:lnTo>
                <a:lnTo>
                  <a:pt x="2" y="30"/>
                </a:lnTo>
                <a:lnTo>
                  <a:pt x="2" y="30"/>
                </a:lnTo>
                <a:lnTo>
                  <a:pt x="210" y="49"/>
                </a:lnTo>
                <a:lnTo>
                  <a:pt x="363" y="62"/>
                </a:lnTo>
                <a:lnTo>
                  <a:pt x="550" y="77"/>
                </a:lnTo>
                <a:lnTo>
                  <a:pt x="770" y="94"/>
                </a:lnTo>
                <a:lnTo>
                  <a:pt x="1023" y="112"/>
                </a:lnTo>
                <a:lnTo>
                  <a:pt x="1312" y="133"/>
                </a:lnTo>
                <a:lnTo>
                  <a:pt x="1636" y="154"/>
                </a:lnTo>
                <a:lnTo>
                  <a:pt x="1696" y="158"/>
                </a:lnTo>
                <a:lnTo>
                  <a:pt x="1696" y="158"/>
                </a:lnTo>
                <a:lnTo>
                  <a:pt x="2086" y="182"/>
                </a:lnTo>
                <a:lnTo>
                  <a:pt x="2490" y="205"/>
                </a:lnTo>
                <a:lnTo>
                  <a:pt x="2905" y="228"/>
                </a:lnTo>
                <a:lnTo>
                  <a:pt x="3329" y="249"/>
                </a:lnTo>
                <a:lnTo>
                  <a:pt x="3389" y="251"/>
                </a:lnTo>
                <a:lnTo>
                  <a:pt x="3389" y="251"/>
                </a:lnTo>
                <a:lnTo>
                  <a:pt x="3787" y="270"/>
                </a:lnTo>
                <a:lnTo>
                  <a:pt x="4192" y="288"/>
                </a:lnTo>
                <a:lnTo>
                  <a:pt x="4605" y="305"/>
                </a:lnTo>
                <a:lnTo>
                  <a:pt x="5023" y="321"/>
                </a:lnTo>
                <a:lnTo>
                  <a:pt x="5083" y="323"/>
                </a:lnTo>
                <a:lnTo>
                  <a:pt x="5083" y="323"/>
                </a:lnTo>
                <a:lnTo>
                  <a:pt x="5483" y="337"/>
                </a:lnTo>
                <a:lnTo>
                  <a:pt x="5890" y="351"/>
                </a:lnTo>
                <a:lnTo>
                  <a:pt x="6301" y="363"/>
                </a:lnTo>
                <a:lnTo>
                  <a:pt x="6717" y="375"/>
                </a:lnTo>
                <a:lnTo>
                  <a:pt x="6777" y="376"/>
                </a:lnTo>
                <a:lnTo>
                  <a:pt x="6777" y="376"/>
                </a:lnTo>
                <a:lnTo>
                  <a:pt x="7178" y="387"/>
                </a:lnTo>
                <a:lnTo>
                  <a:pt x="7585" y="397"/>
                </a:lnTo>
                <a:lnTo>
                  <a:pt x="7997" y="405"/>
                </a:lnTo>
                <a:lnTo>
                  <a:pt x="8410" y="414"/>
                </a:lnTo>
                <a:lnTo>
                  <a:pt x="8470" y="415"/>
                </a:lnTo>
                <a:lnTo>
                  <a:pt x="8470" y="415"/>
                </a:lnTo>
                <a:lnTo>
                  <a:pt x="8873" y="421"/>
                </a:lnTo>
                <a:lnTo>
                  <a:pt x="9280" y="428"/>
                </a:lnTo>
                <a:lnTo>
                  <a:pt x="9691" y="433"/>
                </a:lnTo>
                <a:lnTo>
                  <a:pt x="10104" y="438"/>
                </a:lnTo>
                <a:lnTo>
                  <a:pt x="10164" y="439"/>
                </a:lnTo>
                <a:lnTo>
                  <a:pt x="10164" y="439"/>
                </a:lnTo>
                <a:lnTo>
                  <a:pt x="10568" y="443"/>
                </a:lnTo>
                <a:lnTo>
                  <a:pt x="10975" y="446"/>
                </a:lnTo>
                <a:lnTo>
                  <a:pt x="11386" y="449"/>
                </a:lnTo>
                <a:lnTo>
                  <a:pt x="11798" y="451"/>
                </a:lnTo>
                <a:lnTo>
                  <a:pt x="11858" y="451"/>
                </a:lnTo>
                <a:lnTo>
                  <a:pt x="11858" y="451"/>
                </a:lnTo>
                <a:lnTo>
                  <a:pt x="12334" y="452"/>
                </a:lnTo>
                <a:lnTo>
                  <a:pt x="12812" y="453"/>
                </a:lnTo>
                <a:lnTo>
                  <a:pt x="12812" y="453"/>
                </a:lnTo>
                <a:lnTo>
                  <a:pt x="13526" y="452"/>
                </a:lnTo>
                <a:lnTo>
                  <a:pt x="13526" y="452"/>
                </a:lnTo>
                <a:lnTo>
                  <a:pt x="13526" y="422"/>
                </a:lnTo>
                <a:close/>
              </a:path>
            </a:pathLst>
          </a:custGeom>
          <a:solidFill>
            <a:schemeClr val="accent3"/>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5" name="Rectangle 4"/>
          <p:cNvSpPr/>
          <p:nvPr/>
        </p:nvSpPr>
        <p:spPr>
          <a:xfrm>
            <a:off x="7259026" y="970517"/>
            <a:ext cx="1309564" cy="179947"/>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accent6">
                    <a:lumMod val="75000"/>
                  </a:schemeClr>
                </a:solidFill>
                <a:latin typeface="+mj-lt"/>
              </a:rPr>
              <a:t>After</a:t>
            </a:r>
          </a:p>
        </p:txBody>
      </p:sp>
      <p:sp>
        <p:nvSpPr>
          <p:cNvPr id="6" name="Rectangle 5"/>
          <p:cNvSpPr/>
          <p:nvPr/>
        </p:nvSpPr>
        <p:spPr>
          <a:xfrm rot="60000">
            <a:off x="3898016" y="898228"/>
            <a:ext cx="3182153" cy="255898"/>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accent5">
                    <a:lumMod val="75000"/>
                  </a:schemeClr>
                </a:solidFill>
                <a:latin typeface="+mj-lt"/>
              </a:rPr>
              <a:t>During</a:t>
            </a:r>
          </a:p>
        </p:txBody>
      </p:sp>
      <p:sp>
        <p:nvSpPr>
          <p:cNvPr id="7" name="Freeform 6"/>
          <p:cNvSpPr>
            <a:spLocks/>
          </p:cNvSpPr>
          <p:nvPr/>
        </p:nvSpPr>
        <p:spPr bwMode="auto">
          <a:xfrm>
            <a:off x="989886" y="993459"/>
            <a:ext cx="937468" cy="1672677"/>
          </a:xfrm>
          <a:custGeom>
            <a:avLst/>
            <a:gdLst>
              <a:gd name="T0" fmla="*/ 0 w 1634"/>
              <a:gd name="T1" fmla="*/ 3036 h 3036"/>
              <a:gd name="T2" fmla="*/ 0 w 1634"/>
              <a:gd name="T3" fmla="*/ 3036 h 3036"/>
              <a:gd name="T4" fmla="*/ 210 w 1634"/>
              <a:gd name="T5" fmla="*/ 3021 h 3036"/>
              <a:gd name="T6" fmla="*/ 559 w 1634"/>
              <a:gd name="T7" fmla="*/ 2997 h 3036"/>
              <a:gd name="T8" fmla="*/ 1037 w 1634"/>
              <a:gd name="T9" fmla="*/ 2967 h 3036"/>
              <a:gd name="T10" fmla="*/ 1634 w 1634"/>
              <a:gd name="T11" fmla="*/ 2931 h 3036"/>
              <a:gd name="T12" fmla="*/ 1634 w 1634"/>
              <a:gd name="T13" fmla="*/ 124 h 3036"/>
              <a:gd name="T14" fmla="*/ 1634 w 1634"/>
              <a:gd name="T15" fmla="*/ 124 h 3036"/>
              <a:gd name="T16" fmla="*/ 1307 w 1634"/>
              <a:gd name="T17" fmla="*/ 103 h 3036"/>
              <a:gd name="T18" fmla="*/ 1015 w 1634"/>
              <a:gd name="T19" fmla="*/ 83 h 3036"/>
              <a:gd name="T20" fmla="*/ 758 w 1634"/>
              <a:gd name="T21" fmla="*/ 64 h 3036"/>
              <a:gd name="T22" fmla="*/ 537 w 1634"/>
              <a:gd name="T23" fmla="*/ 46 h 3036"/>
              <a:gd name="T24" fmla="*/ 350 w 1634"/>
              <a:gd name="T25" fmla="*/ 31 h 3036"/>
              <a:gd name="T26" fmla="*/ 199 w 1634"/>
              <a:gd name="T27" fmla="*/ 19 h 3036"/>
              <a:gd name="T28" fmla="*/ 0 w 1634"/>
              <a:gd name="T29" fmla="*/ 0 h 3036"/>
              <a:gd name="T30" fmla="*/ 0 w 1634"/>
              <a:gd name="T31"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4" h="3036">
                <a:moveTo>
                  <a:pt x="0" y="3036"/>
                </a:moveTo>
                <a:lnTo>
                  <a:pt x="0" y="3036"/>
                </a:lnTo>
                <a:lnTo>
                  <a:pt x="210" y="3021"/>
                </a:lnTo>
                <a:lnTo>
                  <a:pt x="559" y="2997"/>
                </a:lnTo>
                <a:lnTo>
                  <a:pt x="1037" y="2967"/>
                </a:lnTo>
                <a:lnTo>
                  <a:pt x="1634" y="2931"/>
                </a:lnTo>
                <a:lnTo>
                  <a:pt x="1634" y="124"/>
                </a:lnTo>
                <a:lnTo>
                  <a:pt x="1634" y="124"/>
                </a:lnTo>
                <a:lnTo>
                  <a:pt x="1307" y="103"/>
                </a:lnTo>
                <a:lnTo>
                  <a:pt x="1015" y="83"/>
                </a:lnTo>
                <a:lnTo>
                  <a:pt x="758" y="64"/>
                </a:lnTo>
                <a:lnTo>
                  <a:pt x="537" y="46"/>
                </a:lnTo>
                <a:lnTo>
                  <a:pt x="350" y="31"/>
                </a:lnTo>
                <a:lnTo>
                  <a:pt x="199" y="19"/>
                </a:lnTo>
                <a:lnTo>
                  <a:pt x="0" y="0"/>
                </a:lnTo>
                <a:lnTo>
                  <a:pt x="0" y="3036"/>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8" name="Freeform 7"/>
          <p:cNvSpPr>
            <a:spLocks/>
          </p:cNvSpPr>
          <p:nvPr/>
        </p:nvSpPr>
        <p:spPr bwMode="auto">
          <a:xfrm>
            <a:off x="3905558" y="1155439"/>
            <a:ext cx="937468" cy="1356435"/>
          </a:xfrm>
          <a:custGeom>
            <a:avLst/>
            <a:gdLst>
              <a:gd name="T0" fmla="*/ 1634 w 1634"/>
              <a:gd name="T1" fmla="*/ 53 h 2463"/>
              <a:gd name="T2" fmla="*/ 1634 w 1634"/>
              <a:gd name="T3" fmla="*/ 53 h 2463"/>
              <a:gd name="T4" fmla="*/ 1204 w 1634"/>
              <a:gd name="T5" fmla="*/ 40 h 2463"/>
              <a:gd name="T6" fmla="*/ 788 w 1634"/>
              <a:gd name="T7" fmla="*/ 27 h 2463"/>
              <a:gd name="T8" fmla="*/ 387 w 1634"/>
              <a:gd name="T9" fmla="*/ 14 h 2463"/>
              <a:gd name="T10" fmla="*/ 0 w 1634"/>
              <a:gd name="T11" fmla="*/ 0 h 2463"/>
              <a:gd name="T12" fmla="*/ 0 w 1634"/>
              <a:gd name="T13" fmla="*/ 2463 h 2463"/>
              <a:gd name="T14" fmla="*/ 0 w 1634"/>
              <a:gd name="T15" fmla="*/ 2463 h 2463"/>
              <a:gd name="T16" fmla="*/ 396 w 1634"/>
              <a:gd name="T17" fmla="*/ 2447 h 2463"/>
              <a:gd name="T18" fmla="*/ 801 w 1634"/>
              <a:gd name="T19" fmla="*/ 2431 h 2463"/>
              <a:gd name="T20" fmla="*/ 1214 w 1634"/>
              <a:gd name="T21" fmla="*/ 2415 h 2463"/>
              <a:gd name="T22" fmla="*/ 1634 w 1634"/>
              <a:gd name="T23" fmla="*/ 2401 h 2463"/>
              <a:gd name="T24" fmla="*/ 1634 w 1634"/>
              <a:gd name="T25" fmla="*/ 53 h 2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463">
                <a:moveTo>
                  <a:pt x="1634" y="53"/>
                </a:moveTo>
                <a:lnTo>
                  <a:pt x="1634" y="53"/>
                </a:lnTo>
                <a:lnTo>
                  <a:pt x="1204" y="40"/>
                </a:lnTo>
                <a:lnTo>
                  <a:pt x="788" y="27"/>
                </a:lnTo>
                <a:lnTo>
                  <a:pt x="387" y="14"/>
                </a:lnTo>
                <a:lnTo>
                  <a:pt x="0" y="0"/>
                </a:lnTo>
                <a:lnTo>
                  <a:pt x="0" y="2463"/>
                </a:lnTo>
                <a:lnTo>
                  <a:pt x="0" y="2463"/>
                </a:lnTo>
                <a:lnTo>
                  <a:pt x="396" y="2447"/>
                </a:lnTo>
                <a:lnTo>
                  <a:pt x="801" y="2431"/>
                </a:lnTo>
                <a:lnTo>
                  <a:pt x="1214" y="2415"/>
                </a:lnTo>
                <a:lnTo>
                  <a:pt x="1634" y="2401"/>
                </a:lnTo>
                <a:lnTo>
                  <a:pt x="1634" y="53"/>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9" name="Freeform 8"/>
          <p:cNvSpPr>
            <a:spLocks/>
          </p:cNvSpPr>
          <p:nvPr/>
        </p:nvSpPr>
        <p:spPr bwMode="auto">
          <a:xfrm>
            <a:off x="1961778" y="1063979"/>
            <a:ext cx="937468" cy="1542654"/>
          </a:xfrm>
          <a:custGeom>
            <a:avLst/>
            <a:gdLst>
              <a:gd name="T0" fmla="*/ 1634 w 1634"/>
              <a:gd name="T1" fmla="*/ 91 h 2799"/>
              <a:gd name="T2" fmla="*/ 1634 w 1634"/>
              <a:gd name="T3" fmla="*/ 91 h 2799"/>
              <a:gd name="T4" fmla="*/ 1175 w 1634"/>
              <a:gd name="T5" fmla="*/ 67 h 2799"/>
              <a:gd name="T6" fmla="*/ 750 w 1634"/>
              <a:gd name="T7" fmla="*/ 44 h 2799"/>
              <a:gd name="T8" fmla="*/ 358 w 1634"/>
              <a:gd name="T9" fmla="*/ 21 h 2799"/>
              <a:gd name="T10" fmla="*/ 0 w 1634"/>
              <a:gd name="T11" fmla="*/ 0 h 2799"/>
              <a:gd name="T12" fmla="*/ 0 w 1634"/>
              <a:gd name="T13" fmla="*/ 2799 h 2799"/>
              <a:gd name="T14" fmla="*/ 0 w 1634"/>
              <a:gd name="T15" fmla="*/ 2799 h 2799"/>
              <a:gd name="T16" fmla="*/ 368 w 1634"/>
              <a:gd name="T17" fmla="*/ 2777 h 2799"/>
              <a:gd name="T18" fmla="*/ 764 w 1634"/>
              <a:gd name="T19" fmla="*/ 2756 h 2799"/>
              <a:gd name="T20" fmla="*/ 1186 w 1634"/>
              <a:gd name="T21" fmla="*/ 2732 h 2799"/>
              <a:gd name="T22" fmla="*/ 1634 w 1634"/>
              <a:gd name="T23" fmla="*/ 2710 h 2799"/>
              <a:gd name="T24" fmla="*/ 1634 w 1634"/>
              <a:gd name="T25" fmla="*/ 91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799">
                <a:moveTo>
                  <a:pt x="1634" y="91"/>
                </a:moveTo>
                <a:lnTo>
                  <a:pt x="1634" y="91"/>
                </a:lnTo>
                <a:lnTo>
                  <a:pt x="1175" y="67"/>
                </a:lnTo>
                <a:lnTo>
                  <a:pt x="750" y="44"/>
                </a:lnTo>
                <a:lnTo>
                  <a:pt x="358" y="21"/>
                </a:lnTo>
                <a:lnTo>
                  <a:pt x="0" y="0"/>
                </a:lnTo>
                <a:lnTo>
                  <a:pt x="0" y="2799"/>
                </a:lnTo>
                <a:lnTo>
                  <a:pt x="0" y="2799"/>
                </a:lnTo>
                <a:lnTo>
                  <a:pt x="368" y="2777"/>
                </a:lnTo>
                <a:lnTo>
                  <a:pt x="764" y="2756"/>
                </a:lnTo>
                <a:lnTo>
                  <a:pt x="1186" y="2732"/>
                </a:lnTo>
                <a:lnTo>
                  <a:pt x="1634" y="2710"/>
                </a:lnTo>
                <a:lnTo>
                  <a:pt x="1634" y="91"/>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10" name="Freeform 9"/>
          <p:cNvSpPr>
            <a:spLocks/>
          </p:cNvSpPr>
          <p:nvPr/>
        </p:nvSpPr>
        <p:spPr bwMode="auto">
          <a:xfrm>
            <a:off x="2933668" y="1115772"/>
            <a:ext cx="937468" cy="1440177"/>
          </a:xfrm>
          <a:custGeom>
            <a:avLst/>
            <a:gdLst>
              <a:gd name="T0" fmla="*/ 1634 w 1634"/>
              <a:gd name="T1" fmla="*/ 69 h 2614"/>
              <a:gd name="T2" fmla="*/ 1634 w 1634"/>
              <a:gd name="T3" fmla="*/ 69 h 2614"/>
              <a:gd name="T4" fmla="*/ 1196 w 1634"/>
              <a:gd name="T5" fmla="*/ 52 h 2614"/>
              <a:gd name="T6" fmla="*/ 777 w 1634"/>
              <a:gd name="T7" fmla="*/ 35 h 2614"/>
              <a:gd name="T8" fmla="*/ 378 w 1634"/>
              <a:gd name="T9" fmla="*/ 18 h 2614"/>
              <a:gd name="T10" fmla="*/ 0 w 1634"/>
              <a:gd name="T11" fmla="*/ 0 h 2614"/>
              <a:gd name="T12" fmla="*/ 0 w 1634"/>
              <a:gd name="T13" fmla="*/ 2614 h 2614"/>
              <a:gd name="T14" fmla="*/ 0 w 1634"/>
              <a:gd name="T15" fmla="*/ 2614 h 2614"/>
              <a:gd name="T16" fmla="*/ 387 w 1634"/>
              <a:gd name="T17" fmla="*/ 2594 h 2614"/>
              <a:gd name="T18" fmla="*/ 789 w 1634"/>
              <a:gd name="T19" fmla="*/ 2575 h 2614"/>
              <a:gd name="T20" fmla="*/ 1205 w 1634"/>
              <a:gd name="T21" fmla="*/ 2556 h 2614"/>
              <a:gd name="T22" fmla="*/ 1634 w 1634"/>
              <a:gd name="T23" fmla="*/ 2538 h 2614"/>
              <a:gd name="T24" fmla="*/ 1634 w 1634"/>
              <a:gd name="T25" fmla="*/ 69 h 2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614">
                <a:moveTo>
                  <a:pt x="1634" y="69"/>
                </a:moveTo>
                <a:lnTo>
                  <a:pt x="1634" y="69"/>
                </a:lnTo>
                <a:lnTo>
                  <a:pt x="1196" y="52"/>
                </a:lnTo>
                <a:lnTo>
                  <a:pt x="777" y="35"/>
                </a:lnTo>
                <a:lnTo>
                  <a:pt x="378" y="18"/>
                </a:lnTo>
                <a:lnTo>
                  <a:pt x="0" y="0"/>
                </a:lnTo>
                <a:lnTo>
                  <a:pt x="0" y="2614"/>
                </a:lnTo>
                <a:lnTo>
                  <a:pt x="0" y="2614"/>
                </a:lnTo>
                <a:lnTo>
                  <a:pt x="387" y="2594"/>
                </a:lnTo>
                <a:lnTo>
                  <a:pt x="789" y="2575"/>
                </a:lnTo>
                <a:lnTo>
                  <a:pt x="1205" y="2556"/>
                </a:lnTo>
                <a:lnTo>
                  <a:pt x="1634" y="2538"/>
                </a:lnTo>
                <a:lnTo>
                  <a:pt x="1634" y="69"/>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20" name="Freeform 19"/>
          <p:cNvSpPr>
            <a:spLocks/>
          </p:cNvSpPr>
          <p:nvPr/>
        </p:nvSpPr>
        <p:spPr bwMode="auto">
          <a:xfrm>
            <a:off x="4878224" y="1184088"/>
            <a:ext cx="714308" cy="1292525"/>
          </a:xfrm>
          <a:custGeom>
            <a:avLst/>
            <a:gdLst>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65340 h 665340"/>
              <a:gd name="connsiteX6" fmla="*/ 0 w 761971"/>
              <a:gd name="connsiteY6" fmla="*/ 66534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50336 h 665340"/>
              <a:gd name="connsiteX6" fmla="*/ 0 w 761971"/>
              <a:gd name="connsiteY6" fmla="*/ 665340 h 665340"/>
              <a:gd name="connsiteX7" fmla="*/ 0 w 761971"/>
              <a:gd name="connsiteY7" fmla="*/ 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0028 w 761971"/>
              <a:gd name="connsiteY5" fmla="*/ 652211 h 665340"/>
              <a:gd name="connsiteX6" fmla="*/ 0 w 761971"/>
              <a:gd name="connsiteY6" fmla="*/ 665340 h 665340"/>
              <a:gd name="connsiteX7" fmla="*/ 0 w 761971"/>
              <a:gd name="connsiteY7" fmla="*/ 0 h 66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71" h="665340">
                <a:moveTo>
                  <a:pt x="0" y="0"/>
                </a:moveTo>
                <a:lnTo>
                  <a:pt x="182340" y="3210"/>
                </a:lnTo>
                <a:lnTo>
                  <a:pt x="370242" y="5806"/>
                </a:lnTo>
                <a:lnTo>
                  <a:pt x="563325" y="8470"/>
                </a:lnTo>
                <a:lnTo>
                  <a:pt x="761971" y="10792"/>
                </a:lnTo>
                <a:cubicBezTo>
                  <a:pt x="761323" y="224598"/>
                  <a:pt x="760676" y="438405"/>
                  <a:pt x="760028" y="652211"/>
                </a:cubicBezTo>
                <a:lnTo>
                  <a:pt x="0" y="665340"/>
                </a:lnTo>
                <a:lnTo>
                  <a:pt x="0" y="0"/>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a typeface="+mn-ea"/>
              <a:cs typeface="+mn-cs"/>
            </a:endParaRPr>
          </a:p>
        </p:txBody>
      </p:sp>
      <p:sp>
        <p:nvSpPr>
          <p:cNvPr id="31" name="Freeform 30"/>
          <p:cNvSpPr>
            <a:spLocks/>
          </p:cNvSpPr>
          <p:nvPr/>
        </p:nvSpPr>
        <p:spPr bwMode="auto">
          <a:xfrm>
            <a:off x="6376215" y="1219347"/>
            <a:ext cx="703953" cy="603954"/>
          </a:xfrm>
          <a:custGeom>
            <a:avLst/>
            <a:gdLst>
              <a:gd name="connsiteX0" fmla="*/ 0 w 750924"/>
              <a:gd name="connsiteY0" fmla="*/ 0 h 644253"/>
              <a:gd name="connsiteX1" fmla="*/ 182446 w 750924"/>
              <a:gd name="connsiteY1" fmla="*/ 1770 h 644253"/>
              <a:gd name="connsiteX2" fmla="*/ 368569 w 750924"/>
              <a:gd name="connsiteY2" fmla="*/ 3539 h 644253"/>
              <a:gd name="connsiteX3" fmla="*/ 557908 w 750924"/>
              <a:gd name="connsiteY3" fmla="*/ 5898 h 644253"/>
              <a:gd name="connsiteX4" fmla="*/ 750924 w 750924"/>
              <a:gd name="connsiteY4" fmla="*/ 7078 h 644253"/>
              <a:gd name="connsiteX5" fmla="*/ 750924 w 750924"/>
              <a:gd name="connsiteY5" fmla="*/ 644253 h 644253"/>
              <a:gd name="connsiteX6" fmla="*/ 0 w 750924"/>
              <a:gd name="connsiteY6" fmla="*/ 644253 h 644253"/>
              <a:gd name="connsiteX7" fmla="*/ 0 w 750924"/>
              <a:gd name="connsiteY7" fmla="*/ 0 h 64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924" h="644253">
                <a:moveTo>
                  <a:pt x="0" y="0"/>
                </a:moveTo>
                <a:lnTo>
                  <a:pt x="182446" y="1770"/>
                </a:lnTo>
                <a:lnTo>
                  <a:pt x="368569" y="3539"/>
                </a:lnTo>
                <a:lnTo>
                  <a:pt x="557908" y="5898"/>
                </a:lnTo>
                <a:lnTo>
                  <a:pt x="750924" y="7078"/>
                </a:lnTo>
                <a:lnTo>
                  <a:pt x="750924" y="644253"/>
                </a:lnTo>
                <a:lnTo>
                  <a:pt x="0" y="644253"/>
                </a:lnTo>
                <a:lnTo>
                  <a:pt x="0" y="0"/>
                </a:lnTo>
                <a:close/>
              </a:path>
            </a:pathLst>
          </a:custGeom>
          <a:solidFill>
            <a:schemeClr val="tx2">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r>
              <a:rPr lang="ja-JP" altLang="en-US" sz="700" kern="0" dirty="0" smtClean="0">
                <a:solidFill>
                  <a:schemeClr val="bg1"/>
                </a:solidFill>
                <a:latin typeface="+mj-lt"/>
              </a:rPr>
              <a:t>アウトブレイク</a:t>
            </a:r>
            <a:endParaRPr lang="en-US" altLang="ja-JP" sz="700" kern="0" dirty="0" smtClean="0">
              <a:solidFill>
                <a:schemeClr val="bg1"/>
              </a:solidFill>
              <a:latin typeface="+mj-lt"/>
            </a:endParaRPr>
          </a:p>
          <a:p>
            <a:pPr algn="ctr" defTabSz="914103"/>
            <a:r>
              <a:rPr lang="ja-JP" altLang="en-US" sz="700" kern="0" dirty="0" smtClean="0">
                <a:solidFill>
                  <a:schemeClr val="bg1"/>
                </a:solidFill>
                <a:latin typeface="+mj-lt"/>
              </a:rPr>
              <a:t>インテリジェンス</a:t>
            </a:r>
            <a:endParaRPr lang="en-US" sz="700" kern="0" dirty="0">
              <a:solidFill>
                <a:schemeClr val="bg1"/>
              </a:solidFill>
              <a:latin typeface="+mj-lt"/>
            </a:endParaRPr>
          </a:p>
        </p:txBody>
      </p:sp>
      <p:sp>
        <p:nvSpPr>
          <p:cNvPr id="13" name="Freeform 12"/>
          <p:cNvSpPr>
            <a:spLocks/>
          </p:cNvSpPr>
          <p:nvPr/>
        </p:nvSpPr>
        <p:spPr bwMode="auto">
          <a:xfrm>
            <a:off x="5627731" y="1206126"/>
            <a:ext cx="713493" cy="1242938"/>
          </a:xfrm>
          <a:custGeom>
            <a:avLst/>
            <a:gdLst>
              <a:gd name="T0" fmla="*/ 1634 w 1634"/>
              <a:gd name="T1" fmla="*/ 24 h 2257"/>
              <a:gd name="T2" fmla="*/ 1634 w 1634"/>
              <a:gd name="T3" fmla="*/ 24 h 2257"/>
              <a:gd name="T4" fmla="*/ 1211 w 1634"/>
              <a:gd name="T5" fmla="*/ 19 h 2257"/>
              <a:gd name="T6" fmla="*/ 799 w 1634"/>
              <a:gd name="T7" fmla="*/ 13 h 2257"/>
              <a:gd name="T8" fmla="*/ 394 w 1634"/>
              <a:gd name="T9" fmla="*/ 7 h 2257"/>
              <a:gd name="T10" fmla="*/ 0 w 1634"/>
              <a:gd name="T11" fmla="*/ 0 h 2257"/>
              <a:gd name="T12" fmla="*/ 0 w 1634"/>
              <a:gd name="T13" fmla="*/ 2257 h 2257"/>
              <a:gd name="T14" fmla="*/ 0 w 1634"/>
              <a:gd name="T15" fmla="*/ 2257 h 2257"/>
              <a:gd name="T16" fmla="*/ 405 w 1634"/>
              <a:gd name="T17" fmla="*/ 2249 h 2257"/>
              <a:gd name="T18" fmla="*/ 813 w 1634"/>
              <a:gd name="T19" fmla="*/ 2240 h 2257"/>
              <a:gd name="T20" fmla="*/ 1222 w 1634"/>
              <a:gd name="T21" fmla="*/ 2233 h 2257"/>
              <a:gd name="T22" fmla="*/ 1634 w 1634"/>
              <a:gd name="T23" fmla="*/ 2226 h 2257"/>
              <a:gd name="T24" fmla="*/ 1634 w 1634"/>
              <a:gd name="T25" fmla="*/ 24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257">
                <a:moveTo>
                  <a:pt x="1634" y="24"/>
                </a:moveTo>
                <a:lnTo>
                  <a:pt x="1634" y="24"/>
                </a:lnTo>
                <a:lnTo>
                  <a:pt x="1211" y="19"/>
                </a:lnTo>
                <a:lnTo>
                  <a:pt x="799" y="13"/>
                </a:lnTo>
                <a:lnTo>
                  <a:pt x="394" y="7"/>
                </a:lnTo>
                <a:lnTo>
                  <a:pt x="0" y="0"/>
                </a:lnTo>
                <a:lnTo>
                  <a:pt x="0" y="2257"/>
                </a:lnTo>
                <a:lnTo>
                  <a:pt x="0" y="2257"/>
                </a:lnTo>
                <a:lnTo>
                  <a:pt x="405" y="2249"/>
                </a:lnTo>
                <a:lnTo>
                  <a:pt x="813" y="2240"/>
                </a:lnTo>
                <a:lnTo>
                  <a:pt x="1222" y="2233"/>
                </a:lnTo>
                <a:lnTo>
                  <a:pt x="1634" y="2226"/>
                </a:lnTo>
                <a:lnTo>
                  <a:pt x="1634" y="24"/>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15" name="Rectangle 846"/>
          <p:cNvSpPr/>
          <p:nvPr/>
        </p:nvSpPr>
        <p:spPr>
          <a:xfrm>
            <a:off x="7144607" y="1230891"/>
            <a:ext cx="89390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a:solidFill>
                <a:srgbClr val="FFFFFF"/>
              </a:solidFill>
              <a:latin typeface="+mj-lt"/>
              <a:ea typeface="+mn-ea"/>
              <a:cs typeface="+mn-cs"/>
            </a:endParaRPr>
          </a:p>
        </p:txBody>
      </p:sp>
      <p:sp>
        <p:nvSpPr>
          <p:cNvPr id="71" name="Freeform 12"/>
          <p:cNvSpPr>
            <a:spLocks/>
          </p:cNvSpPr>
          <p:nvPr/>
        </p:nvSpPr>
        <p:spPr bwMode="auto">
          <a:xfrm>
            <a:off x="5647838" y="1232129"/>
            <a:ext cx="670538" cy="1192600"/>
          </a:xfrm>
          <a:custGeom>
            <a:avLst/>
            <a:gdLst>
              <a:gd name="T0" fmla="*/ 1634 w 1634"/>
              <a:gd name="T1" fmla="*/ 24 h 2257"/>
              <a:gd name="T2" fmla="*/ 1634 w 1634"/>
              <a:gd name="T3" fmla="*/ 24 h 2257"/>
              <a:gd name="T4" fmla="*/ 1211 w 1634"/>
              <a:gd name="T5" fmla="*/ 19 h 2257"/>
              <a:gd name="T6" fmla="*/ 799 w 1634"/>
              <a:gd name="T7" fmla="*/ 13 h 2257"/>
              <a:gd name="T8" fmla="*/ 394 w 1634"/>
              <a:gd name="T9" fmla="*/ 7 h 2257"/>
              <a:gd name="T10" fmla="*/ 0 w 1634"/>
              <a:gd name="T11" fmla="*/ 0 h 2257"/>
              <a:gd name="T12" fmla="*/ 0 w 1634"/>
              <a:gd name="T13" fmla="*/ 2257 h 2257"/>
              <a:gd name="T14" fmla="*/ 0 w 1634"/>
              <a:gd name="T15" fmla="*/ 2257 h 2257"/>
              <a:gd name="T16" fmla="*/ 405 w 1634"/>
              <a:gd name="T17" fmla="*/ 2249 h 2257"/>
              <a:gd name="T18" fmla="*/ 813 w 1634"/>
              <a:gd name="T19" fmla="*/ 2240 h 2257"/>
              <a:gd name="T20" fmla="*/ 1222 w 1634"/>
              <a:gd name="T21" fmla="*/ 2233 h 2257"/>
              <a:gd name="T22" fmla="*/ 1634 w 1634"/>
              <a:gd name="T23" fmla="*/ 2226 h 2257"/>
              <a:gd name="T24" fmla="*/ 1634 w 1634"/>
              <a:gd name="T25" fmla="*/ 24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257">
                <a:moveTo>
                  <a:pt x="1634" y="24"/>
                </a:moveTo>
                <a:lnTo>
                  <a:pt x="1634" y="24"/>
                </a:lnTo>
                <a:lnTo>
                  <a:pt x="1211" y="19"/>
                </a:lnTo>
                <a:lnTo>
                  <a:pt x="799" y="13"/>
                </a:lnTo>
                <a:lnTo>
                  <a:pt x="394" y="7"/>
                </a:lnTo>
                <a:lnTo>
                  <a:pt x="0" y="0"/>
                </a:lnTo>
                <a:lnTo>
                  <a:pt x="0" y="2257"/>
                </a:lnTo>
                <a:lnTo>
                  <a:pt x="0" y="2257"/>
                </a:lnTo>
                <a:lnTo>
                  <a:pt x="405" y="2249"/>
                </a:lnTo>
                <a:lnTo>
                  <a:pt x="813" y="2240"/>
                </a:lnTo>
                <a:lnTo>
                  <a:pt x="1222" y="2233"/>
                </a:lnTo>
                <a:lnTo>
                  <a:pt x="1634" y="2226"/>
                </a:lnTo>
                <a:lnTo>
                  <a:pt x="1634" y="24"/>
                </a:lnTo>
                <a:close/>
              </a:path>
            </a:pathLst>
          </a:custGeom>
          <a:noFill/>
          <a:ln w="6350" cap="flat" cmpd="sng" algn="ctr">
            <a:solidFill>
              <a:srgbClr val="2F2E7E">
                <a:lumMod val="60000"/>
                <a:lumOff val="40000"/>
              </a:srgbClr>
            </a:solidFill>
            <a:prstDash val="solid"/>
          </a:ln>
          <a:effectLst/>
        </p:spPr>
        <p:txBody>
          <a:bodyPr lIns="91436" tIns="45718" rIns="91436" bIns="45718" rtlCol="0" anchor="ctr"/>
          <a:lstStyle/>
          <a:p>
            <a:pPr algn="ctr" defTabSz="913905">
              <a:defRPr/>
            </a:pPr>
            <a:endParaRPr lang="en-US" kern="0" dirty="0">
              <a:solidFill>
                <a:prstClr val="white"/>
              </a:solidFill>
              <a:latin typeface="+mj-lt"/>
            </a:endParaRPr>
          </a:p>
        </p:txBody>
      </p:sp>
      <p:grpSp>
        <p:nvGrpSpPr>
          <p:cNvPr id="11" name="Group 71"/>
          <p:cNvGrpSpPr/>
          <p:nvPr/>
        </p:nvGrpSpPr>
        <p:grpSpPr>
          <a:xfrm>
            <a:off x="6059704" y="1216647"/>
            <a:ext cx="274062" cy="152148"/>
            <a:chOff x="5700396" y="1157737"/>
            <a:chExt cx="292348" cy="162300"/>
          </a:xfrm>
        </p:grpSpPr>
        <p:sp>
          <p:nvSpPr>
            <p:cNvPr id="73" name="Freeform 10"/>
            <p:cNvSpPr>
              <a:spLocks/>
            </p:cNvSpPr>
            <p:nvPr/>
          </p:nvSpPr>
          <p:spPr bwMode="auto">
            <a:xfrm>
              <a:off x="5700396" y="1157737"/>
              <a:ext cx="292348" cy="162300"/>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2276 w 342349"/>
                <a:gd name="connsiteY0" fmla="*/ 0 h 190059"/>
                <a:gd name="connsiteX1" fmla="*/ 342349 w 342349"/>
                <a:gd name="connsiteY1" fmla="*/ 10831 h 190059"/>
                <a:gd name="connsiteX2" fmla="*/ 340676 w 342349"/>
                <a:gd name="connsiteY2" fmla="*/ 190059 h 190059"/>
                <a:gd name="connsiteX3" fmla="*/ 0 w 342349"/>
                <a:gd name="connsiteY3" fmla="*/ 190059 h 190059"/>
                <a:gd name="connsiteX4" fmla="*/ 2276 w 342349"/>
                <a:gd name="connsiteY4" fmla="*/ 0 h 19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90059">
                  <a:moveTo>
                    <a:pt x="2276" y="0"/>
                  </a:moveTo>
                  <a:lnTo>
                    <a:pt x="342349" y="10831"/>
                  </a:lnTo>
                  <a:cubicBezTo>
                    <a:pt x="341791" y="71131"/>
                    <a:pt x="341234" y="129759"/>
                    <a:pt x="340676" y="190059"/>
                  </a:cubicBezTo>
                  <a:lnTo>
                    <a:pt x="0" y="190059"/>
                  </a:lnTo>
                  <a:cubicBezTo>
                    <a:pt x="759" y="126706"/>
                    <a:pt x="1517" y="63353"/>
                    <a:pt x="2276" y="0"/>
                  </a:cubicBezTo>
                  <a:close/>
                </a:path>
              </a:pathLst>
            </a:custGeom>
            <a:solidFill>
              <a:schemeClr val="accent5">
                <a:lumMod val="75000"/>
              </a:schemeClr>
            </a:solidFill>
            <a:ln w="6350" cap="flat" cmpd="sng" algn="ctr">
              <a:solidFill>
                <a:schemeClr val="bg1"/>
              </a:solidFill>
              <a:prstDash val="solid"/>
            </a:ln>
            <a:effectLst/>
          </p:spPr>
          <p:txBody>
            <a:bodyPr rtlCol="0" anchor="ctr"/>
            <a:lstStyle/>
            <a:p>
              <a:pPr algn="ctr" defTabSz="913905">
                <a:defRPr/>
              </a:pPr>
              <a:endParaRPr lang="en-US" kern="0" dirty="0">
                <a:solidFill>
                  <a:prstClr val="white"/>
                </a:solidFill>
                <a:latin typeface="+mj-lt"/>
              </a:endParaRPr>
            </a:p>
          </p:txBody>
        </p:sp>
        <p:sp>
          <p:nvSpPr>
            <p:cNvPr id="74" name="Freeform 65"/>
            <p:cNvSpPr>
              <a:spLocks noEditPoints="1"/>
            </p:cNvSpPr>
            <p:nvPr/>
          </p:nvSpPr>
          <p:spPr bwMode="auto">
            <a:xfrm>
              <a:off x="5737677" y="1198196"/>
              <a:ext cx="77757" cy="83319"/>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75" name="Freeform 66"/>
            <p:cNvSpPr>
              <a:spLocks/>
            </p:cNvSpPr>
            <p:nvPr/>
          </p:nvSpPr>
          <p:spPr bwMode="auto">
            <a:xfrm>
              <a:off x="5813967" y="1198196"/>
              <a:ext cx="74821" cy="83319"/>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76" name="Freeform 67"/>
            <p:cNvSpPr>
              <a:spLocks noEditPoints="1"/>
            </p:cNvSpPr>
            <p:nvPr/>
          </p:nvSpPr>
          <p:spPr bwMode="auto">
            <a:xfrm>
              <a:off x="5894724" y="1198196"/>
              <a:ext cx="59308" cy="83319"/>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grpSp>
      <p:grpSp>
        <p:nvGrpSpPr>
          <p:cNvPr id="17" name="Group 82"/>
          <p:cNvGrpSpPr/>
          <p:nvPr/>
        </p:nvGrpSpPr>
        <p:grpSpPr>
          <a:xfrm>
            <a:off x="7517776" y="1615118"/>
            <a:ext cx="147558" cy="154724"/>
            <a:chOff x="10092081" y="2069227"/>
            <a:chExt cx="208717" cy="227899"/>
          </a:xfrm>
          <a:noFill/>
        </p:grpSpPr>
        <p:sp>
          <p:nvSpPr>
            <p:cNvPr id="84" name="Rectangle 50"/>
            <p:cNvSpPr/>
            <p:nvPr/>
          </p:nvSpPr>
          <p:spPr>
            <a:xfrm>
              <a:off x="10092081" y="2069228"/>
              <a:ext cx="86508" cy="9515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5" name="Rectangle 50"/>
            <p:cNvSpPr/>
            <p:nvPr/>
          </p:nvSpPr>
          <p:spPr>
            <a:xfrm rot="5400000">
              <a:off x="10209966" y="2073552"/>
              <a:ext cx="95157" cy="8650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6" name="Rectangle 50"/>
            <p:cNvSpPr/>
            <p:nvPr/>
          </p:nvSpPr>
          <p:spPr>
            <a:xfrm flipV="1">
              <a:off x="10092081" y="2198709"/>
              <a:ext cx="86508" cy="9515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7" name="Rectangle 50"/>
            <p:cNvSpPr/>
            <p:nvPr/>
          </p:nvSpPr>
          <p:spPr>
            <a:xfrm rot="16200000" flipV="1">
              <a:off x="10209966" y="2206294"/>
              <a:ext cx="95157" cy="8650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8" name="Rounded Rectangle 87"/>
            <p:cNvSpPr/>
            <p:nvPr/>
          </p:nvSpPr>
          <p:spPr>
            <a:xfrm>
              <a:off x="10151696" y="2136757"/>
              <a:ext cx="87367" cy="96103"/>
            </a:xfrm>
            <a:prstGeom prst="roundRect">
              <a:avLst>
                <a:gd name="adj" fmla="val 4739"/>
              </a:avLst>
            </a:prstGeom>
            <a:grpFill/>
            <a:ln w="6350" cap="flat" cmpd="sng" algn="ctr">
              <a:solidFill>
                <a:schemeClr val="bg1"/>
              </a:solid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03">
                <a:defRPr/>
              </a:pPr>
              <a:endParaRPr lang="en-US" kern="0">
                <a:solidFill>
                  <a:srgbClr val="8E909E"/>
                </a:solidFill>
                <a:latin typeface="+mj-lt"/>
              </a:endParaRPr>
            </a:p>
          </p:txBody>
        </p:sp>
      </p:grpSp>
      <p:sp>
        <p:nvSpPr>
          <p:cNvPr id="89" name="Rectangle 88"/>
          <p:cNvSpPr/>
          <p:nvPr/>
        </p:nvSpPr>
        <p:spPr>
          <a:xfrm>
            <a:off x="7181180" y="1270087"/>
            <a:ext cx="820765" cy="547084"/>
          </a:xfrm>
          <a:prstGeom prst="rect">
            <a:avLst/>
          </a:prstGeom>
          <a:noFill/>
          <a:ln w="6350" cap="flat" cmpd="sng" algn="ctr">
            <a:solidFill>
              <a:schemeClr val="bg1"/>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0" name="Rectangle 89"/>
          <p:cNvSpPr/>
          <p:nvPr/>
        </p:nvSpPr>
        <p:spPr>
          <a:xfrm>
            <a:off x="7181179" y="1838750"/>
            <a:ext cx="820765" cy="548278"/>
          </a:xfrm>
          <a:prstGeom prst="rect">
            <a:avLst/>
          </a:prstGeom>
          <a:noFill/>
          <a:ln w="6350" cap="flat" cmpd="sng" algn="ctr">
            <a:solidFill>
              <a:schemeClr val="bg1"/>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1" name="Freeform 6"/>
          <p:cNvSpPr>
            <a:spLocks noChangeAspect="1" noEditPoints="1"/>
          </p:cNvSpPr>
          <p:nvPr/>
        </p:nvSpPr>
        <p:spPr bwMode="auto">
          <a:xfrm>
            <a:off x="7409014" y="2204046"/>
            <a:ext cx="365090" cy="130391"/>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bg1"/>
          </a:solidFill>
        </p:spPr>
        <p:txBody>
          <a:bodyPr wrap="square" lIns="182776" tIns="182776" rIns="182776" bIns="182776" anchor="ctr">
            <a:noAutofit/>
          </a:bodyPr>
          <a:lstStyle/>
          <a:p>
            <a:pPr algn="ctr" defTabSz="685433">
              <a:lnSpc>
                <a:spcPct val="95000"/>
              </a:lnSpc>
              <a:spcBef>
                <a:spcPts val="1080"/>
              </a:spcBef>
              <a:buClr>
                <a:srgbClr val="D81F28"/>
              </a:buClr>
              <a:buSzPct val="90000"/>
              <a:defRPr/>
            </a:pPr>
            <a:endParaRPr lang="en-US" sz="2200" kern="0">
              <a:solidFill>
                <a:srgbClr val="FFFFFF"/>
              </a:solidFill>
              <a:latin typeface="+mj-lt"/>
              <a:cs typeface="CiscoSans"/>
            </a:endParaRPr>
          </a:p>
        </p:txBody>
      </p:sp>
      <p:sp>
        <p:nvSpPr>
          <p:cNvPr id="184" name="Freeform 7"/>
          <p:cNvSpPr>
            <a:spLocks noEditPoints="1"/>
          </p:cNvSpPr>
          <p:nvPr/>
        </p:nvSpPr>
        <p:spPr bwMode="auto">
          <a:xfrm rot="2700000">
            <a:off x="6660975" y="1565142"/>
            <a:ext cx="122003" cy="243239"/>
          </a:xfrm>
          <a:custGeom>
            <a:avLst/>
            <a:gdLst>
              <a:gd name="T0" fmla="*/ 155 w 155"/>
              <a:gd name="T1" fmla="*/ 78 h 296"/>
              <a:gd name="T2" fmla="*/ 78 w 155"/>
              <a:gd name="T3" fmla="*/ 0 h 296"/>
              <a:gd name="T4" fmla="*/ 0 w 155"/>
              <a:gd name="T5" fmla="*/ 78 h 296"/>
              <a:gd name="T6" fmla="*/ 66 w 155"/>
              <a:gd name="T7" fmla="*/ 155 h 296"/>
              <a:gd name="T8" fmla="*/ 65 w 155"/>
              <a:gd name="T9" fmla="*/ 177 h 296"/>
              <a:gd name="T10" fmla="*/ 56 w 155"/>
              <a:gd name="T11" fmla="*/ 177 h 296"/>
              <a:gd name="T12" fmla="*/ 55 w 155"/>
              <a:gd name="T13" fmla="*/ 273 h 296"/>
              <a:gd name="T14" fmla="*/ 77 w 155"/>
              <a:gd name="T15" fmla="*/ 295 h 296"/>
              <a:gd name="T16" fmla="*/ 99 w 155"/>
              <a:gd name="T17" fmla="*/ 274 h 296"/>
              <a:gd name="T18" fmla="*/ 100 w 155"/>
              <a:gd name="T19" fmla="*/ 178 h 296"/>
              <a:gd name="T20" fmla="*/ 90 w 155"/>
              <a:gd name="T21" fmla="*/ 178 h 296"/>
              <a:gd name="T22" fmla="*/ 90 w 155"/>
              <a:gd name="T23" fmla="*/ 155 h 296"/>
              <a:gd name="T24" fmla="*/ 155 w 155"/>
              <a:gd name="T25" fmla="*/ 78 h 296"/>
              <a:gd name="T26" fmla="*/ 23 w 155"/>
              <a:gd name="T27" fmla="*/ 78 h 296"/>
              <a:gd name="T28" fmla="*/ 78 w 155"/>
              <a:gd name="T29" fmla="*/ 23 h 296"/>
              <a:gd name="T30" fmla="*/ 133 w 155"/>
              <a:gd name="T31" fmla="*/ 78 h 296"/>
              <a:gd name="T32" fmla="*/ 78 w 155"/>
              <a:gd name="T33" fmla="*/ 134 h 296"/>
              <a:gd name="T34" fmla="*/ 23 w 155"/>
              <a:gd name="T3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96">
                <a:moveTo>
                  <a:pt x="155" y="78"/>
                </a:moveTo>
                <a:cubicBezTo>
                  <a:pt x="155" y="35"/>
                  <a:pt x="120" y="0"/>
                  <a:pt x="78" y="0"/>
                </a:cubicBezTo>
                <a:cubicBezTo>
                  <a:pt x="35" y="0"/>
                  <a:pt x="0" y="35"/>
                  <a:pt x="0" y="78"/>
                </a:cubicBezTo>
                <a:cubicBezTo>
                  <a:pt x="0" y="117"/>
                  <a:pt x="29" y="149"/>
                  <a:pt x="66" y="155"/>
                </a:cubicBezTo>
                <a:cubicBezTo>
                  <a:pt x="65" y="177"/>
                  <a:pt x="65" y="177"/>
                  <a:pt x="65" y="177"/>
                </a:cubicBezTo>
                <a:cubicBezTo>
                  <a:pt x="56" y="177"/>
                  <a:pt x="56" y="177"/>
                  <a:pt x="56" y="177"/>
                </a:cubicBezTo>
                <a:cubicBezTo>
                  <a:pt x="55" y="273"/>
                  <a:pt x="55" y="273"/>
                  <a:pt x="55" y="273"/>
                </a:cubicBezTo>
                <a:cubicBezTo>
                  <a:pt x="55" y="285"/>
                  <a:pt x="65" y="295"/>
                  <a:pt x="77" y="295"/>
                </a:cubicBezTo>
                <a:cubicBezTo>
                  <a:pt x="89" y="296"/>
                  <a:pt x="99" y="286"/>
                  <a:pt x="99" y="274"/>
                </a:cubicBezTo>
                <a:cubicBezTo>
                  <a:pt x="100" y="178"/>
                  <a:pt x="100" y="178"/>
                  <a:pt x="100" y="178"/>
                </a:cubicBezTo>
                <a:cubicBezTo>
                  <a:pt x="90" y="178"/>
                  <a:pt x="90" y="178"/>
                  <a:pt x="90" y="178"/>
                </a:cubicBezTo>
                <a:cubicBezTo>
                  <a:pt x="90" y="155"/>
                  <a:pt x="90" y="155"/>
                  <a:pt x="90" y="155"/>
                </a:cubicBezTo>
                <a:cubicBezTo>
                  <a:pt x="127" y="149"/>
                  <a:pt x="155" y="117"/>
                  <a:pt x="155" y="78"/>
                </a:cubicBezTo>
                <a:close/>
                <a:moveTo>
                  <a:pt x="23" y="78"/>
                </a:moveTo>
                <a:cubicBezTo>
                  <a:pt x="23" y="48"/>
                  <a:pt x="47" y="23"/>
                  <a:pt x="78" y="23"/>
                </a:cubicBezTo>
                <a:cubicBezTo>
                  <a:pt x="108" y="23"/>
                  <a:pt x="133" y="48"/>
                  <a:pt x="133" y="78"/>
                </a:cubicBezTo>
                <a:cubicBezTo>
                  <a:pt x="133" y="109"/>
                  <a:pt x="108" y="134"/>
                  <a:pt x="78" y="134"/>
                </a:cubicBezTo>
                <a:cubicBezTo>
                  <a:pt x="47" y="134"/>
                  <a:pt x="23" y="109"/>
                  <a:pt x="23" y="78"/>
                </a:cubicBezTo>
                <a:close/>
              </a:path>
            </a:pathLst>
          </a:custGeom>
          <a:solidFill>
            <a:schemeClr val="bg1"/>
          </a:solidFill>
          <a:ln>
            <a:noFill/>
          </a:ln>
          <a:extLst/>
        </p:spPr>
        <p:txBody>
          <a:bodyPr vert="horz" wrap="square" lIns="91412" tIns="45706" rIns="91412" bIns="45706" numCol="1" anchor="t" anchorCtr="0" compatLnSpc="1">
            <a:prstTxWarp prst="textNoShape">
              <a:avLst/>
            </a:prstTxWarp>
          </a:bodyPr>
          <a:lstStyle/>
          <a:p>
            <a:pPr defTabSz="913962">
              <a:defRPr/>
            </a:pPr>
            <a:endParaRPr lang="en-US" kern="0">
              <a:solidFill>
                <a:srgbClr val="0096D6"/>
              </a:solidFill>
              <a:latin typeface="+mj-lt"/>
            </a:endParaRPr>
          </a:p>
        </p:txBody>
      </p:sp>
      <p:grpSp>
        <p:nvGrpSpPr>
          <p:cNvPr id="18" name="Group 184"/>
          <p:cNvGrpSpPr/>
          <p:nvPr/>
        </p:nvGrpSpPr>
        <p:grpSpPr>
          <a:xfrm>
            <a:off x="5848662" y="1939464"/>
            <a:ext cx="286846" cy="118924"/>
            <a:chOff x="7883133" y="2552030"/>
            <a:chExt cx="382221" cy="165018"/>
          </a:xfrm>
          <a:solidFill>
            <a:schemeClr val="bg1"/>
          </a:solidFill>
        </p:grpSpPr>
        <p:sp>
          <p:nvSpPr>
            <p:cNvPr id="186" name="Freeform 6"/>
            <p:cNvSpPr>
              <a:spLocks/>
            </p:cNvSpPr>
            <p:nvPr/>
          </p:nvSpPr>
          <p:spPr bwMode="auto">
            <a:xfrm>
              <a:off x="7883133" y="2552031"/>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sp>
          <p:nvSpPr>
            <p:cNvPr id="187" name="Freeform 6"/>
            <p:cNvSpPr>
              <a:spLocks/>
            </p:cNvSpPr>
            <p:nvPr/>
          </p:nvSpPr>
          <p:spPr bwMode="auto">
            <a:xfrm>
              <a:off x="7982566" y="2552030"/>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sp>
          <p:nvSpPr>
            <p:cNvPr id="188" name="Freeform 6"/>
            <p:cNvSpPr>
              <a:spLocks/>
            </p:cNvSpPr>
            <p:nvPr/>
          </p:nvSpPr>
          <p:spPr bwMode="auto">
            <a:xfrm>
              <a:off x="8082000" y="2552031"/>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grpSp>
      <p:grpSp>
        <p:nvGrpSpPr>
          <p:cNvPr id="19" name="Group 188"/>
          <p:cNvGrpSpPr/>
          <p:nvPr/>
        </p:nvGrpSpPr>
        <p:grpSpPr>
          <a:xfrm>
            <a:off x="5063805" y="1825554"/>
            <a:ext cx="339463" cy="238229"/>
            <a:chOff x="6872947" y="2523365"/>
            <a:chExt cx="383907" cy="269420"/>
          </a:xfrm>
          <a:solidFill>
            <a:schemeClr val="bg1"/>
          </a:solidFill>
        </p:grpSpPr>
        <p:sp>
          <p:nvSpPr>
            <p:cNvPr id="190" name="Freeform 7"/>
            <p:cNvSpPr>
              <a:spLocks/>
            </p:cNvSpPr>
            <p:nvPr/>
          </p:nvSpPr>
          <p:spPr bwMode="auto">
            <a:xfrm>
              <a:off x="7031995" y="2655333"/>
              <a:ext cx="137109" cy="137452"/>
            </a:xfrm>
            <a:custGeom>
              <a:avLst/>
              <a:gdLst/>
              <a:ahLst/>
              <a:cxnLst/>
              <a:rect l="l" t="t" r="r" b="b"/>
              <a:pathLst>
                <a:path w="281913" h="282618">
                  <a:moveTo>
                    <a:pt x="141765" y="51523"/>
                  </a:moveTo>
                  <a:lnTo>
                    <a:pt x="132619" y="51876"/>
                  </a:lnTo>
                  <a:lnTo>
                    <a:pt x="123473" y="53288"/>
                  </a:lnTo>
                  <a:lnTo>
                    <a:pt x="114678" y="55405"/>
                  </a:lnTo>
                  <a:lnTo>
                    <a:pt x="106588" y="58581"/>
                  </a:lnTo>
                  <a:lnTo>
                    <a:pt x="98497" y="62463"/>
                  </a:lnTo>
                  <a:lnTo>
                    <a:pt x="90758" y="66698"/>
                  </a:lnTo>
                  <a:lnTo>
                    <a:pt x="83722" y="71991"/>
                  </a:lnTo>
                  <a:lnTo>
                    <a:pt x="77390" y="78343"/>
                  </a:lnTo>
                  <a:lnTo>
                    <a:pt x="71410" y="84695"/>
                  </a:lnTo>
                  <a:lnTo>
                    <a:pt x="66134" y="91753"/>
                  </a:lnTo>
                  <a:lnTo>
                    <a:pt x="61560" y="99164"/>
                  </a:lnTo>
                  <a:lnTo>
                    <a:pt x="58043" y="107281"/>
                  </a:lnTo>
                  <a:lnTo>
                    <a:pt x="54877" y="115750"/>
                  </a:lnTo>
                  <a:lnTo>
                    <a:pt x="52766" y="124573"/>
                  </a:lnTo>
                  <a:lnTo>
                    <a:pt x="51007" y="133395"/>
                  </a:lnTo>
                  <a:lnTo>
                    <a:pt x="50655" y="142923"/>
                  </a:lnTo>
                  <a:lnTo>
                    <a:pt x="51359" y="153863"/>
                  </a:lnTo>
                  <a:lnTo>
                    <a:pt x="53470" y="164803"/>
                  </a:lnTo>
                  <a:lnTo>
                    <a:pt x="56636" y="175037"/>
                  </a:lnTo>
                  <a:lnTo>
                    <a:pt x="61209" y="184565"/>
                  </a:lnTo>
                  <a:lnTo>
                    <a:pt x="66485" y="193740"/>
                  </a:lnTo>
                  <a:lnTo>
                    <a:pt x="72817" y="202210"/>
                  </a:lnTo>
                  <a:lnTo>
                    <a:pt x="80204" y="209621"/>
                  </a:lnTo>
                  <a:lnTo>
                    <a:pt x="88025" y="216102"/>
                  </a:lnTo>
                  <a:lnTo>
                    <a:pt x="88082" y="216016"/>
                  </a:lnTo>
                  <a:lnTo>
                    <a:pt x="93711" y="220245"/>
                  </a:lnTo>
                  <a:lnTo>
                    <a:pt x="100043" y="223769"/>
                  </a:lnTo>
                  <a:lnTo>
                    <a:pt x="106375" y="226588"/>
                  </a:lnTo>
                  <a:lnTo>
                    <a:pt x="113410" y="229055"/>
                  </a:lnTo>
                  <a:lnTo>
                    <a:pt x="119742" y="231169"/>
                  </a:lnTo>
                  <a:lnTo>
                    <a:pt x="127130" y="232579"/>
                  </a:lnTo>
                  <a:lnTo>
                    <a:pt x="134165" y="233636"/>
                  </a:lnTo>
                  <a:lnTo>
                    <a:pt x="141553" y="233988"/>
                  </a:lnTo>
                  <a:lnTo>
                    <a:pt x="151051" y="233636"/>
                  </a:lnTo>
                  <a:lnTo>
                    <a:pt x="160197" y="231874"/>
                  </a:lnTo>
                  <a:lnTo>
                    <a:pt x="168640" y="229759"/>
                  </a:lnTo>
                  <a:lnTo>
                    <a:pt x="177434" y="226588"/>
                  </a:lnTo>
                  <a:lnTo>
                    <a:pt x="185525" y="223064"/>
                  </a:lnTo>
                  <a:lnTo>
                    <a:pt x="192561" y="218483"/>
                  </a:lnTo>
                  <a:lnTo>
                    <a:pt x="199597" y="213197"/>
                  </a:lnTo>
                  <a:lnTo>
                    <a:pt x="205929" y="207206"/>
                  </a:lnTo>
                  <a:lnTo>
                    <a:pt x="212261" y="200511"/>
                  </a:lnTo>
                  <a:lnTo>
                    <a:pt x="217537" y="193816"/>
                  </a:lnTo>
                  <a:lnTo>
                    <a:pt x="221759" y="186063"/>
                  </a:lnTo>
                  <a:lnTo>
                    <a:pt x="225628" y="177958"/>
                  </a:lnTo>
                  <a:lnTo>
                    <a:pt x="228794" y="169853"/>
                  </a:lnTo>
                  <a:lnTo>
                    <a:pt x="230905" y="161043"/>
                  </a:lnTo>
                  <a:lnTo>
                    <a:pt x="232312" y="151881"/>
                  </a:lnTo>
                  <a:lnTo>
                    <a:pt x="232664" y="142719"/>
                  </a:lnTo>
                  <a:lnTo>
                    <a:pt x="231960" y="130385"/>
                  </a:lnTo>
                  <a:lnTo>
                    <a:pt x="229498" y="118756"/>
                  </a:lnTo>
                  <a:lnTo>
                    <a:pt x="225980" y="107832"/>
                  </a:lnTo>
                  <a:lnTo>
                    <a:pt x="221055" y="97613"/>
                  </a:lnTo>
                  <a:lnTo>
                    <a:pt x="214371" y="87746"/>
                  </a:lnTo>
                  <a:lnTo>
                    <a:pt x="207336" y="79288"/>
                  </a:lnTo>
                  <a:lnTo>
                    <a:pt x="198893" y="71536"/>
                  </a:lnTo>
                  <a:lnTo>
                    <a:pt x="189395" y="65193"/>
                  </a:lnTo>
                  <a:lnTo>
                    <a:pt x="189411" y="65169"/>
                  </a:lnTo>
                  <a:lnTo>
                    <a:pt x="184330" y="62110"/>
                  </a:lnTo>
                  <a:lnTo>
                    <a:pt x="178701" y="58934"/>
                  </a:lnTo>
                  <a:lnTo>
                    <a:pt x="173073" y="57169"/>
                  </a:lnTo>
                  <a:lnTo>
                    <a:pt x="167444" y="55052"/>
                  </a:lnTo>
                  <a:lnTo>
                    <a:pt x="161113" y="53288"/>
                  </a:lnTo>
                  <a:lnTo>
                    <a:pt x="154781" y="52229"/>
                  </a:lnTo>
                  <a:lnTo>
                    <a:pt x="148449" y="51876"/>
                  </a:lnTo>
                  <a:close/>
                  <a:moveTo>
                    <a:pt x="134378" y="0"/>
                  </a:moveTo>
                  <a:lnTo>
                    <a:pt x="147393" y="0"/>
                  </a:lnTo>
                  <a:lnTo>
                    <a:pt x="151615" y="33172"/>
                  </a:lnTo>
                  <a:lnTo>
                    <a:pt x="154429" y="33525"/>
                  </a:lnTo>
                  <a:lnTo>
                    <a:pt x="156891" y="33878"/>
                  </a:lnTo>
                  <a:lnTo>
                    <a:pt x="159705" y="34231"/>
                  </a:lnTo>
                  <a:lnTo>
                    <a:pt x="162168" y="34584"/>
                  </a:lnTo>
                  <a:lnTo>
                    <a:pt x="164982" y="34937"/>
                  </a:lnTo>
                  <a:lnTo>
                    <a:pt x="167444" y="35996"/>
                  </a:lnTo>
                  <a:lnTo>
                    <a:pt x="169907" y="36348"/>
                  </a:lnTo>
                  <a:lnTo>
                    <a:pt x="172369" y="37054"/>
                  </a:lnTo>
                  <a:lnTo>
                    <a:pt x="188903" y="8117"/>
                  </a:lnTo>
                  <a:lnTo>
                    <a:pt x="200863" y="13057"/>
                  </a:lnTo>
                  <a:lnTo>
                    <a:pt x="192069" y="45524"/>
                  </a:lnTo>
                  <a:lnTo>
                    <a:pt x="194179" y="46582"/>
                  </a:lnTo>
                  <a:lnTo>
                    <a:pt x="196290" y="47641"/>
                  </a:lnTo>
                  <a:lnTo>
                    <a:pt x="197697" y="49053"/>
                  </a:lnTo>
                  <a:lnTo>
                    <a:pt x="199808" y="50111"/>
                  </a:lnTo>
                  <a:lnTo>
                    <a:pt x="199772" y="50165"/>
                  </a:lnTo>
                  <a:lnTo>
                    <a:pt x="202059" y="51802"/>
                  </a:lnTo>
                  <a:lnTo>
                    <a:pt x="204873" y="53564"/>
                  </a:lnTo>
                  <a:lnTo>
                    <a:pt x="207336" y="55326"/>
                  </a:lnTo>
                  <a:lnTo>
                    <a:pt x="209798" y="57440"/>
                  </a:lnTo>
                  <a:lnTo>
                    <a:pt x="236182" y="36649"/>
                  </a:lnTo>
                  <a:lnTo>
                    <a:pt x="244976" y="46164"/>
                  </a:lnTo>
                  <a:lnTo>
                    <a:pt x="224573" y="72241"/>
                  </a:lnTo>
                  <a:lnTo>
                    <a:pt x="227739" y="76469"/>
                  </a:lnTo>
                  <a:lnTo>
                    <a:pt x="230905" y="81050"/>
                  </a:lnTo>
                  <a:lnTo>
                    <a:pt x="233719" y="85279"/>
                  </a:lnTo>
                  <a:lnTo>
                    <a:pt x="236533" y="90213"/>
                  </a:lnTo>
                  <a:lnTo>
                    <a:pt x="268545" y="81403"/>
                  </a:lnTo>
                  <a:lnTo>
                    <a:pt x="273119" y="93032"/>
                  </a:lnTo>
                  <a:lnTo>
                    <a:pt x="244624" y="109594"/>
                  </a:lnTo>
                  <a:lnTo>
                    <a:pt x="245680" y="114880"/>
                  </a:lnTo>
                  <a:lnTo>
                    <a:pt x="247087" y="120166"/>
                  </a:lnTo>
                  <a:lnTo>
                    <a:pt x="247790" y="125452"/>
                  </a:lnTo>
                  <a:lnTo>
                    <a:pt x="248494" y="130738"/>
                  </a:lnTo>
                  <a:lnTo>
                    <a:pt x="281913" y="134966"/>
                  </a:lnTo>
                  <a:lnTo>
                    <a:pt x="281913" y="148005"/>
                  </a:lnTo>
                  <a:lnTo>
                    <a:pt x="248494" y="151881"/>
                  </a:lnTo>
                  <a:lnTo>
                    <a:pt x="247790" y="157167"/>
                  </a:lnTo>
                  <a:lnTo>
                    <a:pt x="247087" y="162453"/>
                  </a:lnTo>
                  <a:lnTo>
                    <a:pt x="245680" y="167739"/>
                  </a:lnTo>
                  <a:lnTo>
                    <a:pt x="244273" y="172672"/>
                  </a:lnTo>
                  <a:lnTo>
                    <a:pt x="273119" y="189234"/>
                  </a:lnTo>
                  <a:lnTo>
                    <a:pt x="268545" y="201568"/>
                  </a:lnTo>
                  <a:lnTo>
                    <a:pt x="236182" y="192406"/>
                  </a:lnTo>
                  <a:lnTo>
                    <a:pt x="233719" y="196987"/>
                  </a:lnTo>
                  <a:lnTo>
                    <a:pt x="230905" y="201568"/>
                  </a:lnTo>
                  <a:lnTo>
                    <a:pt x="227387" y="205797"/>
                  </a:lnTo>
                  <a:lnTo>
                    <a:pt x="224221" y="210026"/>
                  </a:lnTo>
                  <a:lnTo>
                    <a:pt x="244976" y="236807"/>
                  </a:lnTo>
                  <a:lnTo>
                    <a:pt x="236182" y="245617"/>
                  </a:lnTo>
                  <a:lnTo>
                    <a:pt x="209446" y="224826"/>
                  </a:lnTo>
                  <a:lnTo>
                    <a:pt x="207336" y="226588"/>
                  </a:lnTo>
                  <a:lnTo>
                    <a:pt x="204873" y="228350"/>
                  </a:lnTo>
                  <a:lnTo>
                    <a:pt x="202763" y="229759"/>
                  </a:lnTo>
                  <a:lnTo>
                    <a:pt x="200652" y="231521"/>
                  </a:lnTo>
                  <a:lnTo>
                    <a:pt x="198893" y="232579"/>
                  </a:lnTo>
                  <a:lnTo>
                    <a:pt x="196430" y="234341"/>
                  </a:lnTo>
                  <a:lnTo>
                    <a:pt x="194320" y="235398"/>
                  </a:lnTo>
                  <a:lnTo>
                    <a:pt x="191857" y="236807"/>
                  </a:lnTo>
                  <a:lnTo>
                    <a:pt x="200652" y="269227"/>
                  </a:lnTo>
                  <a:lnTo>
                    <a:pt x="188691" y="274513"/>
                  </a:lnTo>
                  <a:lnTo>
                    <a:pt x="172158" y="244912"/>
                  </a:lnTo>
                  <a:lnTo>
                    <a:pt x="169695" y="245617"/>
                  </a:lnTo>
                  <a:lnTo>
                    <a:pt x="166881" y="245969"/>
                  </a:lnTo>
                  <a:lnTo>
                    <a:pt x="164419" y="247027"/>
                  </a:lnTo>
                  <a:lnTo>
                    <a:pt x="161956" y="247379"/>
                  </a:lnTo>
                  <a:lnTo>
                    <a:pt x="159142" y="247731"/>
                  </a:lnTo>
                  <a:lnTo>
                    <a:pt x="156679" y="248084"/>
                  </a:lnTo>
                  <a:lnTo>
                    <a:pt x="153865" y="248436"/>
                  </a:lnTo>
                  <a:lnTo>
                    <a:pt x="151403" y="248789"/>
                  </a:lnTo>
                  <a:lnTo>
                    <a:pt x="147181" y="282618"/>
                  </a:lnTo>
                  <a:lnTo>
                    <a:pt x="134165" y="282618"/>
                  </a:lnTo>
                  <a:lnTo>
                    <a:pt x="129944" y="248789"/>
                  </a:lnTo>
                  <a:lnTo>
                    <a:pt x="127482" y="248436"/>
                  </a:lnTo>
                  <a:lnTo>
                    <a:pt x="124667" y="248084"/>
                  </a:lnTo>
                  <a:lnTo>
                    <a:pt x="122205" y="247731"/>
                  </a:lnTo>
                  <a:lnTo>
                    <a:pt x="119742" y="247379"/>
                  </a:lnTo>
                  <a:lnTo>
                    <a:pt x="116928" y="247027"/>
                  </a:lnTo>
                  <a:lnTo>
                    <a:pt x="114466" y="245969"/>
                  </a:lnTo>
                  <a:lnTo>
                    <a:pt x="112003" y="245617"/>
                  </a:lnTo>
                  <a:lnTo>
                    <a:pt x="109541" y="244912"/>
                  </a:lnTo>
                  <a:lnTo>
                    <a:pt x="92655" y="274513"/>
                  </a:lnTo>
                  <a:lnTo>
                    <a:pt x="80695" y="269227"/>
                  </a:lnTo>
                  <a:lnTo>
                    <a:pt x="89841" y="236807"/>
                  </a:lnTo>
                  <a:lnTo>
                    <a:pt x="87027" y="235045"/>
                  </a:lnTo>
                  <a:lnTo>
                    <a:pt x="84213" y="233636"/>
                  </a:lnTo>
                  <a:lnTo>
                    <a:pt x="81750" y="231521"/>
                  </a:lnTo>
                  <a:lnTo>
                    <a:pt x="79241" y="229950"/>
                  </a:lnTo>
                  <a:lnTo>
                    <a:pt x="79149" y="230089"/>
                  </a:lnTo>
                  <a:lnTo>
                    <a:pt x="77390" y="229030"/>
                  </a:lnTo>
                  <a:lnTo>
                    <a:pt x="75631" y="227619"/>
                  </a:lnTo>
                  <a:lnTo>
                    <a:pt x="74224" y="226560"/>
                  </a:lnTo>
                  <a:lnTo>
                    <a:pt x="72465" y="225148"/>
                  </a:lnTo>
                  <a:lnTo>
                    <a:pt x="45731" y="245969"/>
                  </a:lnTo>
                  <a:lnTo>
                    <a:pt x="36936" y="237147"/>
                  </a:lnTo>
                  <a:lnTo>
                    <a:pt x="56987" y="210327"/>
                  </a:lnTo>
                  <a:lnTo>
                    <a:pt x="53821" y="205739"/>
                  </a:lnTo>
                  <a:lnTo>
                    <a:pt x="51007" y="201857"/>
                  </a:lnTo>
                  <a:lnTo>
                    <a:pt x="48193" y="197269"/>
                  </a:lnTo>
                  <a:lnTo>
                    <a:pt x="45379" y="192682"/>
                  </a:lnTo>
                  <a:lnTo>
                    <a:pt x="13367" y="201857"/>
                  </a:lnTo>
                  <a:lnTo>
                    <a:pt x="8443" y="189506"/>
                  </a:lnTo>
                  <a:lnTo>
                    <a:pt x="37640" y="172920"/>
                  </a:lnTo>
                  <a:lnTo>
                    <a:pt x="36585" y="167979"/>
                  </a:lnTo>
                  <a:lnTo>
                    <a:pt x="35177" y="162686"/>
                  </a:lnTo>
                  <a:lnTo>
                    <a:pt x="34474" y="157392"/>
                  </a:lnTo>
                  <a:lnTo>
                    <a:pt x="33770" y="152099"/>
                  </a:lnTo>
                  <a:lnTo>
                    <a:pt x="0" y="148217"/>
                  </a:lnTo>
                  <a:lnTo>
                    <a:pt x="0" y="135160"/>
                  </a:lnTo>
                  <a:lnTo>
                    <a:pt x="33770" y="130572"/>
                  </a:lnTo>
                  <a:lnTo>
                    <a:pt x="34122" y="125278"/>
                  </a:lnTo>
                  <a:lnTo>
                    <a:pt x="35177" y="119985"/>
                  </a:lnTo>
                  <a:lnTo>
                    <a:pt x="36233" y="115044"/>
                  </a:lnTo>
                  <a:lnTo>
                    <a:pt x="37640" y="109751"/>
                  </a:lnTo>
                  <a:lnTo>
                    <a:pt x="8443" y="93165"/>
                  </a:lnTo>
                  <a:lnTo>
                    <a:pt x="13367" y="81519"/>
                  </a:lnTo>
                  <a:lnTo>
                    <a:pt x="45379" y="90342"/>
                  </a:lnTo>
                  <a:lnTo>
                    <a:pt x="47841" y="85401"/>
                  </a:lnTo>
                  <a:lnTo>
                    <a:pt x="50655" y="81166"/>
                  </a:lnTo>
                  <a:lnTo>
                    <a:pt x="53821" y="76932"/>
                  </a:lnTo>
                  <a:lnTo>
                    <a:pt x="56987" y="72344"/>
                  </a:lnTo>
                  <a:lnTo>
                    <a:pt x="36936" y="46230"/>
                  </a:lnTo>
                  <a:lnTo>
                    <a:pt x="45731" y="36701"/>
                  </a:lnTo>
                  <a:lnTo>
                    <a:pt x="72114" y="57522"/>
                  </a:lnTo>
                  <a:lnTo>
                    <a:pt x="74224" y="55758"/>
                  </a:lnTo>
                  <a:lnTo>
                    <a:pt x="76335" y="54346"/>
                  </a:lnTo>
                  <a:lnTo>
                    <a:pt x="78094" y="52582"/>
                  </a:lnTo>
                  <a:lnTo>
                    <a:pt x="80556" y="50817"/>
                  </a:lnTo>
                  <a:lnTo>
                    <a:pt x="82667" y="49759"/>
                  </a:lnTo>
                  <a:lnTo>
                    <a:pt x="85129" y="47994"/>
                  </a:lnTo>
                  <a:lnTo>
                    <a:pt x="87240" y="46935"/>
                  </a:lnTo>
                  <a:lnTo>
                    <a:pt x="89702" y="45524"/>
                  </a:lnTo>
                  <a:lnTo>
                    <a:pt x="80908" y="13057"/>
                  </a:lnTo>
                  <a:lnTo>
                    <a:pt x="92868" y="8117"/>
                  </a:lnTo>
                  <a:lnTo>
                    <a:pt x="109402" y="37054"/>
                  </a:lnTo>
                  <a:lnTo>
                    <a:pt x="111864" y="36348"/>
                  </a:lnTo>
                  <a:lnTo>
                    <a:pt x="114327" y="35996"/>
                  </a:lnTo>
                  <a:lnTo>
                    <a:pt x="117141" y="34937"/>
                  </a:lnTo>
                  <a:lnTo>
                    <a:pt x="119603" y="34584"/>
                  </a:lnTo>
                  <a:lnTo>
                    <a:pt x="122417" y="34231"/>
                  </a:lnTo>
                  <a:lnTo>
                    <a:pt x="124880" y="33878"/>
                  </a:lnTo>
                  <a:lnTo>
                    <a:pt x="127694" y="33525"/>
                  </a:lnTo>
                  <a:lnTo>
                    <a:pt x="130156" y="33172"/>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1" name="Freeform 11"/>
            <p:cNvSpPr>
              <a:spLocks/>
            </p:cNvSpPr>
            <p:nvPr/>
          </p:nvSpPr>
          <p:spPr bwMode="auto">
            <a:xfrm>
              <a:off x="7092322" y="2523365"/>
              <a:ext cx="164532" cy="164189"/>
            </a:xfrm>
            <a:custGeom>
              <a:avLst/>
              <a:gdLst/>
              <a:ahLst/>
              <a:cxnLst/>
              <a:rect l="l" t="t" r="r" b="b"/>
              <a:pathLst>
                <a:path w="338297" h="337591">
                  <a:moveTo>
                    <a:pt x="164083" y="61316"/>
                  </a:moveTo>
                  <a:lnTo>
                    <a:pt x="153144" y="62373"/>
                  </a:lnTo>
                  <a:lnTo>
                    <a:pt x="142558" y="64840"/>
                  </a:lnTo>
                  <a:lnTo>
                    <a:pt x="132325" y="67659"/>
                  </a:lnTo>
                  <a:lnTo>
                    <a:pt x="122444" y="71888"/>
                  </a:lnTo>
                  <a:lnTo>
                    <a:pt x="113623" y="77174"/>
                  </a:lnTo>
                  <a:lnTo>
                    <a:pt x="104801" y="82812"/>
                  </a:lnTo>
                  <a:lnTo>
                    <a:pt x="96685" y="89860"/>
                  </a:lnTo>
                  <a:lnTo>
                    <a:pt x="89275" y="96908"/>
                  </a:lnTo>
                  <a:lnTo>
                    <a:pt x="82218" y="105013"/>
                  </a:lnTo>
                  <a:lnTo>
                    <a:pt x="76219" y="114175"/>
                  </a:lnTo>
                  <a:lnTo>
                    <a:pt x="71279" y="123337"/>
                  </a:lnTo>
                  <a:lnTo>
                    <a:pt x="67044" y="133557"/>
                  </a:lnTo>
                  <a:lnTo>
                    <a:pt x="63516" y="144128"/>
                  </a:lnTo>
                  <a:lnTo>
                    <a:pt x="61752" y="155052"/>
                  </a:lnTo>
                  <a:lnTo>
                    <a:pt x="60340" y="168443"/>
                  </a:lnTo>
                  <a:lnTo>
                    <a:pt x="60693" y="181482"/>
                  </a:lnTo>
                  <a:lnTo>
                    <a:pt x="62810" y="193815"/>
                  </a:lnTo>
                  <a:lnTo>
                    <a:pt x="66692" y="206502"/>
                  </a:lnTo>
                  <a:lnTo>
                    <a:pt x="71279" y="218483"/>
                  </a:lnTo>
                  <a:lnTo>
                    <a:pt x="77630" y="229407"/>
                  </a:lnTo>
                  <a:lnTo>
                    <a:pt x="84688" y="239274"/>
                  </a:lnTo>
                  <a:lnTo>
                    <a:pt x="93509" y="248789"/>
                  </a:lnTo>
                  <a:lnTo>
                    <a:pt x="93464" y="248838"/>
                  </a:lnTo>
                  <a:lnTo>
                    <a:pt x="99760" y="254427"/>
                  </a:lnTo>
                  <a:lnTo>
                    <a:pt x="106111" y="259713"/>
                  </a:lnTo>
                  <a:lnTo>
                    <a:pt x="113169" y="264294"/>
                  </a:lnTo>
                  <a:lnTo>
                    <a:pt x="120932" y="268170"/>
                  </a:lnTo>
                  <a:lnTo>
                    <a:pt x="128695" y="272046"/>
                  </a:lnTo>
                  <a:lnTo>
                    <a:pt x="136811" y="274865"/>
                  </a:lnTo>
                  <a:lnTo>
                    <a:pt x="145279" y="277332"/>
                  </a:lnTo>
                  <a:lnTo>
                    <a:pt x="154101" y="278742"/>
                  </a:lnTo>
                  <a:lnTo>
                    <a:pt x="165746" y="280151"/>
                  </a:lnTo>
                  <a:lnTo>
                    <a:pt x="176684" y="279447"/>
                  </a:lnTo>
                  <a:lnTo>
                    <a:pt x="187270" y="278389"/>
                  </a:lnTo>
                  <a:lnTo>
                    <a:pt x="197856" y="276275"/>
                  </a:lnTo>
                  <a:lnTo>
                    <a:pt x="207737" y="273103"/>
                  </a:lnTo>
                  <a:lnTo>
                    <a:pt x="217617" y="269227"/>
                  </a:lnTo>
                  <a:lnTo>
                    <a:pt x="226791" y="264294"/>
                  </a:lnTo>
                  <a:lnTo>
                    <a:pt x="235966" y="257951"/>
                  </a:lnTo>
                  <a:lnTo>
                    <a:pt x="244082" y="251608"/>
                  </a:lnTo>
                  <a:lnTo>
                    <a:pt x="251492" y="244207"/>
                  </a:lnTo>
                  <a:lnTo>
                    <a:pt x="258196" y="236102"/>
                  </a:lnTo>
                  <a:lnTo>
                    <a:pt x="263842" y="227293"/>
                  </a:lnTo>
                  <a:lnTo>
                    <a:pt x="269135" y="217778"/>
                  </a:lnTo>
                  <a:lnTo>
                    <a:pt x="273370" y="208263"/>
                  </a:lnTo>
                  <a:lnTo>
                    <a:pt x="276546" y="197692"/>
                  </a:lnTo>
                  <a:lnTo>
                    <a:pt x="278663" y="186768"/>
                  </a:lnTo>
                  <a:lnTo>
                    <a:pt x="279721" y="171967"/>
                  </a:lnTo>
                  <a:lnTo>
                    <a:pt x="279016" y="157871"/>
                  </a:lnTo>
                  <a:lnTo>
                    <a:pt x="276546" y="144128"/>
                  </a:lnTo>
                  <a:lnTo>
                    <a:pt x="272311" y="131090"/>
                  </a:lnTo>
                  <a:lnTo>
                    <a:pt x="266312" y="118404"/>
                  </a:lnTo>
                  <a:lnTo>
                    <a:pt x="259608" y="106775"/>
                  </a:lnTo>
                  <a:lnTo>
                    <a:pt x="250433" y="96203"/>
                  </a:lnTo>
                  <a:lnTo>
                    <a:pt x="240906" y="86688"/>
                  </a:lnTo>
                  <a:lnTo>
                    <a:pt x="240944" y="86647"/>
                  </a:lnTo>
                  <a:lnTo>
                    <a:pt x="234656" y="82460"/>
                  </a:lnTo>
                  <a:lnTo>
                    <a:pt x="228657" y="78231"/>
                  </a:lnTo>
                  <a:lnTo>
                    <a:pt x="222305" y="74355"/>
                  </a:lnTo>
                  <a:lnTo>
                    <a:pt x="215601" y="71183"/>
                  </a:lnTo>
                  <a:lnTo>
                    <a:pt x="208897" y="68012"/>
                  </a:lnTo>
                  <a:lnTo>
                    <a:pt x="201486" y="65897"/>
                  </a:lnTo>
                  <a:lnTo>
                    <a:pt x="193723" y="63783"/>
                  </a:lnTo>
                  <a:lnTo>
                    <a:pt x="185960" y="62373"/>
                  </a:lnTo>
                  <a:lnTo>
                    <a:pt x="175021" y="61316"/>
                  </a:lnTo>
                  <a:close/>
                  <a:moveTo>
                    <a:pt x="185960" y="0"/>
                  </a:moveTo>
                  <a:lnTo>
                    <a:pt x="201486" y="2467"/>
                  </a:lnTo>
                  <a:lnTo>
                    <a:pt x="200781" y="42640"/>
                  </a:lnTo>
                  <a:lnTo>
                    <a:pt x="203956" y="43344"/>
                  </a:lnTo>
                  <a:lnTo>
                    <a:pt x="207132" y="44401"/>
                  </a:lnTo>
                  <a:lnTo>
                    <a:pt x="209955" y="45106"/>
                  </a:lnTo>
                  <a:lnTo>
                    <a:pt x="213131" y="46163"/>
                  </a:lnTo>
                  <a:lnTo>
                    <a:pt x="215954" y="47573"/>
                  </a:lnTo>
                  <a:lnTo>
                    <a:pt x="218777" y="48630"/>
                  </a:lnTo>
                  <a:lnTo>
                    <a:pt x="221600" y="50040"/>
                  </a:lnTo>
                  <a:lnTo>
                    <a:pt x="224776" y="51097"/>
                  </a:lnTo>
                  <a:lnTo>
                    <a:pt x="249476" y="19382"/>
                  </a:lnTo>
                  <a:lnTo>
                    <a:pt x="262885" y="27487"/>
                  </a:lnTo>
                  <a:lnTo>
                    <a:pt x="246653" y="64135"/>
                  </a:lnTo>
                  <a:lnTo>
                    <a:pt x="249123" y="65897"/>
                  </a:lnTo>
                  <a:lnTo>
                    <a:pt x="250888" y="67307"/>
                  </a:lnTo>
                  <a:lnTo>
                    <a:pt x="253005" y="69421"/>
                  </a:lnTo>
                  <a:lnTo>
                    <a:pt x="255122" y="71183"/>
                  </a:lnTo>
                  <a:lnTo>
                    <a:pt x="255081" y="71228"/>
                  </a:lnTo>
                  <a:lnTo>
                    <a:pt x="257844" y="73297"/>
                  </a:lnTo>
                  <a:lnTo>
                    <a:pt x="260314" y="75764"/>
                  </a:lnTo>
                  <a:lnTo>
                    <a:pt x="263137" y="78231"/>
                  </a:lnTo>
                  <a:lnTo>
                    <a:pt x="265607" y="81050"/>
                  </a:lnTo>
                  <a:lnTo>
                    <a:pt x="300540" y="61316"/>
                  </a:lnTo>
                  <a:lnTo>
                    <a:pt x="309715" y="74002"/>
                  </a:lnTo>
                  <a:lnTo>
                    <a:pt x="281133" y="101841"/>
                  </a:lnTo>
                  <a:lnTo>
                    <a:pt x="284309" y="107479"/>
                  </a:lnTo>
                  <a:lnTo>
                    <a:pt x="287131" y="113118"/>
                  </a:lnTo>
                  <a:lnTo>
                    <a:pt x="289602" y="118756"/>
                  </a:lnTo>
                  <a:lnTo>
                    <a:pt x="292072" y="125099"/>
                  </a:lnTo>
                  <a:lnTo>
                    <a:pt x="331945" y="119813"/>
                  </a:lnTo>
                  <a:lnTo>
                    <a:pt x="335474" y="134966"/>
                  </a:lnTo>
                  <a:lnTo>
                    <a:pt x="298070" y="149766"/>
                  </a:lnTo>
                  <a:lnTo>
                    <a:pt x="298776" y="155757"/>
                  </a:lnTo>
                  <a:lnTo>
                    <a:pt x="299129" y="162453"/>
                  </a:lnTo>
                  <a:lnTo>
                    <a:pt x="299129" y="168443"/>
                  </a:lnTo>
                  <a:lnTo>
                    <a:pt x="299129" y="174786"/>
                  </a:lnTo>
                  <a:lnTo>
                    <a:pt x="338297" y="185710"/>
                  </a:lnTo>
                  <a:lnTo>
                    <a:pt x="335827" y="201216"/>
                  </a:lnTo>
                  <a:lnTo>
                    <a:pt x="295600" y="200511"/>
                  </a:lnTo>
                  <a:lnTo>
                    <a:pt x="293836" y="206501"/>
                  </a:lnTo>
                  <a:lnTo>
                    <a:pt x="292072" y="212492"/>
                  </a:lnTo>
                  <a:lnTo>
                    <a:pt x="289602" y="218835"/>
                  </a:lnTo>
                  <a:lnTo>
                    <a:pt x="287131" y="224473"/>
                  </a:lnTo>
                  <a:lnTo>
                    <a:pt x="318889" y="249141"/>
                  </a:lnTo>
                  <a:lnTo>
                    <a:pt x="311126" y="262532"/>
                  </a:lnTo>
                  <a:lnTo>
                    <a:pt x="273723" y="246322"/>
                  </a:lnTo>
                  <a:lnTo>
                    <a:pt x="271605" y="248788"/>
                  </a:lnTo>
                  <a:lnTo>
                    <a:pt x="270194" y="251255"/>
                  </a:lnTo>
                  <a:lnTo>
                    <a:pt x="268077" y="253722"/>
                  </a:lnTo>
                  <a:lnTo>
                    <a:pt x="265960" y="256189"/>
                  </a:lnTo>
                  <a:lnTo>
                    <a:pt x="263489" y="258655"/>
                  </a:lnTo>
                  <a:lnTo>
                    <a:pt x="261372" y="260417"/>
                  </a:lnTo>
                  <a:lnTo>
                    <a:pt x="258902" y="262884"/>
                  </a:lnTo>
                  <a:lnTo>
                    <a:pt x="256785" y="264998"/>
                  </a:lnTo>
                  <a:lnTo>
                    <a:pt x="276898" y="299885"/>
                  </a:lnTo>
                  <a:lnTo>
                    <a:pt x="264195" y="309400"/>
                  </a:lnTo>
                  <a:lnTo>
                    <a:pt x="235966" y="280151"/>
                  </a:lnTo>
                  <a:lnTo>
                    <a:pt x="233496" y="281561"/>
                  </a:lnTo>
                  <a:lnTo>
                    <a:pt x="230673" y="282970"/>
                  </a:lnTo>
                  <a:lnTo>
                    <a:pt x="227850" y="284380"/>
                  </a:lnTo>
                  <a:lnTo>
                    <a:pt x="225027" y="285790"/>
                  </a:lnTo>
                  <a:lnTo>
                    <a:pt x="222204" y="286847"/>
                  </a:lnTo>
                  <a:lnTo>
                    <a:pt x="219381" y="288256"/>
                  </a:lnTo>
                  <a:lnTo>
                    <a:pt x="215853" y="289313"/>
                  </a:lnTo>
                  <a:lnTo>
                    <a:pt x="213030" y="290723"/>
                  </a:lnTo>
                  <a:lnTo>
                    <a:pt x="218323" y="331248"/>
                  </a:lnTo>
                  <a:lnTo>
                    <a:pt x="202797" y="334772"/>
                  </a:lnTo>
                  <a:lnTo>
                    <a:pt x="188329" y="297066"/>
                  </a:lnTo>
                  <a:lnTo>
                    <a:pt x="185153" y="297418"/>
                  </a:lnTo>
                  <a:lnTo>
                    <a:pt x="182330" y="297771"/>
                  </a:lnTo>
                  <a:lnTo>
                    <a:pt x="179155" y="298123"/>
                  </a:lnTo>
                  <a:lnTo>
                    <a:pt x="175626" y="298123"/>
                  </a:lnTo>
                  <a:lnTo>
                    <a:pt x="172803" y="298123"/>
                  </a:lnTo>
                  <a:lnTo>
                    <a:pt x="169627" y="298123"/>
                  </a:lnTo>
                  <a:lnTo>
                    <a:pt x="166451" y="298123"/>
                  </a:lnTo>
                  <a:lnTo>
                    <a:pt x="163276" y="298123"/>
                  </a:lnTo>
                  <a:lnTo>
                    <a:pt x="152337" y="337591"/>
                  </a:lnTo>
                  <a:lnTo>
                    <a:pt x="136811" y="335124"/>
                  </a:lnTo>
                  <a:lnTo>
                    <a:pt x="137516" y="294599"/>
                  </a:lnTo>
                  <a:lnTo>
                    <a:pt x="134693" y="293895"/>
                  </a:lnTo>
                  <a:lnTo>
                    <a:pt x="131518" y="292837"/>
                  </a:lnTo>
                  <a:lnTo>
                    <a:pt x="128695" y="292133"/>
                  </a:lnTo>
                  <a:lnTo>
                    <a:pt x="125519" y="291075"/>
                  </a:lnTo>
                  <a:lnTo>
                    <a:pt x="122343" y="289666"/>
                  </a:lnTo>
                  <a:lnTo>
                    <a:pt x="119520" y="288609"/>
                  </a:lnTo>
                  <a:lnTo>
                    <a:pt x="116697" y="287199"/>
                  </a:lnTo>
                  <a:lnTo>
                    <a:pt x="113874" y="286142"/>
                  </a:lnTo>
                  <a:lnTo>
                    <a:pt x="88821" y="318210"/>
                  </a:lnTo>
                  <a:lnTo>
                    <a:pt x="75412" y="310457"/>
                  </a:lnTo>
                  <a:lnTo>
                    <a:pt x="91644" y="273103"/>
                  </a:lnTo>
                  <a:lnTo>
                    <a:pt x="88821" y="270989"/>
                  </a:lnTo>
                  <a:lnTo>
                    <a:pt x="85998" y="268522"/>
                  </a:lnTo>
                  <a:lnTo>
                    <a:pt x="83175" y="266056"/>
                  </a:lnTo>
                  <a:lnTo>
                    <a:pt x="80352" y="263237"/>
                  </a:lnTo>
                  <a:lnTo>
                    <a:pt x="80394" y="263190"/>
                  </a:lnTo>
                  <a:lnTo>
                    <a:pt x="78689" y="261827"/>
                  </a:lnTo>
                  <a:lnTo>
                    <a:pt x="76572" y="260065"/>
                  </a:lnTo>
                  <a:lnTo>
                    <a:pt x="75160" y="257951"/>
                  </a:lnTo>
                  <a:lnTo>
                    <a:pt x="73043" y="256541"/>
                  </a:lnTo>
                  <a:lnTo>
                    <a:pt x="37757" y="276275"/>
                  </a:lnTo>
                  <a:lnTo>
                    <a:pt x="28229" y="264294"/>
                  </a:lnTo>
                  <a:lnTo>
                    <a:pt x="57517" y="235750"/>
                  </a:lnTo>
                  <a:lnTo>
                    <a:pt x="54694" y="230464"/>
                  </a:lnTo>
                  <a:lnTo>
                    <a:pt x="51871" y="224826"/>
                  </a:lnTo>
                  <a:lnTo>
                    <a:pt x="49401" y="219188"/>
                  </a:lnTo>
                  <a:lnTo>
                    <a:pt x="46931" y="213197"/>
                  </a:lnTo>
                  <a:lnTo>
                    <a:pt x="6352" y="218483"/>
                  </a:lnTo>
                  <a:lnTo>
                    <a:pt x="2823" y="202978"/>
                  </a:lnTo>
                  <a:lnTo>
                    <a:pt x="40580" y="188177"/>
                  </a:lnTo>
                  <a:lnTo>
                    <a:pt x="39874" y="182187"/>
                  </a:lnTo>
                  <a:lnTo>
                    <a:pt x="39168" y="175844"/>
                  </a:lnTo>
                  <a:lnTo>
                    <a:pt x="39168" y="169500"/>
                  </a:lnTo>
                  <a:lnTo>
                    <a:pt x="39168" y="163157"/>
                  </a:lnTo>
                  <a:lnTo>
                    <a:pt x="0" y="152233"/>
                  </a:lnTo>
                  <a:lnTo>
                    <a:pt x="2470" y="136728"/>
                  </a:lnTo>
                  <a:lnTo>
                    <a:pt x="43050" y="137433"/>
                  </a:lnTo>
                  <a:lnTo>
                    <a:pt x="44461" y="131442"/>
                  </a:lnTo>
                  <a:lnTo>
                    <a:pt x="46578" y="125452"/>
                  </a:lnTo>
                  <a:lnTo>
                    <a:pt x="48695" y="119461"/>
                  </a:lnTo>
                  <a:lnTo>
                    <a:pt x="51166" y="113470"/>
                  </a:lnTo>
                  <a:lnTo>
                    <a:pt x="19408" y="88803"/>
                  </a:lnTo>
                  <a:lnTo>
                    <a:pt x="27171" y="75412"/>
                  </a:lnTo>
                  <a:lnTo>
                    <a:pt x="64222" y="91622"/>
                  </a:lnTo>
                  <a:lnTo>
                    <a:pt x="65986" y="89155"/>
                  </a:lnTo>
                  <a:lnTo>
                    <a:pt x="68103" y="86336"/>
                  </a:lnTo>
                  <a:lnTo>
                    <a:pt x="70220" y="83869"/>
                  </a:lnTo>
                  <a:lnTo>
                    <a:pt x="72337" y="81403"/>
                  </a:lnTo>
                  <a:lnTo>
                    <a:pt x="74808" y="79641"/>
                  </a:lnTo>
                  <a:lnTo>
                    <a:pt x="76572" y="77174"/>
                  </a:lnTo>
                  <a:lnTo>
                    <a:pt x="78689" y="74707"/>
                  </a:lnTo>
                  <a:lnTo>
                    <a:pt x="81159" y="72593"/>
                  </a:lnTo>
                  <a:lnTo>
                    <a:pt x="61399" y="37706"/>
                  </a:lnTo>
                  <a:lnTo>
                    <a:pt x="73749" y="28544"/>
                  </a:lnTo>
                  <a:lnTo>
                    <a:pt x="101978" y="57088"/>
                  </a:lnTo>
                  <a:lnTo>
                    <a:pt x="104801" y="55678"/>
                  </a:lnTo>
                  <a:lnTo>
                    <a:pt x="107624" y="54268"/>
                  </a:lnTo>
                  <a:lnTo>
                    <a:pt x="110447" y="52859"/>
                  </a:lnTo>
                  <a:lnTo>
                    <a:pt x="113270" y="51097"/>
                  </a:lnTo>
                  <a:lnTo>
                    <a:pt x="116093" y="50040"/>
                  </a:lnTo>
                  <a:lnTo>
                    <a:pt x="118916" y="48630"/>
                  </a:lnTo>
                  <a:lnTo>
                    <a:pt x="122092" y="47573"/>
                  </a:lnTo>
                  <a:lnTo>
                    <a:pt x="124914" y="46163"/>
                  </a:lnTo>
                  <a:lnTo>
                    <a:pt x="119622" y="6343"/>
                  </a:lnTo>
                  <a:lnTo>
                    <a:pt x="135148" y="2819"/>
                  </a:lnTo>
                  <a:lnTo>
                    <a:pt x="149968" y="40173"/>
                  </a:lnTo>
                  <a:lnTo>
                    <a:pt x="153144" y="39820"/>
                  </a:lnTo>
                  <a:lnTo>
                    <a:pt x="155967" y="39468"/>
                  </a:lnTo>
                  <a:lnTo>
                    <a:pt x="159142" y="39116"/>
                  </a:lnTo>
                  <a:lnTo>
                    <a:pt x="162318" y="38411"/>
                  </a:lnTo>
                  <a:lnTo>
                    <a:pt x="165847" y="38411"/>
                  </a:lnTo>
                  <a:lnTo>
                    <a:pt x="169023" y="38411"/>
                  </a:lnTo>
                  <a:lnTo>
                    <a:pt x="172198" y="38411"/>
                  </a:lnTo>
                  <a:lnTo>
                    <a:pt x="175374" y="38411"/>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2" name="Freeform 15"/>
            <p:cNvSpPr>
              <a:spLocks/>
            </p:cNvSpPr>
            <p:nvPr/>
          </p:nvSpPr>
          <p:spPr bwMode="auto">
            <a:xfrm>
              <a:off x="6872947" y="2538790"/>
              <a:ext cx="196066" cy="193667"/>
            </a:xfrm>
            <a:custGeom>
              <a:avLst/>
              <a:gdLst/>
              <a:ahLst/>
              <a:cxnLst/>
              <a:rect l="l" t="t" r="r" b="b"/>
              <a:pathLst>
                <a:path w="403136" h="398203">
                  <a:moveTo>
                    <a:pt x="201831" y="59258"/>
                  </a:moveTo>
                  <a:lnTo>
                    <a:pt x="187364" y="59963"/>
                  </a:lnTo>
                  <a:lnTo>
                    <a:pt x="173250" y="62080"/>
                  </a:lnTo>
                  <a:lnTo>
                    <a:pt x="159136" y="65960"/>
                  </a:lnTo>
                  <a:lnTo>
                    <a:pt x="146434" y="70545"/>
                  </a:lnTo>
                  <a:lnTo>
                    <a:pt x="133731" y="76894"/>
                  </a:lnTo>
                  <a:lnTo>
                    <a:pt x="122087" y="83596"/>
                  </a:lnTo>
                  <a:lnTo>
                    <a:pt x="110443" y="92061"/>
                  </a:lnTo>
                  <a:lnTo>
                    <a:pt x="100210" y="101232"/>
                  </a:lnTo>
                  <a:lnTo>
                    <a:pt x="91389" y="111461"/>
                  </a:lnTo>
                  <a:lnTo>
                    <a:pt x="82920" y="122395"/>
                  </a:lnTo>
                  <a:lnTo>
                    <a:pt x="75863" y="134035"/>
                  </a:lnTo>
                  <a:lnTo>
                    <a:pt x="69865" y="146733"/>
                  </a:lnTo>
                  <a:lnTo>
                    <a:pt x="64925" y="159784"/>
                  </a:lnTo>
                  <a:lnTo>
                    <a:pt x="61396" y="173540"/>
                  </a:lnTo>
                  <a:lnTo>
                    <a:pt x="59279" y="187649"/>
                  </a:lnTo>
                  <a:lnTo>
                    <a:pt x="58574" y="202464"/>
                  </a:lnTo>
                  <a:lnTo>
                    <a:pt x="58926" y="213398"/>
                  </a:lnTo>
                  <a:lnTo>
                    <a:pt x="59985" y="223980"/>
                  </a:lnTo>
                  <a:lnTo>
                    <a:pt x="62102" y="234209"/>
                  </a:lnTo>
                  <a:lnTo>
                    <a:pt x="64925" y="244438"/>
                  </a:lnTo>
                  <a:lnTo>
                    <a:pt x="68101" y="254667"/>
                  </a:lnTo>
                  <a:lnTo>
                    <a:pt x="72688" y="264191"/>
                  </a:lnTo>
                  <a:lnTo>
                    <a:pt x="77628" y="273361"/>
                  </a:lnTo>
                  <a:lnTo>
                    <a:pt x="82920" y="281827"/>
                  </a:lnTo>
                  <a:lnTo>
                    <a:pt x="88919" y="290292"/>
                  </a:lnTo>
                  <a:lnTo>
                    <a:pt x="95976" y="298052"/>
                  </a:lnTo>
                  <a:lnTo>
                    <a:pt x="102680" y="305812"/>
                  </a:lnTo>
                  <a:lnTo>
                    <a:pt x="110443" y="312514"/>
                  </a:lnTo>
                  <a:lnTo>
                    <a:pt x="118558" y="318863"/>
                  </a:lnTo>
                  <a:lnTo>
                    <a:pt x="127732" y="324506"/>
                  </a:lnTo>
                  <a:lnTo>
                    <a:pt x="136554" y="329445"/>
                  </a:lnTo>
                  <a:lnTo>
                    <a:pt x="145728" y="334030"/>
                  </a:lnTo>
                  <a:lnTo>
                    <a:pt x="145687" y="334128"/>
                  </a:lnTo>
                  <a:lnTo>
                    <a:pt x="152210" y="336534"/>
                  </a:lnTo>
                  <a:lnTo>
                    <a:pt x="158544" y="338649"/>
                  </a:lnTo>
                  <a:lnTo>
                    <a:pt x="165583" y="340763"/>
                  </a:lnTo>
                  <a:lnTo>
                    <a:pt x="172270" y="342525"/>
                  </a:lnTo>
                  <a:lnTo>
                    <a:pt x="179660" y="343582"/>
                  </a:lnTo>
                  <a:lnTo>
                    <a:pt x="187051" y="344640"/>
                  </a:lnTo>
                  <a:lnTo>
                    <a:pt x="194441" y="345344"/>
                  </a:lnTo>
                  <a:lnTo>
                    <a:pt x="201480" y="345344"/>
                  </a:lnTo>
                  <a:lnTo>
                    <a:pt x="216261" y="344640"/>
                  </a:lnTo>
                  <a:lnTo>
                    <a:pt x="230338" y="342525"/>
                  </a:lnTo>
                  <a:lnTo>
                    <a:pt x="244064" y="338649"/>
                  </a:lnTo>
                  <a:lnTo>
                    <a:pt x="257085" y="334068"/>
                  </a:lnTo>
                  <a:lnTo>
                    <a:pt x="269754" y="327725"/>
                  </a:lnTo>
                  <a:lnTo>
                    <a:pt x="281368" y="321029"/>
                  </a:lnTo>
                  <a:lnTo>
                    <a:pt x="292278" y="312572"/>
                  </a:lnTo>
                  <a:lnTo>
                    <a:pt x="302484" y="303410"/>
                  </a:lnTo>
                  <a:lnTo>
                    <a:pt x="311282" y="293190"/>
                  </a:lnTo>
                  <a:lnTo>
                    <a:pt x="320080" y="282266"/>
                  </a:lnTo>
                  <a:lnTo>
                    <a:pt x="326767" y="270637"/>
                  </a:lnTo>
                  <a:lnTo>
                    <a:pt x="333102" y="257951"/>
                  </a:lnTo>
                  <a:lnTo>
                    <a:pt x="337677" y="244912"/>
                  </a:lnTo>
                  <a:lnTo>
                    <a:pt x="341548" y="231169"/>
                  </a:lnTo>
                  <a:lnTo>
                    <a:pt x="343308" y="217073"/>
                  </a:lnTo>
                  <a:lnTo>
                    <a:pt x="344364" y="202625"/>
                  </a:lnTo>
                  <a:lnTo>
                    <a:pt x="344012" y="191349"/>
                  </a:lnTo>
                  <a:lnTo>
                    <a:pt x="342604" y="180425"/>
                  </a:lnTo>
                  <a:lnTo>
                    <a:pt x="340492" y="169853"/>
                  </a:lnTo>
                  <a:lnTo>
                    <a:pt x="337677" y="159986"/>
                  </a:lnTo>
                  <a:lnTo>
                    <a:pt x="334510" y="150119"/>
                  </a:lnTo>
                  <a:lnTo>
                    <a:pt x="329934" y="140252"/>
                  </a:lnTo>
                  <a:lnTo>
                    <a:pt x="325711" y="131442"/>
                  </a:lnTo>
                  <a:lnTo>
                    <a:pt x="320080" y="122632"/>
                  </a:lnTo>
                  <a:lnTo>
                    <a:pt x="313746" y="114527"/>
                  </a:lnTo>
                  <a:lnTo>
                    <a:pt x="307411" y="106422"/>
                  </a:lnTo>
                  <a:lnTo>
                    <a:pt x="300020" y="99022"/>
                  </a:lnTo>
                  <a:lnTo>
                    <a:pt x="292278" y="91974"/>
                  </a:lnTo>
                  <a:lnTo>
                    <a:pt x="284183" y="85983"/>
                  </a:lnTo>
                  <a:lnTo>
                    <a:pt x="275737" y="80345"/>
                  </a:lnTo>
                  <a:lnTo>
                    <a:pt x="266587" y="75412"/>
                  </a:lnTo>
                  <a:lnTo>
                    <a:pt x="257085" y="70831"/>
                  </a:lnTo>
                  <a:lnTo>
                    <a:pt x="257261" y="70421"/>
                  </a:lnTo>
                  <a:lnTo>
                    <a:pt x="251230" y="68076"/>
                  </a:lnTo>
                  <a:lnTo>
                    <a:pt x="244526" y="65960"/>
                  </a:lnTo>
                  <a:lnTo>
                    <a:pt x="237822" y="63843"/>
                  </a:lnTo>
                  <a:lnTo>
                    <a:pt x="230765" y="62080"/>
                  </a:lnTo>
                  <a:lnTo>
                    <a:pt x="223355" y="61021"/>
                  </a:lnTo>
                  <a:lnTo>
                    <a:pt x="216651" y="59963"/>
                  </a:lnTo>
                  <a:lnTo>
                    <a:pt x="209241" y="59258"/>
                  </a:lnTo>
                  <a:close/>
                  <a:moveTo>
                    <a:pt x="172545" y="0"/>
                  </a:moveTo>
                  <a:lnTo>
                    <a:pt x="185247" y="26807"/>
                  </a:lnTo>
                  <a:lnTo>
                    <a:pt x="189834" y="26454"/>
                  </a:lnTo>
                  <a:lnTo>
                    <a:pt x="194069" y="26102"/>
                  </a:lnTo>
                  <a:lnTo>
                    <a:pt x="198303" y="26102"/>
                  </a:lnTo>
                  <a:lnTo>
                    <a:pt x="202890" y="26102"/>
                  </a:lnTo>
                  <a:lnTo>
                    <a:pt x="206771" y="26102"/>
                  </a:lnTo>
                  <a:lnTo>
                    <a:pt x="211358" y="26454"/>
                  </a:lnTo>
                  <a:lnTo>
                    <a:pt x="215240" y="26454"/>
                  </a:lnTo>
                  <a:lnTo>
                    <a:pt x="219827" y="26807"/>
                  </a:lnTo>
                  <a:lnTo>
                    <a:pt x="232882" y="1058"/>
                  </a:lnTo>
                  <a:lnTo>
                    <a:pt x="253700" y="5291"/>
                  </a:lnTo>
                  <a:lnTo>
                    <a:pt x="253700" y="33862"/>
                  </a:lnTo>
                  <a:lnTo>
                    <a:pt x="255465" y="34567"/>
                  </a:lnTo>
                  <a:lnTo>
                    <a:pt x="257934" y="35273"/>
                  </a:lnTo>
                  <a:lnTo>
                    <a:pt x="260051" y="35978"/>
                  </a:lnTo>
                  <a:lnTo>
                    <a:pt x="262169" y="37036"/>
                  </a:lnTo>
                  <a:lnTo>
                    <a:pt x="264286" y="37742"/>
                  </a:lnTo>
                  <a:lnTo>
                    <a:pt x="266403" y="38447"/>
                  </a:lnTo>
                  <a:lnTo>
                    <a:pt x="268520" y="39505"/>
                  </a:lnTo>
                  <a:lnTo>
                    <a:pt x="270637" y="40211"/>
                  </a:lnTo>
                  <a:lnTo>
                    <a:pt x="270452" y="40640"/>
                  </a:lnTo>
                  <a:lnTo>
                    <a:pt x="272218" y="41230"/>
                  </a:lnTo>
                  <a:lnTo>
                    <a:pt x="273625" y="42287"/>
                  </a:lnTo>
                  <a:lnTo>
                    <a:pt x="275737" y="42992"/>
                  </a:lnTo>
                  <a:lnTo>
                    <a:pt x="277497" y="43696"/>
                  </a:lnTo>
                  <a:lnTo>
                    <a:pt x="279608" y="44754"/>
                  </a:lnTo>
                  <a:lnTo>
                    <a:pt x="281016" y="45811"/>
                  </a:lnTo>
                  <a:lnTo>
                    <a:pt x="283128" y="46516"/>
                  </a:lnTo>
                  <a:lnTo>
                    <a:pt x="284535" y="47573"/>
                  </a:lnTo>
                  <a:lnTo>
                    <a:pt x="305651" y="28191"/>
                  </a:lnTo>
                  <a:lnTo>
                    <a:pt x="323248" y="39820"/>
                  </a:lnTo>
                  <a:lnTo>
                    <a:pt x="313042" y="66954"/>
                  </a:lnTo>
                  <a:lnTo>
                    <a:pt x="316209" y="69773"/>
                  </a:lnTo>
                  <a:lnTo>
                    <a:pt x="319728" y="72593"/>
                  </a:lnTo>
                  <a:lnTo>
                    <a:pt x="322544" y="75412"/>
                  </a:lnTo>
                  <a:lnTo>
                    <a:pt x="325711" y="78231"/>
                  </a:lnTo>
                  <a:lnTo>
                    <a:pt x="328527" y="81402"/>
                  </a:lnTo>
                  <a:lnTo>
                    <a:pt x="331342" y="84926"/>
                  </a:lnTo>
                  <a:lnTo>
                    <a:pt x="334158" y="88098"/>
                  </a:lnTo>
                  <a:lnTo>
                    <a:pt x="336973" y="91269"/>
                  </a:lnTo>
                  <a:lnTo>
                    <a:pt x="364072" y="81050"/>
                  </a:lnTo>
                  <a:lnTo>
                    <a:pt x="375333" y="98670"/>
                  </a:lnTo>
                  <a:lnTo>
                    <a:pt x="355977" y="120166"/>
                  </a:lnTo>
                  <a:lnTo>
                    <a:pt x="357737" y="123689"/>
                  </a:lnTo>
                  <a:lnTo>
                    <a:pt x="359849" y="127918"/>
                  </a:lnTo>
                  <a:lnTo>
                    <a:pt x="361256" y="131794"/>
                  </a:lnTo>
                  <a:lnTo>
                    <a:pt x="363016" y="135318"/>
                  </a:lnTo>
                  <a:lnTo>
                    <a:pt x="364424" y="139547"/>
                  </a:lnTo>
                  <a:lnTo>
                    <a:pt x="365831" y="143776"/>
                  </a:lnTo>
                  <a:lnTo>
                    <a:pt x="367239" y="147652"/>
                  </a:lnTo>
                  <a:lnTo>
                    <a:pt x="368647" y="151881"/>
                  </a:lnTo>
                  <a:lnTo>
                    <a:pt x="398913" y="152233"/>
                  </a:lnTo>
                  <a:lnTo>
                    <a:pt x="403136" y="172672"/>
                  </a:lnTo>
                  <a:lnTo>
                    <a:pt x="374630" y="185358"/>
                  </a:lnTo>
                  <a:lnTo>
                    <a:pt x="375333" y="194168"/>
                  </a:lnTo>
                  <a:lnTo>
                    <a:pt x="375333" y="202978"/>
                  </a:lnTo>
                  <a:lnTo>
                    <a:pt x="374982" y="211435"/>
                  </a:lnTo>
                  <a:lnTo>
                    <a:pt x="374278" y="219540"/>
                  </a:lnTo>
                  <a:lnTo>
                    <a:pt x="400321" y="231169"/>
                  </a:lnTo>
                  <a:lnTo>
                    <a:pt x="396097" y="251608"/>
                  </a:lnTo>
                  <a:lnTo>
                    <a:pt x="367943" y="253017"/>
                  </a:lnTo>
                  <a:lnTo>
                    <a:pt x="366535" y="257246"/>
                  </a:lnTo>
                  <a:lnTo>
                    <a:pt x="365127" y="260770"/>
                  </a:lnTo>
                  <a:lnTo>
                    <a:pt x="363720" y="264999"/>
                  </a:lnTo>
                  <a:lnTo>
                    <a:pt x="361960" y="268875"/>
                  </a:lnTo>
                  <a:lnTo>
                    <a:pt x="360552" y="273104"/>
                  </a:lnTo>
                  <a:lnTo>
                    <a:pt x="358441" y="276628"/>
                  </a:lnTo>
                  <a:lnTo>
                    <a:pt x="356681" y="280856"/>
                  </a:lnTo>
                  <a:lnTo>
                    <a:pt x="354921" y="284380"/>
                  </a:lnTo>
                  <a:lnTo>
                    <a:pt x="372166" y="304819"/>
                  </a:lnTo>
                  <a:lnTo>
                    <a:pt x="360904" y="322086"/>
                  </a:lnTo>
                  <a:lnTo>
                    <a:pt x="335213" y="312924"/>
                  </a:lnTo>
                  <a:lnTo>
                    <a:pt x="332398" y="316096"/>
                  </a:lnTo>
                  <a:lnTo>
                    <a:pt x="329582" y="319267"/>
                  </a:lnTo>
                  <a:lnTo>
                    <a:pt x="326767" y="322086"/>
                  </a:lnTo>
                  <a:lnTo>
                    <a:pt x="323952" y="325258"/>
                  </a:lnTo>
                  <a:lnTo>
                    <a:pt x="320784" y="328429"/>
                  </a:lnTo>
                  <a:lnTo>
                    <a:pt x="317617" y="331249"/>
                  </a:lnTo>
                  <a:lnTo>
                    <a:pt x="314449" y="334068"/>
                  </a:lnTo>
                  <a:lnTo>
                    <a:pt x="310930" y="336887"/>
                  </a:lnTo>
                  <a:lnTo>
                    <a:pt x="321136" y="364373"/>
                  </a:lnTo>
                  <a:lnTo>
                    <a:pt x="303892" y="375650"/>
                  </a:lnTo>
                  <a:lnTo>
                    <a:pt x="282424" y="355564"/>
                  </a:lnTo>
                  <a:lnTo>
                    <a:pt x="278553" y="357326"/>
                  </a:lnTo>
                  <a:lnTo>
                    <a:pt x="275033" y="359088"/>
                  </a:lnTo>
                  <a:lnTo>
                    <a:pt x="270810" y="361202"/>
                  </a:lnTo>
                  <a:lnTo>
                    <a:pt x="267291" y="362612"/>
                  </a:lnTo>
                  <a:lnTo>
                    <a:pt x="263068" y="364373"/>
                  </a:lnTo>
                  <a:lnTo>
                    <a:pt x="259196" y="365431"/>
                  </a:lnTo>
                  <a:lnTo>
                    <a:pt x="254973" y="367193"/>
                  </a:lnTo>
                  <a:lnTo>
                    <a:pt x="251102" y="368602"/>
                  </a:lnTo>
                  <a:lnTo>
                    <a:pt x="247935" y="393270"/>
                  </a:lnTo>
                  <a:lnTo>
                    <a:pt x="227523" y="397146"/>
                  </a:lnTo>
                  <a:lnTo>
                    <a:pt x="216965" y="374945"/>
                  </a:lnTo>
                  <a:lnTo>
                    <a:pt x="213094" y="375298"/>
                  </a:lnTo>
                  <a:lnTo>
                    <a:pt x="208519" y="375650"/>
                  </a:lnTo>
                  <a:lnTo>
                    <a:pt x="204295" y="375650"/>
                  </a:lnTo>
                  <a:lnTo>
                    <a:pt x="200424" y="375650"/>
                  </a:lnTo>
                  <a:lnTo>
                    <a:pt x="195849" y="375650"/>
                  </a:lnTo>
                  <a:lnTo>
                    <a:pt x="191978" y="375298"/>
                  </a:lnTo>
                  <a:lnTo>
                    <a:pt x="187403" y="375298"/>
                  </a:lnTo>
                  <a:lnTo>
                    <a:pt x="183531" y="374945"/>
                  </a:lnTo>
                  <a:lnTo>
                    <a:pt x="171214" y="398203"/>
                  </a:lnTo>
                  <a:lnTo>
                    <a:pt x="150802" y="393974"/>
                  </a:lnTo>
                  <a:lnTo>
                    <a:pt x="149746" y="367897"/>
                  </a:lnTo>
                  <a:lnTo>
                    <a:pt x="147635" y="367193"/>
                  </a:lnTo>
                  <a:lnTo>
                    <a:pt x="145523" y="366488"/>
                  </a:lnTo>
                  <a:lnTo>
                    <a:pt x="143763" y="366135"/>
                  </a:lnTo>
                  <a:lnTo>
                    <a:pt x="142004" y="365078"/>
                  </a:lnTo>
                  <a:lnTo>
                    <a:pt x="139892" y="364373"/>
                  </a:lnTo>
                  <a:lnTo>
                    <a:pt x="138132" y="363669"/>
                  </a:lnTo>
                  <a:lnTo>
                    <a:pt x="136021" y="362612"/>
                  </a:lnTo>
                  <a:lnTo>
                    <a:pt x="133909" y="361907"/>
                  </a:lnTo>
                  <a:lnTo>
                    <a:pt x="133935" y="361845"/>
                  </a:lnTo>
                  <a:lnTo>
                    <a:pt x="131967" y="361190"/>
                  </a:lnTo>
                  <a:lnTo>
                    <a:pt x="130202" y="360132"/>
                  </a:lnTo>
                  <a:lnTo>
                    <a:pt x="128085" y="359426"/>
                  </a:lnTo>
                  <a:lnTo>
                    <a:pt x="126321" y="358721"/>
                  </a:lnTo>
                  <a:lnTo>
                    <a:pt x="124204" y="357310"/>
                  </a:lnTo>
                  <a:lnTo>
                    <a:pt x="122440" y="356604"/>
                  </a:lnTo>
                  <a:lnTo>
                    <a:pt x="120675" y="355899"/>
                  </a:lnTo>
                  <a:lnTo>
                    <a:pt x="118558" y="354488"/>
                  </a:lnTo>
                  <a:lnTo>
                    <a:pt x="96682" y="373535"/>
                  </a:lnTo>
                  <a:lnTo>
                    <a:pt x="79745" y="361895"/>
                  </a:lnTo>
                  <a:lnTo>
                    <a:pt x="89977" y="335441"/>
                  </a:lnTo>
                  <a:lnTo>
                    <a:pt x="86449" y="332619"/>
                  </a:lnTo>
                  <a:lnTo>
                    <a:pt x="83273" y="329797"/>
                  </a:lnTo>
                  <a:lnTo>
                    <a:pt x="80450" y="326976"/>
                  </a:lnTo>
                  <a:lnTo>
                    <a:pt x="77275" y="324154"/>
                  </a:lnTo>
                  <a:lnTo>
                    <a:pt x="74452" y="320979"/>
                  </a:lnTo>
                  <a:lnTo>
                    <a:pt x="71629" y="318157"/>
                  </a:lnTo>
                  <a:lnTo>
                    <a:pt x="68806" y="314983"/>
                  </a:lnTo>
                  <a:lnTo>
                    <a:pt x="65983" y="311456"/>
                  </a:lnTo>
                  <a:lnTo>
                    <a:pt x="39520" y="320627"/>
                  </a:lnTo>
                  <a:lnTo>
                    <a:pt x="27876" y="302990"/>
                  </a:lnTo>
                  <a:lnTo>
                    <a:pt x="46577" y="282885"/>
                  </a:lnTo>
                  <a:lnTo>
                    <a:pt x="44812" y="279005"/>
                  </a:lnTo>
                  <a:lnTo>
                    <a:pt x="43048" y="275125"/>
                  </a:lnTo>
                  <a:lnTo>
                    <a:pt x="41284" y="271245"/>
                  </a:lnTo>
                  <a:lnTo>
                    <a:pt x="39872" y="267365"/>
                  </a:lnTo>
                  <a:lnTo>
                    <a:pt x="38108" y="263132"/>
                  </a:lnTo>
                  <a:lnTo>
                    <a:pt x="36697" y="259252"/>
                  </a:lnTo>
                  <a:lnTo>
                    <a:pt x="35285" y="255020"/>
                  </a:lnTo>
                  <a:lnTo>
                    <a:pt x="34227" y="251140"/>
                  </a:lnTo>
                  <a:lnTo>
                    <a:pt x="4234" y="250082"/>
                  </a:lnTo>
                  <a:lnTo>
                    <a:pt x="0" y="229976"/>
                  </a:lnTo>
                  <a:lnTo>
                    <a:pt x="27170" y="217631"/>
                  </a:lnTo>
                  <a:lnTo>
                    <a:pt x="26817" y="209166"/>
                  </a:lnTo>
                  <a:lnTo>
                    <a:pt x="26817" y="200700"/>
                  </a:lnTo>
                  <a:lnTo>
                    <a:pt x="26817" y="192235"/>
                  </a:lnTo>
                  <a:lnTo>
                    <a:pt x="27170" y="183769"/>
                  </a:lnTo>
                  <a:lnTo>
                    <a:pt x="0" y="169661"/>
                  </a:lnTo>
                  <a:lnTo>
                    <a:pt x="4234" y="149203"/>
                  </a:lnTo>
                  <a:lnTo>
                    <a:pt x="34227" y="149908"/>
                  </a:lnTo>
                  <a:lnTo>
                    <a:pt x="35285" y="145675"/>
                  </a:lnTo>
                  <a:lnTo>
                    <a:pt x="37050" y="141795"/>
                  </a:lnTo>
                  <a:lnTo>
                    <a:pt x="38108" y="137563"/>
                  </a:lnTo>
                  <a:lnTo>
                    <a:pt x="39872" y="133683"/>
                  </a:lnTo>
                  <a:lnTo>
                    <a:pt x="41990" y="130155"/>
                  </a:lnTo>
                  <a:lnTo>
                    <a:pt x="43401" y="125923"/>
                  </a:lnTo>
                  <a:lnTo>
                    <a:pt x="45518" y="121690"/>
                  </a:lnTo>
                  <a:lnTo>
                    <a:pt x="47635" y="118163"/>
                  </a:lnTo>
                  <a:lnTo>
                    <a:pt x="25053" y="94530"/>
                  </a:lnTo>
                  <a:lnTo>
                    <a:pt x="37050" y="77599"/>
                  </a:lnTo>
                  <a:lnTo>
                    <a:pt x="66689" y="89592"/>
                  </a:lnTo>
                  <a:lnTo>
                    <a:pt x="69512" y="86418"/>
                  </a:lnTo>
                  <a:lnTo>
                    <a:pt x="72335" y="83243"/>
                  </a:lnTo>
                  <a:lnTo>
                    <a:pt x="75158" y="80069"/>
                  </a:lnTo>
                  <a:lnTo>
                    <a:pt x="78333" y="76894"/>
                  </a:lnTo>
                  <a:lnTo>
                    <a:pt x="81156" y="74072"/>
                  </a:lnTo>
                  <a:lnTo>
                    <a:pt x="84685" y="71250"/>
                  </a:lnTo>
                  <a:lnTo>
                    <a:pt x="87860" y="68076"/>
                  </a:lnTo>
                  <a:lnTo>
                    <a:pt x="91036" y="65254"/>
                  </a:lnTo>
                  <a:lnTo>
                    <a:pt x="78686" y="35978"/>
                  </a:lnTo>
                  <a:lnTo>
                    <a:pt x="96329" y="24338"/>
                  </a:lnTo>
                  <a:lnTo>
                    <a:pt x="119617" y="46207"/>
                  </a:lnTo>
                  <a:lnTo>
                    <a:pt x="123145" y="44443"/>
                  </a:lnTo>
                  <a:lnTo>
                    <a:pt x="127027" y="42680"/>
                  </a:lnTo>
                  <a:lnTo>
                    <a:pt x="131261" y="40563"/>
                  </a:lnTo>
                  <a:lnTo>
                    <a:pt x="134789" y="39153"/>
                  </a:lnTo>
                  <a:lnTo>
                    <a:pt x="139024" y="37389"/>
                  </a:lnTo>
                  <a:lnTo>
                    <a:pt x="142905" y="35978"/>
                  </a:lnTo>
                  <a:lnTo>
                    <a:pt x="147492" y="34567"/>
                  </a:lnTo>
                  <a:lnTo>
                    <a:pt x="151726" y="33156"/>
                  </a:lnTo>
                  <a:lnTo>
                    <a:pt x="152079" y="3880"/>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3" name="Oval 192"/>
            <p:cNvSpPr/>
            <p:nvPr/>
          </p:nvSpPr>
          <p:spPr>
            <a:xfrm>
              <a:off x="6937388" y="2602031"/>
              <a:ext cx="67184" cy="67184"/>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sp>
          <p:nvSpPr>
            <p:cNvPr id="194" name="Oval 193"/>
            <p:cNvSpPr/>
            <p:nvPr/>
          </p:nvSpPr>
          <p:spPr>
            <a:xfrm>
              <a:off x="7150422" y="2581294"/>
              <a:ext cx="48331" cy="48331"/>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sp>
          <p:nvSpPr>
            <p:cNvPr id="195" name="Oval 194"/>
            <p:cNvSpPr/>
            <p:nvPr/>
          </p:nvSpPr>
          <p:spPr>
            <a:xfrm>
              <a:off x="7081354" y="2704863"/>
              <a:ext cx="38391" cy="38391"/>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grpSp>
      <p:sp>
        <p:nvSpPr>
          <p:cNvPr id="196" name="Rectangle 195"/>
          <p:cNvSpPr/>
          <p:nvPr/>
        </p:nvSpPr>
        <p:spPr bwMode="auto">
          <a:xfrm>
            <a:off x="6146602" y="3120134"/>
            <a:ext cx="1189065" cy="3934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491">
              <a:defRPr/>
            </a:pPr>
            <a:endParaRPr lang="en-US" sz="2200" kern="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latin typeface="+mj-lt"/>
              <a:cs typeface="Arial" charset="0"/>
            </a:endParaRPr>
          </a:p>
        </p:txBody>
      </p:sp>
      <p:sp>
        <p:nvSpPr>
          <p:cNvPr id="197" name="Rectangle 196"/>
          <p:cNvSpPr/>
          <p:nvPr/>
        </p:nvSpPr>
        <p:spPr>
          <a:xfrm>
            <a:off x="7535301" y="3055567"/>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defRPr/>
            </a:pPr>
            <a:r>
              <a:rPr lang="en-US" sz="1200" kern="0" dirty="0">
                <a:solidFill>
                  <a:prstClr val="white"/>
                </a:solidFill>
                <a:latin typeface="+mj-lt"/>
              </a:rPr>
              <a:t>Reporting</a:t>
            </a:r>
          </a:p>
        </p:txBody>
      </p:sp>
      <p:sp>
        <p:nvSpPr>
          <p:cNvPr id="198" name="Rectangle 197"/>
          <p:cNvSpPr/>
          <p:nvPr/>
        </p:nvSpPr>
        <p:spPr>
          <a:xfrm>
            <a:off x="7531387" y="3634690"/>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r>
              <a:rPr lang="en-US" sz="1200" kern="0" dirty="0">
                <a:solidFill>
                  <a:prstClr val="white"/>
                </a:solidFill>
                <a:latin typeface="+mj-lt"/>
              </a:rPr>
              <a:t>Log Extraction</a:t>
            </a:r>
          </a:p>
        </p:txBody>
      </p:sp>
      <p:sp>
        <p:nvSpPr>
          <p:cNvPr id="199" name="Rectangle 198"/>
          <p:cNvSpPr/>
          <p:nvPr/>
        </p:nvSpPr>
        <p:spPr>
          <a:xfrm>
            <a:off x="7535301" y="3345130"/>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r>
              <a:rPr lang="en-US" sz="1200" kern="0" dirty="0">
                <a:solidFill>
                  <a:prstClr val="white"/>
                </a:solidFill>
                <a:latin typeface="+mj-lt"/>
              </a:rPr>
              <a:t>Management </a:t>
            </a:r>
          </a:p>
        </p:txBody>
      </p:sp>
      <p:grpSp>
        <p:nvGrpSpPr>
          <p:cNvPr id="22" name="Group 239"/>
          <p:cNvGrpSpPr/>
          <p:nvPr/>
        </p:nvGrpSpPr>
        <p:grpSpPr>
          <a:xfrm>
            <a:off x="7164477" y="4218180"/>
            <a:ext cx="211134" cy="202752"/>
            <a:chOff x="7259132" y="4715728"/>
            <a:chExt cx="220784" cy="212019"/>
          </a:xfrm>
        </p:grpSpPr>
        <p:sp>
          <p:nvSpPr>
            <p:cNvPr id="200" name="Oval 199"/>
            <p:cNvSpPr/>
            <p:nvPr/>
          </p:nvSpPr>
          <p:spPr>
            <a:xfrm>
              <a:off x="7259132" y="4715728"/>
              <a:ext cx="220784" cy="212019"/>
            </a:xfrm>
            <a:prstGeom prst="ellipse">
              <a:avLst/>
            </a:prstGeom>
            <a:gradFill>
              <a:gsLst>
                <a:gs pos="0">
                  <a:srgbClr val="D81F28">
                    <a:lumMod val="75000"/>
                  </a:srgbClr>
                </a:gs>
                <a:gs pos="100000">
                  <a:srgbClr val="D81F28"/>
                </a:gs>
              </a:gsLst>
              <a:lin ang="13500000" scaled="1"/>
            </a:gradFill>
            <a:ln w="28575"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23" name="Group 238"/>
            <p:cNvGrpSpPr/>
            <p:nvPr/>
          </p:nvGrpSpPr>
          <p:grpSpPr>
            <a:xfrm>
              <a:off x="7299297" y="4776279"/>
              <a:ext cx="136590" cy="96536"/>
              <a:chOff x="7299297" y="4776279"/>
              <a:chExt cx="136590" cy="96536"/>
            </a:xfrm>
          </p:grpSpPr>
          <p:sp>
            <p:nvSpPr>
              <p:cNvPr id="201" name="Rectangle 49"/>
              <p:cNvSpPr>
                <a:spLocks noChangeArrowheads="1"/>
              </p:cNvSpPr>
              <p:nvPr/>
            </p:nvSpPr>
            <p:spPr bwMode="auto">
              <a:xfrm>
                <a:off x="7299297" y="4842512"/>
                <a:ext cx="91059"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2" name="Rectangle 50"/>
              <p:cNvSpPr>
                <a:spLocks noChangeArrowheads="1"/>
              </p:cNvSpPr>
              <p:nvPr/>
            </p:nvSpPr>
            <p:spPr bwMode="auto">
              <a:xfrm>
                <a:off x="7344828" y="4809180"/>
                <a:ext cx="91059"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3" name="Rectangle 51"/>
              <p:cNvSpPr>
                <a:spLocks noChangeArrowheads="1"/>
              </p:cNvSpPr>
              <p:nvPr/>
            </p:nvSpPr>
            <p:spPr bwMode="auto">
              <a:xfrm>
                <a:off x="7394414" y="4842512"/>
                <a:ext cx="41472"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4" name="Rectangle 52"/>
              <p:cNvSpPr>
                <a:spLocks noChangeArrowheads="1"/>
              </p:cNvSpPr>
              <p:nvPr/>
            </p:nvSpPr>
            <p:spPr bwMode="auto">
              <a:xfrm>
                <a:off x="7394414" y="4776279"/>
                <a:ext cx="41472"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5" name="Rectangle 53"/>
              <p:cNvSpPr>
                <a:spLocks noChangeArrowheads="1"/>
              </p:cNvSpPr>
              <p:nvPr/>
            </p:nvSpPr>
            <p:spPr bwMode="auto">
              <a:xfrm>
                <a:off x="7299297" y="4809180"/>
                <a:ext cx="41023"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6" name="Rectangle 54"/>
              <p:cNvSpPr>
                <a:spLocks noChangeArrowheads="1"/>
              </p:cNvSpPr>
              <p:nvPr/>
            </p:nvSpPr>
            <p:spPr bwMode="auto">
              <a:xfrm>
                <a:off x="7299297" y="4776279"/>
                <a:ext cx="91059"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24" name="Group 237"/>
          <p:cNvGrpSpPr/>
          <p:nvPr/>
        </p:nvGrpSpPr>
        <p:grpSpPr>
          <a:xfrm>
            <a:off x="7811887" y="4218180"/>
            <a:ext cx="211134" cy="202752"/>
            <a:chOff x="7870353" y="4715728"/>
            <a:chExt cx="220784" cy="212019"/>
          </a:xfrm>
        </p:grpSpPr>
        <p:sp>
          <p:nvSpPr>
            <p:cNvPr id="207" name="Oval 206"/>
            <p:cNvSpPr/>
            <p:nvPr/>
          </p:nvSpPr>
          <p:spPr>
            <a:xfrm>
              <a:off x="7870353" y="4715728"/>
              <a:ext cx="220784" cy="212019"/>
            </a:xfrm>
            <a:prstGeom prst="ellipse">
              <a:avLst/>
            </a:prstGeom>
            <a:gradFill>
              <a:gsLst>
                <a:gs pos="0">
                  <a:srgbClr val="D81F28">
                    <a:lumMod val="75000"/>
                  </a:srgbClr>
                </a:gs>
                <a:gs pos="100000">
                  <a:srgbClr val="D81F28"/>
                </a:gs>
              </a:gsLst>
              <a:lin ang="13500000" scaled="1"/>
            </a:gradFill>
            <a:ln w="28575"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26" name="Group 236"/>
            <p:cNvGrpSpPr/>
            <p:nvPr/>
          </p:nvGrpSpPr>
          <p:grpSpPr>
            <a:xfrm>
              <a:off x="7910519" y="4776279"/>
              <a:ext cx="136589" cy="96536"/>
              <a:chOff x="7910519" y="4776279"/>
              <a:chExt cx="136589" cy="96536"/>
            </a:xfrm>
          </p:grpSpPr>
          <p:sp>
            <p:nvSpPr>
              <p:cNvPr id="208" name="Rectangle 49"/>
              <p:cNvSpPr>
                <a:spLocks noChangeArrowheads="1"/>
              </p:cNvSpPr>
              <p:nvPr/>
            </p:nvSpPr>
            <p:spPr bwMode="auto">
              <a:xfrm>
                <a:off x="7910519" y="4842512"/>
                <a:ext cx="91059" cy="30303"/>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9" name="Rectangle 50"/>
              <p:cNvSpPr>
                <a:spLocks noChangeArrowheads="1"/>
              </p:cNvSpPr>
              <p:nvPr/>
            </p:nvSpPr>
            <p:spPr bwMode="auto">
              <a:xfrm>
                <a:off x="7956049" y="4809180"/>
                <a:ext cx="91059" cy="30303"/>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0" name="Rectangle 51"/>
              <p:cNvSpPr>
                <a:spLocks noChangeArrowheads="1"/>
              </p:cNvSpPr>
              <p:nvPr/>
            </p:nvSpPr>
            <p:spPr bwMode="auto">
              <a:xfrm>
                <a:off x="8005636" y="4842512"/>
                <a:ext cx="41472"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1" name="Rectangle 52"/>
              <p:cNvSpPr>
                <a:spLocks noChangeArrowheads="1"/>
              </p:cNvSpPr>
              <p:nvPr/>
            </p:nvSpPr>
            <p:spPr bwMode="auto">
              <a:xfrm>
                <a:off x="8005636" y="4776279"/>
                <a:ext cx="41472"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2" name="Rectangle 53"/>
              <p:cNvSpPr>
                <a:spLocks noChangeArrowheads="1"/>
              </p:cNvSpPr>
              <p:nvPr/>
            </p:nvSpPr>
            <p:spPr bwMode="auto">
              <a:xfrm>
                <a:off x="7910519" y="4809180"/>
                <a:ext cx="41023"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3" name="Rectangle 54"/>
              <p:cNvSpPr>
                <a:spLocks noChangeArrowheads="1"/>
              </p:cNvSpPr>
              <p:nvPr/>
            </p:nvSpPr>
            <p:spPr bwMode="auto">
              <a:xfrm>
                <a:off x="7910519" y="4776279"/>
                <a:ext cx="91059" cy="29870"/>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27" name="Group 241"/>
          <p:cNvGrpSpPr/>
          <p:nvPr/>
        </p:nvGrpSpPr>
        <p:grpSpPr>
          <a:xfrm>
            <a:off x="5906178" y="4218180"/>
            <a:ext cx="211134" cy="202752"/>
            <a:chOff x="5943322" y="4715728"/>
            <a:chExt cx="220784" cy="212019"/>
          </a:xfrm>
          <a:solidFill>
            <a:schemeClr val="accent4"/>
          </a:solidFill>
        </p:grpSpPr>
        <p:sp>
          <p:nvSpPr>
            <p:cNvPr id="214" name="Oval 213"/>
            <p:cNvSpPr/>
            <p:nvPr/>
          </p:nvSpPr>
          <p:spPr>
            <a:xfrm>
              <a:off x="5943322" y="4715728"/>
              <a:ext cx="220784" cy="212019"/>
            </a:xfrm>
            <a:prstGeom prst="ellipse">
              <a:avLst/>
            </a:prstGeom>
            <a:grpFill/>
            <a:ln w="38100"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sp>
          <p:nvSpPr>
            <p:cNvPr id="215" name="Freeform 8"/>
            <p:cNvSpPr>
              <a:spLocks/>
            </p:cNvSpPr>
            <p:nvPr/>
          </p:nvSpPr>
          <p:spPr bwMode="auto">
            <a:xfrm>
              <a:off x="6000729" y="4781541"/>
              <a:ext cx="109832" cy="8164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000000"/>
                </a:solidFill>
                <a:latin typeface="+mj-lt"/>
              </a:endParaRPr>
            </a:p>
          </p:txBody>
        </p:sp>
      </p:grpSp>
      <p:grpSp>
        <p:nvGrpSpPr>
          <p:cNvPr id="29" name="Group 240"/>
          <p:cNvGrpSpPr/>
          <p:nvPr/>
        </p:nvGrpSpPr>
        <p:grpSpPr>
          <a:xfrm>
            <a:off x="6551804" y="4218180"/>
            <a:ext cx="211134" cy="202752"/>
            <a:chOff x="6618456" y="4715728"/>
            <a:chExt cx="220784" cy="212019"/>
          </a:xfrm>
        </p:grpSpPr>
        <p:sp>
          <p:nvSpPr>
            <p:cNvPr id="216" name="Oval 215"/>
            <p:cNvSpPr/>
            <p:nvPr/>
          </p:nvSpPr>
          <p:spPr>
            <a:xfrm>
              <a:off x="6618456" y="4715728"/>
              <a:ext cx="220784" cy="212019"/>
            </a:xfrm>
            <a:prstGeom prst="ellipse">
              <a:avLst/>
            </a:prstGeom>
            <a:solidFill>
              <a:schemeClr val="accent5"/>
            </a:solidFill>
            <a:ln w="38100"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sp>
          <p:nvSpPr>
            <p:cNvPr id="217" name="Freeform 216"/>
            <p:cNvSpPr>
              <a:spLocks noEditPoints="1"/>
            </p:cNvSpPr>
            <p:nvPr/>
          </p:nvSpPr>
          <p:spPr bwMode="auto">
            <a:xfrm>
              <a:off x="6658413" y="4762802"/>
              <a:ext cx="140869" cy="117869"/>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218" name="Rounded Rectangle 191"/>
          <p:cNvSpPr/>
          <p:nvPr/>
        </p:nvSpPr>
        <p:spPr>
          <a:xfrm>
            <a:off x="6121811"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Allow</a:t>
            </a:r>
          </a:p>
        </p:txBody>
      </p:sp>
      <p:sp>
        <p:nvSpPr>
          <p:cNvPr id="219" name="Rounded Rectangle 191"/>
          <p:cNvSpPr/>
          <p:nvPr/>
        </p:nvSpPr>
        <p:spPr>
          <a:xfrm>
            <a:off x="6712614"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Warn</a:t>
            </a:r>
          </a:p>
        </p:txBody>
      </p:sp>
      <p:sp>
        <p:nvSpPr>
          <p:cNvPr id="220" name="Rounded Rectangle 191"/>
          <p:cNvSpPr/>
          <p:nvPr/>
        </p:nvSpPr>
        <p:spPr>
          <a:xfrm>
            <a:off x="7333998"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Block</a:t>
            </a:r>
          </a:p>
        </p:txBody>
      </p:sp>
      <p:sp>
        <p:nvSpPr>
          <p:cNvPr id="221" name="Rounded Rectangle 191"/>
          <p:cNvSpPr/>
          <p:nvPr/>
        </p:nvSpPr>
        <p:spPr>
          <a:xfrm>
            <a:off x="7960119" y="4185177"/>
            <a:ext cx="780437"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Partial Block</a:t>
            </a:r>
          </a:p>
        </p:txBody>
      </p:sp>
      <p:sp>
        <p:nvSpPr>
          <p:cNvPr id="222" name="Down Arrow 221"/>
          <p:cNvSpPr/>
          <p:nvPr/>
        </p:nvSpPr>
        <p:spPr>
          <a:xfrm>
            <a:off x="7977037" y="2476615"/>
            <a:ext cx="144248" cy="559335"/>
          </a:xfrm>
          <a:prstGeom prst="downArrow">
            <a:avLst/>
          </a:prstGeom>
          <a:solidFill>
            <a:schemeClr val="accent3"/>
          </a:solidFill>
          <a:ln w="25400" cap="flat" cmpd="sng" algn="ctr">
            <a:noFill/>
            <a:prstDash val="solid"/>
          </a:ln>
          <a:effectLst/>
        </p:spPr>
        <p:txBody>
          <a:bodyPr lIns="91436" tIns="45718" rIns="91436" bIns="45718" rtlCol="0" anchor="ctr"/>
          <a:lstStyle/>
          <a:p>
            <a:pPr algn="ctr" defTabSz="1218173">
              <a:defRPr/>
            </a:pPr>
            <a:endParaRPr lang="en-US" sz="2400" kern="0">
              <a:solidFill>
                <a:prstClr val="white"/>
              </a:solidFill>
              <a:latin typeface="+mj-lt"/>
            </a:endParaRPr>
          </a:p>
        </p:txBody>
      </p:sp>
      <p:sp>
        <p:nvSpPr>
          <p:cNvPr id="224" name="Rectangle 223"/>
          <p:cNvSpPr/>
          <p:nvPr/>
        </p:nvSpPr>
        <p:spPr bwMode="auto">
          <a:xfrm>
            <a:off x="5843950" y="2942417"/>
            <a:ext cx="524867" cy="524867"/>
          </a:xfrm>
          <a:prstGeom prst="rect">
            <a:avLst/>
          </a:prstGeom>
          <a:solidFill>
            <a:schemeClr val="accent3">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b" anchorCtr="0" forceAA="0" compatLnSpc="1">
            <a:prstTxWarp prst="textNoShape">
              <a:avLst/>
            </a:prstTxWarp>
            <a:noAutofit/>
          </a:bodyPr>
          <a:lstStyle/>
          <a:p>
            <a:pPr algn="ctr" defTabSz="913491">
              <a:defRPr/>
            </a:pPr>
            <a:r>
              <a:rPr lang="en-US" sz="1000" kern="0" spc="-100" dirty="0">
                <a:ln w="3175">
                  <a:noFill/>
                </a:ln>
                <a:solidFill>
                  <a:srgbClr val="FFFFFF"/>
                </a:solidFill>
                <a:latin typeface="+mj-lt"/>
                <a:cs typeface="Arial" charset="0"/>
              </a:rPr>
              <a:t>HQ</a:t>
            </a:r>
            <a:endParaRPr lang="en-US" sz="1100" kern="0" spc="-100" dirty="0">
              <a:ln w="3175">
                <a:noFill/>
              </a:ln>
              <a:solidFill>
                <a:srgbClr val="FFFFFF"/>
              </a:solidFill>
              <a:latin typeface="+mj-lt"/>
              <a:cs typeface="Arial" charset="0"/>
            </a:endParaRPr>
          </a:p>
        </p:txBody>
      </p:sp>
      <p:sp>
        <p:nvSpPr>
          <p:cNvPr id="225" name="Freeform 263"/>
          <p:cNvSpPr>
            <a:spLocks/>
          </p:cNvSpPr>
          <p:nvPr/>
        </p:nvSpPr>
        <p:spPr bwMode="auto">
          <a:xfrm>
            <a:off x="5963925" y="2987003"/>
            <a:ext cx="271936" cy="266065"/>
          </a:xfrm>
          <a:custGeom>
            <a:avLst/>
            <a:gdLst>
              <a:gd name="T0" fmla="*/ 35 w 425"/>
              <a:gd name="T1" fmla="*/ 392 h 431"/>
              <a:gd name="T2" fmla="*/ 35 w 425"/>
              <a:gd name="T3" fmla="*/ 127 h 431"/>
              <a:gd name="T4" fmla="*/ 213 w 425"/>
              <a:gd name="T5" fmla="*/ 0 h 431"/>
              <a:gd name="T6" fmla="*/ 391 w 425"/>
              <a:gd name="T7" fmla="*/ 127 h 431"/>
              <a:gd name="T8" fmla="*/ 391 w 425"/>
              <a:gd name="T9" fmla="*/ 162 h 431"/>
              <a:gd name="T10" fmla="*/ 213 w 425"/>
              <a:gd name="T11" fmla="*/ 59 h 431"/>
              <a:gd name="T12" fmla="*/ 213 w 425"/>
              <a:gd name="T13" fmla="*/ 96 h 431"/>
              <a:gd name="T14" fmla="*/ 391 w 425"/>
              <a:gd name="T15" fmla="*/ 191 h 431"/>
              <a:gd name="T16" fmla="*/ 391 w 425"/>
              <a:gd name="T17" fmla="*/ 230 h 431"/>
              <a:gd name="T18" fmla="*/ 213 w 425"/>
              <a:gd name="T19" fmla="*/ 160 h 431"/>
              <a:gd name="T20" fmla="*/ 213 w 425"/>
              <a:gd name="T21" fmla="*/ 194 h 431"/>
              <a:gd name="T22" fmla="*/ 391 w 425"/>
              <a:gd name="T23" fmla="*/ 257 h 431"/>
              <a:gd name="T24" fmla="*/ 391 w 425"/>
              <a:gd name="T25" fmla="*/ 298 h 431"/>
              <a:gd name="T26" fmla="*/ 213 w 425"/>
              <a:gd name="T27" fmla="*/ 260 h 431"/>
              <a:gd name="T28" fmla="*/ 213 w 425"/>
              <a:gd name="T29" fmla="*/ 292 h 431"/>
              <a:gd name="T30" fmla="*/ 391 w 425"/>
              <a:gd name="T31" fmla="*/ 325 h 431"/>
              <a:gd name="T32" fmla="*/ 391 w 425"/>
              <a:gd name="T33" fmla="*/ 365 h 431"/>
              <a:gd name="T34" fmla="*/ 213 w 425"/>
              <a:gd name="T35" fmla="*/ 359 h 431"/>
              <a:gd name="T36" fmla="*/ 213 w 425"/>
              <a:gd name="T37" fmla="*/ 392 h 431"/>
              <a:gd name="T38" fmla="*/ 425 w 425"/>
              <a:gd name="T39" fmla="*/ 392 h 431"/>
              <a:gd name="T40" fmla="*/ 425 w 425"/>
              <a:gd name="T41" fmla="*/ 431 h 431"/>
              <a:gd name="T42" fmla="*/ 0 w 425"/>
              <a:gd name="T43" fmla="*/ 431 h 431"/>
              <a:gd name="T44" fmla="*/ 0 w 425"/>
              <a:gd name="T45" fmla="*/ 392 h 431"/>
              <a:gd name="T46" fmla="*/ 35 w 425"/>
              <a:gd name="T47" fmla="*/ 392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31">
                <a:moveTo>
                  <a:pt x="35" y="392"/>
                </a:moveTo>
                <a:lnTo>
                  <a:pt x="35" y="127"/>
                </a:lnTo>
                <a:lnTo>
                  <a:pt x="213" y="0"/>
                </a:lnTo>
                <a:lnTo>
                  <a:pt x="391" y="127"/>
                </a:lnTo>
                <a:lnTo>
                  <a:pt x="391" y="162"/>
                </a:lnTo>
                <a:lnTo>
                  <a:pt x="213" y="59"/>
                </a:lnTo>
                <a:lnTo>
                  <a:pt x="213" y="96"/>
                </a:lnTo>
                <a:lnTo>
                  <a:pt x="391" y="191"/>
                </a:lnTo>
                <a:lnTo>
                  <a:pt x="391" y="230"/>
                </a:lnTo>
                <a:lnTo>
                  <a:pt x="213" y="160"/>
                </a:lnTo>
                <a:lnTo>
                  <a:pt x="213" y="194"/>
                </a:lnTo>
                <a:lnTo>
                  <a:pt x="391" y="257"/>
                </a:lnTo>
                <a:lnTo>
                  <a:pt x="391" y="298"/>
                </a:lnTo>
                <a:lnTo>
                  <a:pt x="213" y="260"/>
                </a:lnTo>
                <a:lnTo>
                  <a:pt x="213" y="292"/>
                </a:lnTo>
                <a:lnTo>
                  <a:pt x="391" y="325"/>
                </a:lnTo>
                <a:lnTo>
                  <a:pt x="391" y="365"/>
                </a:lnTo>
                <a:lnTo>
                  <a:pt x="213" y="359"/>
                </a:lnTo>
                <a:lnTo>
                  <a:pt x="213" y="392"/>
                </a:lnTo>
                <a:lnTo>
                  <a:pt x="425" y="392"/>
                </a:lnTo>
                <a:lnTo>
                  <a:pt x="425" y="431"/>
                </a:lnTo>
                <a:lnTo>
                  <a:pt x="0" y="431"/>
                </a:lnTo>
                <a:lnTo>
                  <a:pt x="0" y="392"/>
                </a:lnTo>
                <a:lnTo>
                  <a:pt x="35" y="392"/>
                </a:lnTo>
                <a:close/>
              </a:path>
            </a:pathLst>
          </a:custGeom>
          <a:solidFill>
            <a:srgbClr val="FFFFFF"/>
          </a:solidFill>
          <a:ln>
            <a:noFill/>
          </a:ln>
          <a:extLst/>
        </p:spPr>
        <p:txBody>
          <a:bodyPr vert="horz" wrap="square" lIns="91388" tIns="45694" rIns="91388" bIns="45694" numCol="1" anchor="t" anchorCtr="0" compatLnSpc="1">
            <a:prstTxWarp prst="textNoShape">
              <a:avLst/>
            </a:prstTxWarp>
          </a:bodyPr>
          <a:lstStyle/>
          <a:p>
            <a:pPr defTabSz="914103">
              <a:defRPr/>
            </a:pPr>
            <a:endParaRPr lang="en-US" kern="0">
              <a:solidFill>
                <a:srgbClr val="FFFFFF"/>
              </a:solidFill>
              <a:latin typeface="+mj-lt"/>
            </a:endParaRPr>
          </a:p>
        </p:txBody>
      </p:sp>
      <p:sp>
        <p:nvSpPr>
          <p:cNvPr id="304" name="Oval 303"/>
          <p:cNvSpPr/>
          <p:nvPr/>
        </p:nvSpPr>
        <p:spPr>
          <a:xfrm>
            <a:off x="3777373" y="1449217"/>
            <a:ext cx="199447" cy="191528"/>
          </a:xfrm>
          <a:prstGeom prst="ellipse">
            <a:avLst/>
          </a:prstGeom>
          <a:solidFill>
            <a:schemeClr val="accent4"/>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305" name="Freeform 8"/>
          <p:cNvSpPr>
            <a:spLocks/>
          </p:cNvSpPr>
          <p:nvPr/>
        </p:nvSpPr>
        <p:spPr bwMode="auto">
          <a:xfrm>
            <a:off x="3829237" y="1508671"/>
            <a:ext cx="99219" cy="7375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000000"/>
              </a:solidFill>
              <a:latin typeface="+mj-lt"/>
            </a:endParaRPr>
          </a:p>
        </p:txBody>
      </p:sp>
      <p:sp>
        <p:nvSpPr>
          <p:cNvPr id="306" name="Oval 305"/>
          <p:cNvSpPr/>
          <p:nvPr/>
        </p:nvSpPr>
        <p:spPr>
          <a:xfrm>
            <a:off x="3777373" y="1711429"/>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307" name="Freeform 306"/>
          <p:cNvSpPr>
            <a:spLocks noEditPoints="1"/>
          </p:cNvSpPr>
          <p:nvPr/>
        </p:nvSpPr>
        <p:spPr bwMode="auto">
          <a:xfrm>
            <a:off x="3813469" y="1753953"/>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557" name="Rounded Rectangle 191"/>
          <p:cNvSpPr/>
          <p:nvPr/>
        </p:nvSpPr>
        <p:spPr>
          <a:xfrm>
            <a:off x="283708" y="3689204"/>
            <a:ext cx="489960" cy="185499"/>
          </a:xfrm>
          <a:prstGeom prst="rect">
            <a:avLst/>
          </a:prstGeom>
          <a:noFill/>
          <a:ln w="25400" cap="flat" cmpd="sng" algn="ctr">
            <a:noFill/>
            <a:prstDash val="solid"/>
          </a:ln>
          <a:effectLst/>
        </p:spPr>
        <p:txBody>
          <a:bodyPr lIns="0" tIns="34289" rIns="0" bIns="34289" rtlCol="0" anchor="ctr"/>
          <a:lstStyle/>
          <a:p>
            <a:pPr defTabSz="685270">
              <a:defRPr/>
            </a:pPr>
            <a:r>
              <a:rPr lang="ja-JP" altLang="en-US" sz="800" kern="0" dirty="0" smtClean="0">
                <a:solidFill>
                  <a:srgbClr val="676767"/>
                </a:solidFill>
                <a:latin typeface="+mj-lt"/>
              </a:rPr>
              <a:t>クライアント</a:t>
            </a:r>
            <a:endParaRPr lang="en-US" altLang="ja-JP" sz="800" kern="0" dirty="0" smtClean="0">
              <a:solidFill>
                <a:srgbClr val="676767"/>
              </a:solidFill>
              <a:latin typeface="+mj-lt"/>
            </a:endParaRPr>
          </a:p>
          <a:p>
            <a:pPr defTabSz="685270">
              <a:defRPr/>
            </a:pPr>
            <a:r>
              <a:rPr lang="ja-JP" altLang="en-US" sz="800" kern="0" dirty="0" smtClean="0">
                <a:solidFill>
                  <a:srgbClr val="676767"/>
                </a:solidFill>
                <a:latin typeface="+mj-lt"/>
              </a:rPr>
              <a:t>認証方法</a:t>
            </a:r>
            <a:endParaRPr lang="en-US" sz="800" kern="0" dirty="0">
              <a:solidFill>
                <a:srgbClr val="676767"/>
              </a:solidFill>
              <a:latin typeface="+mj-lt"/>
            </a:endParaRPr>
          </a:p>
        </p:txBody>
      </p:sp>
      <p:sp>
        <p:nvSpPr>
          <p:cNvPr id="70" name="Right Arrow 69"/>
          <p:cNvSpPr/>
          <p:nvPr/>
        </p:nvSpPr>
        <p:spPr>
          <a:xfrm>
            <a:off x="400433" y="1659029"/>
            <a:ext cx="564568" cy="201405"/>
          </a:xfrm>
          <a:prstGeom prst="rightArrow">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algn="ctr" defTabSz="457170"/>
            <a:endParaRPr lang="en-US" sz="800" dirty="0">
              <a:solidFill>
                <a:srgbClr val="435153"/>
              </a:solidFill>
              <a:latin typeface="+mj-lt"/>
            </a:endParaRPr>
          </a:p>
        </p:txBody>
      </p:sp>
      <p:sp>
        <p:nvSpPr>
          <p:cNvPr id="79" name="Rectangle 78"/>
          <p:cNvSpPr/>
          <p:nvPr/>
        </p:nvSpPr>
        <p:spPr>
          <a:xfrm>
            <a:off x="400432" y="1803897"/>
            <a:ext cx="104932" cy="1486884"/>
          </a:xfrm>
          <a:prstGeom prst="rect">
            <a:avLst/>
          </a:prstGeom>
          <a:gradFill flip="none" rotWithShape="1">
            <a:gsLst>
              <a:gs pos="100000">
                <a:srgbClr val="3333FF">
                  <a:alpha val="9000"/>
                </a:srgbClr>
              </a:gs>
              <a:gs pos="0">
                <a:schemeClr val="tx2">
                  <a:lumMod val="10000"/>
                  <a:lumOff val="9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58" name="Rectangle 557"/>
          <p:cNvSpPr/>
          <p:nvPr/>
        </p:nvSpPr>
        <p:spPr>
          <a:xfrm rot="5400000">
            <a:off x="566056" y="3009439"/>
            <a:ext cx="104932" cy="226313"/>
          </a:xfrm>
          <a:prstGeom prst="rect">
            <a:avLst/>
          </a:prstGeom>
          <a:solidFill>
            <a:schemeClr val="tx2">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62" name="Rectangle 561"/>
          <p:cNvSpPr/>
          <p:nvPr/>
        </p:nvSpPr>
        <p:spPr>
          <a:xfrm>
            <a:off x="400432" y="1803897"/>
            <a:ext cx="104932" cy="1486884"/>
          </a:xfrm>
          <a:prstGeom prst="rect">
            <a:avLst/>
          </a:prstGeom>
          <a:gradFill flip="none" rotWithShape="1">
            <a:gsLst>
              <a:gs pos="100000">
                <a:schemeClr val="bg1">
                  <a:lumMod val="85000"/>
                  <a:alpha val="0"/>
                </a:schemeClr>
              </a:gs>
              <a:gs pos="0">
                <a:schemeClr val="bg1">
                  <a:lumMod val="8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63" name="Oval 562"/>
          <p:cNvSpPr/>
          <p:nvPr/>
        </p:nvSpPr>
        <p:spPr>
          <a:xfrm>
            <a:off x="274643" y="1575742"/>
            <a:ext cx="356521" cy="356427"/>
          </a:xfrm>
          <a:prstGeom prst="ellipse">
            <a:avLst/>
          </a:prstGeom>
          <a:solidFill>
            <a:schemeClr val="accent3">
              <a:lumMod val="20000"/>
              <a:lumOff val="80000"/>
            </a:schemeClr>
          </a:solidFill>
          <a:ln w="6350" cap="flat" cmpd="sng" algn="ctr">
            <a:solidFill>
              <a:schemeClr val="bg1">
                <a:lumMod val="50000"/>
              </a:schemeClr>
            </a:solidFill>
            <a:prstDash val="solid"/>
          </a:ln>
          <a:effectLst/>
        </p:spPr>
        <p:txBody>
          <a:bodyPr wrap="none" lIns="68577" tIns="34289" rIns="68577" bIns="34289" rtlCol="0" anchor="ctr"/>
          <a:lstStyle/>
          <a:p>
            <a:pPr algn="ctr" defTabSz="913638">
              <a:defRPr/>
            </a:pPr>
            <a:r>
              <a:rPr lang="en-US" sz="800" b="1" kern="0" dirty="0">
                <a:solidFill>
                  <a:srgbClr val="435153"/>
                </a:solidFill>
                <a:latin typeface="+mj-lt"/>
              </a:rPr>
              <a:t>www</a:t>
            </a:r>
          </a:p>
        </p:txBody>
      </p:sp>
      <p:grpSp>
        <p:nvGrpSpPr>
          <p:cNvPr id="750" name="Group 569"/>
          <p:cNvGrpSpPr/>
          <p:nvPr/>
        </p:nvGrpSpPr>
        <p:grpSpPr>
          <a:xfrm>
            <a:off x="8232882" y="1888867"/>
            <a:ext cx="354939" cy="305679"/>
            <a:chOff x="11089059" y="2479654"/>
            <a:chExt cx="463636" cy="415799"/>
          </a:xfrm>
          <a:solidFill>
            <a:schemeClr val="bg1"/>
          </a:solidFill>
        </p:grpSpPr>
        <p:sp>
          <p:nvSpPr>
            <p:cNvPr id="571" name="Freeform 570"/>
            <p:cNvSpPr>
              <a:spLocks/>
            </p:cNvSpPr>
            <p:nvPr/>
          </p:nvSpPr>
          <p:spPr bwMode="auto">
            <a:xfrm flipH="1">
              <a:off x="11142303" y="2479654"/>
              <a:ext cx="410392" cy="211529"/>
            </a:xfrm>
            <a:custGeom>
              <a:avLst/>
              <a:gdLst>
                <a:gd name="T0" fmla="*/ 393 w 2374"/>
                <a:gd name="T1" fmla="*/ 810 h 1226"/>
                <a:gd name="T2" fmla="*/ 443 w 2374"/>
                <a:gd name="T3" fmla="*/ 707 h 1226"/>
                <a:gd name="T4" fmla="*/ 504 w 2374"/>
                <a:gd name="T5" fmla="*/ 611 h 1226"/>
                <a:gd name="T6" fmla="*/ 574 w 2374"/>
                <a:gd name="T7" fmla="*/ 522 h 1226"/>
                <a:gd name="T8" fmla="*/ 653 w 2374"/>
                <a:gd name="T9" fmla="*/ 445 h 1226"/>
                <a:gd name="T10" fmla="*/ 739 w 2374"/>
                <a:gd name="T11" fmla="*/ 375 h 1226"/>
                <a:gd name="T12" fmla="*/ 832 w 2374"/>
                <a:gd name="T13" fmla="*/ 316 h 1226"/>
                <a:gd name="T14" fmla="*/ 931 w 2374"/>
                <a:gd name="T15" fmla="*/ 265 h 1226"/>
                <a:gd name="T16" fmla="*/ 1036 w 2374"/>
                <a:gd name="T17" fmla="*/ 228 h 1226"/>
                <a:gd name="T18" fmla="*/ 1146 w 2374"/>
                <a:gd name="T19" fmla="*/ 201 h 1226"/>
                <a:gd name="T20" fmla="*/ 1257 w 2374"/>
                <a:gd name="T21" fmla="*/ 186 h 1226"/>
                <a:gd name="T22" fmla="*/ 1335 w 2374"/>
                <a:gd name="T23" fmla="*/ 183 h 1226"/>
                <a:gd name="T24" fmla="*/ 1434 w 2374"/>
                <a:gd name="T25" fmla="*/ 188 h 1226"/>
                <a:gd name="T26" fmla="*/ 1531 w 2374"/>
                <a:gd name="T27" fmla="*/ 202 h 1226"/>
                <a:gd name="T28" fmla="*/ 1624 w 2374"/>
                <a:gd name="T29" fmla="*/ 225 h 1226"/>
                <a:gd name="T30" fmla="*/ 1715 w 2374"/>
                <a:gd name="T31" fmla="*/ 256 h 1226"/>
                <a:gd name="T32" fmla="*/ 1802 w 2374"/>
                <a:gd name="T33" fmla="*/ 296 h 1226"/>
                <a:gd name="T34" fmla="*/ 1884 w 2374"/>
                <a:gd name="T35" fmla="*/ 343 h 1226"/>
                <a:gd name="T36" fmla="*/ 1964 w 2374"/>
                <a:gd name="T37" fmla="*/ 400 h 1226"/>
                <a:gd name="T38" fmla="*/ 2036 w 2374"/>
                <a:gd name="T39" fmla="*/ 461 h 1226"/>
                <a:gd name="T40" fmla="*/ 2103 w 2374"/>
                <a:gd name="T41" fmla="*/ 531 h 1226"/>
                <a:gd name="T42" fmla="*/ 2162 w 2374"/>
                <a:gd name="T43" fmla="*/ 607 h 1226"/>
                <a:gd name="T44" fmla="*/ 2374 w 2374"/>
                <a:gd name="T45" fmla="*/ 598 h 1226"/>
                <a:gd name="T46" fmla="*/ 2301 w 2374"/>
                <a:gd name="T47" fmla="*/ 489 h 1226"/>
                <a:gd name="T48" fmla="*/ 2171 w 2374"/>
                <a:gd name="T49" fmla="*/ 340 h 1226"/>
                <a:gd name="T50" fmla="*/ 2017 w 2374"/>
                <a:gd name="T51" fmla="*/ 214 h 1226"/>
                <a:gd name="T52" fmla="*/ 1941 w 2374"/>
                <a:gd name="T53" fmla="*/ 164 h 1226"/>
                <a:gd name="T54" fmla="*/ 1820 w 2374"/>
                <a:gd name="T55" fmla="*/ 102 h 1226"/>
                <a:gd name="T56" fmla="*/ 1692 w 2374"/>
                <a:gd name="T57" fmla="*/ 55 h 1226"/>
                <a:gd name="T58" fmla="*/ 1561 w 2374"/>
                <a:gd name="T59" fmla="*/ 23 h 1226"/>
                <a:gd name="T60" fmla="*/ 1427 w 2374"/>
                <a:gd name="T61" fmla="*/ 4 h 1226"/>
                <a:gd name="T62" fmla="*/ 1335 w 2374"/>
                <a:gd name="T63" fmla="*/ 0 h 1226"/>
                <a:gd name="T64" fmla="*/ 1181 w 2374"/>
                <a:gd name="T65" fmla="*/ 10 h 1226"/>
                <a:gd name="T66" fmla="*/ 1034 w 2374"/>
                <a:gd name="T67" fmla="*/ 39 h 1226"/>
                <a:gd name="T68" fmla="*/ 892 w 2374"/>
                <a:gd name="T69" fmla="*/ 84 h 1226"/>
                <a:gd name="T70" fmla="*/ 756 w 2374"/>
                <a:gd name="T71" fmla="*/ 149 h 1226"/>
                <a:gd name="T72" fmla="*/ 627 w 2374"/>
                <a:gd name="T73" fmla="*/ 230 h 1226"/>
                <a:gd name="T74" fmla="*/ 550 w 2374"/>
                <a:gd name="T75" fmla="*/ 293 h 1226"/>
                <a:gd name="T76" fmla="*/ 443 w 2374"/>
                <a:gd name="T77" fmla="*/ 398 h 1226"/>
                <a:gd name="T78" fmla="*/ 351 w 2374"/>
                <a:gd name="T79" fmla="*/ 514 h 1226"/>
                <a:gd name="T80" fmla="*/ 273 w 2374"/>
                <a:gd name="T81" fmla="*/ 640 h 1226"/>
                <a:gd name="T82" fmla="*/ 212 w 2374"/>
                <a:gd name="T83" fmla="*/ 775 h 1226"/>
                <a:gd name="T84" fmla="*/ 166 w 2374"/>
                <a:gd name="T85" fmla="*/ 917 h 1226"/>
                <a:gd name="T86" fmla="*/ 234 w 2374"/>
                <a:gd name="T87" fmla="*/ 122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74" h="1226">
                  <a:moveTo>
                    <a:pt x="330" y="962"/>
                  </a:moveTo>
                  <a:lnTo>
                    <a:pt x="393" y="810"/>
                  </a:lnTo>
                  <a:lnTo>
                    <a:pt x="393" y="810"/>
                  </a:lnTo>
                  <a:lnTo>
                    <a:pt x="409" y="775"/>
                  </a:lnTo>
                  <a:lnTo>
                    <a:pt x="425" y="741"/>
                  </a:lnTo>
                  <a:lnTo>
                    <a:pt x="443" y="707"/>
                  </a:lnTo>
                  <a:lnTo>
                    <a:pt x="462" y="673"/>
                  </a:lnTo>
                  <a:lnTo>
                    <a:pt x="483" y="642"/>
                  </a:lnTo>
                  <a:lnTo>
                    <a:pt x="504" y="611"/>
                  </a:lnTo>
                  <a:lnTo>
                    <a:pt x="527" y="581"/>
                  </a:lnTo>
                  <a:lnTo>
                    <a:pt x="550" y="552"/>
                  </a:lnTo>
                  <a:lnTo>
                    <a:pt x="574" y="522"/>
                  </a:lnTo>
                  <a:lnTo>
                    <a:pt x="600" y="495"/>
                  </a:lnTo>
                  <a:lnTo>
                    <a:pt x="625" y="469"/>
                  </a:lnTo>
                  <a:lnTo>
                    <a:pt x="653" y="445"/>
                  </a:lnTo>
                  <a:lnTo>
                    <a:pt x="680" y="421"/>
                  </a:lnTo>
                  <a:lnTo>
                    <a:pt x="710" y="396"/>
                  </a:lnTo>
                  <a:lnTo>
                    <a:pt x="739" y="375"/>
                  </a:lnTo>
                  <a:lnTo>
                    <a:pt x="769" y="354"/>
                  </a:lnTo>
                  <a:lnTo>
                    <a:pt x="800" y="333"/>
                  </a:lnTo>
                  <a:lnTo>
                    <a:pt x="832" y="316"/>
                  </a:lnTo>
                  <a:lnTo>
                    <a:pt x="865" y="298"/>
                  </a:lnTo>
                  <a:lnTo>
                    <a:pt x="897" y="282"/>
                  </a:lnTo>
                  <a:lnTo>
                    <a:pt x="931" y="265"/>
                  </a:lnTo>
                  <a:lnTo>
                    <a:pt x="965" y="253"/>
                  </a:lnTo>
                  <a:lnTo>
                    <a:pt x="1000" y="240"/>
                  </a:lnTo>
                  <a:lnTo>
                    <a:pt x="1036" y="228"/>
                  </a:lnTo>
                  <a:lnTo>
                    <a:pt x="1072" y="217"/>
                  </a:lnTo>
                  <a:lnTo>
                    <a:pt x="1109" y="209"/>
                  </a:lnTo>
                  <a:lnTo>
                    <a:pt x="1146" y="201"/>
                  </a:lnTo>
                  <a:lnTo>
                    <a:pt x="1183" y="194"/>
                  </a:lnTo>
                  <a:lnTo>
                    <a:pt x="1220" y="189"/>
                  </a:lnTo>
                  <a:lnTo>
                    <a:pt x="1257" y="186"/>
                  </a:lnTo>
                  <a:lnTo>
                    <a:pt x="1296" y="185"/>
                  </a:lnTo>
                  <a:lnTo>
                    <a:pt x="1335" y="183"/>
                  </a:lnTo>
                  <a:lnTo>
                    <a:pt x="1335" y="183"/>
                  </a:lnTo>
                  <a:lnTo>
                    <a:pt x="1367" y="183"/>
                  </a:lnTo>
                  <a:lnTo>
                    <a:pt x="1401" y="185"/>
                  </a:lnTo>
                  <a:lnTo>
                    <a:pt x="1434" y="188"/>
                  </a:lnTo>
                  <a:lnTo>
                    <a:pt x="1466" y="191"/>
                  </a:lnTo>
                  <a:lnTo>
                    <a:pt x="1498" y="196"/>
                  </a:lnTo>
                  <a:lnTo>
                    <a:pt x="1531" y="202"/>
                  </a:lnTo>
                  <a:lnTo>
                    <a:pt x="1561" y="209"/>
                  </a:lnTo>
                  <a:lnTo>
                    <a:pt x="1594" y="215"/>
                  </a:lnTo>
                  <a:lnTo>
                    <a:pt x="1624" y="225"/>
                  </a:lnTo>
                  <a:lnTo>
                    <a:pt x="1655" y="235"/>
                  </a:lnTo>
                  <a:lnTo>
                    <a:pt x="1686" y="244"/>
                  </a:lnTo>
                  <a:lnTo>
                    <a:pt x="1715" y="256"/>
                  </a:lnTo>
                  <a:lnTo>
                    <a:pt x="1744" y="269"/>
                  </a:lnTo>
                  <a:lnTo>
                    <a:pt x="1773" y="282"/>
                  </a:lnTo>
                  <a:lnTo>
                    <a:pt x="1802" y="296"/>
                  </a:lnTo>
                  <a:lnTo>
                    <a:pt x="1831" y="311"/>
                  </a:lnTo>
                  <a:lnTo>
                    <a:pt x="1859" y="327"/>
                  </a:lnTo>
                  <a:lnTo>
                    <a:pt x="1884" y="343"/>
                  </a:lnTo>
                  <a:lnTo>
                    <a:pt x="1912" y="361"/>
                  </a:lnTo>
                  <a:lnTo>
                    <a:pt x="1938" y="380"/>
                  </a:lnTo>
                  <a:lnTo>
                    <a:pt x="1964" y="400"/>
                  </a:lnTo>
                  <a:lnTo>
                    <a:pt x="1988" y="419"/>
                  </a:lnTo>
                  <a:lnTo>
                    <a:pt x="2012" y="440"/>
                  </a:lnTo>
                  <a:lnTo>
                    <a:pt x="2036" y="461"/>
                  </a:lnTo>
                  <a:lnTo>
                    <a:pt x="2059" y="484"/>
                  </a:lnTo>
                  <a:lnTo>
                    <a:pt x="2082" y="506"/>
                  </a:lnTo>
                  <a:lnTo>
                    <a:pt x="2103" y="531"/>
                  </a:lnTo>
                  <a:lnTo>
                    <a:pt x="2124" y="556"/>
                  </a:lnTo>
                  <a:lnTo>
                    <a:pt x="2143" y="581"/>
                  </a:lnTo>
                  <a:lnTo>
                    <a:pt x="2162" y="607"/>
                  </a:lnTo>
                  <a:lnTo>
                    <a:pt x="2182" y="634"/>
                  </a:lnTo>
                  <a:lnTo>
                    <a:pt x="2200" y="661"/>
                  </a:lnTo>
                  <a:lnTo>
                    <a:pt x="2374" y="598"/>
                  </a:lnTo>
                  <a:lnTo>
                    <a:pt x="2374" y="598"/>
                  </a:lnTo>
                  <a:lnTo>
                    <a:pt x="2340" y="543"/>
                  </a:lnTo>
                  <a:lnTo>
                    <a:pt x="2301" y="489"/>
                  </a:lnTo>
                  <a:lnTo>
                    <a:pt x="2261" y="437"/>
                  </a:lnTo>
                  <a:lnTo>
                    <a:pt x="2217" y="387"/>
                  </a:lnTo>
                  <a:lnTo>
                    <a:pt x="2171" y="340"/>
                  </a:lnTo>
                  <a:lnTo>
                    <a:pt x="2122" y="295"/>
                  </a:lnTo>
                  <a:lnTo>
                    <a:pt x="2070" y="253"/>
                  </a:lnTo>
                  <a:lnTo>
                    <a:pt x="2017" y="214"/>
                  </a:lnTo>
                  <a:lnTo>
                    <a:pt x="2017" y="214"/>
                  </a:lnTo>
                  <a:lnTo>
                    <a:pt x="1980" y="188"/>
                  </a:lnTo>
                  <a:lnTo>
                    <a:pt x="1941" y="164"/>
                  </a:lnTo>
                  <a:lnTo>
                    <a:pt x="1901" y="143"/>
                  </a:lnTo>
                  <a:lnTo>
                    <a:pt x="1860" y="122"/>
                  </a:lnTo>
                  <a:lnTo>
                    <a:pt x="1820" y="102"/>
                  </a:lnTo>
                  <a:lnTo>
                    <a:pt x="1778" y="84"/>
                  </a:lnTo>
                  <a:lnTo>
                    <a:pt x="1736" y="70"/>
                  </a:lnTo>
                  <a:lnTo>
                    <a:pt x="1692" y="55"/>
                  </a:lnTo>
                  <a:lnTo>
                    <a:pt x="1650" y="42"/>
                  </a:lnTo>
                  <a:lnTo>
                    <a:pt x="1605" y="31"/>
                  </a:lnTo>
                  <a:lnTo>
                    <a:pt x="1561" y="23"/>
                  </a:lnTo>
                  <a:lnTo>
                    <a:pt x="1516" y="15"/>
                  </a:lnTo>
                  <a:lnTo>
                    <a:pt x="1472" y="8"/>
                  </a:lnTo>
                  <a:lnTo>
                    <a:pt x="1427" y="4"/>
                  </a:lnTo>
                  <a:lnTo>
                    <a:pt x="1380" y="2"/>
                  </a:lnTo>
                  <a:lnTo>
                    <a:pt x="1335" y="0"/>
                  </a:lnTo>
                  <a:lnTo>
                    <a:pt x="1335" y="0"/>
                  </a:lnTo>
                  <a:lnTo>
                    <a:pt x="1283" y="2"/>
                  </a:lnTo>
                  <a:lnTo>
                    <a:pt x="1233" y="5"/>
                  </a:lnTo>
                  <a:lnTo>
                    <a:pt x="1181" y="10"/>
                  </a:lnTo>
                  <a:lnTo>
                    <a:pt x="1133" y="18"/>
                  </a:lnTo>
                  <a:lnTo>
                    <a:pt x="1083" y="28"/>
                  </a:lnTo>
                  <a:lnTo>
                    <a:pt x="1034" y="39"/>
                  </a:lnTo>
                  <a:lnTo>
                    <a:pt x="986" y="52"/>
                  </a:lnTo>
                  <a:lnTo>
                    <a:pt x="939" y="67"/>
                  </a:lnTo>
                  <a:lnTo>
                    <a:pt x="892" y="84"/>
                  </a:lnTo>
                  <a:lnTo>
                    <a:pt x="845" y="104"/>
                  </a:lnTo>
                  <a:lnTo>
                    <a:pt x="800" y="125"/>
                  </a:lnTo>
                  <a:lnTo>
                    <a:pt x="756" y="149"/>
                  </a:lnTo>
                  <a:lnTo>
                    <a:pt x="713" y="175"/>
                  </a:lnTo>
                  <a:lnTo>
                    <a:pt x="669" y="201"/>
                  </a:lnTo>
                  <a:lnTo>
                    <a:pt x="627" y="230"/>
                  </a:lnTo>
                  <a:lnTo>
                    <a:pt x="587" y="262"/>
                  </a:lnTo>
                  <a:lnTo>
                    <a:pt x="587" y="262"/>
                  </a:lnTo>
                  <a:lnTo>
                    <a:pt x="550" y="293"/>
                  </a:lnTo>
                  <a:lnTo>
                    <a:pt x="512" y="327"/>
                  </a:lnTo>
                  <a:lnTo>
                    <a:pt x="477" y="361"/>
                  </a:lnTo>
                  <a:lnTo>
                    <a:pt x="443" y="398"/>
                  </a:lnTo>
                  <a:lnTo>
                    <a:pt x="411" y="435"/>
                  </a:lnTo>
                  <a:lnTo>
                    <a:pt x="380" y="474"/>
                  </a:lnTo>
                  <a:lnTo>
                    <a:pt x="351" y="514"/>
                  </a:lnTo>
                  <a:lnTo>
                    <a:pt x="323" y="555"/>
                  </a:lnTo>
                  <a:lnTo>
                    <a:pt x="297" y="597"/>
                  </a:lnTo>
                  <a:lnTo>
                    <a:pt x="273" y="640"/>
                  </a:lnTo>
                  <a:lnTo>
                    <a:pt x="251" y="684"/>
                  </a:lnTo>
                  <a:lnTo>
                    <a:pt x="229" y="729"/>
                  </a:lnTo>
                  <a:lnTo>
                    <a:pt x="212" y="775"/>
                  </a:lnTo>
                  <a:lnTo>
                    <a:pt x="194" y="822"/>
                  </a:lnTo>
                  <a:lnTo>
                    <a:pt x="179" y="868"/>
                  </a:lnTo>
                  <a:lnTo>
                    <a:pt x="166" y="917"/>
                  </a:lnTo>
                  <a:lnTo>
                    <a:pt x="155" y="962"/>
                  </a:lnTo>
                  <a:lnTo>
                    <a:pt x="0" y="962"/>
                  </a:lnTo>
                  <a:lnTo>
                    <a:pt x="234" y="1226"/>
                  </a:lnTo>
                  <a:lnTo>
                    <a:pt x="470" y="962"/>
                  </a:lnTo>
                  <a:lnTo>
                    <a:pt x="330" y="962"/>
                  </a:lnTo>
                  <a:close/>
                </a:path>
              </a:pathLst>
            </a:custGeom>
            <a:grpFill/>
            <a:ln>
              <a:noFill/>
            </a:ln>
            <a:extLst/>
          </p:spPr>
          <p:txBody>
            <a:bodyPr vert="horz" wrap="square" lIns="91416" tIns="45708" rIns="91416" bIns="45708" numCol="1" anchor="t" anchorCtr="0" compatLnSpc="1">
              <a:prstTxWarp prst="textNoShape">
                <a:avLst/>
              </a:prstTxWarp>
            </a:bodyPr>
            <a:lstStyle/>
            <a:p>
              <a:pPr defTabSz="914103">
                <a:defRPr/>
              </a:pPr>
              <a:r>
                <a:rPr lang="en-US" sz="1100" kern="0" dirty="0">
                  <a:solidFill>
                    <a:srgbClr val="FFFFFF"/>
                  </a:solidFill>
                  <a:latin typeface="+mj-lt"/>
                  <a:ea typeface="Times New Roman"/>
                  <a:cs typeface="Times New Roman"/>
                </a:rPr>
                <a:t> </a:t>
              </a:r>
            </a:p>
          </p:txBody>
        </p:sp>
        <p:sp>
          <p:nvSpPr>
            <p:cNvPr id="572" name="Freeform 571"/>
            <p:cNvSpPr>
              <a:spLocks/>
            </p:cNvSpPr>
            <p:nvPr/>
          </p:nvSpPr>
          <p:spPr bwMode="auto">
            <a:xfrm flipH="1">
              <a:off x="11089059" y="2666297"/>
              <a:ext cx="416962" cy="229156"/>
            </a:xfrm>
            <a:custGeom>
              <a:avLst/>
              <a:gdLst>
                <a:gd name="T0" fmla="*/ 1943 w 2413"/>
                <a:gd name="T1" fmla="*/ 264 h 1327"/>
                <a:gd name="T2" fmla="*/ 2027 w 2413"/>
                <a:gd name="T3" fmla="*/ 464 h 1327"/>
                <a:gd name="T4" fmla="*/ 1980 w 2413"/>
                <a:gd name="T5" fmla="*/ 576 h 1327"/>
                <a:gd name="T6" fmla="*/ 1922 w 2413"/>
                <a:gd name="T7" fmla="*/ 677 h 1327"/>
                <a:gd name="T8" fmla="*/ 1852 w 2413"/>
                <a:gd name="T9" fmla="*/ 773 h 1327"/>
                <a:gd name="T10" fmla="*/ 1773 w 2413"/>
                <a:gd name="T11" fmla="*/ 858 h 1327"/>
                <a:gd name="T12" fmla="*/ 1684 w 2413"/>
                <a:gd name="T13" fmla="*/ 934 h 1327"/>
                <a:gd name="T14" fmla="*/ 1589 w 2413"/>
                <a:gd name="T15" fmla="*/ 999 h 1327"/>
                <a:gd name="T16" fmla="*/ 1485 w 2413"/>
                <a:gd name="T17" fmla="*/ 1052 h 1327"/>
                <a:gd name="T18" fmla="*/ 1377 w 2413"/>
                <a:gd name="T19" fmla="*/ 1094 h 1327"/>
                <a:gd name="T20" fmla="*/ 1262 w 2413"/>
                <a:gd name="T21" fmla="*/ 1125 h 1327"/>
                <a:gd name="T22" fmla="*/ 1146 w 2413"/>
                <a:gd name="T23" fmla="*/ 1141 h 1327"/>
                <a:gd name="T24" fmla="*/ 1065 w 2413"/>
                <a:gd name="T25" fmla="*/ 1145 h 1327"/>
                <a:gd name="T26" fmla="*/ 962 w 2413"/>
                <a:gd name="T27" fmla="*/ 1140 h 1327"/>
                <a:gd name="T28" fmla="*/ 860 w 2413"/>
                <a:gd name="T29" fmla="*/ 1124 h 1327"/>
                <a:gd name="T30" fmla="*/ 761 w 2413"/>
                <a:gd name="T31" fmla="*/ 1098 h 1327"/>
                <a:gd name="T32" fmla="*/ 667 w 2413"/>
                <a:gd name="T33" fmla="*/ 1064 h 1327"/>
                <a:gd name="T34" fmla="*/ 577 w 2413"/>
                <a:gd name="T35" fmla="*/ 1019 h 1327"/>
                <a:gd name="T36" fmla="*/ 491 w 2413"/>
                <a:gd name="T37" fmla="*/ 967 h 1327"/>
                <a:gd name="T38" fmla="*/ 410 w 2413"/>
                <a:gd name="T39" fmla="*/ 905 h 1327"/>
                <a:gd name="T40" fmla="*/ 336 w 2413"/>
                <a:gd name="T41" fmla="*/ 837 h 1327"/>
                <a:gd name="T42" fmla="*/ 268 w 2413"/>
                <a:gd name="T43" fmla="*/ 761 h 1327"/>
                <a:gd name="T44" fmla="*/ 208 w 2413"/>
                <a:gd name="T45" fmla="*/ 679 h 1327"/>
                <a:gd name="T46" fmla="*/ 0 w 2413"/>
                <a:gd name="T47" fmla="*/ 682 h 1327"/>
                <a:gd name="T48" fmla="*/ 37 w 2413"/>
                <a:gd name="T49" fmla="*/ 749 h 1327"/>
                <a:gd name="T50" fmla="*/ 100 w 2413"/>
                <a:gd name="T51" fmla="*/ 842 h 1327"/>
                <a:gd name="T52" fmla="*/ 173 w 2413"/>
                <a:gd name="T53" fmla="*/ 930 h 1327"/>
                <a:gd name="T54" fmla="*/ 252 w 2413"/>
                <a:gd name="T55" fmla="*/ 1010 h 1327"/>
                <a:gd name="T56" fmla="*/ 339 w 2413"/>
                <a:gd name="T57" fmla="*/ 1083 h 1327"/>
                <a:gd name="T58" fmla="*/ 402 w 2413"/>
                <a:gd name="T59" fmla="*/ 1127 h 1327"/>
                <a:gd name="T60" fmla="*/ 515 w 2413"/>
                <a:gd name="T61" fmla="*/ 1193 h 1327"/>
                <a:gd name="T62" fmla="*/ 637 w 2413"/>
                <a:gd name="T63" fmla="*/ 1248 h 1327"/>
                <a:gd name="T64" fmla="*/ 761 w 2413"/>
                <a:gd name="T65" fmla="*/ 1287 h 1327"/>
                <a:gd name="T66" fmla="*/ 889 w 2413"/>
                <a:gd name="T67" fmla="*/ 1314 h 1327"/>
                <a:gd name="T68" fmla="*/ 1021 w 2413"/>
                <a:gd name="T69" fmla="*/ 1326 h 1327"/>
                <a:gd name="T70" fmla="*/ 1117 w 2413"/>
                <a:gd name="T71" fmla="*/ 1326 h 1327"/>
                <a:gd name="T72" fmla="*/ 1270 w 2413"/>
                <a:gd name="T73" fmla="*/ 1308 h 1327"/>
                <a:gd name="T74" fmla="*/ 1421 w 2413"/>
                <a:gd name="T75" fmla="*/ 1272 h 1327"/>
                <a:gd name="T76" fmla="*/ 1564 w 2413"/>
                <a:gd name="T77" fmla="*/ 1217 h 1327"/>
                <a:gd name="T78" fmla="*/ 1702 w 2413"/>
                <a:gd name="T79" fmla="*/ 1145 h 1327"/>
                <a:gd name="T80" fmla="*/ 1828 w 2413"/>
                <a:gd name="T81" fmla="*/ 1054 h 1327"/>
                <a:gd name="T82" fmla="*/ 1904 w 2413"/>
                <a:gd name="T83" fmla="*/ 986 h 1327"/>
                <a:gd name="T84" fmla="*/ 2006 w 2413"/>
                <a:gd name="T85" fmla="*/ 873 h 1327"/>
                <a:gd name="T86" fmla="*/ 2093 w 2413"/>
                <a:gd name="T87" fmla="*/ 747 h 1327"/>
                <a:gd name="T88" fmla="*/ 2164 w 2413"/>
                <a:gd name="T89" fmla="*/ 613 h 1327"/>
                <a:gd name="T90" fmla="*/ 2216 w 2413"/>
                <a:gd name="T91" fmla="*/ 471 h 1327"/>
                <a:gd name="T92" fmla="*/ 2264 w 2413"/>
                <a:gd name="T93" fmla="*/ 264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13" h="1327">
                  <a:moveTo>
                    <a:pt x="2413" y="264"/>
                  </a:moveTo>
                  <a:lnTo>
                    <a:pt x="2177" y="0"/>
                  </a:lnTo>
                  <a:lnTo>
                    <a:pt x="1943" y="264"/>
                  </a:lnTo>
                  <a:lnTo>
                    <a:pt x="2098" y="264"/>
                  </a:lnTo>
                  <a:lnTo>
                    <a:pt x="2027" y="464"/>
                  </a:lnTo>
                  <a:lnTo>
                    <a:pt x="2027" y="464"/>
                  </a:lnTo>
                  <a:lnTo>
                    <a:pt x="2012" y="503"/>
                  </a:lnTo>
                  <a:lnTo>
                    <a:pt x="1998" y="538"/>
                  </a:lnTo>
                  <a:lnTo>
                    <a:pt x="1980" y="576"/>
                  </a:lnTo>
                  <a:lnTo>
                    <a:pt x="1962" y="611"/>
                  </a:lnTo>
                  <a:lnTo>
                    <a:pt x="1943" y="645"/>
                  </a:lnTo>
                  <a:lnTo>
                    <a:pt x="1922" y="677"/>
                  </a:lnTo>
                  <a:lnTo>
                    <a:pt x="1899" y="711"/>
                  </a:lnTo>
                  <a:lnTo>
                    <a:pt x="1876" y="742"/>
                  </a:lnTo>
                  <a:lnTo>
                    <a:pt x="1852" y="773"/>
                  </a:lnTo>
                  <a:lnTo>
                    <a:pt x="1826" y="802"/>
                  </a:lnTo>
                  <a:lnTo>
                    <a:pt x="1800" y="831"/>
                  </a:lnTo>
                  <a:lnTo>
                    <a:pt x="1773" y="858"/>
                  </a:lnTo>
                  <a:lnTo>
                    <a:pt x="1744" y="884"/>
                  </a:lnTo>
                  <a:lnTo>
                    <a:pt x="1715" y="910"/>
                  </a:lnTo>
                  <a:lnTo>
                    <a:pt x="1684" y="934"/>
                  </a:lnTo>
                  <a:lnTo>
                    <a:pt x="1653" y="957"/>
                  </a:lnTo>
                  <a:lnTo>
                    <a:pt x="1621" y="978"/>
                  </a:lnTo>
                  <a:lnTo>
                    <a:pt x="1589" y="999"/>
                  </a:lnTo>
                  <a:lnTo>
                    <a:pt x="1555" y="1019"/>
                  </a:lnTo>
                  <a:lnTo>
                    <a:pt x="1521" y="1036"/>
                  </a:lnTo>
                  <a:lnTo>
                    <a:pt x="1485" y="1052"/>
                  </a:lnTo>
                  <a:lnTo>
                    <a:pt x="1450" y="1069"/>
                  </a:lnTo>
                  <a:lnTo>
                    <a:pt x="1414" y="1083"/>
                  </a:lnTo>
                  <a:lnTo>
                    <a:pt x="1377" y="1094"/>
                  </a:lnTo>
                  <a:lnTo>
                    <a:pt x="1340" y="1106"/>
                  </a:lnTo>
                  <a:lnTo>
                    <a:pt x="1301" y="1117"/>
                  </a:lnTo>
                  <a:lnTo>
                    <a:pt x="1262" y="1125"/>
                  </a:lnTo>
                  <a:lnTo>
                    <a:pt x="1223" y="1132"/>
                  </a:lnTo>
                  <a:lnTo>
                    <a:pt x="1185" y="1137"/>
                  </a:lnTo>
                  <a:lnTo>
                    <a:pt x="1146" y="1141"/>
                  </a:lnTo>
                  <a:lnTo>
                    <a:pt x="1105" y="1143"/>
                  </a:lnTo>
                  <a:lnTo>
                    <a:pt x="1065" y="1145"/>
                  </a:lnTo>
                  <a:lnTo>
                    <a:pt x="1065" y="1145"/>
                  </a:lnTo>
                  <a:lnTo>
                    <a:pt x="1029" y="1143"/>
                  </a:lnTo>
                  <a:lnTo>
                    <a:pt x="995" y="1141"/>
                  </a:lnTo>
                  <a:lnTo>
                    <a:pt x="962" y="1140"/>
                  </a:lnTo>
                  <a:lnTo>
                    <a:pt x="928" y="1135"/>
                  </a:lnTo>
                  <a:lnTo>
                    <a:pt x="894" y="1130"/>
                  </a:lnTo>
                  <a:lnTo>
                    <a:pt x="860" y="1124"/>
                  </a:lnTo>
                  <a:lnTo>
                    <a:pt x="827" y="1115"/>
                  </a:lnTo>
                  <a:lnTo>
                    <a:pt x="793" y="1107"/>
                  </a:lnTo>
                  <a:lnTo>
                    <a:pt x="761" y="1098"/>
                  </a:lnTo>
                  <a:lnTo>
                    <a:pt x="730" y="1088"/>
                  </a:lnTo>
                  <a:lnTo>
                    <a:pt x="698" y="1075"/>
                  </a:lnTo>
                  <a:lnTo>
                    <a:pt x="667" y="1064"/>
                  </a:lnTo>
                  <a:lnTo>
                    <a:pt x="637" y="1049"/>
                  </a:lnTo>
                  <a:lnTo>
                    <a:pt x="606" y="1035"/>
                  </a:lnTo>
                  <a:lnTo>
                    <a:pt x="577" y="1019"/>
                  </a:lnTo>
                  <a:lnTo>
                    <a:pt x="548" y="1002"/>
                  </a:lnTo>
                  <a:lnTo>
                    <a:pt x="519" y="985"/>
                  </a:lnTo>
                  <a:lnTo>
                    <a:pt x="491" y="967"/>
                  </a:lnTo>
                  <a:lnTo>
                    <a:pt x="464" y="947"/>
                  </a:lnTo>
                  <a:lnTo>
                    <a:pt x="436" y="928"/>
                  </a:lnTo>
                  <a:lnTo>
                    <a:pt x="410" y="905"/>
                  </a:lnTo>
                  <a:lnTo>
                    <a:pt x="385" y="884"/>
                  </a:lnTo>
                  <a:lnTo>
                    <a:pt x="360" y="862"/>
                  </a:lnTo>
                  <a:lnTo>
                    <a:pt x="336" y="837"/>
                  </a:lnTo>
                  <a:lnTo>
                    <a:pt x="313" y="813"/>
                  </a:lnTo>
                  <a:lnTo>
                    <a:pt x="291" y="787"/>
                  </a:lnTo>
                  <a:lnTo>
                    <a:pt x="268" y="761"/>
                  </a:lnTo>
                  <a:lnTo>
                    <a:pt x="247" y="736"/>
                  </a:lnTo>
                  <a:lnTo>
                    <a:pt x="228" y="708"/>
                  </a:lnTo>
                  <a:lnTo>
                    <a:pt x="208" y="679"/>
                  </a:lnTo>
                  <a:lnTo>
                    <a:pt x="191" y="650"/>
                  </a:lnTo>
                  <a:lnTo>
                    <a:pt x="173" y="621"/>
                  </a:lnTo>
                  <a:lnTo>
                    <a:pt x="0" y="682"/>
                  </a:lnTo>
                  <a:lnTo>
                    <a:pt x="0" y="682"/>
                  </a:lnTo>
                  <a:lnTo>
                    <a:pt x="18" y="716"/>
                  </a:lnTo>
                  <a:lnTo>
                    <a:pt x="37" y="749"/>
                  </a:lnTo>
                  <a:lnTo>
                    <a:pt x="56" y="781"/>
                  </a:lnTo>
                  <a:lnTo>
                    <a:pt x="77" y="812"/>
                  </a:lnTo>
                  <a:lnTo>
                    <a:pt x="100" y="842"/>
                  </a:lnTo>
                  <a:lnTo>
                    <a:pt x="123" y="871"/>
                  </a:lnTo>
                  <a:lnTo>
                    <a:pt x="147" y="901"/>
                  </a:lnTo>
                  <a:lnTo>
                    <a:pt x="173" y="930"/>
                  </a:lnTo>
                  <a:lnTo>
                    <a:pt x="197" y="957"/>
                  </a:lnTo>
                  <a:lnTo>
                    <a:pt x="225" y="985"/>
                  </a:lnTo>
                  <a:lnTo>
                    <a:pt x="252" y="1010"/>
                  </a:lnTo>
                  <a:lnTo>
                    <a:pt x="280" y="1035"/>
                  </a:lnTo>
                  <a:lnTo>
                    <a:pt x="310" y="1059"/>
                  </a:lnTo>
                  <a:lnTo>
                    <a:pt x="339" y="1083"/>
                  </a:lnTo>
                  <a:lnTo>
                    <a:pt x="370" y="1106"/>
                  </a:lnTo>
                  <a:lnTo>
                    <a:pt x="402" y="1127"/>
                  </a:lnTo>
                  <a:lnTo>
                    <a:pt x="402" y="1127"/>
                  </a:lnTo>
                  <a:lnTo>
                    <a:pt x="440" y="1151"/>
                  </a:lnTo>
                  <a:lnTo>
                    <a:pt x="477" y="1172"/>
                  </a:lnTo>
                  <a:lnTo>
                    <a:pt x="515" y="1193"/>
                  </a:lnTo>
                  <a:lnTo>
                    <a:pt x="556" y="1212"/>
                  </a:lnTo>
                  <a:lnTo>
                    <a:pt x="596" y="1230"/>
                  </a:lnTo>
                  <a:lnTo>
                    <a:pt x="637" y="1248"/>
                  </a:lnTo>
                  <a:lnTo>
                    <a:pt x="677" y="1263"/>
                  </a:lnTo>
                  <a:lnTo>
                    <a:pt x="719" y="1276"/>
                  </a:lnTo>
                  <a:lnTo>
                    <a:pt x="761" y="1287"/>
                  </a:lnTo>
                  <a:lnTo>
                    <a:pt x="803" y="1298"/>
                  </a:lnTo>
                  <a:lnTo>
                    <a:pt x="847" y="1306"/>
                  </a:lnTo>
                  <a:lnTo>
                    <a:pt x="889" y="1314"/>
                  </a:lnTo>
                  <a:lnTo>
                    <a:pt x="932" y="1319"/>
                  </a:lnTo>
                  <a:lnTo>
                    <a:pt x="976" y="1324"/>
                  </a:lnTo>
                  <a:lnTo>
                    <a:pt x="1021" y="1326"/>
                  </a:lnTo>
                  <a:lnTo>
                    <a:pt x="1065" y="1327"/>
                  </a:lnTo>
                  <a:lnTo>
                    <a:pt x="1065" y="1327"/>
                  </a:lnTo>
                  <a:lnTo>
                    <a:pt x="1117" y="1326"/>
                  </a:lnTo>
                  <a:lnTo>
                    <a:pt x="1168" y="1322"/>
                  </a:lnTo>
                  <a:lnTo>
                    <a:pt x="1220" y="1316"/>
                  </a:lnTo>
                  <a:lnTo>
                    <a:pt x="1270" y="1308"/>
                  </a:lnTo>
                  <a:lnTo>
                    <a:pt x="1322" y="1298"/>
                  </a:lnTo>
                  <a:lnTo>
                    <a:pt x="1372" y="1287"/>
                  </a:lnTo>
                  <a:lnTo>
                    <a:pt x="1421" y="1272"/>
                  </a:lnTo>
                  <a:lnTo>
                    <a:pt x="1471" y="1256"/>
                  </a:lnTo>
                  <a:lnTo>
                    <a:pt x="1518" y="1238"/>
                  </a:lnTo>
                  <a:lnTo>
                    <a:pt x="1564" y="1217"/>
                  </a:lnTo>
                  <a:lnTo>
                    <a:pt x="1611" y="1195"/>
                  </a:lnTo>
                  <a:lnTo>
                    <a:pt x="1656" y="1170"/>
                  </a:lnTo>
                  <a:lnTo>
                    <a:pt x="1702" y="1145"/>
                  </a:lnTo>
                  <a:lnTo>
                    <a:pt x="1744" y="1115"/>
                  </a:lnTo>
                  <a:lnTo>
                    <a:pt x="1786" y="1086"/>
                  </a:lnTo>
                  <a:lnTo>
                    <a:pt x="1828" y="1054"/>
                  </a:lnTo>
                  <a:lnTo>
                    <a:pt x="1828" y="1054"/>
                  </a:lnTo>
                  <a:lnTo>
                    <a:pt x="1867" y="1020"/>
                  </a:lnTo>
                  <a:lnTo>
                    <a:pt x="1904" y="986"/>
                  </a:lnTo>
                  <a:lnTo>
                    <a:pt x="1939" y="949"/>
                  </a:lnTo>
                  <a:lnTo>
                    <a:pt x="1973" y="912"/>
                  </a:lnTo>
                  <a:lnTo>
                    <a:pt x="2006" y="873"/>
                  </a:lnTo>
                  <a:lnTo>
                    <a:pt x="2036" y="833"/>
                  </a:lnTo>
                  <a:lnTo>
                    <a:pt x="2065" y="791"/>
                  </a:lnTo>
                  <a:lnTo>
                    <a:pt x="2093" y="747"/>
                  </a:lnTo>
                  <a:lnTo>
                    <a:pt x="2119" y="703"/>
                  </a:lnTo>
                  <a:lnTo>
                    <a:pt x="2141" y="660"/>
                  </a:lnTo>
                  <a:lnTo>
                    <a:pt x="2164" y="613"/>
                  </a:lnTo>
                  <a:lnTo>
                    <a:pt x="2183" y="566"/>
                  </a:lnTo>
                  <a:lnTo>
                    <a:pt x="2201" y="519"/>
                  </a:lnTo>
                  <a:lnTo>
                    <a:pt x="2216" y="471"/>
                  </a:lnTo>
                  <a:lnTo>
                    <a:pt x="2230" y="422"/>
                  </a:lnTo>
                  <a:lnTo>
                    <a:pt x="2242" y="372"/>
                  </a:lnTo>
                  <a:lnTo>
                    <a:pt x="2264" y="264"/>
                  </a:lnTo>
                  <a:lnTo>
                    <a:pt x="2413" y="264"/>
                  </a:lnTo>
                  <a:close/>
                </a:path>
              </a:pathLst>
            </a:custGeom>
            <a:grpFill/>
            <a:ln>
              <a:noFill/>
            </a:ln>
            <a:extLst/>
          </p:spPr>
          <p:txBody>
            <a:bodyPr vert="horz" wrap="square" lIns="91416" tIns="45708" rIns="91416" bIns="45708" numCol="1" anchor="t" anchorCtr="0" compatLnSpc="1">
              <a:prstTxWarp prst="textNoShape">
                <a:avLst/>
              </a:prstTxWarp>
            </a:bodyPr>
            <a:lstStyle/>
            <a:p>
              <a:pPr defTabSz="914103">
                <a:defRPr/>
              </a:pPr>
              <a:r>
                <a:rPr lang="en-US" sz="1100" kern="0" dirty="0">
                  <a:solidFill>
                    <a:srgbClr val="FFFFFF"/>
                  </a:solidFill>
                  <a:latin typeface="+mj-lt"/>
                  <a:ea typeface="Times New Roman"/>
                  <a:cs typeface="Times New Roman"/>
                </a:rPr>
                <a:t> </a:t>
              </a:r>
            </a:p>
          </p:txBody>
        </p:sp>
        <p:sp>
          <p:nvSpPr>
            <p:cNvPr id="573" name="Freeform 13"/>
            <p:cNvSpPr>
              <a:spLocks noEditPoints="1"/>
            </p:cNvSpPr>
            <p:nvPr/>
          </p:nvSpPr>
          <p:spPr bwMode="auto">
            <a:xfrm>
              <a:off x="11198657" y="2565333"/>
              <a:ext cx="244441" cy="244441"/>
            </a:xfrm>
            <a:custGeom>
              <a:avLst/>
              <a:gdLst>
                <a:gd name="T0" fmla="*/ 1347 w 3325"/>
                <a:gd name="T1" fmla="*/ 3204 h 3325"/>
                <a:gd name="T2" fmla="*/ 1418 w 3325"/>
                <a:gd name="T3" fmla="*/ 2719 h 3325"/>
                <a:gd name="T4" fmla="*/ 2061 w 3325"/>
                <a:gd name="T5" fmla="*/ 2670 h 3325"/>
                <a:gd name="T6" fmla="*/ 1771 w 3325"/>
                <a:gd name="T7" fmla="*/ 3232 h 3325"/>
                <a:gd name="T8" fmla="*/ 2365 w 3325"/>
                <a:gd name="T9" fmla="*/ 3070 h 3325"/>
                <a:gd name="T10" fmla="*/ 464 w 3325"/>
                <a:gd name="T11" fmla="*/ 2681 h 3325"/>
                <a:gd name="T12" fmla="*/ 1111 w 3325"/>
                <a:gd name="T13" fmla="*/ 2595 h 3325"/>
                <a:gd name="T14" fmla="*/ 735 w 3325"/>
                <a:gd name="T15" fmla="*/ 2222 h 3325"/>
                <a:gd name="T16" fmla="*/ 2293 w 3325"/>
                <a:gd name="T17" fmla="*/ 2544 h 3325"/>
                <a:gd name="T18" fmla="*/ 2817 w 3325"/>
                <a:gd name="T19" fmla="*/ 2731 h 3325"/>
                <a:gd name="T20" fmla="*/ 1171 w 3325"/>
                <a:gd name="T21" fmla="*/ 2562 h 3325"/>
                <a:gd name="T22" fmla="*/ 1645 w 3325"/>
                <a:gd name="T23" fmla="*/ 2687 h 3325"/>
                <a:gd name="T24" fmla="*/ 1074 w 3325"/>
                <a:gd name="T25" fmla="*/ 2109 h 3325"/>
                <a:gd name="T26" fmla="*/ 997 w 3325"/>
                <a:gd name="T27" fmla="*/ 2208 h 3325"/>
                <a:gd name="T28" fmla="*/ 918 w 3325"/>
                <a:gd name="T29" fmla="*/ 2122 h 3325"/>
                <a:gd name="T30" fmla="*/ 1021 w 3325"/>
                <a:gd name="T31" fmla="*/ 2463 h 3325"/>
                <a:gd name="T32" fmla="*/ 1828 w 3325"/>
                <a:gd name="T33" fmla="*/ 2674 h 3325"/>
                <a:gd name="T34" fmla="*/ 1700 w 3325"/>
                <a:gd name="T35" fmla="*/ 1675 h 3325"/>
                <a:gd name="T36" fmla="*/ 2516 w 3325"/>
                <a:gd name="T37" fmla="*/ 2231 h 3325"/>
                <a:gd name="T38" fmla="*/ 681 w 3325"/>
                <a:gd name="T39" fmla="*/ 1962 h 3325"/>
                <a:gd name="T40" fmla="*/ 92 w 3325"/>
                <a:gd name="T41" fmla="*/ 1756 h 3325"/>
                <a:gd name="T42" fmla="*/ 252 w 3325"/>
                <a:gd name="T43" fmla="*/ 2359 h 3325"/>
                <a:gd name="T44" fmla="*/ 591 w 3325"/>
                <a:gd name="T45" fmla="*/ 1824 h 3325"/>
                <a:gd name="T46" fmla="*/ 687 w 3325"/>
                <a:gd name="T47" fmla="*/ 1346 h 3325"/>
                <a:gd name="T48" fmla="*/ 2367 w 3325"/>
                <a:gd name="T49" fmla="*/ 1150 h 3325"/>
                <a:gd name="T50" fmla="*/ 2292 w 3325"/>
                <a:gd name="T51" fmla="*/ 1250 h 3325"/>
                <a:gd name="T52" fmla="*/ 2408 w 3325"/>
                <a:gd name="T53" fmla="*/ 1298 h 3325"/>
                <a:gd name="T54" fmla="*/ 2424 w 3325"/>
                <a:gd name="T55" fmla="*/ 1174 h 3325"/>
                <a:gd name="T56" fmla="*/ 178 w 3325"/>
                <a:gd name="T57" fmla="*/ 1143 h 3325"/>
                <a:gd name="T58" fmla="*/ 585 w 3325"/>
                <a:gd name="T59" fmla="*/ 1551 h 3325"/>
                <a:gd name="T60" fmla="*/ 297 w 3325"/>
                <a:gd name="T61" fmla="*/ 881 h 3325"/>
                <a:gd name="T62" fmla="*/ 828 w 3325"/>
                <a:gd name="T63" fmla="*/ 1067 h 3325"/>
                <a:gd name="T64" fmla="*/ 651 w 3325"/>
                <a:gd name="T65" fmla="*/ 458 h 3325"/>
                <a:gd name="T66" fmla="*/ 739 w 3325"/>
                <a:gd name="T67" fmla="*/ 1096 h 3325"/>
                <a:gd name="T68" fmla="*/ 1108 w 3325"/>
                <a:gd name="T69" fmla="*/ 732 h 3325"/>
                <a:gd name="T70" fmla="*/ 1008 w 3325"/>
                <a:gd name="T71" fmla="*/ 677 h 3325"/>
                <a:gd name="T72" fmla="*/ 1659 w 3325"/>
                <a:gd name="T73" fmla="*/ 0 h 3325"/>
                <a:gd name="T74" fmla="*/ 1130 w 3325"/>
                <a:gd name="T75" fmla="*/ 182 h 3325"/>
                <a:gd name="T76" fmla="*/ 1097 w 3325"/>
                <a:gd name="T77" fmla="*/ 561 h 3325"/>
                <a:gd name="T78" fmla="*/ 1148 w 3325"/>
                <a:gd name="T79" fmla="*/ 671 h 3325"/>
                <a:gd name="T80" fmla="*/ 1423 w 3325"/>
                <a:gd name="T81" fmla="*/ 606 h 3325"/>
                <a:gd name="T82" fmla="*/ 1437 w 3325"/>
                <a:gd name="T83" fmla="*/ 663 h 3325"/>
                <a:gd name="T84" fmla="*/ 1662 w 3325"/>
                <a:gd name="T85" fmla="*/ 638 h 3325"/>
                <a:gd name="T86" fmla="*/ 2180 w 3325"/>
                <a:gd name="T87" fmla="*/ 778 h 3325"/>
                <a:gd name="T88" fmla="*/ 2547 w 3325"/>
                <a:gd name="T89" fmla="*/ 1145 h 3325"/>
                <a:gd name="T90" fmla="*/ 2687 w 3325"/>
                <a:gd name="T91" fmla="*/ 1663 h 3325"/>
                <a:gd name="T92" fmla="*/ 2677 w 3325"/>
                <a:gd name="T93" fmla="*/ 1807 h 3325"/>
                <a:gd name="T94" fmla="*/ 2703 w 3325"/>
                <a:gd name="T95" fmla="*/ 1963 h 3325"/>
                <a:gd name="T96" fmla="*/ 3158 w 3325"/>
                <a:gd name="T97" fmla="*/ 2148 h 3325"/>
                <a:gd name="T98" fmla="*/ 3322 w 3325"/>
                <a:gd name="T99" fmla="*/ 1764 h 3325"/>
                <a:gd name="T100" fmla="*/ 3143 w 3325"/>
                <a:gd name="T101" fmla="*/ 2418 h 3325"/>
                <a:gd name="T102" fmla="*/ 2734 w 3325"/>
                <a:gd name="T103" fmla="*/ 2934 h 3325"/>
                <a:gd name="T104" fmla="*/ 2150 w 3325"/>
                <a:gd name="T105" fmla="*/ 3252 h 3325"/>
                <a:gd name="T106" fmla="*/ 1461 w 3325"/>
                <a:gd name="T107" fmla="*/ 3313 h 3325"/>
                <a:gd name="T108" fmla="*/ 823 w 3325"/>
                <a:gd name="T109" fmla="*/ 3098 h 3325"/>
                <a:gd name="T110" fmla="*/ 332 w 3325"/>
                <a:gd name="T111" fmla="*/ 2660 h 3325"/>
                <a:gd name="T112" fmla="*/ 47 w 3325"/>
                <a:gd name="T113" fmla="*/ 2058 h 3325"/>
                <a:gd name="T114" fmla="*/ 26 w 3325"/>
                <a:gd name="T115" fmla="*/ 1364 h 3325"/>
                <a:gd name="T116" fmla="*/ 276 w 3325"/>
                <a:gd name="T117" fmla="*/ 744 h 3325"/>
                <a:gd name="T118" fmla="*/ 741 w 3325"/>
                <a:gd name="T119" fmla="*/ 279 h 3325"/>
                <a:gd name="T120" fmla="*/ 1360 w 3325"/>
                <a:gd name="T121" fmla="*/ 27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5" h="3325">
                  <a:moveTo>
                    <a:pt x="1141" y="2613"/>
                  </a:moveTo>
                  <a:lnTo>
                    <a:pt x="896" y="3036"/>
                  </a:lnTo>
                  <a:lnTo>
                    <a:pt x="981" y="3081"/>
                  </a:lnTo>
                  <a:lnTo>
                    <a:pt x="1069" y="3119"/>
                  </a:lnTo>
                  <a:lnTo>
                    <a:pt x="1159" y="3153"/>
                  </a:lnTo>
                  <a:lnTo>
                    <a:pt x="1252" y="3182"/>
                  </a:lnTo>
                  <a:lnTo>
                    <a:pt x="1347" y="3204"/>
                  </a:lnTo>
                  <a:lnTo>
                    <a:pt x="1445" y="3220"/>
                  </a:lnTo>
                  <a:lnTo>
                    <a:pt x="1544" y="3231"/>
                  </a:lnTo>
                  <a:lnTo>
                    <a:pt x="1645" y="3235"/>
                  </a:lnTo>
                  <a:lnTo>
                    <a:pt x="1645" y="2746"/>
                  </a:lnTo>
                  <a:lnTo>
                    <a:pt x="1567" y="2742"/>
                  </a:lnTo>
                  <a:lnTo>
                    <a:pt x="1491" y="2733"/>
                  </a:lnTo>
                  <a:lnTo>
                    <a:pt x="1418" y="2719"/>
                  </a:lnTo>
                  <a:lnTo>
                    <a:pt x="1345" y="2698"/>
                  </a:lnTo>
                  <a:lnTo>
                    <a:pt x="1274" y="2674"/>
                  </a:lnTo>
                  <a:lnTo>
                    <a:pt x="1207" y="2646"/>
                  </a:lnTo>
                  <a:lnTo>
                    <a:pt x="1141" y="2613"/>
                  </a:lnTo>
                  <a:close/>
                  <a:moveTo>
                    <a:pt x="2197" y="2605"/>
                  </a:moveTo>
                  <a:lnTo>
                    <a:pt x="2130" y="2640"/>
                  </a:lnTo>
                  <a:lnTo>
                    <a:pt x="2061" y="2670"/>
                  </a:lnTo>
                  <a:lnTo>
                    <a:pt x="1988" y="2696"/>
                  </a:lnTo>
                  <a:lnTo>
                    <a:pt x="1914" y="2717"/>
                  </a:lnTo>
                  <a:lnTo>
                    <a:pt x="1838" y="2732"/>
                  </a:lnTo>
                  <a:lnTo>
                    <a:pt x="1760" y="2742"/>
                  </a:lnTo>
                  <a:lnTo>
                    <a:pt x="1680" y="2746"/>
                  </a:lnTo>
                  <a:lnTo>
                    <a:pt x="1680" y="3235"/>
                  </a:lnTo>
                  <a:lnTo>
                    <a:pt x="1771" y="3232"/>
                  </a:lnTo>
                  <a:lnTo>
                    <a:pt x="1862" y="3223"/>
                  </a:lnTo>
                  <a:lnTo>
                    <a:pt x="1951" y="3209"/>
                  </a:lnTo>
                  <a:lnTo>
                    <a:pt x="2037" y="3191"/>
                  </a:lnTo>
                  <a:lnTo>
                    <a:pt x="2123" y="3167"/>
                  </a:lnTo>
                  <a:lnTo>
                    <a:pt x="2206" y="3139"/>
                  </a:lnTo>
                  <a:lnTo>
                    <a:pt x="2287" y="3107"/>
                  </a:lnTo>
                  <a:lnTo>
                    <a:pt x="2365" y="3070"/>
                  </a:lnTo>
                  <a:lnTo>
                    <a:pt x="2442" y="3029"/>
                  </a:lnTo>
                  <a:lnTo>
                    <a:pt x="2197" y="2605"/>
                  </a:lnTo>
                  <a:close/>
                  <a:moveTo>
                    <a:pt x="735" y="2222"/>
                  </a:moveTo>
                  <a:lnTo>
                    <a:pt x="311" y="2467"/>
                  </a:lnTo>
                  <a:lnTo>
                    <a:pt x="358" y="2542"/>
                  </a:lnTo>
                  <a:lnTo>
                    <a:pt x="409" y="2614"/>
                  </a:lnTo>
                  <a:lnTo>
                    <a:pt x="464" y="2681"/>
                  </a:lnTo>
                  <a:lnTo>
                    <a:pt x="523" y="2747"/>
                  </a:lnTo>
                  <a:lnTo>
                    <a:pt x="585" y="2808"/>
                  </a:lnTo>
                  <a:lnTo>
                    <a:pt x="651" y="2867"/>
                  </a:lnTo>
                  <a:lnTo>
                    <a:pt x="719" y="2921"/>
                  </a:lnTo>
                  <a:lnTo>
                    <a:pt x="791" y="2973"/>
                  </a:lnTo>
                  <a:lnTo>
                    <a:pt x="867" y="3019"/>
                  </a:lnTo>
                  <a:lnTo>
                    <a:pt x="1111" y="2595"/>
                  </a:lnTo>
                  <a:lnTo>
                    <a:pt x="1046" y="2554"/>
                  </a:lnTo>
                  <a:lnTo>
                    <a:pt x="985" y="2509"/>
                  </a:lnTo>
                  <a:lnTo>
                    <a:pt x="927" y="2458"/>
                  </a:lnTo>
                  <a:lnTo>
                    <a:pt x="873" y="2405"/>
                  </a:lnTo>
                  <a:lnTo>
                    <a:pt x="822" y="2347"/>
                  </a:lnTo>
                  <a:lnTo>
                    <a:pt x="777" y="2287"/>
                  </a:lnTo>
                  <a:lnTo>
                    <a:pt x="735" y="2222"/>
                  </a:lnTo>
                  <a:close/>
                  <a:moveTo>
                    <a:pt x="2604" y="2198"/>
                  </a:moveTo>
                  <a:lnTo>
                    <a:pt x="2563" y="2264"/>
                  </a:lnTo>
                  <a:lnTo>
                    <a:pt x="2518" y="2328"/>
                  </a:lnTo>
                  <a:lnTo>
                    <a:pt x="2467" y="2388"/>
                  </a:lnTo>
                  <a:lnTo>
                    <a:pt x="2413" y="2444"/>
                  </a:lnTo>
                  <a:lnTo>
                    <a:pt x="2354" y="2497"/>
                  </a:lnTo>
                  <a:lnTo>
                    <a:pt x="2293" y="2544"/>
                  </a:lnTo>
                  <a:lnTo>
                    <a:pt x="2227" y="2587"/>
                  </a:lnTo>
                  <a:lnTo>
                    <a:pt x="2472" y="3011"/>
                  </a:lnTo>
                  <a:lnTo>
                    <a:pt x="2547" y="2963"/>
                  </a:lnTo>
                  <a:lnTo>
                    <a:pt x="2620" y="2910"/>
                  </a:lnTo>
                  <a:lnTo>
                    <a:pt x="2689" y="2854"/>
                  </a:lnTo>
                  <a:lnTo>
                    <a:pt x="2755" y="2794"/>
                  </a:lnTo>
                  <a:lnTo>
                    <a:pt x="2817" y="2731"/>
                  </a:lnTo>
                  <a:lnTo>
                    <a:pt x="2876" y="2663"/>
                  </a:lnTo>
                  <a:lnTo>
                    <a:pt x="2931" y="2592"/>
                  </a:lnTo>
                  <a:lnTo>
                    <a:pt x="2982" y="2519"/>
                  </a:lnTo>
                  <a:lnTo>
                    <a:pt x="3028" y="2442"/>
                  </a:lnTo>
                  <a:lnTo>
                    <a:pt x="2604" y="2198"/>
                  </a:lnTo>
                  <a:close/>
                  <a:moveTo>
                    <a:pt x="1645" y="1740"/>
                  </a:moveTo>
                  <a:lnTo>
                    <a:pt x="1171" y="2562"/>
                  </a:lnTo>
                  <a:lnTo>
                    <a:pt x="1232" y="2593"/>
                  </a:lnTo>
                  <a:lnTo>
                    <a:pt x="1297" y="2621"/>
                  </a:lnTo>
                  <a:lnTo>
                    <a:pt x="1362" y="2643"/>
                  </a:lnTo>
                  <a:lnTo>
                    <a:pt x="1431" y="2661"/>
                  </a:lnTo>
                  <a:lnTo>
                    <a:pt x="1501" y="2675"/>
                  </a:lnTo>
                  <a:lnTo>
                    <a:pt x="1572" y="2683"/>
                  </a:lnTo>
                  <a:lnTo>
                    <a:pt x="1645" y="2687"/>
                  </a:lnTo>
                  <a:lnTo>
                    <a:pt x="1645" y="1740"/>
                  </a:lnTo>
                  <a:close/>
                  <a:moveTo>
                    <a:pt x="1623" y="1709"/>
                  </a:moveTo>
                  <a:lnTo>
                    <a:pt x="1025" y="2055"/>
                  </a:lnTo>
                  <a:lnTo>
                    <a:pt x="1041" y="2064"/>
                  </a:lnTo>
                  <a:lnTo>
                    <a:pt x="1056" y="2076"/>
                  </a:lnTo>
                  <a:lnTo>
                    <a:pt x="1067" y="2092"/>
                  </a:lnTo>
                  <a:lnTo>
                    <a:pt x="1074" y="2109"/>
                  </a:lnTo>
                  <a:lnTo>
                    <a:pt x="1077" y="2129"/>
                  </a:lnTo>
                  <a:lnTo>
                    <a:pt x="1074" y="2150"/>
                  </a:lnTo>
                  <a:lnTo>
                    <a:pt x="1066" y="2169"/>
                  </a:lnTo>
                  <a:lnTo>
                    <a:pt x="1053" y="2185"/>
                  </a:lnTo>
                  <a:lnTo>
                    <a:pt x="1037" y="2198"/>
                  </a:lnTo>
                  <a:lnTo>
                    <a:pt x="1018" y="2206"/>
                  </a:lnTo>
                  <a:lnTo>
                    <a:pt x="997" y="2208"/>
                  </a:lnTo>
                  <a:lnTo>
                    <a:pt x="976" y="2206"/>
                  </a:lnTo>
                  <a:lnTo>
                    <a:pt x="957" y="2198"/>
                  </a:lnTo>
                  <a:lnTo>
                    <a:pt x="941" y="2185"/>
                  </a:lnTo>
                  <a:lnTo>
                    <a:pt x="928" y="2169"/>
                  </a:lnTo>
                  <a:lnTo>
                    <a:pt x="920" y="2150"/>
                  </a:lnTo>
                  <a:lnTo>
                    <a:pt x="918" y="2129"/>
                  </a:lnTo>
                  <a:lnTo>
                    <a:pt x="918" y="2122"/>
                  </a:lnTo>
                  <a:lnTo>
                    <a:pt x="919" y="2116"/>
                  </a:lnTo>
                  <a:lnTo>
                    <a:pt x="785" y="2193"/>
                  </a:lnTo>
                  <a:lnTo>
                    <a:pt x="824" y="2253"/>
                  </a:lnTo>
                  <a:lnTo>
                    <a:pt x="869" y="2311"/>
                  </a:lnTo>
                  <a:lnTo>
                    <a:pt x="916" y="2365"/>
                  </a:lnTo>
                  <a:lnTo>
                    <a:pt x="967" y="2416"/>
                  </a:lnTo>
                  <a:lnTo>
                    <a:pt x="1021" y="2463"/>
                  </a:lnTo>
                  <a:lnTo>
                    <a:pt x="1080" y="2506"/>
                  </a:lnTo>
                  <a:lnTo>
                    <a:pt x="1140" y="2545"/>
                  </a:lnTo>
                  <a:lnTo>
                    <a:pt x="1623" y="1709"/>
                  </a:lnTo>
                  <a:close/>
                  <a:moveTo>
                    <a:pt x="1680" y="1708"/>
                  </a:moveTo>
                  <a:lnTo>
                    <a:pt x="1680" y="2687"/>
                  </a:lnTo>
                  <a:lnTo>
                    <a:pt x="1755" y="2683"/>
                  </a:lnTo>
                  <a:lnTo>
                    <a:pt x="1828" y="2674"/>
                  </a:lnTo>
                  <a:lnTo>
                    <a:pt x="1901" y="2660"/>
                  </a:lnTo>
                  <a:lnTo>
                    <a:pt x="1971" y="2641"/>
                  </a:lnTo>
                  <a:lnTo>
                    <a:pt x="2039" y="2617"/>
                  </a:lnTo>
                  <a:lnTo>
                    <a:pt x="2105" y="2587"/>
                  </a:lnTo>
                  <a:lnTo>
                    <a:pt x="2168" y="2554"/>
                  </a:lnTo>
                  <a:lnTo>
                    <a:pt x="1680" y="1708"/>
                  </a:lnTo>
                  <a:close/>
                  <a:moveTo>
                    <a:pt x="1700" y="1675"/>
                  </a:moveTo>
                  <a:lnTo>
                    <a:pt x="2198" y="2537"/>
                  </a:lnTo>
                  <a:lnTo>
                    <a:pt x="2259" y="2496"/>
                  </a:lnTo>
                  <a:lnTo>
                    <a:pt x="2318" y="2450"/>
                  </a:lnTo>
                  <a:lnTo>
                    <a:pt x="2373" y="2402"/>
                  </a:lnTo>
                  <a:lnTo>
                    <a:pt x="2425" y="2348"/>
                  </a:lnTo>
                  <a:lnTo>
                    <a:pt x="2472" y="2292"/>
                  </a:lnTo>
                  <a:lnTo>
                    <a:pt x="2516" y="2231"/>
                  </a:lnTo>
                  <a:lnTo>
                    <a:pt x="2554" y="2169"/>
                  </a:lnTo>
                  <a:lnTo>
                    <a:pt x="1700" y="1675"/>
                  </a:lnTo>
                  <a:close/>
                  <a:moveTo>
                    <a:pt x="638" y="1663"/>
                  </a:moveTo>
                  <a:lnTo>
                    <a:pt x="640" y="1740"/>
                  </a:lnTo>
                  <a:lnTo>
                    <a:pt x="649" y="1815"/>
                  </a:lnTo>
                  <a:lnTo>
                    <a:pt x="663" y="1889"/>
                  </a:lnTo>
                  <a:lnTo>
                    <a:pt x="681" y="1962"/>
                  </a:lnTo>
                  <a:lnTo>
                    <a:pt x="705" y="2031"/>
                  </a:lnTo>
                  <a:lnTo>
                    <a:pt x="735" y="2098"/>
                  </a:lnTo>
                  <a:lnTo>
                    <a:pt x="768" y="2164"/>
                  </a:lnTo>
                  <a:lnTo>
                    <a:pt x="1635" y="1663"/>
                  </a:lnTo>
                  <a:lnTo>
                    <a:pt x="638" y="1663"/>
                  </a:lnTo>
                  <a:close/>
                  <a:moveTo>
                    <a:pt x="90" y="1663"/>
                  </a:moveTo>
                  <a:lnTo>
                    <a:pt x="92" y="1756"/>
                  </a:lnTo>
                  <a:lnTo>
                    <a:pt x="100" y="1848"/>
                  </a:lnTo>
                  <a:lnTo>
                    <a:pt x="113" y="1938"/>
                  </a:lnTo>
                  <a:lnTo>
                    <a:pt x="132" y="2026"/>
                  </a:lnTo>
                  <a:lnTo>
                    <a:pt x="154" y="2113"/>
                  </a:lnTo>
                  <a:lnTo>
                    <a:pt x="183" y="2198"/>
                  </a:lnTo>
                  <a:lnTo>
                    <a:pt x="215" y="2280"/>
                  </a:lnTo>
                  <a:lnTo>
                    <a:pt x="252" y="2359"/>
                  </a:lnTo>
                  <a:lnTo>
                    <a:pt x="294" y="2437"/>
                  </a:lnTo>
                  <a:lnTo>
                    <a:pt x="717" y="2193"/>
                  </a:lnTo>
                  <a:lnTo>
                    <a:pt x="682" y="2124"/>
                  </a:lnTo>
                  <a:lnTo>
                    <a:pt x="651" y="2053"/>
                  </a:lnTo>
                  <a:lnTo>
                    <a:pt x="626" y="1979"/>
                  </a:lnTo>
                  <a:lnTo>
                    <a:pt x="605" y="1902"/>
                  </a:lnTo>
                  <a:lnTo>
                    <a:pt x="591" y="1824"/>
                  </a:lnTo>
                  <a:lnTo>
                    <a:pt x="582" y="1745"/>
                  </a:lnTo>
                  <a:lnTo>
                    <a:pt x="579" y="1663"/>
                  </a:lnTo>
                  <a:lnTo>
                    <a:pt x="90" y="1663"/>
                  </a:lnTo>
                  <a:close/>
                  <a:moveTo>
                    <a:pt x="772" y="1155"/>
                  </a:moveTo>
                  <a:lnTo>
                    <a:pt x="740" y="1216"/>
                  </a:lnTo>
                  <a:lnTo>
                    <a:pt x="711" y="1281"/>
                  </a:lnTo>
                  <a:lnTo>
                    <a:pt x="687" y="1346"/>
                  </a:lnTo>
                  <a:lnTo>
                    <a:pt x="668" y="1414"/>
                  </a:lnTo>
                  <a:lnTo>
                    <a:pt x="653" y="1483"/>
                  </a:lnTo>
                  <a:lnTo>
                    <a:pt x="643" y="1555"/>
                  </a:lnTo>
                  <a:lnTo>
                    <a:pt x="638" y="1628"/>
                  </a:lnTo>
                  <a:lnTo>
                    <a:pt x="1590" y="1628"/>
                  </a:lnTo>
                  <a:lnTo>
                    <a:pt x="772" y="1155"/>
                  </a:lnTo>
                  <a:close/>
                  <a:moveTo>
                    <a:pt x="2367" y="1150"/>
                  </a:moveTo>
                  <a:lnTo>
                    <a:pt x="2347" y="1153"/>
                  </a:lnTo>
                  <a:lnTo>
                    <a:pt x="2328" y="1161"/>
                  </a:lnTo>
                  <a:lnTo>
                    <a:pt x="2312" y="1174"/>
                  </a:lnTo>
                  <a:lnTo>
                    <a:pt x="2300" y="1190"/>
                  </a:lnTo>
                  <a:lnTo>
                    <a:pt x="2292" y="1208"/>
                  </a:lnTo>
                  <a:lnTo>
                    <a:pt x="2289" y="1229"/>
                  </a:lnTo>
                  <a:lnTo>
                    <a:pt x="2292" y="1250"/>
                  </a:lnTo>
                  <a:lnTo>
                    <a:pt x="2300" y="1269"/>
                  </a:lnTo>
                  <a:lnTo>
                    <a:pt x="2312" y="1286"/>
                  </a:lnTo>
                  <a:lnTo>
                    <a:pt x="2328" y="1298"/>
                  </a:lnTo>
                  <a:lnTo>
                    <a:pt x="2347" y="1306"/>
                  </a:lnTo>
                  <a:lnTo>
                    <a:pt x="2367" y="1309"/>
                  </a:lnTo>
                  <a:lnTo>
                    <a:pt x="2389" y="1306"/>
                  </a:lnTo>
                  <a:lnTo>
                    <a:pt x="2408" y="1298"/>
                  </a:lnTo>
                  <a:lnTo>
                    <a:pt x="2424" y="1286"/>
                  </a:lnTo>
                  <a:lnTo>
                    <a:pt x="2436" y="1269"/>
                  </a:lnTo>
                  <a:lnTo>
                    <a:pt x="2444" y="1250"/>
                  </a:lnTo>
                  <a:lnTo>
                    <a:pt x="2447" y="1229"/>
                  </a:lnTo>
                  <a:lnTo>
                    <a:pt x="2444" y="1208"/>
                  </a:lnTo>
                  <a:lnTo>
                    <a:pt x="2436" y="1190"/>
                  </a:lnTo>
                  <a:lnTo>
                    <a:pt x="2424" y="1174"/>
                  </a:lnTo>
                  <a:lnTo>
                    <a:pt x="2408" y="1161"/>
                  </a:lnTo>
                  <a:lnTo>
                    <a:pt x="2389" y="1153"/>
                  </a:lnTo>
                  <a:lnTo>
                    <a:pt x="2367" y="1150"/>
                  </a:lnTo>
                  <a:close/>
                  <a:moveTo>
                    <a:pt x="297" y="881"/>
                  </a:moveTo>
                  <a:lnTo>
                    <a:pt x="252" y="966"/>
                  </a:lnTo>
                  <a:lnTo>
                    <a:pt x="212" y="1053"/>
                  </a:lnTo>
                  <a:lnTo>
                    <a:pt x="178" y="1143"/>
                  </a:lnTo>
                  <a:lnTo>
                    <a:pt x="148" y="1235"/>
                  </a:lnTo>
                  <a:lnTo>
                    <a:pt x="124" y="1331"/>
                  </a:lnTo>
                  <a:lnTo>
                    <a:pt x="107" y="1428"/>
                  </a:lnTo>
                  <a:lnTo>
                    <a:pt x="95" y="1527"/>
                  </a:lnTo>
                  <a:lnTo>
                    <a:pt x="90" y="1628"/>
                  </a:lnTo>
                  <a:lnTo>
                    <a:pt x="579" y="1628"/>
                  </a:lnTo>
                  <a:lnTo>
                    <a:pt x="585" y="1551"/>
                  </a:lnTo>
                  <a:lnTo>
                    <a:pt x="595" y="1474"/>
                  </a:lnTo>
                  <a:lnTo>
                    <a:pt x="611" y="1401"/>
                  </a:lnTo>
                  <a:lnTo>
                    <a:pt x="632" y="1329"/>
                  </a:lnTo>
                  <a:lnTo>
                    <a:pt x="657" y="1258"/>
                  </a:lnTo>
                  <a:lnTo>
                    <a:pt x="687" y="1191"/>
                  </a:lnTo>
                  <a:lnTo>
                    <a:pt x="722" y="1126"/>
                  </a:lnTo>
                  <a:lnTo>
                    <a:pt x="297" y="881"/>
                  </a:lnTo>
                  <a:close/>
                  <a:moveTo>
                    <a:pt x="1137" y="782"/>
                  </a:moveTo>
                  <a:lnTo>
                    <a:pt x="1078" y="820"/>
                  </a:lnTo>
                  <a:lnTo>
                    <a:pt x="1021" y="863"/>
                  </a:lnTo>
                  <a:lnTo>
                    <a:pt x="968" y="908"/>
                  </a:lnTo>
                  <a:lnTo>
                    <a:pt x="918" y="958"/>
                  </a:lnTo>
                  <a:lnTo>
                    <a:pt x="872" y="1011"/>
                  </a:lnTo>
                  <a:lnTo>
                    <a:pt x="828" y="1067"/>
                  </a:lnTo>
                  <a:lnTo>
                    <a:pt x="789" y="1125"/>
                  </a:lnTo>
                  <a:lnTo>
                    <a:pt x="1608" y="1598"/>
                  </a:lnTo>
                  <a:lnTo>
                    <a:pt x="1137" y="782"/>
                  </a:lnTo>
                  <a:close/>
                  <a:moveTo>
                    <a:pt x="864" y="308"/>
                  </a:moveTo>
                  <a:lnTo>
                    <a:pt x="790" y="354"/>
                  </a:lnTo>
                  <a:lnTo>
                    <a:pt x="718" y="404"/>
                  </a:lnTo>
                  <a:lnTo>
                    <a:pt x="651" y="458"/>
                  </a:lnTo>
                  <a:lnTo>
                    <a:pt x="586" y="516"/>
                  </a:lnTo>
                  <a:lnTo>
                    <a:pt x="525" y="576"/>
                  </a:lnTo>
                  <a:lnTo>
                    <a:pt x="467" y="641"/>
                  </a:lnTo>
                  <a:lnTo>
                    <a:pt x="413" y="707"/>
                  </a:lnTo>
                  <a:lnTo>
                    <a:pt x="361" y="778"/>
                  </a:lnTo>
                  <a:lnTo>
                    <a:pt x="315" y="851"/>
                  </a:lnTo>
                  <a:lnTo>
                    <a:pt x="739" y="1096"/>
                  </a:lnTo>
                  <a:lnTo>
                    <a:pt x="780" y="1033"/>
                  </a:lnTo>
                  <a:lnTo>
                    <a:pt x="825" y="974"/>
                  </a:lnTo>
                  <a:lnTo>
                    <a:pt x="875" y="918"/>
                  </a:lnTo>
                  <a:lnTo>
                    <a:pt x="928" y="866"/>
                  </a:lnTo>
                  <a:lnTo>
                    <a:pt x="985" y="817"/>
                  </a:lnTo>
                  <a:lnTo>
                    <a:pt x="1045" y="772"/>
                  </a:lnTo>
                  <a:lnTo>
                    <a:pt x="1108" y="732"/>
                  </a:lnTo>
                  <a:lnTo>
                    <a:pt x="1098" y="713"/>
                  </a:lnTo>
                  <a:lnTo>
                    <a:pt x="1087" y="717"/>
                  </a:lnTo>
                  <a:lnTo>
                    <a:pt x="1077" y="717"/>
                  </a:lnTo>
                  <a:lnTo>
                    <a:pt x="1056" y="714"/>
                  </a:lnTo>
                  <a:lnTo>
                    <a:pt x="1036" y="706"/>
                  </a:lnTo>
                  <a:lnTo>
                    <a:pt x="1020" y="693"/>
                  </a:lnTo>
                  <a:lnTo>
                    <a:pt x="1008" y="677"/>
                  </a:lnTo>
                  <a:lnTo>
                    <a:pt x="1000" y="659"/>
                  </a:lnTo>
                  <a:lnTo>
                    <a:pt x="997" y="638"/>
                  </a:lnTo>
                  <a:lnTo>
                    <a:pt x="1000" y="617"/>
                  </a:lnTo>
                  <a:lnTo>
                    <a:pt x="1008" y="597"/>
                  </a:lnTo>
                  <a:lnTo>
                    <a:pt x="1021" y="581"/>
                  </a:lnTo>
                  <a:lnTo>
                    <a:pt x="864" y="308"/>
                  </a:lnTo>
                  <a:close/>
                  <a:moveTo>
                    <a:pt x="1659" y="0"/>
                  </a:moveTo>
                  <a:lnTo>
                    <a:pt x="1659" y="90"/>
                  </a:lnTo>
                  <a:lnTo>
                    <a:pt x="1567" y="93"/>
                  </a:lnTo>
                  <a:lnTo>
                    <a:pt x="1476" y="101"/>
                  </a:lnTo>
                  <a:lnTo>
                    <a:pt x="1388" y="114"/>
                  </a:lnTo>
                  <a:lnTo>
                    <a:pt x="1300" y="132"/>
                  </a:lnTo>
                  <a:lnTo>
                    <a:pt x="1214" y="154"/>
                  </a:lnTo>
                  <a:lnTo>
                    <a:pt x="1130" y="182"/>
                  </a:lnTo>
                  <a:lnTo>
                    <a:pt x="1049" y="214"/>
                  </a:lnTo>
                  <a:lnTo>
                    <a:pt x="970" y="250"/>
                  </a:lnTo>
                  <a:lnTo>
                    <a:pt x="893" y="291"/>
                  </a:lnTo>
                  <a:lnTo>
                    <a:pt x="1050" y="563"/>
                  </a:lnTo>
                  <a:lnTo>
                    <a:pt x="1064" y="559"/>
                  </a:lnTo>
                  <a:lnTo>
                    <a:pt x="1077" y="558"/>
                  </a:lnTo>
                  <a:lnTo>
                    <a:pt x="1097" y="561"/>
                  </a:lnTo>
                  <a:lnTo>
                    <a:pt x="1116" y="569"/>
                  </a:lnTo>
                  <a:lnTo>
                    <a:pt x="1132" y="581"/>
                  </a:lnTo>
                  <a:lnTo>
                    <a:pt x="1144" y="597"/>
                  </a:lnTo>
                  <a:lnTo>
                    <a:pt x="1152" y="617"/>
                  </a:lnTo>
                  <a:lnTo>
                    <a:pt x="1155" y="638"/>
                  </a:lnTo>
                  <a:lnTo>
                    <a:pt x="1153" y="655"/>
                  </a:lnTo>
                  <a:lnTo>
                    <a:pt x="1148" y="671"/>
                  </a:lnTo>
                  <a:lnTo>
                    <a:pt x="1139" y="685"/>
                  </a:lnTo>
                  <a:lnTo>
                    <a:pt x="1128" y="697"/>
                  </a:lnTo>
                  <a:lnTo>
                    <a:pt x="1138" y="714"/>
                  </a:lnTo>
                  <a:lnTo>
                    <a:pt x="1206" y="680"/>
                  </a:lnTo>
                  <a:lnTo>
                    <a:pt x="1275" y="650"/>
                  </a:lnTo>
                  <a:lnTo>
                    <a:pt x="1348" y="626"/>
                  </a:lnTo>
                  <a:lnTo>
                    <a:pt x="1423" y="606"/>
                  </a:lnTo>
                  <a:lnTo>
                    <a:pt x="1500" y="591"/>
                  </a:lnTo>
                  <a:lnTo>
                    <a:pt x="1578" y="582"/>
                  </a:lnTo>
                  <a:lnTo>
                    <a:pt x="1659" y="579"/>
                  </a:lnTo>
                  <a:lnTo>
                    <a:pt x="1659" y="638"/>
                  </a:lnTo>
                  <a:lnTo>
                    <a:pt x="1583" y="641"/>
                  </a:lnTo>
                  <a:lnTo>
                    <a:pt x="1509" y="649"/>
                  </a:lnTo>
                  <a:lnTo>
                    <a:pt x="1437" y="663"/>
                  </a:lnTo>
                  <a:lnTo>
                    <a:pt x="1366" y="681"/>
                  </a:lnTo>
                  <a:lnTo>
                    <a:pt x="1298" y="704"/>
                  </a:lnTo>
                  <a:lnTo>
                    <a:pt x="1231" y="733"/>
                  </a:lnTo>
                  <a:lnTo>
                    <a:pt x="1168" y="765"/>
                  </a:lnTo>
                  <a:lnTo>
                    <a:pt x="1659" y="1616"/>
                  </a:lnTo>
                  <a:lnTo>
                    <a:pt x="1659" y="638"/>
                  </a:lnTo>
                  <a:lnTo>
                    <a:pt x="1662" y="638"/>
                  </a:lnTo>
                  <a:lnTo>
                    <a:pt x="1743" y="641"/>
                  </a:lnTo>
                  <a:lnTo>
                    <a:pt x="1820" y="650"/>
                  </a:lnTo>
                  <a:lnTo>
                    <a:pt x="1897" y="665"/>
                  </a:lnTo>
                  <a:lnTo>
                    <a:pt x="1972" y="685"/>
                  </a:lnTo>
                  <a:lnTo>
                    <a:pt x="2043" y="710"/>
                  </a:lnTo>
                  <a:lnTo>
                    <a:pt x="2113" y="742"/>
                  </a:lnTo>
                  <a:lnTo>
                    <a:pt x="2180" y="778"/>
                  </a:lnTo>
                  <a:lnTo>
                    <a:pt x="2243" y="818"/>
                  </a:lnTo>
                  <a:lnTo>
                    <a:pt x="2304" y="863"/>
                  </a:lnTo>
                  <a:lnTo>
                    <a:pt x="2360" y="912"/>
                  </a:lnTo>
                  <a:lnTo>
                    <a:pt x="2413" y="965"/>
                  </a:lnTo>
                  <a:lnTo>
                    <a:pt x="2462" y="1021"/>
                  </a:lnTo>
                  <a:lnTo>
                    <a:pt x="2507" y="1082"/>
                  </a:lnTo>
                  <a:lnTo>
                    <a:pt x="2547" y="1145"/>
                  </a:lnTo>
                  <a:lnTo>
                    <a:pt x="2583" y="1212"/>
                  </a:lnTo>
                  <a:lnTo>
                    <a:pt x="2615" y="1282"/>
                  </a:lnTo>
                  <a:lnTo>
                    <a:pt x="2640" y="1353"/>
                  </a:lnTo>
                  <a:lnTo>
                    <a:pt x="2660" y="1428"/>
                  </a:lnTo>
                  <a:lnTo>
                    <a:pt x="2675" y="1505"/>
                  </a:lnTo>
                  <a:lnTo>
                    <a:pt x="2684" y="1582"/>
                  </a:lnTo>
                  <a:lnTo>
                    <a:pt x="2687" y="1663"/>
                  </a:lnTo>
                  <a:lnTo>
                    <a:pt x="1748" y="1663"/>
                  </a:lnTo>
                  <a:lnTo>
                    <a:pt x="2571" y="2137"/>
                  </a:lnTo>
                  <a:lnTo>
                    <a:pt x="2600" y="2076"/>
                  </a:lnTo>
                  <a:lnTo>
                    <a:pt x="2627" y="2011"/>
                  </a:lnTo>
                  <a:lnTo>
                    <a:pt x="2648" y="1946"/>
                  </a:lnTo>
                  <a:lnTo>
                    <a:pt x="2665" y="1877"/>
                  </a:lnTo>
                  <a:lnTo>
                    <a:pt x="2677" y="1807"/>
                  </a:lnTo>
                  <a:lnTo>
                    <a:pt x="2685" y="1736"/>
                  </a:lnTo>
                  <a:lnTo>
                    <a:pt x="2687" y="1663"/>
                  </a:lnTo>
                  <a:lnTo>
                    <a:pt x="2746" y="1663"/>
                  </a:lnTo>
                  <a:lnTo>
                    <a:pt x="2743" y="1740"/>
                  </a:lnTo>
                  <a:lnTo>
                    <a:pt x="2735" y="1815"/>
                  </a:lnTo>
                  <a:lnTo>
                    <a:pt x="2722" y="1890"/>
                  </a:lnTo>
                  <a:lnTo>
                    <a:pt x="2703" y="1963"/>
                  </a:lnTo>
                  <a:lnTo>
                    <a:pt x="2681" y="2033"/>
                  </a:lnTo>
                  <a:lnTo>
                    <a:pt x="2653" y="2101"/>
                  </a:lnTo>
                  <a:lnTo>
                    <a:pt x="2622" y="2167"/>
                  </a:lnTo>
                  <a:lnTo>
                    <a:pt x="3045" y="2412"/>
                  </a:lnTo>
                  <a:lnTo>
                    <a:pt x="3089" y="2327"/>
                  </a:lnTo>
                  <a:lnTo>
                    <a:pt x="3126" y="2239"/>
                  </a:lnTo>
                  <a:lnTo>
                    <a:pt x="3158" y="2148"/>
                  </a:lnTo>
                  <a:lnTo>
                    <a:pt x="3186" y="2056"/>
                  </a:lnTo>
                  <a:lnTo>
                    <a:pt x="3207" y="1960"/>
                  </a:lnTo>
                  <a:lnTo>
                    <a:pt x="3223" y="1863"/>
                  </a:lnTo>
                  <a:lnTo>
                    <a:pt x="3232" y="1764"/>
                  </a:lnTo>
                  <a:lnTo>
                    <a:pt x="3235" y="1663"/>
                  </a:lnTo>
                  <a:lnTo>
                    <a:pt x="3325" y="1663"/>
                  </a:lnTo>
                  <a:lnTo>
                    <a:pt x="3322" y="1764"/>
                  </a:lnTo>
                  <a:lnTo>
                    <a:pt x="3313" y="1864"/>
                  </a:lnTo>
                  <a:lnTo>
                    <a:pt x="3298" y="1962"/>
                  </a:lnTo>
                  <a:lnTo>
                    <a:pt x="3278" y="2058"/>
                  </a:lnTo>
                  <a:lnTo>
                    <a:pt x="3251" y="2151"/>
                  </a:lnTo>
                  <a:lnTo>
                    <a:pt x="3221" y="2242"/>
                  </a:lnTo>
                  <a:lnTo>
                    <a:pt x="3185" y="2332"/>
                  </a:lnTo>
                  <a:lnTo>
                    <a:pt x="3143" y="2418"/>
                  </a:lnTo>
                  <a:lnTo>
                    <a:pt x="3098" y="2502"/>
                  </a:lnTo>
                  <a:lnTo>
                    <a:pt x="3047" y="2582"/>
                  </a:lnTo>
                  <a:lnTo>
                    <a:pt x="2993" y="2660"/>
                  </a:lnTo>
                  <a:lnTo>
                    <a:pt x="2933" y="2734"/>
                  </a:lnTo>
                  <a:lnTo>
                    <a:pt x="2871" y="2804"/>
                  </a:lnTo>
                  <a:lnTo>
                    <a:pt x="2804" y="2871"/>
                  </a:lnTo>
                  <a:lnTo>
                    <a:pt x="2734" y="2934"/>
                  </a:lnTo>
                  <a:lnTo>
                    <a:pt x="2659" y="2993"/>
                  </a:lnTo>
                  <a:lnTo>
                    <a:pt x="2582" y="3048"/>
                  </a:lnTo>
                  <a:lnTo>
                    <a:pt x="2502" y="3098"/>
                  </a:lnTo>
                  <a:lnTo>
                    <a:pt x="2418" y="3143"/>
                  </a:lnTo>
                  <a:lnTo>
                    <a:pt x="2331" y="3185"/>
                  </a:lnTo>
                  <a:lnTo>
                    <a:pt x="2242" y="3221"/>
                  </a:lnTo>
                  <a:lnTo>
                    <a:pt x="2150" y="3252"/>
                  </a:lnTo>
                  <a:lnTo>
                    <a:pt x="2058" y="3278"/>
                  </a:lnTo>
                  <a:lnTo>
                    <a:pt x="1961" y="3298"/>
                  </a:lnTo>
                  <a:lnTo>
                    <a:pt x="1863" y="3313"/>
                  </a:lnTo>
                  <a:lnTo>
                    <a:pt x="1764" y="3322"/>
                  </a:lnTo>
                  <a:lnTo>
                    <a:pt x="1662" y="3325"/>
                  </a:lnTo>
                  <a:lnTo>
                    <a:pt x="1561" y="3322"/>
                  </a:lnTo>
                  <a:lnTo>
                    <a:pt x="1461" y="3313"/>
                  </a:lnTo>
                  <a:lnTo>
                    <a:pt x="1363" y="3298"/>
                  </a:lnTo>
                  <a:lnTo>
                    <a:pt x="1267" y="3278"/>
                  </a:lnTo>
                  <a:lnTo>
                    <a:pt x="1174" y="3252"/>
                  </a:lnTo>
                  <a:lnTo>
                    <a:pt x="1083" y="3221"/>
                  </a:lnTo>
                  <a:lnTo>
                    <a:pt x="993" y="3185"/>
                  </a:lnTo>
                  <a:lnTo>
                    <a:pt x="907" y="3143"/>
                  </a:lnTo>
                  <a:lnTo>
                    <a:pt x="823" y="3098"/>
                  </a:lnTo>
                  <a:lnTo>
                    <a:pt x="743" y="3048"/>
                  </a:lnTo>
                  <a:lnTo>
                    <a:pt x="665" y="2993"/>
                  </a:lnTo>
                  <a:lnTo>
                    <a:pt x="591" y="2934"/>
                  </a:lnTo>
                  <a:lnTo>
                    <a:pt x="521" y="2871"/>
                  </a:lnTo>
                  <a:lnTo>
                    <a:pt x="454" y="2804"/>
                  </a:lnTo>
                  <a:lnTo>
                    <a:pt x="391" y="2734"/>
                  </a:lnTo>
                  <a:lnTo>
                    <a:pt x="332" y="2660"/>
                  </a:lnTo>
                  <a:lnTo>
                    <a:pt x="278" y="2582"/>
                  </a:lnTo>
                  <a:lnTo>
                    <a:pt x="227" y="2502"/>
                  </a:lnTo>
                  <a:lnTo>
                    <a:pt x="182" y="2418"/>
                  </a:lnTo>
                  <a:lnTo>
                    <a:pt x="140" y="2332"/>
                  </a:lnTo>
                  <a:lnTo>
                    <a:pt x="104" y="2242"/>
                  </a:lnTo>
                  <a:lnTo>
                    <a:pt x="73" y="2151"/>
                  </a:lnTo>
                  <a:lnTo>
                    <a:pt x="47" y="2058"/>
                  </a:lnTo>
                  <a:lnTo>
                    <a:pt x="27" y="1962"/>
                  </a:lnTo>
                  <a:lnTo>
                    <a:pt x="12" y="1864"/>
                  </a:lnTo>
                  <a:lnTo>
                    <a:pt x="3" y="1764"/>
                  </a:lnTo>
                  <a:lnTo>
                    <a:pt x="0" y="1663"/>
                  </a:lnTo>
                  <a:lnTo>
                    <a:pt x="3" y="1561"/>
                  </a:lnTo>
                  <a:lnTo>
                    <a:pt x="12" y="1462"/>
                  </a:lnTo>
                  <a:lnTo>
                    <a:pt x="26" y="1364"/>
                  </a:lnTo>
                  <a:lnTo>
                    <a:pt x="47" y="1268"/>
                  </a:lnTo>
                  <a:lnTo>
                    <a:pt x="73" y="1175"/>
                  </a:lnTo>
                  <a:lnTo>
                    <a:pt x="104" y="1084"/>
                  </a:lnTo>
                  <a:lnTo>
                    <a:pt x="140" y="994"/>
                  </a:lnTo>
                  <a:lnTo>
                    <a:pt x="181" y="908"/>
                  </a:lnTo>
                  <a:lnTo>
                    <a:pt x="226" y="824"/>
                  </a:lnTo>
                  <a:lnTo>
                    <a:pt x="276" y="744"/>
                  </a:lnTo>
                  <a:lnTo>
                    <a:pt x="331" y="667"/>
                  </a:lnTo>
                  <a:lnTo>
                    <a:pt x="390" y="592"/>
                  </a:lnTo>
                  <a:lnTo>
                    <a:pt x="453" y="523"/>
                  </a:lnTo>
                  <a:lnTo>
                    <a:pt x="520" y="455"/>
                  </a:lnTo>
                  <a:lnTo>
                    <a:pt x="590" y="393"/>
                  </a:lnTo>
                  <a:lnTo>
                    <a:pt x="664" y="334"/>
                  </a:lnTo>
                  <a:lnTo>
                    <a:pt x="741" y="279"/>
                  </a:lnTo>
                  <a:lnTo>
                    <a:pt x="821" y="228"/>
                  </a:lnTo>
                  <a:lnTo>
                    <a:pt x="905" y="183"/>
                  </a:lnTo>
                  <a:lnTo>
                    <a:pt x="991" y="141"/>
                  </a:lnTo>
                  <a:lnTo>
                    <a:pt x="1080" y="105"/>
                  </a:lnTo>
                  <a:lnTo>
                    <a:pt x="1172" y="74"/>
                  </a:lnTo>
                  <a:lnTo>
                    <a:pt x="1264" y="48"/>
                  </a:lnTo>
                  <a:lnTo>
                    <a:pt x="1360" y="27"/>
                  </a:lnTo>
                  <a:lnTo>
                    <a:pt x="1458" y="13"/>
                  </a:lnTo>
                  <a:lnTo>
                    <a:pt x="1558" y="4"/>
                  </a:lnTo>
                  <a:lnTo>
                    <a:pt x="165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grpSp>
      <p:sp>
        <p:nvSpPr>
          <p:cNvPr id="534" name="Rectangle 533"/>
          <p:cNvSpPr/>
          <p:nvPr/>
        </p:nvSpPr>
        <p:spPr>
          <a:xfrm>
            <a:off x="1410798"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grpSp>
        <p:nvGrpSpPr>
          <p:cNvPr id="761" name="Group 118"/>
          <p:cNvGrpSpPr/>
          <p:nvPr/>
        </p:nvGrpSpPr>
        <p:grpSpPr>
          <a:xfrm>
            <a:off x="2292325" y="1869599"/>
            <a:ext cx="276381" cy="274095"/>
            <a:chOff x="2210092" y="2062674"/>
            <a:chExt cx="197400" cy="195767"/>
          </a:xfrm>
          <a:solidFill>
            <a:schemeClr val="bg1"/>
          </a:solidFill>
        </p:grpSpPr>
        <p:sp>
          <p:nvSpPr>
            <p:cNvPr id="174" name="Freeform 173"/>
            <p:cNvSpPr>
              <a:spLocks/>
            </p:cNvSpPr>
            <p:nvPr/>
          </p:nvSpPr>
          <p:spPr bwMode="auto">
            <a:xfrm rot="18900000">
              <a:off x="2309634" y="207216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5" name="Freeform 174"/>
            <p:cNvSpPr>
              <a:spLocks/>
            </p:cNvSpPr>
            <p:nvPr/>
          </p:nvSpPr>
          <p:spPr bwMode="auto">
            <a:xfrm rot="2700000" flipH="1">
              <a:off x="2210092" y="2072162"/>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6" name="Freeform 175"/>
            <p:cNvSpPr>
              <a:spLocks/>
            </p:cNvSpPr>
            <p:nvPr/>
          </p:nvSpPr>
          <p:spPr bwMode="auto">
            <a:xfrm rot="2700000" flipV="1">
              <a:off x="2309634" y="217007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7" name="Freeform 176"/>
            <p:cNvSpPr>
              <a:spLocks/>
            </p:cNvSpPr>
            <p:nvPr/>
          </p:nvSpPr>
          <p:spPr bwMode="auto">
            <a:xfrm rot="18900000" flipH="1" flipV="1">
              <a:off x="2210092" y="217007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nvGrpSpPr>
          <p:cNvPr id="763" name="Group 178"/>
          <p:cNvGrpSpPr/>
          <p:nvPr/>
        </p:nvGrpSpPr>
        <p:grpSpPr>
          <a:xfrm>
            <a:off x="3260390" y="1892858"/>
            <a:ext cx="285764" cy="248787"/>
            <a:chOff x="4481616" y="2530283"/>
            <a:chExt cx="286086" cy="259364"/>
          </a:xfrm>
          <a:solidFill>
            <a:schemeClr val="bg1"/>
          </a:solidFill>
        </p:grpSpPr>
        <p:sp>
          <p:nvSpPr>
            <p:cNvPr id="180"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81"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82"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519" name="Rectangle 518"/>
          <p:cNvSpPr/>
          <p:nvPr/>
        </p:nvSpPr>
        <p:spPr>
          <a:xfrm>
            <a:off x="2409190"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4" name="Rectangle 543"/>
          <p:cNvSpPr/>
          <p:nvPr/>
        </p:nvSpPr>
        <p:spPr>
          <a:xfrm>
            <a:off x="3394126"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8" name="Rectangle 547"/>
          <p:cNvSpPr/>
          <p:nvPr/>
        </p:nvSpPr>
        <p:spPr>
          <a:xfrm>
            <a:off x="5987593" y="2273884"/>
            <a:ext cx="20918" cy="437216"/>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6" name="Rectangle 545"/>
          <p:cNvSpPr/>
          <p:nvPr/>
        </p:nvSpPr>
        <p:spPr>
          <a:xfrm>
            <a:off x="5195052" y="2273884"/>
            <a:ext cx="20918" cy="437216"/>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52" name="Rectangle 551"/>
          <p:cNvSpPr/>
          <p:nvPr/>
        </p:nvSpPr>
        <p:spPr>
          <a:xfrm>
            <a:off x="6511275" y="4046048"/>
            <a:ext cx="553246"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smtClean="0">
                <a:solidFill>
                  <a:srgbClr val="676767">
                    <a:lumMod val="75000"/>
                  </a:srgbClr>
                </a:solidFill>
                <a:latin typeface="+mj-lt"/>
                <a:ea typeface="ＭＳ Ｐゴシック" charset="0"/>
                <a:cs typeface="ＭＳ Ｐゴシック" charset="0"/>
              </a:rPr>
              <a:t>CWS Only</a:t>
            </a:r>
            <a:endParaRPr lang="en-US" sz="800" kern="0" dirty="0">
              <a:solidFill>
                <a:srgbClr val="676767">
                  <a:lumMod val="75000"/>
                </a:srgbClr>
              </a:solidFill>
              <a:latin typeface="+mj-lt"/>
              <a:ea typeface="ＭＳ Ｐゴシック" charset="0"/>
              <a:cs typeface="ＭＳ Ｐゴシック" charset="0"/>
            </a:endParaRPr>
          </a:p>
        </p:txBody>
      </p:sp>
      <p:sp>
        <p:nvSpPr>
          <p:cNvPr id="553" name="Rectangle 552"/>
          <p:cNvSpPr/>
          <p:nvPr/>
        </p:nvSpPr>
        <p:spPr>
          <a:xfrm>
            <a:off x="7292285" y="4046048"/>
            <a:ext cx="939498"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smtClean="0">
                <a:solidFill>
                  <a:srgbClr val="676767">
                    <a:lumMod val="75000"/>
                  </a:srgbClr>
                </a:solidFill>
                <a:latin typeface="+mj-lt"/>
                <a:ea typeface="ＭＳ Ｐゴシック" charset="0"/>
                <a:cs typeface="ＭＳ Ｐゴシック" charset="0"/>
              </a:rPr>
              <a:t>WSA/</a:t>
            </a:r>
            <a:r>
              <a:rPr lang="en-US" sz="800" kern="0" dirty="0" err="1" smtClean="0">
                <a:solidFill>
                  <a:srgbClr val="676767">
                    <a:lumMod val="75000"/>
                  </a:srgbClr>
                </a:solidFill>
                <a:latin typeface="+mj-lt"/>
                <a:ea typeface="ＭＳ Ｐゴシック" charset="0"/>
                <a:cs typeface="ＭＳ Ｐゴシック" charset="0"/>
              </a:rPr>
              <a:t>WSAv</a:t>
            </a:r>
            <a:r>
              <a:rPr lang="en-US" sz="800" kern="0" dirty="0" smtClean="0">
                <a:solidFill>
                  <a:srgbClr val="676767">
                    <a:lumMod val="75000"/>
                  </a:srgbClr>
                </a:solidFill>
                <a:latin typeface="+mj-lt"/>
                <a:ea typeface="ＭＳ Ｐゴシック" charset="0"/>
                <a:cs typeface="ＭＳ Ｐゴシック" charset="0"/>
              </a:rPr>
              <a:t> </a:t>
            </a:r>
            <a:r>
              <a:rPr lang="en-US" sz="800" kern="0" dirty="0">
                <a:solidFill>
                  <a:srgbClr val="676767">
                    <a:lumMod val="75000"/>
                  </a:srgbClr>
                </a:solidFill>
                <a:latin typeface="+mj-lt"/>
                <a:ea typeface="ＭＳ Ｐゴシック" charset="0"/>
                <a:cs typeface="ＭＳ Ｐゴシック" charset="0"/>
              </a:rPr>
              <a:t>Only</a:t>
            </a:r>
          </a:p>
        </p:txBody>
      </p:sp>
      <p:grpSp>
        <p:nvGrpSpPr>
          <p:cNvPr id="765" name="Group 522"/>
          <p:cNvGrpSpPr/>
          <p:nvPr/>
        </p:nvGrpSpPr>
        <p:grpSpPr>
          <a:xfrm>
            <a:off x="7265382" y="2825622"/>
            <a:ext cx="244881" cy="235160"/>
            <a:chOff x="7161165" y="3202984"/>
            <a:chExt cx="298635" cy="286779"/>
          </a:xfrm>
        </p:grpSpPr>
        <p:sp>
          <p:nvSpPr>
            <p:cNvPr id="524" name="Oval 523"/>
            <p:cNvSpPr/>
            <p:nvPr/>
          </p:nvSpPr>
          <p:spPr>
            <a:xfrm>
              <a:off x="7161165" y="3202984"/>
              <a:ext cx="298635" cy="286779"/>
            </a:xfrm>
            <a:prstGeom prst="ellipse">
              <a:avLst/>
            </a:prstGeom>
            <a:solidFill>
              <a:schemeClr val="bg1">
                <a:lumMod val="95000"/>
              </a:schemeClr>
            </a:solidFill>
            <a:ln w="12700" cap="flat" cmpd="sng" algn="ctr">
              <a:gradFill flip="none" rotWithShape="1">
                <a:gsLst>
                  <a:gs pos="100000">
                    <a:schemeClr val="accent1"/>
                  </a:gs>
                  <a:gs pos="0">
                    <a:srgbClr val="A6A6A6"/>
                  </a:gs>
                </a:gsLst>
                <a:lin ang="5400000" scaled="1"/>
                <a:tileRect/>
              </a:grad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772" name="Group 524"/>
            <p:cNvGrpSpPr/>
            <p:nvPr/>
          </p:nvGrpSpPr>
          <p:grpSpPr>
            <a:xfrm>
              <a:off x="7224511" y="3256478"/>
              <a:ext cx="173514" cy="180233"/>
              <a:chOff x="8761207" y="3899120"/>
              <a:chExt cx="185855" cy="201032"/>
            </a:xfrm>
          </p:grpSpPr>
          <p:sp>
            <p:nvSpPr>
              <p:cNvPr id="530" name="Freeform 427"/>
              <p:cNvSpPr>
                <a:spLocks noEditPoints="1"/>
              </p:cNvSpPr>
              <p:nvPr/>
            </p:nvSpPr>
            <p:spPr bwMode="auto">
              <a:xfrm rot="10800000">
                <a:off x="8860580" y="3899120"/>
                <a:ext cx="86482" cy="188136"/>
              </a:xfrm>
              <a:custGeom>
                <a:avLst/>
                <a:gdLst>
                  <a:gd name="T0" fmla="*/ 496 w 798"/>
                  <a:gd name="T1" fmla="*/ 1229 h 1735"/>
                  <a:gd name="T2" fmla="*/ 436 w 798"/>
                  <a:gd name="T3" fmla="*/ 1169 h 1735"/>
                  <a:gd name="T4" fmla="*/ 391 w 798"/>
                  <a:gd name="T5" fmla="*/ 1110 h 1735"/>
                  <a:gd name="T6" fmla="*/ 351 w 798"/>
                  <a:gd name="T7" fmla="*/ 1037 h 1735"/>
                  <a:gd name="T8" fmla="*/ 326 w 798"/>
                  <a:gd name="T9" fmla="*/ 971 h 1735"/>
                  <a:gd name="T10" fmla="*/ 307 w 798"/>
                  <a:gd name="T11" fmla="*/ 882 h 1735"/>
                  <a:gd name="T12" fmla="*/ 302 w 798"/>
                  <a:gd name="T13" fmla="*/ 808 h 1735"/>
                  <a:gd name="T14" fmla="*/ 304 w 798"/>
                  <a:gd name="T15" fmla="*/ 752 h 1735"/>
                  <a:gd name="T16" fmla="*/ 313 w 798"/>
                  <a:gd name="T17" fmla="*/ 697 h 1735"/>
                  <a:gd name="T18" fmla="*/ 327 w 798"/>
                  <a:gd name="T19" fmla="*/ 642 h 1735"/>
                  <a:gd name="T20" fmla="*/ 347 w 798"/>
                  <a:gd name="T21" fmla="*/ 589 h 1735"/>
                  <a:gd name="T22" fmla="*/ 397 w 798"/>
                  <a:gd name="T23" fmla="*/ 497 h 1735"/>
                  <a:gd name="T24" fmla="*/ 464 w 798"/>
                  <a:gd name="T25" fmla="*/ 415 h 1735"/>
                  <a:gd name="T26" fmla="*/ 577 w 798"/>
                  <a:gd name="T27" fmla="*/ 328 h 1735"/>
                  <a:gd name="T28" fmla="*/ 668 w 798"/>
                  <a:gd name="T29" fmla="*/ 285 h 1735"/>
                  <a:gd name="T30" fmla="*/ 723 w 798"/>
                  <a:gd name="T31" fmla="*/ 236 h 1735"/>
                  <a:gd name="T32" fmla="*/ 749 w 798"/>
                  <a:gd name="T33" fmla="*/ 168 h 1735"/>
                  <a:gd name="T34" fmla="*/ 739 w 798"/>
                  <a:gd name="T35" fmla="*/ 95 h 1735"/>
                  <a:gd name="T36" fmla="*/ 707 w 798"/>
                  <a:gd name="T37" fmla="*/ 45 h 1735"/>
                  <a:gd name="T38" fmla="*/ 646 w 798"/>
                  <a:gd name="T39" fmla="*/ 7 h 1735"/>
                  <a:gd name="T40" fmla="*/ 573 w 798"/>
                  <a:gd name="T41" fmla="*/ 2 h 1735"/>
                  <a:gd name="T42" fmla="*/ 463 w 798"/>
                  <a:gd name="T43" fmla="*/ 47 h 1735"/>
                  <a:gd name="T44" fmla="*/ 284 w 798"/>
                  <a:gd name="T45" fmla="*/ 171 h 1735"/>
                  <a:gd name="T46" fmla="*/ 173 w 798"/>
                  <a:gd name="T47" fmla="*/ 293 h 1735"/>
                  <a:gd name="T48" fmla="*/ 74 w 798"/>
                  <a:gd name="T49" fmla="*/ 462 h 1735"/>
                  <a:gd name="T50" fmla="*/ 71 w 798"/>
                  <a:gd name="T51" fmla="*/ 469 h 1735"/>
                  <a:gd name="T52" fmla="*/ 40 w 798"/>
                  <a:gd name="T53" fmla="*/ 551 h 1735"/>
                  <a:gd name="T54" fmla="*/ 18 w 798"/>
                  <a:gd name="T55" fmla="*/ 636 h 1735"/>
                  <a:gd name="T56" fmla="*/ 4 w 798"/>
                  <a:gd name="T57" fmla="*/ 721 h 1735"/>
                  <a:gd name="T58" fmla="*/ 0 w 798"/>
                  <a:gd name="T59" fmla="*/ 813 h 1735"/>
                  <a:gd name="T60" fmla="*/ 6 w 798"/>
                  <a:gd name="T61" fmla="*/ 909 h 1735"/>
                  <a:gd name="T62" fmla="*/ 20 w 798"/>
                  <a:gd name="T63" fmla="*/ 986 h 1735"/>
                  <a:gd name="T64" fmla="*/ 38 w 798"/>
                  <a:gd name="T65" fmla="*/ 1059 h 1735"/>
                  <a:gd name="T66" fmla="*/ 68 w 798"/>
                  <a:gd name="T67" fmla="*/ 1142 h 1735"/>
                  <a:gd name="T68" fmla="*/ 102 w 798"/>
                  <a:gd name="T69" fmla="*/ 1214 h 1735"/>
                  <a:gd name="T70" fmla="*/ 197 w 798"/>
                  <a:gd name="T71" fmla="*/ 1355 h 1735"/>
                  <a:gd name="T72" fmla="*/ 184 w 798"/>
                  <a:gd name="T73" fmla="*/ 1610 h 1735"/>
                  <a:gd name="T74" fmla="*/ 149 w 798"/>
                  <a:gd name="T75" fmla="*/ 1659 h 1735"/>
                  <a:gd name="T76" fmla="*/ 152 w 798"/>
                  <a:gd name="T77" fmla="*/ 1707 h 1735"/>
                  <a:gd name="T78" fmla="*/ 203 w 798"/>
                  <a:gd name="T79" fmla="*/ 1733 h 1735"/>
                  <a:gd name="T80" fmla="*/ 639 w 798"/>
                  <a:gd name="T81" fmla="*/ 1734 h 1735"/>
                  <a:gd name="T82" fmla="*/ 719 w 798"/>
                  <a:gd name="T83" fmla="*/ 1706 h 1735"/>
                  <a:gd name="T84" fmla="*/ 776 w 798"/>
                  <a:gd name="T85" fmla="*/ 1642 h 1735"/>
                  <a:gd name="T86" fmla="*/ 798 w 798"/>
                  <a:gd name="T87" fmla="*/ 1559 h 1735"/>
                  <a:gd name="T88" fmla="*/ 792 w 798"/>
                  <a:gd name="T89" fmla="*/ 1127 h 1735"/>
                  <a:gd name="T90" fmla="*/ 761 w 798"/>
                  <a:gd name="T91" fmla="*/ 1085 h 1735"/>
                  <a:gd name="T92" fmla="*/ 709 w 798"/>
                  <a:gd name="T93" fmla="*/ 1093 h 1735"/>
                  <a:gd name="T94" fmla="*/ 315 w 798"/>
                  <a:gd name="T95" fmla="*/ 265 h 1735"/>
                  <a:gd name="T96" fmla="*/ 437 w 798"/>
                  <a:gd name="T97" fmla="*/ 166 h 1735"/>
                  <a:gd name="T98" fmla="*/ 576 w 798"/>
                  <a:gd name="T99" fmla="*/ 94 h 1735"/>
                  <a:gd name="T100" fmla="*/ 622 w 798"/>
                  <a:gd name="T101" fmla="*/ 95 h 1735"/>
                  <a:gd name="T102" fmla="*/ 655 w 798"/>
                  <a:gd name="T103" fmla="*/ 129 h 1735"/>
                  <a:gd name="T104" fmla="*/ 658 w 798"/>
                  <a:gd name="T105" fmla="*/ 163 h 1735"/>
                  <a:gd name="T106" fmla="*/ 626 w 798"/>
                  <a:gd name="T107" fmla="*/ 204 h 1735"/>
                  <a:gd name="T108" fmla="*/ 532 w 798"/>
                  <a:gd name="T109" fmla="*/ 250 h 1735"/>
                  <a:gd name="T110" fmla="*/ 401 w 798"/>
                  <a:gd name="T111" fmla="*/ 351 h 1735"/>
                  <a:gd name="T112" fmla="*/ 369 w 798"/>
                  <a:gd name="T113" fmla="*/ 367 h 1735"/>
                  <a:gd name="T114" fmla="*/ 321 w 798"/>
                  <a:gd name="T115" fmla="*/ 355 h 1735"/>
                  <a:gd name="T116" fmla="*/ 302 w 798"/>
                  <a:gd name="T117" fmla="*/ 331 h 1735"/>
                  <a:gd name="T118" fmla="*/ 307 w 798"/>
                  <a:gd name="T119" fmla="*/ 274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5">
                    <a:moveTo>
                      <a:pt x="672" y="1122"/>
                    </a:moveTo>
                    <a:lnTo>
                      <a:pt x="535" y="1259"/>
                    </a:lnTo>
                    <a:lnTo>
                      <a:pt x="535" y="1259"/>
                    </a:lnTo>
                    <a:lnTo>
                      <a:pt x="515" y="1245"/>
                    </a:lnTo>
                    <a:lnTo>
                      <a:pt x="496" y="1229"/>
                    </a:lnTo>
                    <a:lnTo>
                      <a:pt x="477" y="1212"/>
                    </a:lnTo>
                    <a:lnTo>
                      <a:pt x="459" y="1195"/>
                    </a:lnTo>
                    <a:lnTo>
                      <a:pt x="459" y="1195"/>
                    </a:lnTo>
                    <a:lnTo>
                      <a:pt x="436" y="1169"/>
                    </a:lnTo>
                    <a:lnTo>
                      <a:pt x="436" y="1169"/>
                    </a:lnTo>
                    <a:lnTo>
                      <a:pt x="424" y="1154"/>
                    </a:lnTo>
                    <a:lnTo>
                      <a:pt x="411" y="1138"/>
                    </a:lnTo>
                    <a:lnTo>
                      <a:pt x="411" y="1138"/>
                    </a:lnTo>
                    <a:lnTo>
                      <a:pt x="401" y="1124"/>
                    </a:lnTo>
                    <a:lnTo>
                      <a:pt x="391" y="1110"/>
                    </a:lnTo>
                    <a:lnTo>
                      <a:pt x="391" y="1110"/>
                    </a:lnTo>
                    <a:lnTo>
                      <a:pt x="376" y="1085"/>
                    </a:lnTo>
                    <a:lnTo>
                      <a:pt x="362" y="1060"/>
                    </a:lnTo>
                    <a:lnTo>
                      <a:pt x="362" y="1060"/>
                    </a:lnTo>
                    <a:lnTo>
                      <a:pt x="351" y="1037"/>
                    </a:lnTo>
                    <a:lnTo>
                      <a:pt x="351" y="1037"/>
                    </a:lnTo>
                    <a:lnTo>
                      <a:pt x="340" y="1010"/>
                    </a:lnTo>
                    <a:lnTo>
                      <a:pt x="330" y="982"/>
                    </a:lnTo>
                    <a:lnTo>
                      <a:pt x="330" y="982"/>
                    </a:lnTo>
                    <a:lnTo>
                      <a:pt x="326" y="971"/>
                    </a:lnTo>
                    <a:lnTo>
                      <a:pt x="326" y="971"/>
                    </a:lnTo>
                    <a:lnTo>
                      <a:pt x="317" y="936"/>
                    </a:lnTo>
                    <a:lnTo>
                      <a:pt x="310" y="901"/>
                    </a:lnTo>
                    <a:lnTo>
                      <a:pt x="310" y="901"/>
                    </a:lnTo>
                    <a:lnTo>
                      <a:pt x="307" y="882"/>
                    </a:lnTo>
                    <a:lnTo>
                      <a:pt x="307" y="882"/>
                    </a:lnTo>
                    <a:lnTo>
                      <a:pt x="303" y="846"/>
                    </a:lnTo>
                    <a:lnTo>
                      <a:pt x="302" y="827"/>
                    </a:lnTo>
                    <a:lnTo>
                      <a:pt x="302" y="808"/>
                    </a:lnTo>
                    <a:lnTo>
                      <a:pt x="302" y="808"/>
                    </a:lnTo>
                    <a:lnTo>
                      <a:pt x="302" y="806"/>
                    </a:lnTo>
                    <a:lnTo>
                      <a:pt x="302" y="806"/>
                    </a:lnTo>
                    <a:lnTo>
                      <a:pt x="303" y="778"/>
                    </a:lnTo>
                    <a:lnTo>
                      <a:pt x="304" y="752"/>
                    </a:lnTo>
                    <a:lnTo>
                      <a:pt x="304" y="752"/>
                    </a:lnTo>
                    <a:lnTo>
                      <a:pt x="308" y="726"/>
                    </a:lnTo>
                    <a:lnTo>
                      <a:pt x="308" y="726"/>
                    </a:lnTo>
                    <a:lnTo>
                      <a:pt x="310" y="712"/>
                    </a:lnTo>
                    <a:lnTo>
                      <a:pt x="313" y="697"/>
                    </a:lnTo>
                    <a:lnTo>
                      <a:pt x="313" y="697"/>
                    </a:lnTo>
                    <a:lnTo>
                      <a:pt x="315" y="687"/>
                    </a:lnTo>
                    <a:lnTo>
                      <a:pt x="318" y="676"/>
                    </a:lnTo>
                    <a:lnTo>
                      <a:pt x="318" y="676"/>
                    </a:lnTo>
                    <a:lnTo>
                      <a:pt x="323" y="659"/>
                    </a:lnTo>
                    <a:lnTo>
                      <a:pt x="327" y="642"/>
                    </a:lnTo>
                    <a:lnTo>
                      <a:pt x="327" y="642"/>
                    </a:lnTo>
                    <a:lnTo>
                      <a:pt x="333" y="627"/>
                    </a:lnTo>
                    <a:lnTo>
                      <a:pt x="333" y="627"/>
                    </a:lnTo>
                    <a:lnTo>
                      <a:pt x="339" y="608"/>
                    </a:lnTo>
                    <a:lnTo>
                      <a:pt x="347" y="589"/>
                    </a:lnTo>
                    <a:lnTo>
                      <a:pt x="347" y="589"/>
                    </a:lnTo>
                    <a:lnTo>
                      <a:pt x="358" y="565"/>
                    </a:lnTo>
                    <a:lnTo>
                      <a:pt x="369" y="542"/>
                    </a:lnTo>
                    <a:lnTo>
                      <a:pt x="383" y="519"/>
                    </a:lnTo>
                    <a:lnTo>
                      <a:pt x="397" y="497"/>
                    </a:lnTo>
                    <a:lnTo>
                      <a:pt x="412" y="475"/>
                    </a:lnTo>
                    <a:lnTo>
                      <a:pt x="429" y="454"/>
                    </a:lnTo>
                    <a:lnTo>
                      <a:pt x="446" y="435"/>
                    </a:lnTo>
                    <a:lnTo>
                      <a:pt x="464" y="415"/>
                    </a:lnTo>
                    <a:lnTo>
                      <a:pt x="464" y="415"/>
                    </a:lnTo>
                    <a:lnTo>
                      <a:pt x="486" y="395"/>
                    </a:lnTo>
                    <a:lnTo>
                      <a:pt x="507" y="376"/>
                    </a:lnTo>
                    <a:lnTo>
                      <a:pt x="530" y="359"/>
                    </a:lnTo>
                    <a:lnTo>
                      <a:pt x="553" y="343"/>
                    </a:lnTo>
                    <a:lnTo>
                      <a:pt x="577" y="328"/>
                    </a:lnTo>
                    <a:lnTo>
                      <a:pt x="602" y="314"/>
                    </a:lnTo>
                    <a:lnTo>
                      <a:pt x="627" y="302"/>
                    </a:lnTo>
                    <a:lnTo>
                      <a:pt x="654" y="291"/>
                    </a:lnTo>
                    <a:lnTo>
                      <a:pt x="654" y="291"/>
                    </a:lnTo>
                    <a:lnTo>
                      <a:pt x="668" y="285"/>
                    </a:lnTo>
                    <a:lnTo>
                      <a:pt x="682" y="277"/>
                    </a:lnTo>
                    <a:lnTo>
                      <a:pt x="693" y="268"/>
                    </a:lnTo>
                    <a:lnTo>
                      <a:pt x="704" y="258"/>
                    </a:lnTo>
                    <a:lnTo>
                      <a:pt x="714" y="247"/>
                    </a:lnTo>
                    <a:lnTo>
                      <a:pt x="723" y="236"/>
                    </a:lnTo>
                    <a:lnTo>
                      <a:pt x="730" y="223"/>
                    </a:lnTo>
                    <a:lnTo>
                      <a:pt x="737" y="210"/>
                    </a:lnTo>
                    <a:lnTo>
                      <a:pt x="742" y="197"/>
                    </a:lnTo>
                    <a:lnTo>
                      <a:pt x="746" y="183"/>
                    </a:lnTo>
                    <a:lnTo>
                      <a:pt x="749" y="168"/>
                    </a:lnTo>
                    <a:lnTo>
                      <a:pt x="750" y="154"/>
                    </a:lnTo>
                    <a:lnTo>
                      <a:pt x="749" y="140"/>
                    </a:lnTo>
                    <a:lnTo>
                      <a:pt x="747" y="125"/>
                    </a:lnTo>
                    <a:lnTo>
                      <a:pt x="744" y="110"/>
                    </a:lnTo>
                    <a:lnTo>
                      <a:pt x="739" y="95"/>
                    </a:lnTo>
                    <a:lnTo>
                      <a:pt x="739" y="95"/>
                    </a:lnTo>
                    <a:lnTo>
                      <a:pt x="732" y="82"/>
                    </a:lnTo>
                    <a:lnTo>
                      <a:pt x="725" y="68"/>
                    </a:lnTo>
                    <a:lnTo>
                      <a:pt x="716" y="56"/>
                    </a:lnTo>
                    <a:lnTo>
                      <a:pt x="707" y="45"/>
                    </a:lnTo>
                    <a:lnTo>
                      <a:pt x="696" y="35"/>
                    </a:lnTo>
                    <a:lnTo>
                      <a:pt x="685" y="27"/>
                    </a:lnTo>
                    <a:lnTo>
                      <a:pt x="672" y="18"/>
                    </a:lnTo>
                    <a:lnTo>
                      <a:pt x="659" y="12"/>
                    </a:lnTo>
                    <a:lnTo>
                      <a:pt x="646" y="7"/>
                    </a:lnTo>
                    <a:lnTo>
                      <a:pt x="632" y="3"/>
                    </a:lnTo>
                    <a:lnTo>
                      <a:pt x="617" y="1"/>
                    </a:lnTo>
                    <a:lnTo>
                      <a:pt x="603" y="0"/>
                    </a:lnTo>
                    <a:lnTo>
                      <a:pt x="588" y="0"/>
                    </a:lnTo>
                    <a:lnTo>
                      <a:pt x="573" y="2"/>
                    </a:lnTo>
                    <a:lnTo>
                      <a:pt x="558" y="5"/>
                    </a:lnTo>
                    <a:lnTo>
                      <a:pt x="544" y="10"/>
                    </a:lnTo>
                    <a:lnTo>
                      <a:pt x="544" y="10"/>
                    </a:lnTo>
                    <a:lnTo>
                      <a:pt x="503" y="28"/>
                    </a:lnTo>
                    <a:lnTo>
                      <a:pt x="463" y="47"/>
                    </a:lnTo>
                    <a:lnTo>
                      <a:pt x="425" y="67"/>
                    </a:lnTo>
                    <a:lnTo>
                      <a:pt x="388" y="91"/>
                    </a:lnTo>
                    <a:lnTo>
                      <a:pt x="352" y="115"/>
                    </a:lnTo>
                    <a:lnTo>
                      <a:pt x="317" y="143"/>
                    </a:lnTo>
                    <a:lnTo>
                      <a:pt x="284" y="171"/>
                    </a:lnTo>
                    <a:lnTo>
                      <a:pt x="252" y="202"/>
                    </a:lnTo>
                    <a:lnTo>
                      <a:pt x="252" y="202"/>
                    </a:lnTo>
                    <a:lnTo>
                      <a:pt x="224" y="231"/>
                    </a:lnTo>
                    <a:lnTo>
                      <a:pt x="197" y="261"/>
                    </a:lnTo>
                    <a:lnTo>
                      <a:pt x="173" y="293"/>
                    </a:lnTo>
                    <a:lnTo>
                      <a:pt x="150" y="324"/>
                    </a:lnTo>
                    <a:lnTo>
                      <a:pt x="129" y="358"/>
                    </a:lnTo>
                    <a:lnTo>
                      <a:pt x="108" y="392"/>
                    </a:lnTo>
                    <a:lnTo>
                      <a:pt x="90" y="426"/>
                    </a:lnTo>
                    <a:lnTo>
                      <a:pt x="74" y="462"/>
                    </a:lnTo>
                    <a:lnTo>
                      <a:pt x="74" y="462"/>
                    </a:lnTo>
                    <a:lnTo>
                      <a:pt x="72" y="466"/>
                    </a:lnTo>
                    <a:lnTo>
                      <a:pt x="72" y="466"/>
                    </a:lnTo>
                    <a:lnTo>
                      <a:pt x="71" y="469"/>
                    </a:lnTo>
                    <a:lnTo>
                      <a:pt x="71" y="469"/>
                    </a:lnTo>
                    <a:lnTo>
                      <a:pt x="57" y="502"/>
                    </a:lnTo>
                    <a:lnTo>
                      <a:pt x="45" y="535"/>
                    </a:lnTo>
                    <a:lnTo>
                      <a:pt x="45" y="535"/>
                    </a:lnTo>
                    <a:lnTo>
                      <a:pt x="40" y="551"/>
                    </a:lnTo>
                    <a:lnTo>
                      <a:pt x="40" y="551"/>
                    </a:lnTo>
                    <a:lnTo>
                      <a:pt x="31" y="583"/>
                    </a:lnTo>
                    <a:lnTo>
                      <a:pt x="23" y="615"/>
                    </a:lnTo>
                    <a:lnTo>
                      <a:pt x="23" y="615"/>
                    </a:lnTo>
                    <a:lnTo>
                      <a:pt x="21" y="625"/>
                    </a:lnTo>
                    <a:lnTo>
                      <a:pt x="18" y="636"/>
                    </a:lnTo>
                    <a:lnTo>
                      <a:pt x="18" y="636"/>
                    </a:lnTo>
                    <a:lnTo>
                      <a:pt x="13" y="668"/>
                    </a:lnTo>
                    <a:lnTo>
                      <a:pt x="7" y="701"/>
                    </a:lnTo>
                    <a:lnTo>
                      <a:pt x="7" y="701"/>
                    </a:lnTo>
                    <a:lnTo>
                      <a:pt x="4" y="721"/>
                    </a:lnTo>
                    <a:lnTo>
                      <a:pt x="4" y="721"/>
                    </a:lnTo>
                    <a:lnTo>
                      <a:pt x="1" y="764"/>
                    </a:lnTo>
                    <a:lnTo>
                      <a:pt x="0" y="808"/>
                    </a:lnTo>
                    <a:lnTo>
                      <a:pt x="0" y="808"/>
                    </a:lnTo>
                    <a:lnTo>
                      <a:pt x="0" y="813"/>
                    </a:lnTo>
                    <a:lnTo>
                      <a:pt x="0" y="813"/>
                    </a:lnTo>
                    <a:lnTo>
                      <a:pt x="1" y="849"/>
                    </a:lnTo>
                    <a:lnTo>
                      <a:pt x="4" y="884"/>
                    </a:lnTo>
                    <a:lnTo>
                      <a:pt x="4" y="884"/>
                    </a:lnTo>
                    <a:lnTo>
                      <a:pt x="6" y="909"/>
                    </a:lnTo>
                    <a:lnTo>
                      <a:pt x="6" y="909"/>
                    </a:lnTo>
                    <a:lnTo>
                      <a:pt x="11" y="936"/>
                    </a:lnTo>
                    <a:lnTo>
                      <a:pt x="15" y="963"/>
                    </a:lnTo>
                    <a:lnTo>
                      <a:pt x="15" y="963"/>
                    </a:lnTo>
                    <a:lnTo>
                      <a:pt x="20" y="986"/>
                    </a:lnTo>
                    <a:lnTo>
                      <a:pt x="20" y="986"/>
                    </a:lnTo>
                    <a:lnTo>
                      <a:pt x="27" y="1020"/>
                    </a:lnTo>
                    <a:lnTo>
                      <a:pt x="36" y="1053"/>
                    </a:lnTo>
                    <a:lnTo>
                      <a:pt x="36" y="1053"/>
                    </a:lnTo>
                    <a:lnTo>
                      <a:pt x="38" y="1059"/>
                    </a:lnTo>
                    <a:lnTo>
                      <a:pt x="38" y="1059"/>
                    </a:lnTo>
                    <a:lnTo>
                      <a:pt x="50" y="1097"/>
                    </a:lnTo>
                    <a:lnTo>
                      <a:pt x="65" y="1134"/>
                    </a:lnTo>
                    <a:lnTo>
                      <a:pt x="65" y="1134"/>
                    </a:lnTo>
                    <a:lnTo>
                      <a:pt x="68" y="1142"/>
                    </a:lnTo>
                    <a:lnTo>
                      <a:pt x="68" y="1142"/>
                    </a:lnTo>
                    <a:lnTo>
                      <a:pt x="83" y="1175"/>
                    </a:lnTo>
                    <a:lnTo>
                      <a:pt x="100" y="1209"/>
                    </a:lnTo>
                    <a:lnTo>
                      <a:pt x="100" y="1209"/>
                    </a:lnTo>
                    <a:lnTo>
                      <a:pt x="102" y="1214"/>
                    </a:lnTo>
                    <a:lnTo>
                      <a:pt x="102" y="1214"/>
                    </a:lnTo>
                    <a:lnTo>
                      <a:pt x="123" y="1251"/>
                    </a:lnTo>
                    <a:lnTo>
                      <a:pt x="146" y="1286"/>
                    </a:lnTo>
                    <a:lnTo>
                      <a:pt x="171" y="1322"/>
                    </a:lnTo>
                    <a:lnTo>
                      <a:pt x="197" y="1355"/>
                    </a:lnTo>
                    <a:lnTo>
                      <a:pt x="225" y="1387"/>
                    </a:lnTo>
                    <a:lnTo>
                      <a:pt x="254" y="1418"/>
                    </a:lnTo>
                    <a:lnTo>
                      <a:pt x="286" y="1448"/>
                    </a:lnTo>
                    <a:lnTo>
                      <a:pt x="318" y="1476"/>
                    </a:lnTo>
                    <a:lnTo>
                      <a:pt x="184" y="1610"/>
                    </a:lnTo>
                    <a:lnTo>
                      <a:pt x="184" y="1610"/>
                    </a:lnTo>
                    <a:lnTo>
                      <a:pt x="173" y="1623"/>
                    </a:lnTo>
                    <a:lnTo>
                      <a:pt x="162" y="1635"/>
                    </a:lnTo>
                    <a:lnTo>
                      <a:pt x="155" y="1647"/>
                    </a:lnTo>
                    <a:lnTo>
                      <a:pt x="149" y="1659"/>
                    </a:lnTo>
                    <a:lnTo>
                      <a:pt x="146" y="1670"/>
                    </a:lnTo>
                    <a:lnTo>
                      <a:pt x="145" y="1680"/>
                    </a:lnTo>
                    <a:lnTo>
                      <a:pt x="145" y="1689"/>
                    </a:lnTo>
                    <a:lnTo>
                      <a:pt x="148" y="1698"/>
                    </a:lnTo>
                    <a:lnTo>
                      <a:pt x="152" y="1707"/>
                    </a:lnTo>
                    <a:lnTo>
                      <a:pt x="158" y="1714"/>
                    </a:lnTo>
                    <a:lnTo>
                      <a:pt x="167" y="1720"/>
                    </a:lnTo>
                    <a:lnTo>
                      <a:pt x="177" y="1726"/>
                    </a:lnTo>
                    <a:lnTo>
                      <a:pt x="189" y="1730"/>
                    </a:lnTo>
                    <a:lnTo>
                      <a:pt x="203" y="1733"/>
                    </a:lnTo>
                    <a:lnTo>
                      <a:pt x="219" y="1735"/>
                    </a:lnTo>
                    <a:lnTo>
                      <a:pt x="236" y="1735"/>
                    </a:lnTo>
                    <a:lnTo>
                      <a:pt x="620" y="1735"/>
                    </a:lnTo>
                    <a:lnTo>
                      <a:pt x="620" y="1735"/>
                    </a:lnTo>
                    <a:lnTo>
                      <a:pt x="639" y="1734"/>
                    </a:lnTo>
                    <a:lnTo>
                      <a:pt x="656" y="1732"/>
                    </a:lnTo>
                    <a:lnTo>
                      <a:pt x="673" y="1727"/>
                    </a:lnTo>
                    <a:lnTo>
                      <a:pt x="690" y="1722"/>
                    </a:lnTo>
                    <a:lnTo>
                      <a:pt x="705" y="1714"/>
                    </a:lnTo>
                    <a:lnTo>
                      <a:pt x="719" y="1706"/>
                    </a:lnTo>
                    <a:lnTo>
                      <a:pt x="732" y="1695"/>
                    </a:lnTo>
                    <a:lnTo>
                      <a:pt x="746" y="1683"/>
                    </a:lnTo>
                    <a:lnTo>
                      <a:pt x="757" y="1671"/>
                    </a:lnTo>
                    <a:lnTo>
                      <a:pt x="767" y="1658"/>
                    </a:lnTo>
                    <a:lnTo>
                      <a:pt x="776" y="1642"/>
                    </a:lnTo>
                    <a:lnTo>
                      <a:pt x="783" y="1627"/>
                    </a:lnTo>
                    <a:lnTo>
                      <a:pt x="790" y="1611"/>
                    </a:lnTo>
                    <a:lnTo>
                      <a:pt x="794" y="1594"/>
                    </a:lnTo>
                    <a:lnTo>
                      <a:pt x="797" y="1576"/>
                    </a:lnTo>
                    <a:lnTo>
                      <a:pt x="798" y="1559"/>
                    </a:lnTo>
                    <a:lnTo>
                      <a:pt x="798" y="1174"/>
                    </a:lnTo>
                    <a:lnTo>
                      <a:pt x="798" y="1174"/>
                    </a:lnTo>
                    <a:lnTo>
                      <a:pt x="797" y="1157"/>
                    </a:lnTo>
                    <a:lnTo>
                      <a:pt x="795" y="1140"/>
                    </a:lnTo>
                    <a:lnTo>
                      <a:pt x="792" y="1127"/>
                    </a:lnTo>
                    <a:lnTo>
                      <a:pt x="788" y="1115"/>
                    </a:lnTo>
                    <a:lnTo>
                      <a:pt x="782" y="1105"/>
                    </a:lnTo>
                    <a:lnTo>
                      <a:pt x="776" y="1097"/>
                    </a:lnTo>
                    <a:lnTo>
                      <a:pt x="769" y="1089"/>
                    </a:lnTo>
                    <a:lnTo>
                      <a:pt x="761" y="1085"/>
                    </a:lnTo>
                    <a:lnTo>
                      <a:pt x="752" y="1083"/>
                    </a:lnTo>
                    <a:lnTo>
                      <a:pt x="743" y="1082"/>
                    </a:lnTo>
                    <a:lnTo>
                      <a:pt x="731" y="1083"/>
                    </a:lnTo>
                    <a:lnTo>
                      <a:pt x="721" y="1087"/>
                    </a:lnTo>
                    <a:lnTo>
                      <a:pt x="709" y="1093"/>
                    </a:lnTo>
                    <a:lnTo>
                      <a:pt x="698" y="1101"/>
                    </a:lnTo>
                    <a:lnTo>
                      <a:pt x="686" y="1110"/>
                    </a:lnTo>
                    <a:lnTo>
                      <a:pt x="672" y="1122"/>
                    </a:lnTo>
                    <a:lnTo>
                      <a:pt x="672" y="1122"/>
                    </a:lnTo>
                    <a:close/>
                    <a:moveTo>
                      <a:pt x="315" y="265"/>
                    </a:moveTo>
                    <a:lnTo>
                      <a:pt x="315" y="265"/>
                    </a:lnTo>
                    <a:lnTo>
                      <a:pt x="344" y="238"/>
                    </a:lnTo>
                    <a:lnTo>
                      <a:pt x="374" y="212"/>
                    </a:lnTo>
                    <a:lnTo>
                      <a:pt x="405" y="189"/>
                    </a:lnTo>
                    <a:lnTo>
                      <a:pt x="437" y="166"/>
                    </a:lnTo>
                    <a:lnTo>
                      <a:pt x="470" y="146"/>
                    </a:lnTo>
                    <a:lnTo>
                      <a:pt x="505" y="127"/>
                    </a:lnTo>
                    <a:lnTo>
                      <a:pt x="541" y="109"/>
                    </a:lnTo>
                    <a:lnTo>
                      <a:pt x="576" y="94"/>
                    </a:lnTo>
                    <a:lnTo>
                      <a:pt x="576" y="94"/>
                    </a:lnTo>
                    <a:lnTo>
                      <a:pt x="583" y="92"/>
                    </a:lnTo>
                    <a:lnTo>
                      <a:pt x="589" y="91"/>
                    </a:lnTo>
                    <a:lnTo>
                      <a:pt x="600" y="90"/>
                    </a:lnTo>
                    <a:lnTo>
                      <a:pt x="612" y="92"/>
                    </a:lnTo>
                    <a:lnTo>
                      <a:pt x="622" y="95"/>
                    </a:lnTo>
                    <a:lnTo>
                      <a:pt x="633" y="101"/>
                    </a:lnTo>
                    <a:lnTo>
                      <a:pt x="642" y="108"/>
                    </a:lnTo>
                    <a:lnTo>
                      <a:pt x="649" y="117"/>
                    </a:lnTo>
                    <a:lnTo>
                      <a:pt x="652" y="122"/>
                    </a:lnTo>
                    <a:lnTo>
                      <a:pt x="655" y="129"/>
                    </a:lnTo>
                    <a:lnTo>
                      <a:pt x="655" y="129"/>
                    </a:lnTo>
                    <a:lnTo>
                      <a:pt x="657" y="134"/>
                    </a:lnTo>
                    <a:lnTo>
                      <a:pt x="658" y="140"/>
                    </a:lnTo>
                    <a:lnTo>
                      <a:pt x="659" y="152"/>
                    </a:lnTo>
                    <a:lnTo>
                      <a:pt x="658" y="163"/>
                    </a:lnTo>
                    <a:lnTo>
                      <a:pt x="654" y="175"/>
                    </a:lnTo>
                    <a:lnTo>
                      <a:pt x="649" y="185"/>
                    </a:lnTo>
                    <a:lnTo>
                      <a:pt x="641" y="194"/>
                    </a:lnTo>
                    <a:lnTo>
                      <a:pt x="632" y="201"/>
                    </a:lnTo>
                    <a:lnTo>
                      <a:pt x="626" y="204"/>
                    </a:lnTo>
                    <a:lnTo>
                      <a:pt x="620" y="206"/>
                    </a:lnTo>
                    <a:lnTo>
                      <a:pt x="620" y="206"/>
                    </a:lnTo>
                    <a:lnTo>
                      <a:pt x="590" y="219"/>
                    </a:lnTo>
                    <a:lnTo>
                      <a:pt x="560" y="234"/>
                    </a:lnTo>
                    <a:lnTo>
                      <a:pt x="532" y="250"/>
                    </a:lnTo>
                    <a:lnTo>
                      <a:pt x="503" y="267"/>
                    </a:lnTo>
                    <a:lnTo>
                      <a:pt x="477" y="286"/>
                    </a:lnTo>
                    <a:lnTo>
                      <a:pt x="450" y="306"/>
                    </a:lnTo>
                    <a:lnTo>
                      <a:pt x="425" y="328"/>
                    </a:lnTo>
                    <a:lnTo>
                      <a:pt x="401" y="351"/>
                    </a:lnTo>
                    <a:lnTo>
                      <a:pt x="401" y="351"/>
                    </a:lnTo>
                    <a:lnTo>
                      <a:pt x="396" y="355"/>
                    </a:lnTo>
                    <a:lnTo>
                      <a:pt x="391" y="359"/>
                    </a:lnTo>
                    <a:lnTo>
                      <a:pt x="381" y="364"/>
                    </a:lnTo>
                    <a:lnTo>
                      <a:pt x="369" y="367"/>
                    </a:lnTo>
                    <a:lnTo>
                      <a:pt x="358" y="368"/>
                    </a:lnTo>
                    <a:lnTo>
                      <a:pt x="347" y="367"/>
                    </a:lnTo>
                    <a:lnTo>
                      <a:pt x="336" y="364"/>
                    </a:lnTo>
                    <a:lnTo>
                      <a:pt x="325" y="359"/>
                    </a:lnTo>
                    <a:lnTo>
                      <a:pt x="321" y="355"/>
                    </a:lnTo>
                    <a:lnTo>
                      <a:pt x="315" y="351"/>
                    </a:lnTo>
                    <a:lnTo>
                      <a:pt x="315" y="351"/>
                    </a:lnTo>
                    <a:lnTo>
                      <a:pt x="311" y="347"/>
                    </a:lnTo>
                    <a:lnTo>
                      <a:pt x="307" y="342"/>
                    </a:lnTo>
                    <a:lnTo>
                      <a:pt x="302" y="331"/>
                    </a:lnTo>
                    <a:lnTo>
                      <a:pt x="299" y="319"/>
                    </a:lnTo>
                    <a:lnTo>
                      <a:pt x="298" y="308"/>
                    </a:lnTo>
                    <a:lnTo>
                      <a:pt x="299" y="297"/>
                    </a:lnTo>
                    <a:lnTo>
                      <a:pt x="302" y="286"/>
                    </a:lnTo>
                    <a:lnTo>
                      <a:pt x="307" y="274"/>
                    </a:lnTo>
                    <a:lnTo>
                      <a:pt x="311" y="270"/>
                    </a:lnTo>
                    <a:lnTo>
                      <a:pt x="315" y="265"/>
                    </a:lnTo>
                    <a:lnTo>
                      <a:pt x="315" y="265"/>
                    </a:lnTo>
                    <a:close/>
                  </a:path>
                </a:pathLst>
              </a:custGeom>
              <a:solidFill>
                <a:schemeClr val="accent4"/>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sp>
            <p:nvSpPr>
              <p:cNvPr id="531" name="Freeform 428"/>
              <p:cNvSpPr>
                <a:spLocks noEditPoints="1"/>
              </p:cNvSpPr>
              <p:nvPr/>
            </p:nvSpPr>
            <p:spPr bwMode="auto">
              <a:xfrm rot="10800000">
                <a:off x="8761207" y="3912017"/>
                <a:ext cx="86480" cy="188135"/>
              </a:xfrm>
              <a:custGeom>
                <a:avLst/>
                <a:gdLst>
                  <a:gd name="T0" fmla="*/ 794 w 798"/>
                  <a:gd name="T1" fmla="*/ 850 h 1736"/>
                  <a:gd name="T2" fmla="*/ 783 w 798"/>
                  <a:gd name="T3" fmla="*/ 772 h 1736"/>
                  <a:gd name="T4" fmla="*/ 762 w 798"/>
                  <a:gd name="T5" fmla="*/ 681 h 1736"/>
                  <a:gd name="T6" fmla="*/ 731 w 798"/>
                  <a:gd name="T7" fmla="*/ 594 h 1736"/>
                  <a:gd name="T8" fmla="*/ 697 w 798"/>
                  <a:gd name="T9" fmla="*/ 522 h 1736"/>
                  <a:gd name="T10" fmla="*/ 602 w 798"/>
                  <a:gd name="T11" fmla="*/ 380 h 1736"/>
                  <a:gd name="T12" fmla="*/ 614 w 798"/>
                  <a:gd name="T13" fmla="*/ 125 h 1736"/>
                  <a:gd name="T14" fmla="*/ 649 w 798"/>
                  <a:gd name="T15" fmla="*/ 76 h 1736"/>
                  <a:gd name="T16" fmla="*/ 647 w 798"/>
                  <a:gd name="T17" fmla="*/ 28 h 1736"/>
                  <a:gd name="T18" fmla="*/ 596 w 798"/>
                  <a:gd name="T19" fmla="*/ 2 h 1736"/>
                  <a:gd name="T20" fmla="*/ 160 w 798"/>
                  <a:gd name="T21" fmla="*/ 1 h 1736"/>
                  <a:gd name="T22" fmla="*/ 79 w 798"/>
                  <a:gd name="T23" fmla="*/ 29 h 1736"/>
                  <a:gd name="T24" fmla="*/ 23 w 798"/>
                  <a:gd name="T25" fmla="*/ 93 h 1736"/>
                  <a:gd name="T26" fmla="*/ 0 w 798"/>
                  <a:gd name="T27" fmla="*/ 177 h 1736"/>
                  <a:gd name="T28" fmla="*/ 6 w 798"/>
                  <a:gd name="T29" fmla="*/ 608 h 1736"/>
                  <a:gd name="T30" fmla="*/ 38 w 798"/>
                  <a:gd name="T31" fmla="*/ 650 h 1736"/>
                  <a:gd name="T32" fmla="*/ 89 w 798"/>
                  <a:gd name="T33" fmla="*/ 642 h 1736"/>
                  <a:gd name="T34" fmla="*/ 263 w 798"/>
                  <a:gd name="T35" fmla="*/ 476 h 1736"/>
                  <a:gd name="T36" fmla="*/ 339 w 798"/>
                  <a:gd name="T37" fmla="*/ 539 h 1736"/>
                  <a:gd name="T38" fmla="*/ 387 w 798"/>
                  <a:gd name="T39" fmla="*/ 596 h 1736"/>
                  <a:gd name="T40" fmla="*/ 436 w 798"/>
                  <a:gd name="T41" fmla="*/ 675 h 1736"/>
                  <a:gd name="T42" fmla="*/ 468 w 798"/>
                  <a:gd name="T43" fmla="*/ 753 h 1736"/>
                  <a:gd name="T44" fmla="*/ 489 w 798"/>
                  <a:gd name="T45" fmla="*/ 834 h 1736"/>
                  <a:gd name="T46" fmla="*/ 496 w 798"/>
                  <a:gd name="T47" fmla="*/ 908 h 1736"/>
                  <a:gd name="T48" fmla="*/ 494 w 798"/>
                  <a:gd name="T49" fmla="*/ 983 h 1736"/>
                  <a:gd name="T50" fmla="*/ 486 w 798"/>
                  <a:gd name="T51" fmla="*/ 1038 h 1736"/>
                  <a:gd name="T52" fmla="*/ 471 w 798"/>
                  <a:gd name="T53" fmla="*/ 1093 h 1736"/>
                  <a:gd name="T54" fmla="*/ 452 w 798"/>
                  <a:gd name="T55" fmla="*/ 1146 h 1736"/>
                  <a:gd name="T56" fmla="*/ 401 w 798"/>
                  <a:gd name="T57" fmla="*/ 1238 h 1736"/>
                  <a:gd name="T58" fmla="*/ 334 w 798"/>
                  <a:gd name="T59" fmla="*/ 1320 h 1736"/>
                  <a:gd name="T60" fmla="*/ 221 w 798"/>
                  <a:gd name="T61" fmla="*/ 1407 h 1736"/>
                  <a:gd name="T62" fmla="*/ 131 w 798"/>
                  <a:gd name="T63" fmla="*/ 1450 h 1736"/>
                  <a:gd name="T64" fmla="*/ 76 w 798"/>
                  <a:gd name="T65" fmla="*/ 1499 h 1736"/>
                  <a:gd name="T66" fmla="*/ 50 w 798"/>
                  <a:gd name="T67" fmla="*/ 1567 h 1736"/>
                  <a:gd name="T68" fmla="*/ 59 w 798"/>
                  <a:gd name="T69" fmla="*/ 1640 h 1736"/>
                  <a:gd name="T70" fmla="*/ 92 w 798"/>
                  <a:gd name="T71" fmla="*/ 1690 h 1736"/>
                  <a:gd name="T72" fmla="*/ 153 w 798"/>
                  <a:gd name="T73" fmla="*/ 1728 h 1736"/>
                  <a:gd name="T74" fmla="*/ 226 w 798"/>
                  <a:gd name="T75" fmla="*/ 1734 h 1736"/>
                  <a:gd name="T76" fmla="*/ 335 w 798"/>
                  <a:gd name="T77" fmla="*/ 1689 h 1736"/>
                  <a:gd name="T78" fmla="*/ 514 w 798"/>
                  <a:gd name="T79" fmla="*/ 1563 h 1736"/>
                  <a:gd name="T80" fmla="*/ 625 w 798"/>
                  <a:gd name="T81" fmla="*/ 1442 h 1736"/>
                  <a:gd name="T82" fmla="*/ 725 w 798"/>
                  <a:gd name="T83" fmla="*/ 1273 h 1736"/>
                  <a:gd name="T84" fmla="*/ 728 w 798"/>
                  <a:gd name="T85" fmla="*/ 1266 h 1736"/>
                  <a:gd name="T86" fmla="*/ 759 w 798"/>
                  <a:gd name="T87" fmla="*/ 1184 h 1736"/>
                  <a:gd name="T88" fmla="*/ 780 w 798"/>
                  <a:gd name="T89" fmla="*/ 1099 h 1736"/>
                  <a:gd name="T90" fmla="*/ 794 w 798"/>
                  <a:gd name="T91" fmla="*/ 1015 h 1736"/>
                  <a:gd name="T92" fmla="*/ 798 w 798"/>
                  <a:gd name="T93" fmla="*/ 923 h 1736"/>
                  <a:gd name="T94" fmla="*/ 424 w 798"/>
                  <a:gd name="T95" fmla="*/ 1523 h 1736"/>
                  <a:gd name="T96" fmla="*/ 258 w 798"/>
                  <a:gd name="T97" fmla="*/ 1626 h 1736"/>
                  <a:gd name="T98" fmla="*/ 198 w 798"/>
                  <a:gd name="T99" fmla="*/ 1645 h 1736"/>
                  <a:gd name="T100" fmla="*/ 149 w 798"/>
                  <a:gd name="T101" fmla="*/ 1618 h 1736"/>
                  <a:gd name="T102" fmla="*/ 140 w 798"/>
                  <a:gd name="T103" fmla="*/ 1595 h 1736"/>
                  <a:gd name="T104" fmla="*/ 157 w 798"/>
                  <a:gd name="T105" fmla="*/ 1542 h 1736"/>
                  <a:gd name="T106" fmla="*/ 208 w 798"/>
                  <a:gd name="T107" fmla="*/ 1516 h 1736"/>
                  <a:gd name="T108" fmla="*/ 348 w 798"/>
                  <a:gd name="T109" fmla="*/ 1429 h 1736"/>
                  <a:gd name="T110" fmla="*/ 407 w 798"/>
                  <a:gd name="T111" fmla="*/ 1376 h 1736"/>
                  <a:gd name="T112" fmla="*/ 463 w 798"/>
                  <a:gd name="T113" fmla="*/ 1371 h 1736"/>
                  <a:gd name="T114" fmla="*/ 487 w 798"/>
                  <a:gd name="T115" fmla="*/ 1389 h 1736"/>
                  <a:gd name="T116" fmla="*/ 500 w 798"/>
                  <a:gd name="T117" fmla="*/ 1438 h 1736"/>
                  <a:gd name="T118" fmla="*/ 483 w 798"/>
                  <a:gd name="T119" fmla="*/ 1470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6">
                    <a:moveTo>
                      <a:pt x="798" y="923"/>
                    </a:moveTo>
                    <a:lnTo>
                      <a:pt x="798" y="923"/>
                    </a:lnTo>
                    <a:lnTo>
                      <a:pt x="797" y="886"/>
                    </a:lnTo>
                    <a:lnTo>
                      <a:pt x="794" y="850"/>
                    </a:lnTo>
                    <a:lnTo>
                      <a:pt x="794" y="850"/>
                    </a:lnTo>
                    <a:lnTo>
                      <a:pt x="792" y="827"/>
                    </a:lnTo>
                    <a:lnTo>
                      <a:pt x="792" y="827"/>
                    </a:lnTo>
                    <a:lnTo>
                      <a:pt x="787" y="799"/>
                    </a:lnTo>
                    <a:lnTo>
                      <a:pt x="783" y="772"/>
                    </a:lnTo>
                    <a:lnTo>
                      <a:pt x="783" y="772"/>
                    </a:lnTo>
                    <a:lnTo>
                      <a:pt x="779" y="749"/>
                    </a:lnTo>
                    <a:lnTo>
                      <a:pt x="779" y="749"/>
                    </a:lnTo>
                    <a:lnTo>
                      <a:pt x="771" y="715"/>
                    </a:lnTo>
                    <a:lnTo>
                      <a:pt x="762" y="681"/>
                    </a:lnTo>
                    <a:lnTo>
                      <a:pt x="762" y="681"/>
                    </a:lnTo>
                    <a:lnTo>
                      <a:pt x="761" y="677"/>
                    </a:lnTo>
                    <a:lnTo>
                      <a:pt x="761" y="677"/>
                    </a:lnTo>
                    <a:lnTo>
                      <a:pt x="748" y="638"/>
                    </a:lnTo>
                    <a:lnTo>
                      <a:pt x="733" y="601"/>
                    </a:lnTo>
                    <a:lnTo>
                      <a:pt x="731" y="594"/>
                    </a:lnTo>
                    <a:lnTo>
                      <a:pt x="731" y="594"/>
                    </a:lnTo>
                    <a:lnTo>
                      <a:pt x="716" y="560"/>
                    </a:lnTo>
                    <a:lnTo>
                      <a:pt x="699" y="525"/>
                    </a:lnTo>
                    <a:lnTo>
                      <a:pt x="699" y="525"/>
                    </a:lnTo>
                    <a:lnTo>
                      <a:pt x="697" y="522"/>
                    </a:lnTo>
                    <a:lnTo>
                      <a:pt x="697" y="522"/>
                    </a:lnTo>
                    <a:lnTo>
                      <a:pt x="675" y="484"/>
                    </a:lnTo>
                    <a:lnTo>
                      <a:pt x="653" y="449"/>
                    </a:lnTo>
                    <a:lnTo>
                      <a:pt x="628" y="414"/>
                    </a:lnTo>
                    <a:lnTo>
                      <a:pt x="602" y="380"/>
                    </a:lnTo>
                    <a:lnTo>
                      <a:pt x="573" y="348"/>
                    </a:lnTo>
                    <a:lnTo>
                      <a:pt x="544" y="317"/>
                    </a:lnTo>
                    <a:lnTo>
                      <a:pt x="513" y="287"/>
                    </a:lnTo>
                    <a:lnTo>
                      <a:pt x="479" y="260"/>
                    </a:lnTo>
                    <a:lnTo>
                      <a:pt x="614" y="125"/>
                    </a:lnTo>
                    <a:lnTo>
                      <a:pt x="614" y="125"/>
                    </a:lnTo>
                    <a:lnTo>
                      <a:pt x="626" y="112"/>
                    </a:lnTo>
                    <a:lnTo>
                      <a:pt x="635" y="100"/>
                    </a:lnTo>
                    <a:lnTo>
                      <a:pt x="644" y="87"/>
                    </a:lnTo>
                    <a:lnTo>
                      <a:pt x="649" y="76"/>
                    </a:lnTo>
                    <a:lnTo>
                      <a:pt x="653" y="65"/>
                    </a:lnTo>
                    <a:lnTo>
                      <a:pt x="654" y="55"/>
                    </a:lnTo>
                    <a:lnTo>
                      <a:pt x="654" y="46"/>
                    </a:lnTo>
                    <a:lnTo>
                      <a:pt x="651" y="36"/>
                    </a:lnTo>
                    <a:lnTo>
                      <a:pt x="647" y="28"/>
                    </a:lnTo>
                    <a:lnTo>
                      <a:pt x="640" y="21"/>
                    </a:lnTo>
                    <a:lnTo>
                      <a:pt x="631" y="15"/>
                    </a:lnTo>
                    <a:lnTo>
                      <a:pt x="621" y="9"/>
                    </a:lnTo>
                    <a:lnTo>
                      <a:pt x="609" y="5"/>
                    </a:lnTo>
                    <a:lnTo>
                      <a:pt x="596" y="2"/>
                    </a:lnTo>
                    <a:lnTo>
                      <a:pt x="579" y="0"/>
                    </a:lnTo>
                    <a:lnTo>
                      <a:pt x="562" y="0"/>
                    </a:lnTo>
                    <a:lnTo>
                      <a:pt x="178" y="0"/>
                    </a:lnTo>
                    <a:lnTo>
                      <a:pt x="178" y="0"/>
                    </a:lnTo>
                    <a:lnTo>
                      <a:pt x="160" y="1"/>
                    </a:lnTo>
                    <a:lnTo>
                      <a:pt x="142" y="3"/>
                    </a:lnTo>
                    <a:lnTo>
                      <a:pt x="126" y="7"/>
                    </a:lnTo>
                    <a:lnTo>
                      <a:pt x="109" y="13"/>
                    </a:lnTo>
                    <a:lnTo>
                      <a:pt x="94" y="21"/>
                    </a:lnTo>
                    <a:lnTo>
                      <a:pt x="79" y="29"/>
                    </a:lnTo>
                    <a:lnTo>
                      <a:pt x="65" y="40"/>
                    </a:lnTo>
                    <a:lnTo>
                      <a:pt x="53" y="52"/>
                    </a:lnTo>
                    <a:lnTo>
                      <a:pt x="41" y="64"/>
                    </a:lnTo>
                    <a:lnTo>
                      <a:pt x="31" y="78"/>
                    </a:lnTo>
                    <a:lnTo>
                      <a:pt x="23" y="93"/>
                    </a:lnTo>
                    <a:lnTo>
                      <a:pt x="14" y="108"/>
                    </a:lnTo>
                    <a:lnTo>
                      <a:pt x="8" y="124"/>
                    </a:lnTo>
                    <a:lnTo>
                      <a:pt x="4" y="142"/>
                    </a:lnTo>
                    <a:lnTo>
                      <a:pt x="1" y="159"/>
                    </a:lnTo>
                    <a:lnTo>
                      <a:pt x="0" y="177"/>
                    </a:lnTo>
                    <a:lnTo>
                      <a:pt x="0" y="561"/>
                    </a:lnTo>
                    <a:lnTo>
                      <a:pt x="0" y="561"/>
                    </a:lnTo>
                    <a:lnTo>
                      <a:pt x="1" y="579"/>
                    </a:lnTo>
                    <a:lnTo>
                      <a:pt x="3" y="594"/>
                    </a:lnTo>
                    <a:lnTo>
                      <a:pt x="6" y="608"/>
                    </a:lnTo>
                    <a:lnTo>
                      <a:pt x="10" y="620"/>
                    </a:lnTo>
                    <a:lnTo>
                      <a:pt x="15" y="630"/>
                    </a:lnTo>
                    <a:lnTo>
                      <a:pt x="23" y="638"/>
                    </a:lnTo>
                    <a:lnTo>
                      <a:pt x="30" y="645"/>
                    </a:lnTo>
                    <a:lnTo>
                      <a:pt x="38" y="650"/>
                    </a:lnTo>
                    <a:lnTo>
                      <a:pt x="46" y="653"/>
                    </a:lnTo>
                    <a:lnTo>
                      <a:pt x="56" y="653"/>
                    </a:lnTo>
                    <a:lnTo>
                      <a:pt x="66" y="652"/>
                    </a:lnTo>
                    <a:lnTo>
                      <a:pt x="78" y="647"/>
                    </a:lnTo>
                    <a:lnTo>
                      <a:pt x="89" y="642"/>
                    </a:lnTo>
                    <a:lnTo>
                      <a:pt x="101" y="634"/>
                    </a:lnTo>
                    <a:lnTo>
                      <a:pt x="113" y="625"/>
                    </a:lnTo>
                    <a:lnTo>
                      <a:pt x="126" y="613"/>
                    </a:lnTo>
                    <a:lnTo>
                      <a:pt x="263" y="476"/>
                    </a:lnTo>
                    <a:lnTo>
                      <a:pt x="263" y="476"/>
                    </a:lnTo>
                    <a:lnTo>
                      <a:pt x="284" y="490"/>
                    </a:lnTo>
                    <a:lnTo>
                      <a:pt x="303" y="506"/>
                    </a:lnTo>
                    <a:lnTo>
                      <a:pt x="321" y="522"/>
                    </a:lnTo>
                    <a:lnTo>
                      <a:pt x="339" y="539"/>
                    </a:lnTo>
                    <a:lnTo>
                      <a:pt x="339" y="539"/>
                    </a:lnTo>
                    <a:lnTo>
                      <a:pt x="351" y="553"/>
                    </a:lnTo>
                    <a:lnTo>
                      <a:pt x="362" y="566"/>
                    </a:lnTo>
                    <a:lnTo>
                      <a:pt x="362" y="566"/>
                    </a:lnTo>
                    <a:lnTo>
                      <a:pt x="375" y="581"/>
                    </a:lnTo>
                    <a:lnTo>
                      <a:pt x="387" y="596"/>
                    </a:lnTo>
                    <a:lnTo>
                      <a:pt x="387" y="596"/>
                    </a:lnTo>
                    <a:lnTo>
                      <a:pt x="408" y="627"/>
                    </a:lnTo>
                    <a:lnTo>
                      <a:pt x="408" y="627"/>
                    </a:lnTo>
                    <a:lnTo>
                      <a:pt x="422" y="651"/>
                    </a:lnTo>
                    <a:lnTo>
                      <a:pt x="436" y="675"/>
                    </a:lnTo>
                    <a:lnTo>
                      <a:pt x="436" y="675"/>
                    </a:lnTo>
                    <a:lnTo>
                      <a:pt x="447" y="698"/>
                    </a:lnTo>
                    <a:lnTo>
                      <a:pt x="447" y="698"/>
                    </a:lnTo>
                    <a:lnTo>
                      <a:pt x="458" y="725"/>
                    </a:lnTo>
                    <a:lnTo>
                      <a:pt x="468" y="753"/>
                    </a:lnTo>
                    <a:lnTo>
                      <a:pt x="468" y="753"/>
                    </a:lnTo>
                    <a:lnTo>
                      <a:pt x="472" y="764"/>
                    </a:lnTo>
                    <a:lnTo>
                      <a:pt x="472" y="764"/>
                    </a:lnTo>
                    <a:lnTo>
                      <a:pt x="482" y="798"/>
                    </a:lnTo>
                    <a:lnTo>
                      <a:pt x="489" y="834"/>
                    </a:lnTo>
                    <a:lnTo>
                      <a:pt x="489" y="834"/>
                    </a:lnTo>
                    <a:lnTo>
                      <a:pt x="491" y="853"/>
                    </a:lnTo>
                    <a:lnTo>
                      <a:pt x="491" y="853"/>
                    </a:lnTo>
                    <a:lnTo>
                      <a:pt x="495" y="889"/>
                    </a:lnTo>
                    <a:lnTo>
                      <a:pt x="496" y="908"/>
                    </a:lnTo>
                    <a:lnTo>
                      <a:pt x="497" y="927"/>
                    </a:lnTo>
                    <a:lnTo>
                      <a:pt x="497" y="927"/>
                    </a:lnTo>
                    <a:lnTo>
                      <a:pt x="497" y="927"/>
                    </a:lnTo>
                    <a:lnTo>
                      <a:pt x="496" y="956"/>
                    </a:lnTo>
                    <a:lnTo>
                      <a:pt x="494" y="983"/>
                    </a:lnTo>
                    <a:lnTo>
                      <a:pt x="494" y="983"/>
                    </a:lnTo>
                    <a:lnTo>
                      <a:pt x="491" y="1007"/>
                    </a:lnTo>
                    <a:lnTo>
                      <a:pt x="491" y="1007"/>
                    </a:lnTo>
                    <a:lnTo>
                      <a:pt x="488" y="1023"/>
                    </a:lnTo>
                    <a:lnTo>
                      <a:pt x="486" y="1038"/>
                    </a:lnTo>
                    <a:lnTo>
                      <a:pt x="486" y="1038"/>
                    </a:lnTo>
                    <a:lnTo>
                      <a:pt x="480" y="1059"/>
                    </a:lnTo>
                    <a:lnTo>
                      <a:pt x="480" y="1059"/>
                    </a:lnTo>
                    <a:lnTo>
                      <a:pt x="476" y="1076"/>
                    </a:lnTo>
                    <a:lnTo>
                      <a:pt x="471" y="1093"/>
                    </a:lnTo>
                    <a:lnTo>
                      <a:pt x="471" y="1093"/>
                    </a:lnTo>
                    <a:lnTo>
                      <a:pt x="466" y="1108"/>
                    </a:lnTo>
                    <a:lnTo>
                      <a:pt x="466" y="1108"/>
                    </a:lnTo>
                    <a:lnTo>
                      <a:pt x="459" y="1127"/>
                    </a:lnTo>
                    <a:lnTo>
                      <a:pt x="452" y="1146"/>
                    </a:lnTo>
                    <a:lnTo>
                      <a:pt x="452" y="1146"/>
                    </a:lnTo>
                    <a:lnTo>
                      <a:pt x="441" y="1170"/>
                    </a:lnTo>
                    <a:lnTo>
                      <a:pt x="428" y="1193"/>
                    </a:lnTo>
                    <a:lnTo>
                      <a:pt x="415" y="1216"/>
                    </a:lnTo>
                    <a:lnTo>
                      <a:pt x="401" y="1238"/>
                    </a:lnTo>
                    <a:lnTo>
                      <a:pt x="386" y="1259"/>
                    </a:lnTo>
                    <a:lnTo>
                      <a:pt x="369" y="1281"/>
                    </a:lnTo>
                    <a:lnTo>
                      <a:pt x="352" y="1300"/>
                    </a:lnTo>
                    <a:lnTo>
                      <a:pt x="334" y="1320"/>
                    </a:lnTo>
                    <a:lnTo>
                      <a:pt x="334" y="1320"/>
                    </a:lnTo>
                    <a:lnTo>
                      <a:pt x="313" y="1340"/>
                    </a:lnTo>
                    <a:lnTo>
                      <a:pt x="291" y="1358"/>
                    </a:lnTo>
                    <a:lnTo>
                      <a:pt x="268" y="1376"/>
                    </a:lnTo>
                    <a:lnTo>
                      <a:pt x="245" y="1392"/>
                    </a:lnTo>
                    <a:lnTo>
                      <a:pt x="221" y="1407"/>
                    </a:lnTo>
                    <a:lnTo>
                      <a:pt x="196" y="1421"/>
                    </a:lnTo>
                    <a:lnTo>
                      <a:pt x="170" y="1433"/>
                    </a:lnTo>
                    <a:lnTo>
                      <a:pt x="145" y="1444"/>
                    </a:lnTo>
                    <a:lnTo>
                      <a:pt x="145" y="1444"/>
                    </a:lnTo>
                    <a:lnTo>
                      <a:pt x="131" y="1450"/>
                    </a:lnTo>
                    <a:lnTo>
                      <a:pt x="117" y="1458"/>
                    </a:lnTo>
                    <a:lnTo>
                      <a:pt x="105" y="1468"/>
                    </a:lnTo>
                    <a:lnTo>
                      <a:pt x="94" y="1477"/>
                    </a:lnTo>
                    <a:lnTo>
                      <a:pt x="85" y="1488"/>
                    </a:lnTo>
                    <a:lnTo>
                      <a:pt x="76" y="1499"/>
                    </a:lnTo>
                    <a:lnTo>
                      <a:pt x="67" y="1511"/>
                    </a:lnTo>
                    <a:lnTo>
                      <a:pt x="61" y="1525"/>
                    </a:lnTo>
                    <a:lnTo>
                      <a:pt x="56" y="1538"/>
                    </a:lnTo>
                    <a:lnTo>
                      <a:pt x="52" y="1552"/>
                    </a:lnTo>
                    <a:lnTo>
                      <a:pt x="50" y="1567"/>
                    </a:lnTo>
                    <a:lnTo>
                      <a:pt x="49" y="1581"/>
                    </a:lnTo>
                    <a:lnTo>
                      <a:pt x="49" y="1596"/>
                    </a:lnTo>
                    <a:lnTo>
                      <a:pt x="51" y="1610"/>
                    </a:lnTo>
                    <a:lnTo>
                      <a:pt x="54" y="1626"/>
                    </a:lnTo>
                    <a:lnTo>
                      <a:pt x="59" y="1640"/>
                    </a:lnTo>
                    <a:lnTo>
                      <a:pt x="59" y="1640"/>
                    </a:lnTo>
                    <a:lnTo>
                      <a:pt x="65" y="1654"/>
                    </a:lnTo>
                    <a:lnTo>
                      <a:pt x="74" y="1668"/>
                    </a:lnTo>
                    <a:lnTo>
                      <a:pt x="82" y="1679"/>
                    </a:lnTo>
                    <a:lnTo>
                      <a:pt x="92" y="1690"/>
                    </a:lnTo>
                    <a:lnTo>
                      <a:pt x="102" y="1700"/>
                    </a:lnTo>
                    <a:lnTo>
                      <a:pt x="114" y="1709"/>
                    </a:lnTo>
                    <a:lnTo>
                      <a:pt x="127" y="1716"/>
                    </a:lnTo>
                    <a:lnTo>
                      <a:pt x="140" y="1723"/>
                    </a:lnTo>
                    <a:lnTo>
                      <a:pt x="153" y="1728"/>
                    </a:lnTo>
                    <a:lnTo>
                      <a:pt x="167" y="1732"/>
                    </a:lnTo>
                    <a:lnTo>
                      <a:pt x="182" y="1735"/>
                    </a:lnTo>
                    <a:lnTo>
                      <a:pt x="196" y="1736"/>
                    </a:lnTo>
                    <a:lnTo>
                      <a:pt x="210" y="1735"/>
                    </a:lnTo>
                    <a:lnTo>
                      <a:pt x="226" y="1734"/>
                    </a:lnTo>
                    <a:lnTo>
                      <a:pt x="240" y="1730"/>
                    </a:lnTo>
                    <a:lnTo>
                      <a:pt x="255" y="1725"/>
                    </a:lnTo>
                    <a:lnTo>
                      <a:pt x="255" y="1725"/>
                    </a:lnTo>
                    <a:lnTo>
                      <a:pt x="296" y="1708"/>
                    </a:lnTo>
                    <a:lnTo>
                      <a:pt x="335" y="1689"/>
                    </a:lnTo>
                    <a:lnTo>
                      <a:pt x="373" y="1668"/>
                    </a:lnTo>
                    <a:lnTo>
                      <a:pt x="410" y="1644"/>
                    </a:lnTo>
                    <a:lnTo>
                      <a:pt x="447" y="1620"/>
                    </a:lnTo>
                    <a:lnTo>
                      <a:pt x="482" y="1593"/>
                    </a:lnTo>
                    <a:lnTo>
                      <a:pt x="514" y="1563"/>
                    </a:lnTo>
                    <a:lnTo>
                      <a:pt x="547" y="1533"/>
                    </a:lnTo>
                    <a:lnTo>
                      <a:pt x="547" y="1533"/>
                    </a:lnTo>
                    <a:lnTo>
                      <a:pt x="574" y="1504"/>
                    </a:lnTo>
                    <a:lnTo>
                      <a:pt x="601" y="1474"/>
                    </a:lnTo>
                    <a:lnTo>
                      <a:pt x="625" y="1442"/>
                    </a:lnTo>
                    <a:lnTo>
                      <a:pt x="649" y="1410"/>
                    </a:lnTo>
                    <a:lnTo>
                      <a:pt x="670" y="1377"/>
                    </a:lnTo>
                    <a:lnTo>
                      <a:pt x="691" y="1343"/>
                    </a:lnTo>
                    <a:lnTo>
                      <a:pt x="708" y="1308"/>
                    </a:lnTo>
                    <a:lnTo>
                      <a:pt x="725" y="1273"/>
                    </a:lnTo>
                    <a:lnTo>
                      <a:pt x="725" y="1273"/>
                    </a:lnTo>
                    <a:lnTo>
                      <a:pt x="727" y="1269"/>
                    </a:lnTo>
                    <a:lnTo>
                      <a:pt x="727" y="1269"/>
                    </a:lnTo>
                    <a:lnTo>
                      <a:pt x="728" y="1266"/>
                    </a:lnTo>
                    <a:lnTo>
                      <a:pt x="728" y="1266"/>
                    </a:lnTo>
                    <a:lnTo>
                      <a:pt x="742" y="1233"/>
                    </a:lnTo>
                    <a:lnTo>
                      <a:pt x="754" y="1198"/>
                    </a:lnTo>
                    <a:lnTo>
                      <a:pt x="754" y="1198"/>
                    </a:lnTo>
                    <a:lnTo>
                      <a:pt x="759" y="1184"/>
                    </a:lnTo>
                    <a:lnTo>
                      <a:pt x="759" y="1184"/>
                    </a:lnTo>
                    <a:lnTo>
                      <a:pt x="768" y="1151"/>
                    </a:lnTo>
                    <a:lnTo>
                      <a:pt x="776" y="1118"/>
                    </a:lnTo>
                    <a:lnTo>
                      <a:pt x="776" y="1118"/>
                    </a:lnTo>
                    <a:lnTo>
                      <a:pt x="778" y="1109"/>
                    </a:lnTo>
                    <a:lnTo>
                      <a:pt x="780" y="1099"/>
                    </a:lnTo>
                    <a:lnTo>
                      <a:pt x="780" y="1099"/>
                    </a:lnTo>
                    <a:lnTo>
                      <a:pt x="786" y="1066"/>
                    </a:lnTo>
                    <a:lnTo>
                      <a:pt x="791" y="1031"/>
                    </a:lnTo>
                    <a:lnTo>
                      <a:pt x="791" y="1031"/>
                    </a:lnTo>
                    <a:lnTo>
                      <a:pt x="794" y="1015"/>
                    </a:lnTo>
                    <a:lnTo>
                      <a:pt x="794" y="1015"/>
                    </a:lnTo>
                    <a:lnTo>
                      <a:pt x="797" y="971"/>
                    </a:lnTo>
                    <a:lnTo>
                      <a:pt x="798" y="927"/>
                    </a:lnTo>
                    <a:lnTo>
                      <a:pt x="798" y="927"/>
                    </a:lnTo>
                    <a:lnTo>
                      <a:pt x="798" y="923"/>
                    </a:lnTo>
                    <a:lnTo>
                      <a:pt x="798" y="923"/>
                    </a:lnTo>
                    <a:close/>
                    <a:moveTo>
                      <a:pt x="483" y="1470"/>
                    </a:moveTo>
                    <a:lnTo>
                      <a:pt x="483" y="1470"/>
                    </a:lnTo>
                    <a:lnTo>
                      <a:pt x="454" y="1497"/>
                    </a:lnTo>
                    <a:lnTo>
                      <a:pt x="424" y="1523"/>
                    </a:lnTo>
                    <a:lnTo>
                      <a:pt x="393" y="1546"/>
                    </a:lnTo>
                    <a:lnTo>
                      <a:pt x="361" y="1569"/>
                    </a:lnTo>
                    <a:lnTo>
                      <a:pt x="328" y="1589"/>
                    </a:lnTo>
                    <a:lnTo>
                      <a:pt x="294" y="1608"/>
                    </a:lnTo>
                    <a:lnTo>
                      <a:pt x="258" y="1626"/>
                    </a:lnTo>
                    <a:lnTo>
                      <a:pt x="221" y="1641"/>
                    </a:lnTo>
                    <a:lnTo>
                      <a:pt x="221" y="1641"/>
                    </a:lnTo>
                    <a:lnTo>
                      <a:pt x="216" y="1643"/>
                    </a:lnTo>
                    <a:lnTo>
                      <a:pt x="210" y="1644"/>
                    </a:lnTo>
                    <a:lnTo>
                      <a:pt x="198" y="1645"/>
                    </a:lnTo>
                    <a:lnTo>
                      <a:pt x="187" y="1644"/>
                    </a:lnTo>
                    <a:lnTo>
                      <a:pt x="176" y="1640"/>
                    </a:lnTo>
                    <a:lnTo>
                      <a:pt x="165" y="1635"/>
                    </a:lnTo>
                    <a:lnTo>
                      <a:pt x="156" y="1627"/>
                    </a:lnTo>
                    <a:lnTo>
                      <a:pt x="149" y="1618"/>
                    </a:lnTo>
                    <a:lnTo>
                      <a:pt x="146" y="1612"/>
                    </a:lnTo>
                    <a:lnTo>
                      <a:pt x="144" y="1607"/>
                    </a:lnTo>
                    <a:lnTo>
                      <a:pt x="144" y="1607"/>
                    </a:lnTo>
                    <a:lnTo>
                      <a:pt x="142" y="1601"/>
                    </a:lnTo>
                    <a:lnTo>
                      <a:pt x="140" y="1595"/>
                    </a:lnTo>
                    <a:lnTo>
                      <a:pt x="140" y="1583"/>
                    </a:lnTo>
                    <a:lnTo>
                      <a:pt x="141" y="1572"/>
                    </a:lnTo>
                    <a:lnTo>
                      <a:pt x="144" y="1560"/>
                    </a:lnTo>
                    <a:lnTo>
                      <a:pt x="150" y="1550"/>
                    </a:lnTo>
                    <a:lnTo>
                      <a:pt x="157" y="1542"/>
                    </a:lnTo>
                    <a:lnTo>
                      <a:pt x="166" y="1534"/>
                    </a:lnTo>
                    <a:lnTo>
                      <a:pt x="171" y="1531"/>
                    </a:lnTo>
                    <a:lnTo>
                      <a:pt x="178" y="1529"/>
                    </a:lnTo>
                    <a:lnTo>
                      <a:pt x="178" y="1529"/>
                    </a:lnTo>
                    <a:lnTo>
                      <a:pt x="208" y="1516"/>
                    </a:lnTo>
                    <a:lnTo>
                      <a:pt x="238" y="1501"/>
                    </a:lnTo>
                    <a:lnTo>
                      <a:pt x="267" y="1485"/>
                    </a:lnTo>
                    <a:lnTo>
                      <a:pt x="295" y="1468"/>
                    </a:lnTo>
                    <a:lnTo>
                      <a:pt x="322" y="1449"/>
                    </a:lnTo>
                    <a:lnTo>
                      <a:pt x="348" y="1429"/>
                    </a:lnTo>
                    <a:lnTo>
                      <a:pt x="373" y="1407"/>
                    </a:lnTo>
                    <a:lnTo>
                      <a:pt x="398" y="1384"/>
                    </a:lnTo>
                    <a:lnTo>
                      <a:pt x="398" y="1384"/>
                    </a:lnTo>
                    <a:lnTo>
                      <a:pt x="402" y="1380"/>
                    </a:lnTo>
                    <a:lnTo>
                      <a:pt x="407" y="1376"/>
                    </a:lnTo>
                    <a:lnTo>
                      <a:pt x="417" y="1371"/>
                    </a:lnTo>
                    <a:lnTo>
                      <a:pt x="428" y="1368"/>
                    </a:lnTo>
                    <a:lnTo>
                      <a:pt x="440" y="1367"/>
                    </a:lnTo>
                    <a:lnTo>
                      <a:pt x="452" y="1368"/>
                    </a:lnTo>
                    <a:lnTo>
                      <a:pt x="463" y="1371"/>
                    </a:lnTo>
                    <a:lnTo>
                      <a:pt x="473" y="1376"/>
                    </a:lnTo>
                    <a:lnTo>
                      <a:pt x="478" y="1380"/>
                    </a:lnTo>
                    <a:lnTo>
                      <a:pt x="483" y="1384"/>
                    </a:lnTo>
                    <a:lnTo>
                      <a:pt x="483" y="1384"/>
                    </a:lnTo>
                    <a:lnTo>
                      <a:pt x="487" y="1389"/>
                    </a:lnTo>
                    <a:lnTo>
                      <a:pt x="491" y="1393"/>
                    </a:lnTo>
                    <a:lnTo>
                      <a:pt x="496" y="1404"/>
                    </a:lnTo>
                    <a:lnTo>
                      <a:pt x="500" y="1416"/>
                    </a:lnTo>
                    <a:lnTo>
                      <a:pt x="501" y="1427"/>
                    </a:lnTo>
                    <a:lnTo>
                      <a:pt x="500" y="1438"/>
                    </a:lnTo>
                    <a:lnTo>
                      <a:pt x="496" y="1449"/>
                    </a:lnTo>
                    <a:lnTo>
                      <a:pt x="491" y="1459"/>
                    </a:lnTo>
                    <a:lnTo>
                      <a:pt x="487" y="1465"/>
                    </a:lnTo>
                    <a:lnTo>
                      <a:pt x="483" y="1470"/>
                    </a:lnTo>
                    <a:lnTo>
                      <a:pt x="483" y="1470"/>
                    </a:lnTo>
                    <a:close/>
                  </a:path>
                </a:pathLst>
              </a:custGeom>
              <a:solidFill>
                <a:schemeClr val="accent3"/>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grpSp>
      </p:grpSp>
      <p:sp>
        <p:nvSpPr>
          <p:cNvPr id="21" name="Rectangle 20"/>
          <p:cNvSpPr/>
          <p:nvPr/>
        </p:nvSpPr>
        <p:spPr>
          <a:xfrm>
            <a:off x="1132113" y="1473386"/>
            <a:ext cx="717424" cy="422718"/>
          </a:xfrm>
          <a:prstGeom prst="rect">
            <a:avLst/>
          </a:prstGeom>
          <a:noFill/>
          <a:effectLst/>
        </p:spPr>
        <p:txBody>
          <a:bodyPr lIns="0" tIns="0" rIns="0" bIns="0" anchor="ctr" anchorCtr="0">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フィルタリング</a:t>
            </a:r>
            <a:endParaRPr lang="en-US" sz="900" kern="0" dirty="0">
              <a:solidFill>
                <a:schemeClr val="bg1"/>
              </a:solidFill>
              <a:latin typeface="+mj-lt"/>
            </a:endParaRPr>
          </a:p>
        </p:txBody>
      </p:sp>
      <p:sp>
        <p:nvSpPr>
          <p:cNvPr id="536" name="Rectangle 535"/>
          <p:cNvSpPr/>
          <p:nvPr/>
        </p:nvSpPr>
        <p:spPr>
          <a:xfrm>
            <a:off x="2041620" y="1473386"/>
            <a:ext cx="777780" cy="422718"/>
          </a:xfrm>
          <a:prstGeom prst="rect">
            <a:avLst/>
          </a:prstGeom>
          <a:noFill/>
          <a:effectLst/>
        </p:spPr>
        <p:txBody>
          <a:bodyPr lIns="0" tIns="0" rIns="0" bIns="0" anchor="ctr" anchorCtr="0">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レピュテーション</a:t>
            </a:r>
            <a:endParaRPr lang="en-US" sz="900" kern="0" dirty="0">
              <a:solidFill>
                <a:schemeClr val="bg1"/>
              </a:solidFill>
              <a:latin typeface="+mj-lt"/>
            </a:endParaRPr>
          </a:p>
        </p:txBody>
      </p:sp>
      <p:sp>
        <p:nvSpPr>
          <p:cNvPr id="537" name="Rectangle 536"/>
          <p:cNvSpPr/>
          <p:nvPr/>
        </p:nvSpPr>
        <p:spPr>
          <a:xfrm>
            <a:off x="2963565" y="1395701"/>
            <a:ext cx="805093" cy="422718"/>
          </a:xfrm>
          <a:prstGeom prst="rect">
            <a:avLst/>
          </a:prstGeom>
          <a:noFill/>
          <a:effectLst/>
        </p:spPr>
        <p:txBody>
          <a:bodyPr lIns="0" tIns="0" rIns="0" bIns="45718" anchor="ctr" anchorCtr="0">
            <a:noAutofit/>
          </a:bodyPr>
          <a:lstStyle/>
          <a:p>
            <a:pPr algn="ctr" defTabSz="914103">
              <a:defRPr/>
            </a:pPr>
            <a:r>
              <a:rPr lang="ja-JP" altLang="en-US" sz="900" kern="0" dirty="0" smtClean="0">
                <a:solidFill>
                  <a:schemeClr val="bg1"/>
                </a:solidFill>
                <a:latin typeface="+mj-lt"/>
              </a:rPr>
              <a:t>ウェブアプリ</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可視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コントロール</a:t>
            </a:r>
            <a:endParaRPr lang="en-US" sz="900" kern="0" dirty="0">
              <a:solidFill>
                <a:schemeClr val="bg1"/>
              </a:solidFill>
              <a:latin typeface="+mj-lt"/>
            </a:endParaRPr>
          </a:p>
        </p:txBody>
      </p:sp>
      <p:sp>
        <p:nvSpPr>
          <p:cNvPr id="538" name="Rectangle 537"/>
          <p:cNvSpPr/>
          <p:nvPr/>
        </p:nvSpPr>
        <p:spPr>
          <a:xfrm>
            <a:off x="3805222" y="1254575"/>
            <a:ext cx="1193525" cy="263328"/>
          </a:xfrm>
          <a:prstGeom prst="rect">
            <a:avLst/>
          </a:prstGeom>
          <a:noFill/>
          <a:effectLst/>
        </p:spPr>
        <p:txBody>
          <a:bodyPr lIns="91436" tIns="45718" rIns="91436" bIns="45718">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ページ</a:t>
            </a:r>
            <a:endParaRPr lang="en-US" sz="900" kern="0" dirty="0">
              <a:solidFill>
                <a:schemeClr val="bg1"/>
              </a:solidFill>
              <a:latin typeface="+mj-lt"/>
            </a:endParaRPr>
          </a:p>
        </p:txBody>
      </p:sp>
      <p:grpSp>
        <p:nvGrpSpPr>
          <p:cNvPr id="775" name="Group 285"/>
          <p:cNvGrpSpPr/>
          <p:nvPr/>
        </p:nvGrpSpPr>
        <p:grpSpPr>
          <a:xfrm>
            <a:off x="4007065" y="1588482"/>
            <a:ext cx="733829" cy="707717"/>
            <a:chOff x="3981714" y="1831755"/>
            <a:chExt cx="718747" cy="693171"/>
          </a:xfrm>
        </p:grpSpPr>
        <p:sp>
          <p:nvSpPr>
            <p:cNvPr id="266" name="Rectangle 265"/>
            <p:cNvSpPr/>
            <p:nvPr/>
          </p:nvSpPr>
          <p:spPr>
            <a:xfrm>
              <a:off x="3982464" y="1831755"/>
              <a:ext cx="717995" cy="693171"/>
            </a:xfrm>
            <a:prstGeom prst="rect">
              <a:avLst/>
            </a:prstGeom>
            <a:solidFill>
              <a:srgbClr val="00B0F0">
                <a:lumMod val="50000"/>
                <a:alpha val="0"/>
              </a:srgbClr>
            </a:solidFill>
            <a:ln w="12700" cap="flat" cmpd="sng" algn="ctr">
              <a:solidFill>
                <a:schemeClr val="accent2"/>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267" name="Rectangle 266"/>
            <p:cNvSpPr/>
            <p:nvPr/>
          </p:nvSpPr>
          <p:spPr>
            <a:xfrm>
              <a:off x="3982466" y="1834957"/>
              <a:ext cx="717995" cy="66335"/>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68" name="Rounded Rectangle 267"/>
            <p:cNvSpPr/>
            <p:nvPr/>
          </p:nvSpPr>
          <p:spPr>
            <a:xfrm>
              <a:off x="4073348" y="1851950"/>
              <a:ext cx="569956" cy="32428"/>
            </a:xfrm>
            <a:prstGeom prst="roundRect">
              <a:avLst/>
            </a:prstGeom>
            <a:solidFill>
              <a:schemeClr val="accent2">
                <a:lumMod val="40000"/>
                <a:lumOff val="60000"/>
              </a:schemeClr>
            </a:solidFill>
            <a:ln w="25400" cap="flat" cmpd="sng" algn="ctr">
              <a:noFill/>
              <a:prstDash val="solid"/>
            </a:ln>
            <a:effectLst/>
          </p:spPr>
          <p:txBody>
            <a:bodyPr rtlCol="0" anchor="ctr"/>
            <a:lstStyle/>
            <a:p>
              <a:pPr defTabSz="1218539">
                <a:defRPr/>
              </a:pPr>
              <a:r>
                <a:rPr lang="en-US" sz="300" kern="0" dirty="0">
                  <a:solidFill>
                    <a:schemeClr val="tx2"/>
                  </a:solidFill>
                  <a:latin typeface="+mj-lt"/>
                </a:rPr>
                <a:t>www.website.com</a:t>
              </a:r>
            </a:p>
          </p:txBody>
        </p:sp>
        <p:sp>
          <p:nvSpPr>
            <p:cNvPr id="269" name="Isosceles Triangle 268"/>
            <p:cNvSpPr/>
            <p:nvPr/>
          </p:nvSpPr>
          <p:spPr>
            <a:xfrm rot="16200000">
              <a:off x="3998363" y="1858876"/>
              <a:ext cx="23677" cy="23381"/>
            </a:xfrm>
            <a:prstGeom prst="triangle">
              <a:avLst/>
            </a:prstGeom>
            <a:solidFill>
              <a:srgbClr val="FFFFFF"/>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0" name="Isosceles Triangle 269"/>
            <p:cNvSpPr/>
            <p:nvPr/>
          </p:nvSpPr>
          <p:spPr>
            <a:xfrm rot="5400000" flipH="1">
              <a:off x="4029555" y="1858876"/>
              <a:ext cx="23677" cy="23381"/>
            </a:xfrm>
            <a:prstGeom prst="triangle">
              <a:avLst/>
            </a:prstGeom>
            <a:solidFill>
              <a:srgbClr val="FFFFFF"/>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1" name="Rectangle 270"/>
            <p:cNvSpPr/>
            <p:nvPr/>
          </p:nvSpPr>
          <p:spPr>
            <a:xfrm>
              <a:off x="4653898" y="1853815"/>
              <a:ext cx="32748" cy="28588"/>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2" name="Rectangle 271"/>
            <p:cNvSpPr/>
            <p:nvPr/>
          </p:nvSpPr>
          <p:spPr>
            <a:xfrm>
              <a:off x="3997922" y="1913436"/>
              <a:ext cx="78728" cy="573277"/>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3" name="Rectangle 272"/>
            <p:cNvSpPr/>
            <p:nvPr/>
          </p:nvSpPr>
          <p:spPr>
            <a:xfrm>
              <a:off x="3981714" y="2500739"/>
              <a:ext cx="718747" cy="24186"/>
            </a:xfrm>
            <a:prstGeom prst="rect">
              <a:avLst/>
            </a:prstGeom>
            <a:solidFill>
              <a:schemeClr val="accent2">
                <a:lumMod val="40000"/>
                <a:lumOff val="60000"/>
                <a:alpha val="5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4" name="Rectangle 273"/>
            <p:cNvSpPr/>
            <p:nvPr/>
          </p:nvSpPr>
          <p:spPr>
            <a:xfrm>
              <a:off x="4086310" y="1913436"/>
              <a:ext cx="600336" cy="54862"/>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5" name="Rectangle 274"/>
            <p:cNvSpPr/>
            <p:nvPr/>
          </p:nvSpPr>
          <p:spPr>
            <a:xfrm>
              <a:off x="4086310" y="1980184"/>
              <a:ext cx="300167" cy="209345"/>
            </a:xfrm>
            <a:prstGeom prst="rect">
              <a:avLst/>
            </a:prstGeom>
            <a:solidFill>
              <a:srgbClr val="00B0F0">
                <a:lumMod val="50000"/>
                <a:alpha val="0"/>
              </a:srgbClr>
            </a:solidFill>
            <a:ln w="12700" cap="flat" cmpd="sng" algn="ctr">
              <a:solidFill>
                <a:schemeClr val="tx2">
                  <a:lumMod val="20000"/>
                  <a:lumOff val="80000"/>
                </a:schemeClr>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276" name="Rectangle 275"/>
            <p:cNvSpPr/>
            <p:nvPr/>
          </p:nvSpPr>
          <p:spPr>
            <a:xfrm>
              <a:off x="4400293" y="1980184"/>
              <a:ext cx="270431" cy="62559"/>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7" name="Rectangle 276"/>
            <p:cNvSpPr/>
            <p:nvPr/>
          </p:nvSpPr>
          <p:spPr>
            <a:xfrm>
              <a:off x="4400293" y="2053577"/>
              <a:ext cx="243011"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8" name="Rectangle 277"/>
            <p:cNvSpPr/>
            <p:nvPr/>
          </p:nvSpPr>
          <p:spPr>
            <a:xfrm>
              <a:off x="4399841" y="2126970"/>
              <a:ext cx="270431" cy="62559"/>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9" name="Rectangle 287"/>
            <p:cNvSpPr/>
            <p:nvPr/>
          </p:nvSpPr>
          <p:spPr>
            <a:xfrm>
              <a:off x="4086310" y="2201132"/>
              <a:ext cx="300167" cy="40689"/>
            </a:xfrm>
            <a:custGeom>
              <a:avLst/>
              <a:gdLst/>
              <a:ahLst/>
              <a:cxnLst/>
              <a:rect l="l" t="t" r="r" b="b"/>
              <a:pathLst>
                <a:path w="779146" h="241963">
                  <a:moveTo>
                    <a:pt x="0" y="0"/>
                  </a:moveTo>
                  <a:lnTo>
                    <a:pt x="779146" y="0"/>
                  </a:lnTo>
                  <a:lnTo>
                    <a:pt x="779146" y="91925"/>
                  </a:lnTo>
                  <a:lnTo>
                    <a:pt x="601617" y="91925"/>
                  </a:lnTo>
                  <a:lnTo>
                    <a:pt x="601617" y="110144"/>
                  </a:lnTo>
                  <a:lnTo>
                    <a:pt x="706071" y="110144"/>
                  </a:lnTo>
                  <a:lnTo>
                    <a:pt x="706071" y="202069"/>
                  </a:lnTo>
                  <a:lnTo>
                    <a:pt x="636830" y="202069"/>
                  </a:lnTo>
                  <a:lnTo>
                    <a:pt x="636830" y="241963"/>
                  </a:lnTo>
                  <a:lnTo>
                    <a:pt x="0" y="241963"/>
                  </a:lnTo>
                  <a:lnTo>
                    <a:pt x="0" y="202069"/>
                  </a:lnTo>
                  <a:lnTo>
                    <a:pt x="0" y="150038"/>
                  </a:lnTo>
                  <a:lnTo>
                    <a:pt x="0" y="149355"/>
                  </a:lnTo>
                  <a:lnTo>
                    <a:pt x="0" y="110144"/>
                  </a:lnTo>
                  <a:lnTo>
                    <a:pt x="0" y="91925"/>
                  </a:lnTo>
                  <a:lnTo>
                    <a:pt x="0" y="57430"/>
                  </a:lnTo>
                  <a:close/>
                </a:path>
              </a:pathLst>
            </a:cu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80" name="Rectangle 287"/>
            <p:cNvSpPr/>
            <p:nvPr/>
          </p:nvSpPr>
          <p:spPr>
            <a:xfrm>
              <a:off x="4086310" y="2250340"/>
              <a:ext cx="255152" cy="20345"/>
            </a:xfrm>
            <a:custGeom>
              <a:avLst/>
              <a:gdLst/>
              <a:ahLst/>
              <a:cxnLst/>
              <a:rect l="l" t="t" r="r" b="b"/>
              <a:pathLst>
                <a:path w="779146" h="241963">
                  <a:moveTo>
                    <a:pt x="0" y="0"/>
                  </a:moveTo>
                  <a:lnTo>
                    <a:pt x="779146" y="0"/>
                  </a:lnTo>
                  <a:lnTo>
                    <a:pt x="779146" y="91925"/>
                  </a:lnTo>
                  <a:lnTo>
                    <a:pt x="601617" y="91925"/>
                  </a:lnTo>
                  <a:lnTo>
                    <a:pt x="601617" y="110144"/>
                  </a:lnTo>
                  <a:lnTo>
                    <a:pt x="706071" y="110144"/>
                  </a:lnTo>
                  <a:lnTo>
                    <a:pt x="706071" y="202069"/>
                  </a:lnTo>
                  <a:lnTo>
                    <a:pt x="636830" y="202069"/>
                  </a:lnTo>
                  <a:lnTo>
                    <a:pt x="636830" y="241963"/>
                  </a:lnTo>
                  <a:lnTo>
                    <a:pt x="0" y="241963"/>
                  </a:lnTo>
                  <a:lnTo>
                    <a:pt x="0" y="202069"/>
                  </a:lnTo>
                  <a:lnTo>
                    <a:pt x="0" y="150038"/>
                  </a:lnTo>
                  <a:lnTo>
                    <a:pt x="0" y="149355"/>
                  </a:lnTo>
                  <a:lnTo>
                    <a:pt x="0" y="110144"/>
                  </a:lnTo>
                  <a:lnTo>
                    <a:pt x="0" y="91925"/>
                  </a:lnTo>
                  <a:lnTo>
                    <a:pt x="0" y="57430"/>
                  </a:lnTo>
                  <a:close/>
                </a:path>
              </a:pathLst>
            </a:cu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81" name="Rectangle 280"/>
            <p:cNvSpPr/>
            <p:nvPr/>
          </p:nvSpPr>
          <p:spPr>
            <a:xfrm>
              <a:off x="4086310"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2" name="Rectangle 281"/>
            <p:cNvSpPr/>
            <p:nvPr/>
          </p:nvSpPr>
          <p:spPr>
            <a:xfrm>
              <a:off x="4245370"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3" name="Rectangle 282"/>
            <p:cNvSpPr/>
            <p:nvPr/>
          </p:nvSpPr>
          <p:spPr>
            <a:xfrm>
              <a:off x="4404432"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4" name="Rectangle 283"/>
            <p:cNvSpPr/>
            <p:nvPr/>
          </p:nvSpPr>
          <p:spPr>
            <a:xfrm>
              <a:off x="4563493"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5" name="Rectangle 284"/>
            <p:cNvSpPr/>
            <p:nvPr/>
          </p:nvSpPr>
          <p:spPr>
            <a:xfrm>
              <a:off x="4086310" y="2379896"/>
              <a:ext cx="584413" cy="106817"/>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grpSp>
      <p:sp>
        <p:nvSpPr>
          <p:cNvPr id="539" name="Rectangle 538"/>
          <p:cNvSpPr/>
          <p:nvPr/>
        </p:nvSpPr>
        <p:spPr>
          <a:xfrm>
            <a:off x="4815324" y="1443736"/>
            <a:ext cx="811842" cy="382033"/>
          </a:xfrm>
          <a:prstGeom prst="rect">
            <a:avLst/>
          </a:prstGeom>
          <a:noFill/>
          <a:effectLst/>
        </p:spPr>
        <p:txBody>
          <a:bodyPr lIns="91436" tIns="45718" rIns="91436" bIns="45718">
            <a:noAutofit/>
          </a:bodyPr>
          <a:lstStyle/>
          <a:p>
            <a:pPr algn="ctr" defTabSz="914103"/>
            <a:r>
              <a:rPr lang="ja-JP" altLang="en-US" sz="900" kern="0" dirty="0" smtClean="0">
                <a:solidFill>
                  <a:schemeClr val="bg1"/>
                </a:solidFill>
                <a:latin typeface="+mj-lt"/>
              </a:rPr>
              <a:t>アンチ</a:t>
            </a:r>
            <a:endParaRPr lang="en-US" altLang="ja-JP" sz="900" kern="0" dirty="0" smtClean="0">
              <a:solidFill>
                <a:schemeClr val="bg1"/>
              </a:solidFill>
              <a:latin typeface="+mj-lt"/>
            </a:endParaRPr>
          </a:p>
          <a:p>
            <a:pPr algn="ctr" defTabSz="914103"/>
            <a:r>
              <a:rPr lang="ja-JP" altLang="en-US" sz="900" kern="0" dirty="0" smtClean="0">
                <a:solidFill>
                  <a:schemeClr val="bg1"/>
                </a:solidFill>
                <a:latin typeface="+mj-lt"/>
              </a:rPr>
              <a:t>マルウェア</a:t>
            </a:r>
            <a:endParaRPr lang="en-US" sz="900" kern="0" dirty="0">
              <a:solidFill>
                <a:schemeClr val="bg1"/>
              </a:solidFill>
              <a:latin typeface="+mj-lt"/>
            </a:endParaRPr>
          </a:p>
        </p:txBody>
      </p:sp>
      <p:sp>
        <p:nvSpPr>
          <p:cNvPr id="540" name="Rectangle 539"/>
          <p:cNvSpPr/>
          <p:nvPr/>
        </p:nvSpPr>
        <p:spPr>
          <a:xfrm>
            <a:off x="5695279" y="1444954"/>
            <a:ext cx="590813" cy="420237"/>
          </a:xfrm>
          <a:prstGeom prst="rect">
            <a:avLst/>
          </a:prstGeom>
          <a:noFill/>
          <a:effectLst/>
        </p:spPr>
        <p:txBody>
          <a:bodyPr lIns="0" tIns="0" rIns="0" bIns="0" anchor="ctr">
            <a:noAutofit/>
          </a:bodyPr>
          <a:lstStyle/>
          <a:p>
            <a:pPr algn="ctr" defTabSz="914103">
              <a:defRPr/>
            </a:pPr>
            <a:r>
              <a:rPr lang="ja-JP" altLang="en-US" sz="900" kern="0" dirty="0" smtClean="0">
                <a:solidFill>
                  <a:schemeClr val="bg1"/>
                </a:solidFill>
                <a:latin typeface="+mj-lt"/>
              </a:rPr>
              <a:t>ファイル</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レピュテーション</a:t>
            </a:r>
            <a:endParaRPr lang="en-US" sz="900" kern="0" dirty="0">
              <a:solidFill>
                <a:schemeClr val="bg1"/>
              </a:solidFill>
              <a:latin typeface="+mj-lt"/>
            </a:endParaRPr>
          </a:p>
        </p:txBody>
      </p:sp>
      <p:sp>
        <p:nvSpPr>
          <p:cNvPr id="542" name="Rectangle 541"/>
          <p:cNvSpPr/>
          <p:nvPr/>
        </p:nvSpPr>
        <p:spPr>
          <a:xfrm>
            <a:off x="7198624" y="1297353"/>
            <a:ext cx="786373" cy="287027"/>
          </a:xfrm>
          <a:prstGeom prst="rect">
            <a:avLst/>
          </a:prstGeom>
          <a:noFill/>
          <a:effectLst/>
        </p:spPr>
        <p:txBody>
          <a:bodyPr lIns="0" tIns="0" rIns="0" bIns="0" anchor="ctr">
            <a:noAutofit/>
          </a:bodyPr>
          <a:lstStyle/>
          <a:p>
            <a:pPr algn="ctr" defTabSz="914103"/>
            <a:r>
              <a:rPr lang="en-US" sz="800" dirty="0">
                <a:solidFill>
                  <a:schemeClr val="bg1"/>
                </a:solidFill>
                <a:latin typeface="+mj-lt"/>
              </a:rPr>
              <a:t/>
            </a:r>
            <a:br>
              <a:rPr lang="en-US" sz="800" dirty="0">
                <a:solidFill>
                  <a:schemeClr val="bg1"/>
                </a:solidFill>
                <a:latin typeface="+mj-lt"/>
              </a:rPr>
            </a:br>
            <a:r>
              <a:rPr lang="ja-JP" altLang="en-US" sz="800" dirty="0" smtClean="0">
                <a:solidFill>
                  <a:schemeClr val="bg1"/>
                </a:solidFill>
                <a:latin typeface="+mj-lt"/>
              </a:rPr>
              <a:t>サンドボックス</a:t>
            </a:r>
            <a:endParaRPr lang="en-US" sz="800" dirty="0">
              <a:solidFill>
                <a:schemeClr val="bg1"/>
              </a:solidFill>
              <a:latin typeface="+mj-lt"/>
            </a:endParaRPr>
          </a:p>
        </p:txBody>
      </p:sp>
      <p:grpSp>
        <p:nvGrpSpPr>
          <p:cNvPr id="785" name="Group 107"/>
          <p:cNvGrpSpPr/>
          <p:nvPr/>
        </p:nvGrpSpPr>
        <p:grpSpPr>
          <a:xfrm>
            <a:off x="7709858" y="1272393"/>
            <a:ext cx="288218" cy="151566"/>
            <a:chOff x="7234599" y="1342765"/>
            <a:chExt cx="307449" cy="161680"/>
          </a:xfrm>
        </p:grpSpPr>
        <p:sp>
          <p:nvSpPr>
            <p:cNvPr id="109" name="Rectangle 108"/>
            <p:cNvSpPr/>
            <p:nvPr/>
          </p:nvSpPr>
          <p:spPr>
            <a:xfrm>
              <a:off x="7234599" y="1342765"/>
              <a:ext cx="307449" cy="161680"/>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110" name="Freeform 65"/>
            <p:cNvSpPr>
              <a:spLocks noEditPoints="1"/>
            </p:cNvSpPr>
            <p:nvPr/>
          </p:nvSpPr>
          <p:spPr bwMode="auto">
            <a:xfrm>
              <a:off x="7268757" y="1379552"/>
              <a:ext cx="82997" cy="85404"/>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1" name="Freeform 66"/>
            <p:cNvSpPr>
              <a:spLocks/>
            </p:cNvSpPr>
            <p:nvPr/>
          </p:nvSpPr>
          <p:spPr bwMode="auto">
            <a:xfrm>
              <a:off x="7350188" y="1379552"/>
              <a:ext cx="79863" cy="85404"/>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2" name="Freeform 67"/>
            <p:cNvSpPr>
              <a:spLocks noEditPoints="1"/>
            </p:cNvSpPr>
            <p:nvPr/>
          </p:nvSpPr>
          <p:spPr bwMode="auto">
            <a:xfrm>
              <a:off x="7436388" y="1379552"/>
              <a:ext cx="63304" cy="85404"/>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565" name="Rectangle 564"/>
          <p:cNvSpPr/>
          <p:nvPr/>
        </p:nvSpPr>
        <p:spPr>
          <a:xfrm>
            <a:off x="7198624" y="1868583"/>
            <a:ext cx="786373" cy="287027"/>
          </a:xfrm>
          <a:prstGeom prst="rect">
            <a:avLst/>
          </a:prstGeom>
          <a:noFill/>
          <a:effectLst/>
        </p:spPr>
        <p:txBody>
          <a:bodyPr lIns="0" tIns="0" rIns="0" bIns="0" anchor="ctr">
            <a:noAutofit/>
          </a:bodyPr>
          <a:lstStyle/>
          <a:p>
            <a:pPr algn="ctr" defTabSz="1218539"/>
            <a:r>
              <a:rPr lang="en-US" sz="700" dirty="0">
                <a:solidFill>
                  <a:schemeClr val="bg1"/>
                </a:solidFill>
                <a:latin typeface="+mj-lt"/>
              </a:rPr>
              <a:t/>
            </a:r>
            <a:br>
              <a:rPr lang="en-US" sz="700" dirty="0">
                <a:solidFill>
                  <a:schemeClr val="bg1"/>
                </a:solidFill>
                <a:latin typeface="+mj-lt"/>
              </a:rPr>
            </a:br>
            <a:r>
              <a:rPr lang="ja-JP" altLang="en-US" sz="700" dirty="0" smtClean="0">
                <a:solidFill>
                  <a:schemeClr val="bg1"/>
                </a:solidFill>
                <a:latin typeface="+mj-lt"/>
              </a:rPr>
              <a:t>レトロスペクティブ</a:t>
            </a:r>
            <a:endParaRPr lang="en-US" sz="700" dirty="0">
              <a:solidFill>
                <a:schemeClr val="bg1"/>
              </a:solidFill>
              <a:latin typeface="+mj-lt"/>
            </a:endParaRPr>
          </a:p>
        </p:txBody>
      </p:sp>
      <p:sp>
        <p:nvSpPr>
          <p:cNvPr id="25" name="Rectangle 24"/>
          <p:cNvSpPr/>
          <p:nvPr/>
        </p:nvSpPr>
        <p:spPr>
          <a:xfrm>
            <a:off x="6337637" y="4023246"/>
            <a:ext cx="123659" cy="123659"/>
          </a:xfrm>
          <a:prstGeom prst="rect">
            <a:avLst/>
          </a:prstGeom>
          <a:solidFill>
            <a:schemeClr val="tx2">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chemeClr val="bg1"/>
              </a:solidFill>
              <a:latin typeface="+mj-lt"/>
            </a:endParaRPr>
          </a:p>
        </p:txBody>
      </p:sp>
      <p:sp>
        <p:nvSpPr>
          <p:cNvPr id="599" name="Rectangle 598"/>
          <p:cNvSpPr/>
          <p:nvPr/>
        </p:nvSpPr>
        <p:spPr>
          <a:xfrm>
            <a:off x="7125679" y="4023246"/>
            <a:ext cx="123659" cy="123659"/>
          </a:xfrm>
          <a:prstGeom prst="rect">
            <a:avLst/>
          </a:prstGeom>
          <a:solidFill>
            <a:schemeClr val="accent6">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rgbClr val="2F2E7E"/>
              </a:solidFill>
              <a:latin typeface="+mj-lt"/>
            </a:endParaRPr>
          </a:p>
        </p:txBody>
      </p:sp>
      <p:sp>
        <p:nvSpPr>
          <p:cNvPr id="172" name="Freeform 6"/>
          <p:cNvSpPr>
            <a:spLocks noChangeAspect="1" noEditPoints="1"/>
          </p:cNvSpPr>
          <p:nvPr/>
        </p:nvSpPr>
        <p:spPr bwMode="auto">
          <a:xfrm rot="5400000">
            <a:off x="1335156" y="1865269"/>
            <a:ext cx="272800" cy="284080"/>
          </a:xfrm>
          <a:custGeom>
            <a:avLst/>
            <a:gdLst>
              <a:gd name="T0" fmla="*/ 3905 w 4320"/>
              <a:gd name="T1" fmla="*/ 2377 h 4320"/>
              <a:gd name="T2" fmla="*/ 3524 w 4320"/>
              <a:gd name="T3" fmla="*/ 2003 h 4320"/>
              <a:gd name="T4" fmla="*/ 2602 w 4320"/>
              <a:gd name="T5" fmla="*/ 1930 h 4320"/>
              <a:gd name="T6" fmla="*/ 2396 w 4320"/>
              <a:gd name="T7" fmla="*/ 1792 h 4320"/>
              <a:gd name="T8" fmla="*/ 2595 w 4320"/>
              <a:gd name="T9" fmla="*/ 890 h 4320"/>
              <a:gd name="T10" fmla="*/ 2700 w 4320"/>
              <a:gd name="T11" fmla="*/ 441 h 4320"/>
              <a:gd name="T12" fmla="*/ 2510 w 4320"/>
              <a:gd name="T13" fmla="*/ 126 h 4320"/>
              <a:gd name="T14" fmla="*/ 2160 w 4320"/>
              <a:gd name="T15" fmla="*/ 0 h 4320"/>
              <a:gd name="T16" fmla="*/ 1830 w 4320"/>
              <a:gd name="T17" fmla="*/ 109 h 4320"/>
              <a:gd name="T18" fmla="*/ 1626 w 4320"/>
              <a:gd name="T19" fmla="*/ 414 h 4320"/>
              <a:gd name="T20" fmla="*/ 1702 w 4320"/>
              <a:gd name="T21" fmla="*/ 857 h 4320"/>
              <a:gd name="T22" fmla="*/ 1933 w 4320"/>
              <a:gd name="T23" fmla="*/ 1764 h 4320"/>
              <a:gd name="T24" fmla="*/ 1745 w 4320"/>
              <a:gd name="T25" fmla="*/ 1924 h 4320"/>
              <a:gd name="T26" fmla="*/ 837 w 4320"/>
              <a:gd name="T27" fmla="*/ 1988 h 4320"/>
              <a:gd name="T28" fmla="*/ 431 w 4320"/>
              <a:gd name="T29" fmla="*/ 2344 h 4320"/>
              <a:gd name="T30" fmla="*/ 333 w 4320"/>
              <a:gd name="T31" fmla="*/ 3262 h 4320"/>
              <a:gd name="T32" fmla="*/ 6 w 4320"/>
              <a:gd name="T33" fmla="*/ 3685 h 4320"/>
              <a:gd name="T34" fmla="*/ 79 w 4320"/>
              <a:gd name="T35" fmla="*/ 4054 h 4320"/>
              <a:gd name="T36" fmla="*/ 362 w 4320"/>
              <a:gd name="T37" fmla="*/ 4287 h 4320"/>
              <a:gd name="T38" fmla="*/ 715 w 4320"/>
              <a:gd name="T39" fmla="*/ 4296 h 4320"/>
              <a:gd name="T40" fmla="*/ 1008 w 4320"/>
              <a:gd name="T41" fmla="*/ 4077 h 4320"/>
              <a:gd name="T42" fmla="*/ 1102 w 4320"/>
              <a:gd name="T43" fmla="*/ 3727 h 4320"/>
              <a:gd name="T44" fmla="*/ 806 w 4320"/>
              <a:gd name="T45" fmla="*/ 3279 h 4320"/>
              <a:gd name="T46" fmla="*/ 852 w 4320"/>
              <a:gd name="T47" fmla="*/ 2489 h 4320"/>
              <a:gd name="T48" fmla="*/ 1586 w 4320"/>
              <a:gd name="T49" fmla="*/ 2378 h 4320"/>
              <a:gd name="T50" fmla="*/ 1838 w 4320"/>
              <a:gd name="T51" fmla="*/ 3320 h 4320"/>
              <a:gd name="T52" fmla="*/ 1609 w 4320"/>
              <a:gd name="T53" fmla="*/ 3769 h 4320"/>
              <a:gd name="T54" fmla="*/ 1735 w 4320"/>
              <a:gd name="T55" fmla="*/ 4119 h 4320"/>
              <a:gd name="T56" fmla="*/ 2049 w 4320"/>
              <a:gd name="T57" fmla="*/ 4309 h 4320"/>
              <a:gd name="T58" fmla="*/ 2398 w 4320"/>
              <a:gd name="T59" fmla="*/ 4265 h 4320"/>
              <a:gd name="T60" fmla="*/ 2657 w 4320"/>
              <a:gd name="T61" fmla="*/ 4008 h 4320"/>
              <a:gd name="T62" fmla="*/ 2687 w 4320"/>
              <a:gd name="T63" fmla="*/ 3606 h 4320"/>
              <a:gd name="T64" fmla="*/ 2378 w 4320"/>
              <a:gd name="T65" fmla="*/ 2321 h 4320"/>
              <a:gd name="T66" fmla="*/ 3303 w 4320"/>
              <a:gd name="T67" fmla="*/ 2390 h 4320"/>
              <a:gd name="T68" fmla="*/ 3510 w 4320"/>
              <a:gd name="T69" fmla="*/ 2555 h 4320"/>
              <a:gd name="T70" fmla="*/ 3386 w 4320"/>
              <a:gd name="T71" fmla="*/ 3372 h 4320"/>
              <a:gd name="T72" fmla="*/ 3220 w 4320"/>
              <a:gd name="T73" fmla="*/ 3825 h 4320"/>
              <a:gd name="T74" fmla="*/ 3379 w 4320"/>
              <a:gd name="T75" fmla="*/ 4159 h 4320"/>
              <a:gd name="T76" fmla="*/ 3713 w 4320"/>
              <a:gd name="T77" fmla="*/ 4317 h 4320"/>
              <a:gd name="T78" fmla="*/ 4054 w 4320"/>
              <a:gd name="T79" fmla="*/ 4241 h 4320"/>
              <a:gd name="T80" fmla="*/ 4287 w 4320"/>
              <a:gd name="T81" fmla="*/ 3958 h 4320"/>
              <a:gd name="T82" fmla="*/ 4267 w 4320"/>
              <a:gd name="T83" fmla="*/ 3532 h 4320"/>
              <a:gd name="T84" fmla="*/ 867 w 4320"/>
              <a:gd name="T85" fmla="*/ 3802 h 4320"/>
              <a:gd name="T86" fmla="*/ 585 w 4320"/>
              <a:gd name="T87" fmla="*/ 4086 h 4320"/>
              <a:gd name="T88" fmla="*/ 259 w 4320"/>
              <a:gd name="T89" fmla="*/ 3892 h 4320"/>
              <a:gd name="T90" fmla="*/ 349 w 4320"/>
              <a:gd name="T91" fmla="*/ 3523 h 4320"/>
              <a:gd name="T92" fmla="*/ 730 w 4320"/>
              <a:gd name="T93" fmla="*/ 3504 h 4320"/>
              <a:gd name="T94" fmla="*/ 1844 w 4320"/>
              <a:gd name="T95" fmla="*/ 518 h 4320"/>
              <a:gd name="T96" fmla="*/ 2127 w 4320"/>
              <a:gd name="T97" fmla="*/ 234 h 4320"/>
              <a:gd name="T98" fmla="*/ 2453 w 4320"/>
              <a:gd name="T99" fmla="*/ 428 h 4320"/>
              <a:gd name="T100" fmla="*/ 2363 w 4320"/>
              <a:gd name="T101" fmla="*/ 797 h 4320"/>
              <a:gd name="T102" fmla="*/ 1982 w 4320"/>
              <a:gd name="T103" fmla="*/ 816 h 4320"/>
              <a:gd name="T104" fmla="*/ 2476 w 4320"/>
              <a:gd name="T105" fmla="*/ 3802 h 4320"/>
              <a:gd name="T106" fmla="*/ 2193 w 4320"/>
              <a:gd name="T107" fmla="*/ 4086 h 4320"/>
              <a:gd name="T108" fmla="*/ 1867 w 4320"/>
              <a:gd name="T109" fmla="*/ 3892 h 4320"/>
              <a:gd name="T110" fmla="*/ 1958 w 4320"/>
              <a:gd name="T111" fmla="*/ 3523 h 4320"/>
              <a:gd name="T112" fmla="*/ 2338 w 4320"/>
              <a:gd name="T113" fmla="*/ 3504 h 4320"/>
              <a:gd name="T114" fmla="*/ 3735 w 4320"/>
              <a:gd name="T115" fmla="*/ 4086 h 4320"/>
              <a:gd name="T116" fmla="*/ 3453 w 4320"/>
              <a:gd name="T117" fmla="*/ 3802 h 4320"/>
              <a:gd name="T118" fmla="*/ 3645 w 4320"/>
              <a:gd name="T119" fmla="*/ 3476 h 4320"/>
              <a:gd name="T120" fmla="*/ 4014 w 4320"/>
              <a:gd name="T121" fmla="*/ 3566 h 4320"/>
              <a:gd name="T122" fmla="*/ 4033 w 4320"/>
              <a:gd name="T123" fmla="*/ 3947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0" h="4320">
                <a:moveTo>
                  <a:pt x="3987" y="3262"/>
                </a:moveTo>
                <a:lnTo>
                  <a:pt x="3987" y="2734"/>
                </a:lnTo>
                <a:lnTo>
                  <a:pt x="3987" y="2734"/>
                </a:lnTo>
                <a:lnTo>
                  <a:pt x="3987" y="2704"/>
                </a:lnTo>
                <a:lnTo>
                  <a:pt x="3984" y="2673"/>
                </a:lnTo>
                <a:lnTo>
                  <a:pt x="3981" y="2641"/>
                </a:lnTo>
                <a:lnTo>
                  <a:pt x="3977" y="2610"/>
                </a:lnTo>
                <a:lnTo>
                  <a:pt x="3971" y="2576"/>
                </a:lnTo>
                <a:lnTo>
                  <a:pt x="3964" y="2543"/>
                </a:lnTo>
                <a:lnTo>
                  <a:pt x="3955" y="2509"/>
                </a:lnTo>
                <a:lnTo>
                  <a:pt x="3945" y="2476"/>
                </a:lnTo>
                <a:lnTo>
                  <a:pt x="3934" y="2443"/>
                </a:lnTo>
                <a:lnTo>
                  <a:pt x="3921" y="2410"/>
                </a:lnTo>
                <a:lnTo>
                  <a:pt x="3905" y="2377"/>
                </a:lnTo>
                <a:lnTo>
                  <a:pt x="3889" y="2344"/>
                </a:lnTo>
                <a:lnTo>
                  <a:pt x="3872" y="2311"/>
                </a:lnTo>
                <a:lnTo>
                  <a:pt x="3852" y="2279"/>
                </a:lnTo>
                <a:lnTo>
                  <a:pt x="3832" y="2249"/>
                </a:lnTo>
                <a:lnTo>
                  <a:pt x="3809" y="2219"/>
                </a:lnTo>
                <a:lnTo>
                  <a:pt x="3784" y="2189"/>
                </a:lnTo>
                <a:lnTo>
                  <a:pt x="3758" y="2161"/>
                </a:lnTo>
                <a:lnTo>
                  <a:pt x="3730" y="2134"/>
                </a:lnTo>
                <a:lnTo>
                  <a:pt x="3701" y="2108"/>
                </a:lnTo>
                <a:lnTo>
                  <a:pt x="3669" y="2084"/>
                </a:lnTo>
                <a:lnTo>
                  <a:pt x="3636" y="2061"/>
                </a:lnTo>
                <a:lnTo>
                  <a:pt x="3600" y="2041"/>
                </a:lnTo>
                <a:lnTo>
                  <a:pt x="3563" y="2021"/>
                </a:lnTo>
                <a:lnTo>
                  <a:pt x="3524" y="2003"/>
                </a:lnTo>
                <a:lnTo>
                  <a:pt x="3483" y="1988"/>
                </a:lnTo>
                <a:lnTo>
                  <a:pt x="3440" y="1973"/>
                </a:lnTo>
                <a:lnTo>
                  <a:pt x="3395" y="1963"/>
                </a:lnTo>
                <a:lnTo>
                  <a:pt x="3348" y="1953"/>
                </a:lnTo>
                <a:lnTo>
                  <a:pt x="3299" y="1947"/>
                </a:lnTo>
                <a:lnTo>
                  <a:pt x="3247" y="1943"/>
                </a:lnTo>
                <a:lnTo>
                  <a:pt x="3194" y="1942"/>
                </a:lnTo>
                <a:lnTo>
                  <a:pt x="2734" y="1942"/>
                </a:lnTo>
                <a:lnTo>
                  <a:pt x="2734" y="1942"/>
                </a:lnTo>
                <a:lnTo>
                  <a:pt x="2704" y="1942"/>
                </a:lnTo>
                <a:lnTo>
                  <a:pt x="2677" y="1940"/>
                </a:lnTo>
                <a:lnTo>
                  <a:pt x="2651" y="1937"/>
                </a:lnTo>
                <a:lnTo>
                  <a:pt x="2627" y="1935"/>
                </a:lnTo>
                <a:lnTo>
                  <a:pt x="2602" y="1930"/>
                </a:lnTo>
                <a:lnTo>
                  <a:pt x="2581" y="1926"/>
                </a:lnTo>
                <a:lnTo>
                  <a:pt x="2561" y="1922"/>
                </a:lnTo>
                <a:lnTo>
                  <a:pt x="2542" y="1916"/>
                </a:lnTo>
                <a:lnTo>
                  <a:pt x="2525" y="1909"/>
                </a:lnTo>
                <a:lnTo>
                  <a:pt x="2509" y="1903"/>
                </a:lnTo>
                <a:lnTo>
                  <a:pt x="2493" y="1894"/>
                </a:lnTo>
                <a:lnTo>
                  <a:pt x="2480" y="1887"/>
                </a:lnTo>
                <a:lnTo>
                  <a:pt x="2467" y="1879"/>
                </a:lnTo>
                <a:lnTo>
                  <a:pt x="2456" y="1870"/>
                </a:lnTo>
                <a:lnTo>
                  <a:pt x="2444" y="1861"/>
                </a:lnTo>
                <a:lnTo>
                  <a:pt x="2436" y="1851"/>
                </a:lnTo>
                <a:lnTo>
                  <a:pt x="2419" y="1833"/>
                </a:lnTo>
                <a:lnTo>
                  <a:pt x="2406" y="1812"/>
                </a:lnTo>
                <a:lnTo>
                  <a:pt x="2396" y="1792"/>
                </a:lnTo>
                <a:lnTo>
                  <a:pt x="2388" y="1772"/>
                </a:lnTo>
                <a:lnTo>
                  <a:pt x="2384" y="1754"/>
                </a:lnTo>
                <a:lnTo>
                  <a:pt x="2381" y="1735"/>
                </a:lnTo>
                <a:lnTo>
                  <a:pt x="2378" y="1716"/>
                </a:lnTo>
                <a:lnTo>
                  <a:pt x="2378" y="1700"/>
                </a:lnTo>
                <a:lnTo>
                  <a:pt x="2378" y="1058"/>
                </a:lnTo>
                <a:lnTo>
                  <a:pt x="2378" y="1058"/>
                </a:lnTo>
                <a:lnTo>
                  <a:pt x="2414" y="1041"/>
                </a:lnTo>
                <a:lnTo>
                  <a:pt x="2449" y="1021"/>
                </a:lnTo>
                <a:lnTo>
                  <a:pt x="2482" y="1000"/>
                </a:lnTo>
                <a:lnTo>
                  <a:pt x="2513" y="975"/>
                </a:lnTo>
                <a:lnTo>
                  <a:pt x="2542" y="948"/>
                </a:lnTo>
                <a:lnTo>
                  <a:pt x="2569" y="921"/>
                </a:lnTo>
                <a:lnTo>
                  <a:pt x="2595" y="890"/>
                </a:lnTo>
                <a:lnTo>
                  <a:pt x="2618" y="857"/>
                </a:lnTo>
                <a:lnTo>
                  <a:pt x="2640" y="824"/>
                </a:lnTo>
                <a:lnTo>
                  <a:pt x="2658" y="788"/>
                </a:lnTo>
                <a:lnTo>
                  <a:pt x="2674" y="753"/>
                </a:lnTo>
                <a:lnTo>
                  <a:pt x="2687" y="714"/>
                </a:lnTo>
                <a:lnTo>
                  <a:pt x="2697" y="675"/>
                </a:lnTo>
                <a:lnTo>
                  <a:pt x="2706" y="635"/>
                </a:lnTo>
                <a:lnTo>
                  <a:pt x="2710" y="593"/>
                </a:lnTo>
                <a:lnTo>
                  <a:pt x="2711" y="551"/>
                </a:lnTo>
                <a:lnTo>
                  <a:pt x="2711" y="551"/>
                </a:lnTo>
                <a:lnTo>
                  <a:pt x="2711" y="523"/>
                </a:lnTo>
                <a:lnTo>
                  <a:pt x="2709" y="495"/>
                </a:lnTo>
                <a:lnTo>
                  <a:pt x="2706" y="467"/>
                </a:lnTo>
                <a:lnTo>
                  <a:pt x="2700" y="441"/>
                </a:lnTo>
                <a:lnTo>
                  <a:pt x="2694" y="414"/>
                </a:lnTo>
                <a:lnTo>
                  <a:pt x="2687" y="388"/>
                </a:lnTo>
                <a:lnTo>
                  <a:pt x="2678" y="362"/>
                </a:lnTo>
                <a:lnTo>
                  <a:pt x="2668" y="336"/>
                </a:lnTo>
                <a:lnTo>
                  <a:pt x="2657" y="312"/>
                </a:lnTo>
                <a:lnTo>
                  <a:pt x="2645" y="289"/>
                </a:lnTo>
                <a:lnTo>
                  <a:pt x="2631" y="266"/>
                </a:lnTo>
                <a:lnTo>
                  <a:pt x="2617" y="243"/>
                </a:lnTo>
                <a:lnTo>
                  <a:pt x="2602" y="221"/>
                </a:lnTo>
                <a:lnTo>
                  <a:pt x="2585" y="201"/>
                </a:lnTo>
                <a:lnTo>
                  <a:pt x="2568" y="181"/>
                </a:lnTo>
                <a:lnTo>
                  <a:pt x="2551" y="161"/>
                </a:lnTo>
                <a:lnTo>
                  <a:pt x="2531" y="144"/>
                </a:lnTo>
                <a:lnTo>
                  <a:pt x="2510" y="126"/>
                </a:lnTo>
                <a:lnTo>
                  <a:pt x="2490" y="109"/>
                </a:lnTo>
                <a:lnTo>
                  <a:pt x="2469" y="93"/>
                </a:lnTo>
                <a:lnTo>
                  <a:pt x="2446" y="79"/>
                </a:lnTo>
                <a:lnTo>
                  <a:pt x="2423" y="66"/>
                </a:lnTo>
                <a:lnTo>
                  <a:pt x="2398" y="55"/>
                </a:lnTo>
                <a:lnTo>
                  <a:pt x="2374" y="43"/>
                </a:lnTo>
                <a:lnTo>
                  <a:pt x="2350" y="33"/>
                </a:lnTo>
                <a:lnTo>
                  <a:pt x="2324" y="24"/>
                </a:lnTo>
                <a:lnTo>
                  <a:pt x="2298" y="17"/>
                </a:lnTo>
                <a:lnTo>
                  <a:pt x="2271" y="11"/>
                </a:lnTo>
                <a:lnTo>
                  <a:pt x="2243" y="6"/>
                </a:lnTo>
                <a:lnTo>
                  <a:pt x="2216" y="3"/>
                </a:lnTo>
                <a:lnTo>
                  <a:pt x="2189" y="0"/>
                </a:lnTo>
                <a:lnTo>
                  <a:pt x="2160" y="0"/>
                </a:lnTo>
                <a:lnTo>
                  <a:pt x="2160" y="0"/>
                </a:lnTo>
                <a:lnTo>
                  <a:pt x="2131" y="0"/>
                </a:lnTo>
                <a:lnTo>
                  <a:pt x="2104" y="3"/>
                </a:lnTo>
                <a:lnTo>
                  <a:pt x="2077" y="6"/>
                </a:lnTo>
                <a:lnTo>
                  <a:pt x="2049" y="11"/>
                </a:lnTo>
                <a:lnTo>
                  <a:pt x="2022" y="17"/>
                </a:lnTo>
                <a:lnTo>
                  <a:pt x="1996" y="24"/>
                </a:lnTo>
                <a:lnTo>
                  <a:pt x="1970" y="33"/>
                </a:lnTo>
                <a:lnTo>
                  <a:pt x="1946" y="43"/>
                </a:lnTo>
                <a:lnTo>
                  <a:pt x="1922" y="55"/>
                </a:lnTo>
                <a:lnTo>
                  <a:pt x="1897" y="66"/>
                </a:lnTo>
                <a:lnTo>
                  <a:pt x="1874" y="79"/>
                </a:lnTo>
                <a:lnTo>
                  <a:pt x="1851" y="93"/>
                </a:lnTo>
                <a:lnTo>
                  <a:pt x="1830" y="109"/>
                </a:lnTo>
                <a:lnTo>
                  <a:pt x="1810" y="126"/>
                </a:lnTo>
                <a:lnTo>
                  <a:pt x="1789" y="144"/>
                </a:lnTo>
                <a:lnTo>
                  <a:pt x="1769" y="161"/>
                </a:lnTo>
                <a:lnTo>
                  <a:pt x="1752" y="181"/>
                </a:lnTo>
                <a:lnTo>
                  <a:pt x="1735" y="201"/>
                </a:lnTo>
                <a:lnTo>
                  <a:pt x="1718" y="221"/>
                </a:lnTo>
                <a:lnTo>
                  <a:pt x="1703" y="243"/>
                </a:lnTo>
                <a:lnTo>
                  <a:pt x="1689" y="266"/>
                </a:lnTo>
                <a:lnTo>
                  <a:pt x="1675" y="289"/>
                </a:lnTo>
                <a:lnTo>
                  <a:pt x="1663" y="312"/>
                </a:lnTo>
                <a:lnTo>
                  <a:pt x="1652" y="336"/>
                </a:lnTo>
                <a:lnTo>
                  <a:pt x="1642" y="362"/>
                </a:lnTo>
                <a:lnTo>
                  <a:pt x="1633" y="388"/>
                </a:lnTo>
                <a:lnTo>
                  <a:pt x="1626" y="414"/>
                </a:lnTo>
                <a:lnTo>
                  <a:pt x="1620" y="441"/>
                </a:lnTo>
                <a:lnTo>
                  <a:pt x="1614" y="467"/>
                </a:lnTo>
                <a:lnTo>
                  <a:pt x="1611" y="495"/>
                </a:lnTo>
                <a:lnTo>
                  <a:pt x="1609" y="523"/>
                </a:lnTo>
                <a:lnTo>
                  <a:pt x="1609" y="551"/>
                </a:lnTo>
                <a:lnTo>
                  <a:pt x="1609" y="551"/>
                </a:lnTo>
                <a:lnTo>
                  <a:pt x="1610" y="593"/>
                </a:lnTo>
                <a:lnTo>
                  <a:pt x="1614" y="635"/>
                </a:lnTo>
                <a:lnTo>
                  <a:pt x="1623" y="675"/>
                </a:lnTo>
                <a:lnTo>
                  <a:pt x="1633" y="714"/>
                </a:lnTo>
                <a:lnTo>
                  <a:pt x="1646" y="753"/>
                </a:lnTo>
                <a:lnTo>
                  <a:pt x="1662" y="788"/>
                </a:lnTo>
                <a:lnTo>
                  <a:pt x="1680" y="824"/>
                </a:lnTo>
                <a:lnTo>
                  <a:pt x="1702" y="857"/>
                </a:lnTo>
                <a:lnTo>
                  <a:pt x="1725" y="890"/>
                </a:lnTo>
                <a:lnTo>
                  <a:pt x="1751" y="921"/>
                </a:lnTo>
                <a:lnTo>
                  <a:pt x="1778" y="948"/>
                </a:lnTo>
                <a:lnTo>
                  <a:pt x="1807" y="975"/>
                </a:lnTo>
                <a:lnTo>
                  <a:pt x="1838" y="1000"/>
                </a:lnTo>
                <a:lnTo>
                  <a:pt x="1871" y="1021"/>
                </a:lnTo>
                <a:lnTo>
                  <a:pt x="1906" y="1041"/>
                </a:lnTo>
                <a:lnTo>
                  <a:pt x="1942" y="1058"/>
                </a:lnTo>
                <a:lnTo>
                  <a:pt x="1942" y="1700"/>
                </a:lnTo>
                <a:lnTo>
                  <a:pt x="1942" y="1700"/>
                </a:lnTo>
                <a:lnTo>
                  <a:pt x="1942" y="1713"/>
                </a:lnTo>
                <a:lnTo>
                  <a:pt x="1940" y="1728"/>
                </a:lnTo>
                <a:lnTo>
                  <a:pt x="1937" y="1745"/>
                </a:lnTo>
                <a:lnTo>
                  <a:pt x="1933" y="1764"/>
                </a:lnTo>
                <a:lnTo>
                  <a:pt x="1927" y="1782"/>
                </a:lnTo>
                <a:lnTo>
                  <a:pt x="1919" y="1802"/>
                </a:lnTo>
                <a:lnTo>
                  <a:pt x="1906" y="1824"/>
                </a:lnTo>
                <a:lnTo>
                  <a:pt x="1890" y="1844"/>
                </a:lnTo>
                <a:lnTo>
                  <a:pt x="1881" y="1853"/>
                </a:lnTo>
                <a:lnTo>
                  <a:pt x="1871" y="1863"/>
                </a:lnTo>
                <a:lnTo>
                  <a:pt x="1860" y="1873"/>
                </a:lnTo>
                <a:lnTo>
                  <a:pt x="1847" y="1881"/>
                </a:lnTo>
                <a:lnTo>
                  <a:pt x="1834" y="1890"/>
                </a:lnTo>
                <a:lnTo>
                  <a:pt x="1818" y="1897"/>
                </a:lnTo>
                <a:lnTo>
                  <a:pt x="1802" y="1906"/>
                </a:lnTo>
                <a:lnTo>
                  <a:pt x="1784" y="1913"/>
                </a:lnTo>
                <a:lnTo>
                  <a:pt x="1765" y="1919"/>
                </a:lnTo>
                <a:lnTo>
                  <a:pt x="1745" y="1924"/>
                </a:lnTo>
                <a:lnTo>
                  <a:pt x="1722" y="1930"/>
                </a:lnTo>
                <a:lnTo>
                  <a:pt x="1698" y="1933"/>
                </a:lnTo>
                <a:lnTo>
                  <a:pt x="1673" y="1937"/>
                </a:lnTo>
                <a:lnTo>
                  <a:pt x="1646" y="1940"/>
                </a:lnTo>
                <a:lnTo>
                  <a:pt x="1616" y="1942"/>
                </a:lnTo>
                <a:lnTo>
                  <a:pt x="1586" y="1942"/>
                </a:lnTo>
                <a:lnTo>
                  <a:pt x="1126" y="1942"/>
                </a:lnTo>
                <a:lnTo>
                  <a:pt x="1126" y="1942"/>
                </a:lnTo>
                <a:lnTo>
                  <a:pt x="1073" y="1943"/>
                </a:lnTo>
                <a:lnTo>
                  <a:pt x="1021" y="1947"/>
                </a:lnTo>
                <a:lnTo>
                  <a:pt x="972" y="1953"/>
                </a:lnTo>
                <a:lnTo>
                  <a:pt x="925" y="1963"/>
                </a:lnTo>
                <a:lnTo>
                  <a:pt x="880" y="1973"/>
                </a:lnTo>
                <a:lnTo>
                  <a:pt x="837" y="1988"/>
                </a:lnTo>
                <a:lnTo>
                  <a:pt x="796" y="2003"/>
                </a:lnTo>
                <a:lnTo>
                  <a:pt x="757" y="2021"/>
                </a:lnTo>
                <a:lnTo>
                  <a:pt x="720" y="2041"/>
                </a:lnTo>
                <a:lnTo>
                  <a:pt x="684" y="2061"/>
                </a:lnTo>
                <a:lnTo>
                  <a:pt x="651" y="2084"/>
                </a:lnTo>
                <a:lnTo>
                  <a:pt x="619" y="2108"/>
                </a:lnTo>
                <a:lnTo>
                  <a:pt x="590" y="2134"/>
                </a:lnTo>
                <a:lnTo>
                  <a:pt x="562" y="2161"/>
                </a:lnTo>
                <a:lnTo>
                  <a:pt x="536" y="2189"/>
                </a:lnTo>
                <a:lnTo>
                  <a:pt x="511" y="2219"/>
                </a:lnTo>
                <a:lnTo>
                  <a:pt x="488" y="2249"/>
                </a:lnTo>
                <a:lnTo>
                  <a:pt x="468" y="2279"/>
                </a:lnTo>
                <a:lnTo>
                  <a:pt x="448" y="2311"/>
                </a:lnTo>
                <a:lnTo>
                  <a:pt x="431" y="2344"/>
                </a:lnTo>
                <a:lnTo>
                  <a:pt x="415" y="2377"/>
                </a:lnTo>
                <a:lnTo>
                  <a:pt x="399" y="2410"/>
                </a:lnTo>
                <a:lnTo>
                  <a:pt x="386" y="2443"/>
                </a:lnTo>
                <a:lnTo>
                  <a:pt x="375" y="2476"/>
                </a:lnTo>
                <a:lnTo>
                  <a:pt x="365" y="2509"/>
                </a:lnTo>
                <a:lnTo>
                  <a:pt x="356" y="2543"/>
                </a:lnTo>
                <a:lnTo>
                  <a:pt x="349" y="2576"/>
                </a:lnTo>
                <a:lnTo>
                  <a:pt x="343" y="2610"/>
                </a:lnTo>
                <a:lnTo>
                  <a:pt x="339" y="2641"/>
                </a:lnTo>
                <a:lnTo>
                  <a:pt x="336" y="2673"/>
                </a:lnTo>
                <a:lnTo>
                  <a:pt x="333" y="2704"/>
                </a:lnTo>
                <a:lnTo>
                  <a:pt x="333" y="2734"/>
                </a:lnTo>
                <a:lnTo>
                  <a:pt x="333" y="3262"/>
                </a:lnTo>
                <a:lnTo>
                  <a:pt x="333" y="3262"/>
                </a:lnTo>
                <a:lnTo>
                  <a:pt x="297" y="3279"/>
                </a:lnTo>
                <a:lnTo>
                  <a:pt x="263" y="3299"/>
                </a:lnTo>
                <a:lnTo>
                  <a:pt x="230" y="3320"/>
                </a:lnTo>
                <a:lnTo>
                  <a:pt x="198" y="3345"/>
                </a:lnTo>
                <a:lnTo>
                  <a:pt x="169" y="3372"/>
                </a:lnTo>
                <a:lnTo>
                  <a:pt x="142" y="3399"/>
                </a:lnTo>
                <a:lnTo>
                  <a:pt x="116" y="3430"/>
                </a:lnTo>
                <a:lnTo>
                  <a:pt x="93" y="3463"/>
                </a:lnTo>
                <a:lnTo>
                  <a:pt x="72" y="3496"/>
                </a:lnTo>
                <a:lnTo>
                  <a:pt x="53" y="3532"/>
                </a:lnTo>
                <a:lnTo>
                  <a:pt x="37" y="3567"/>
                </a:lnTo>
                <a:lnTo>
                  <a:pt x="24" y="3606"/>
                </a:lnTo>
                <a:lnTo>
                  <a:pt x="14" y="3645"/>
                </a:lnTo>
                <a:lnTo>
                  <a:pt x="6" y="3685"/>
                </a:lnTo>
                <a:lnTo>
                  <a:pt x="1" y="3727"/>
                </a:lnTo>
                <a:lnTo>
                  <a:pt x="0" y="3769"/>
                </a:lnTo>
                <a:lnTo>
                  <a:pt x="0" y="3769"/>
                </a:lnTo>
                <a:lnTo>
                  <a:pt x="0" y="3797"/>
                </a:lnTo>
                <a:lnTo>
                  <a:pt x="3" y="3825"/>
                </a:lnTo>
                <a:lnTo>
                  <a:pt x="6" y="3853"/>
                </a:lnTo>
                <a:lnTo>
                  <a:pt x="11" y="3879"/>
                </a:lnTo>
                <a:lnTo>
                  <a:pt x="17" y="3906"/>
                </a:lnTo>
                <a:lnTo>
                  <a:pt x="24" y="3932"/>
                </a:lnTo>
                <a:lnTo>
                  <a:pt x="33" y="3958"/>
                </a:lnTo>
                <a:lnTo>
                  <a:pt x="43" y="3984"/>
                </a:lnTo>
                <a:lnTo>
                  <a:pt x="55" y="4008"/>
                </a:lnTo>
                <a:lnTo>
                  <a:pt x="66" y="4031"/>
                </a:lnTo>
                <a:lnTo>
                  <a:pt x="79" y="4054"/>
                </a:lnTo>
                <a:lnTo>
                  <a:pt x="93" y="4077"/>
                </a:lnTo>
                <a:lnTo>
                  <a:pt x="109" y="4099"/>
                </a:lnTo>
                <a:lnTo>
                  <a:pt x="126" y="4119"/>
                </a:lnTo>
                <a:lnTo>
                  <a:pt x="144" y="4139"/>
                </a:lnTo>
                <a:lnTo>
                  <a:pt x="161" y="4159"/>
                </a:lnTo>
                <a:lnTo>
                  <a:pt x="181" y="4176"/>
                </a:lnTo>
                <a:lnTo>
                  <a:pt x="201" y="4194"/>
                </a:lnTo>
                <a:lnTo>
                  <a:pt x="221" y="4211"/>
                </a:lnTo>
                <a:lnTo>
                  <a:pt x="243" y="4227"/>
                </a:lnTo>
                <a:lnTo>
                  <a:pt x="266" y="4241"/>
                </a:lnTo>
                <a:lnTo>
                  <a:pt x="289" y="4254"/>
                </a:lnTo>
                <a:lnTo>
                  <a:pt x="312" y="4265"/>
                </a:lnTo>
                <a:lnTo>
                  <a:pt x="336" y="4277"/>
                </a:lnTo>
                <a:lnTo>
                  <a:pt x="362" y="4287"/>
                </a:lnTo>
                <a:lnTo>
                  <a:pt x="388" y="4296"/>
                </a:lnTo>
                <a:lnTo>
                  <a:pt x="414" y="4303"/>
                </a:lnTo>
                <a:lnTo>
                  <a:pt x="441" y="4309"/>
                </a:lnTo>
                <a:lnTo>
                  <a:pt x="467" y="4314"/>
                </a:lnTo>
                <a:lnTo>
                  <a:pt x="495" y="4317"/>
                </a:lnTo>
                <a:lnTo>
                  <a:pt x="523" y="4320"/>
                </a:lnTo>
                <a:lnTo>
                  <a:pt x="551" y="4320"/>
                </a:lnTo>
                <a:lnTo>
                  <a:pt x="551" y="4320"/>
                </a:lnTo>
                <a:lnTo>
                  <a:pt x="580" y="4320"/>
                </a:lnTo>
                <a:lnTo>
                  <a:pt x="608" y="4317"/>
                </a:lnTo>
                <a:lnTo>
                  <a:pt x="635" y="4314"/>
                </a:lnTo>
                <a:lnTo>
                  <a:pt x="662" y="4309"/>
                </a:lnTo>
                <a:lnTo>
                  <a:pt x="689" y="4303"/>
                </a:lnTo>
                <a:lnTo>
                  <a:pt x="715" y="4296"/>
                </a:lnTo>
                <a:lnTo>
                  <a:pt x="741" y="4287"/>
                </a:lnTo>
                <a:lnTo>
                  <a:pt x="765" y="4277"/>
                </a:lnTo>
                <a:lnTo>
                  <a:pt x="790" y="4265"/>
                </a:lnTo>
                <a:lnTo>
                  <a:pt x="814" y="4254"/>
                </a:lnTo>
                <a:lnTo>
                  <a:pt x="837" y="4241"/>
                </a:lnTo>
                <a:lnTo>
                  <a:pt x="860" y="4227"/>
                </a:lnTo>
                <a:lnTo>
                  <a:pt x="882" y="4211"/>
                </a:lnTo>
                <a:lnTo>
                  <a:pt x="902" y="4194"/>
                </a:lnTo>
                <a:lnTo>
                  <a:pt x="922" y="4176"/>
                </a:lnTo>
                <a:lnTo>
                  <a:pt x="941" y="4159"/>
                </a:lnTo>
                <a:lnTo>
                  <a:pt x="959" y="4139"/>
                </a:lnTo>
                <a:lnTo>
                  <a:pt x="977" y="4119"/>
                </a:lnTo>
                <a:lnTo>
                  <a:pt x="994" y="4099"/>
                </a:lnTo>
                <a:lnTo>
                  <a:pt x="1008" y="4077"/>
                </a:lnTo>
                <a:lnTo>
                  <a:pt x="1023" y="4054"/>
                </a:lnTo>
                <a:lnTo>
                  <a:pt x="1037" y="4031"/>
                </a:lnTo>
                <a:lnTo>
                  <a:pt x="1048" y="4008"/>
                </a:lnTo>
                <a:lnTo>
                  <a:pt x="1060" y="3984"/>
                </a:lnTo>
                <a:lnTo>
                  <a:pt x="1070" y="3958"/>
                </a:lnTo>
                <a:lnTo>
                  <a:pt x="1079" y="3932"/>
                </a:lnTo>
                <a:lnTo>
                  <a:pt x="1086" y="3906"/>
                </a:lnTo>
                <a:lnTo>
                  <a:pt x="1091" y="3879"/>
                </a:lnTo>
                <a:lnTo>
                  <a:pt x="1097" y="3853"/>
                </a:lnTo>
                <a:lnTo>
                  <a:pt x="1100" y="3825"/>
                </a:lnTo>
                <a:lnTo>
                  <a:pt x="1102" y="3797"/>
                </a:lnTo>
                <a:lnTo>
                  <a:pt x="1103" y="3769"/>
                </a:lnTo>
                <a:lnTo>
                  <a:pt x="1103" y="3769"/>
                </a:lnTo>
                <a:lnTo>
                  <a:pt x="1102" y="3727"/>
                </a:lnTo>
                <a:lnTo>
                  <a:pt x="1097" y="3685"/>
                </a:lnTo>
                <a:lnTo>
                  <a:pt x="1089" y="3645"/>
                </a:lnTo>
                <a:lnTo>
                  <a:pt x="1079" y="3606"/>
                </a:lnTo>
                <a:lnTo>
                  <a:pt x="1066" y="3567"/>
                </a:lnTo>
                <a:lnTo>
                  <a:pt x="1050" y="3532"/>
                </a:lnTo>
                <a:lnTo>
                  <a:pt x="1031" y="3496"/>
                </a:lnTo>
                <a:lnTo>
                  <a:pt x="1010" y="3463"/>
                </a:lnTo>
                <a:lnTo>
                  <a:pt x="987" y="3430"/>
                </a:lnTo>
                <a:lnTo>
                  <a:pt x="961" y="3399"/>
                </a:lnTo>
                <a:lnTo>
                  <a:pt x="934" y="3372"/>
                </a:lnTo>
                <a:lnTo>
                  <a:pt x="905" y="3345"/>
                </a:lnTo>
                <a:lnTo>
                  <a:pt x="873" y="3320"/>
                </a:lnTo>
                <a:lnTo>
                  <a:pt x="840" y="3299"/>
                </a:lnTo>
                <a:lnTo>
                  <a:pt x="806" y="3279"/>
                </a:lnTo>
                <a:lnTo>
                  <a:pt x="770" y="3262"/>
                </a:lnTo>
                <a:lnTo>
                  <a:pt x="770" y="2734"/>
                </a:lnTo>
                <a:lnTo>
                  <a:pt x="770" y="2734"/>
                </a:lnTo>
                <a:lnTo>
                  <a:pt x="771" y="2701"/>
                </a:lnTo>
                <a:lnTo>
                  <a:pt x="774" y="2680"/>
                </a:lnTo>
                <a:lnTo>
                  <a:pt x="777" y="2654"/>
                </a:lnTo>
                <a:lnTo>
                  <a:pt x="784" y="2625"/>
                </a:lnTo>
                <a:lnTo>
                  <a:pt x="793" y="2595"/>
                </a:lnTo>
                <a:lnTo>
                  <a:pt x="806" y="2565"/>
                </a:lnTo>
                <a:lnTo>
                  <a:pt x="813" y="2549"/>
                </a:lnTo>
                <a:lnTo>
                  <a:pt x="820" y="2533"/>
                </a:lnTo>
                <a:lnTo>
                  <a:pt x="830" y="2519"/>
                </a:lnTo>
                <a:lnTo>
                  <a:pt x="840" y="2505"/>
                </a:lnTo>
                <a:lnTo>
                  <a:pt x="852" y="2489"/>
                </a:lnTo>
                <a:lnTo>
                  <a:pt x="865" y="2476"/>
                </a:lnTo>
                <a:lnTo>
                  <a:pt x="878" y="2462"/>
                </a:lnTo>
                <a:lnTo>
                  <a:pt x="893" y="2449"/>
                </a:lnTo>
                <a:lnTo>
                  <a:pt x="909" y="2437"/>
                </a:lnTo>
                <a:lnTo>
                  <a:pt x="928" y="2426"/>
                </a:lnTo>
                <a:lnTo>
                  <a:pt x="946" y="2416"/>
                </a:lnTo>
                <a:lnTo>
                  <a:pt x="967" y="2406"/>
                </a:lnTo>
                <a:lnTo>
                  <a:pt x="990" y="2398"/>
                </a:lnTo>
                <a:lnTo>
                  <a:pt x="1014" y="2391"/>
                </a:lnTo>
                <a:lnTo>
                  <a:pt x="1038" y="2385"/>
                </a:lnTo>
                <a:lnTo>
                  <a:pt x="1066" y="2381"/>
                </a:lnTo>
                <a:lnTo>
                  <a:pt x="1094" y="2380"/>
                </a:lnTo>
                <a:lnTo>
                  <a:pt x="1126" y="2378"/>
                </a:lnTo>
                <a:lnTo>
                  <a:pt x="1586" y="2378"/>
                </a:lnTo>
                <a:lnTo>
                  <a:pt x="1586" y="2378"/>
                </a:lnTo>
                <a:lnTo>
                  <a:pt x="1637" y="2377"/>
                </a:lnTo>
                <a:lnTo>
                  <a:pt x="1686" y="2374"/>
                </a:lnTo>
                <a:lnTo>
                  <a:pt x="1733" y="2370"/>
                </a:lnTo>
                <a:lnTo>
                  <a:pt x="1779" y="2364"/>
                </a:lnTo>
                <a:lnTo>
                  <a:pt x="1823" y="2355"/>
                </a:lnTo>
                <a:lnTo>
                  <a:pt x="1864" y="2345"/>
                </a:lnTo>
                <a:lnTo>
                  <a:pt x="1904" y="2334"/>
                </a:lnTo>
                <a:lnTo>
                  <a:pt x="1942" y="2321"/>
                </a:lnTo>
                <a:lnTo>
                  <a:pt x="1942" y="3263"/>
                </a:lnTo>
                <a:lnTo>
                  <a:pt x="1942" y="3263"/>
                </a:lnTo>
                <a:lnTo>
                  <a:pt x="1906" y="3279"/>
                </a:lnTo>
                <a:lnTo>
                  <a:pt x="1871" y="3299"/>
                </a:lnTo>
                <a:lnTo>
                  <a:pt x="1838" y="3320"/>
                </a:lnTo>
                <a:lnTo>
                  <a:pt x="1807" y="3345"/>
                </a:lnTo>
                <a:lnTo>
                  <a:pt x="1778" y="3372"/>
                </a:lnTo>
                <a:lnTo>
                  <a:pt x="1751" y="3399"/>
                </a:lnTo>
                <a:lnTo>
                  <a:pt x="1725" y="3430"/>
                </a:lnTo>
                <a:lnTo>
                  <a:pt x="1702" y="3463"/>
                </a:lnTo>
                <a:lnTo>
                  <a:pt x="1680" y="3496"/>
                </a:lnTo>
                <a:lnTo>
                  <a:pt x="1662" y="3532"/>
                </a:lnTo>
                <a:lnTo>
                  <a:pt x="1646" y="3567"/>
                </a:lnTo>
                <a:lnTo>
                  <a:pt x="1633" y="3606"/>
                </a:lnTo>
                <a:lnTo>
                  <a:pt x="1623" y="3645"/>
                </a:lnTo>
                <a:lnTo>
                  <a:pt x="1614" y="3685"/>
                </a:lnTo>
                <a:lnTo>
                  <a:pt x="1610" y="3727"/>
                </a:lnTo>
                <a:lnTo>
                  <a:pt x="1609" y="3769"/>
                </a:lnTo>
                <a:lnTo>
                  <a:pt x="1609" y="3769"/>
                </a:lnTo>
                <a:lnTo>
                  <a:pt x="1609" y="3797"/>
                </a:lnTo>
                <a:lnTo>
                  <a:pt x="1611" y="3825"/>
                </a:lnTo>
                <a:lnTo>
                  <a:pt x="1614" y="3853"/>
                </a:lnTo>
                <a:lnTo>
                  <a:pt x="1620" y="3879"/>
                </a:lnTo>
                <a:lnTo>
                  <a:pt x="1626" y="3906"/>
                </a:lnTo>
                <a:lnTo>
                  <a:pt x="1633" y="3932"/>
                </a:lnTo>
                <a:lnTo>
                  <a:pt x="1642" y="3958"/>
                </a:lnTo>
                <a:lnTo>
                  <a:pt x="1652" y="3984"/>
                </a:lnTo>
                <a:lnTo>
                  <a:pt x="1663" y="4008"/>
                </a:lnTo>
                <a:lnTo>
                  <a:pt x="1675" y="4031"/>
                </a:lnTo>
                <a:lnTo>
                  <a:pt x="1689" y="4054"/>
                </a:lnTo>
                <a:lnTo>
                  <a:pt x="1703" y="4077"/>
                </a:lnTo>
                <a:lnTo>
                  <a:pt x="1718" y="4099"/>
                </a:lnTo>
                <a:lnTo>
                  <a:pt x="1735" y="4119"/>
                </a:lnTo>
                <a:lnTo>
                  <a:pt x="1752" y="4139"/>
                </a:lnTo>
                <a:lnTo>
                  <a:pt x="1769" y="4159"/>
                </a:lnTo>
                <a:lnTo>
                  <a:pt x="1789" y="4176"/>
                </a:lnTo>
                <a:lnTo>
                  <a:pt x="1810" y="4194"/>
                </a:lnTo>
                <a:lnTo>
                  <a:pt x="1830" y="4211"/>
                </a:lnTo>
                <a:lnTo>
                  <a:pt x="1851" y="4227"/>
                </a:lnTo>
                <a:lnTo>
                  <a:pt x="1874" y="4241"/>
                </a:lnTo>
                <a:lnTo>
                  <a:pt x="1897" y="4254"/>
                </a:lnTo>
                <a:lnTo>
                  <a:pt x="1922" y="4265"/>
                </a:lnTo>
                <a:lnTo>
                  <a:pt x="1946" y="4277"/>
                </a:lnTo>
                <a:lnTo>
                  <a:pt x="1970" y="4287"/>
                </a:lnTo>
                <a:lnTo>
                  <a:pt x="1996" y="4296"/>
                </a:lnTo>
                <a:lnTo>
                  <a:pt x="2022" y="4303"/>
                </a:lnTo>
                <a:lnTo>
                  <a:pt x="2049" y="4309"/>
                </a:lnTo>
                <a:lnTo>
                  <a:pt x="2077" y="4314"/>
                </a:lnTo>
                <a:lnTo>
                  <a:pt x="2104" y="4317"/>
                </a:lnTo>
                <a:lnTo>
                  <a:pt x="2131" y="4320"/>
                </a:lnTo>
                <a:lnTo>
                  <a:pt x="2160" y="4320"/>
                </a:lnTo>
                <a:lnTo>
                  <a:pt x="2160" y="4320"/>
                </a:lnTo>
                <a:lnTo>
                  <a:pt x="2189" y="4320"/>
                </a:lnTo>
                <a:lnTo>
                  <a:pt x="2216" y="4317"/>
                </a:lnTo>
                <a:lnTo>
                  <a:pt x="2243" y="4314"/>
                </a:lnTo>
                <a:lnTo>
                  <a:pt x="2271" y="4309"/>
                </a:lnTo>
                <a:lnTo>
                  <a:pt x="2298" y="4303"/>
                </a:lnTo>
                <a:lnTo>
                  <a:pt x="2324" y="4296"/>
                </a:lnTo>
                <a:lnTo>
                  <a:pt x="2350" y="4287"/>
                </a:lnTo>
                <a:lnTo>
                  <a:pt x="2374" y="4277"/>
                </a:lnTo>
                <a:lnTo>
                  <a:pt x="2398" y="4265"/>
                </a:lnTo>
                <a:lnTo>
                  <a:pt x="2423" y="4254"/>
                </a:lnTo>
                <a:lnTo>
                  <a:pt x="2446" y="4241"/>
                </a:lnTo>
                <a:lnTo>
                  <a:pt x="2469" y="4227"/>
                </a:lnTo>
                <a:lnTo>
                  <a:pt x="2490" y="4211"/>
                </a:lnTo>
                <a:lnTo>
                  <a:pt x="2510" y="4194"/>
                </a:lnTo>
                <a:lnTo>
                  <a:pt x="2531" y="4176"/>
                </a:lnTo>
                <a:lnTo>
                  <a:pt x="2551" y="4159"/>
                </a:lnTo>
                <a:lnTo>
                  <a:pt x="2568" y="4139"/>
                </a:lnTo>
                <a:lnTo>
                  <a:pt x="2585" y="4119"/>
                </a:lnTo>
                <a:lnTo>
                  <a:pt x="2602" y="4099"/>
                </a:lnTo>
                <a:lnTo>
                  <a:pt x="2617" y="4077"/>
                </a:lnTo>
                <a:lnTo>
                  <a:pt x="2631" y="4054"/>
                </a:lnTo>
                <a:lnTo>
                  <a:pt x="2645" y="4031"/>
                </a:lnTo>
                <a:lnTo>
                  <a:pt x="2657" y="4008"/>
                </a:lnTo>
                <a:lnTo>
                  <a:pt x="2668" y="3984"/>
                </a:lnTo>
                <a:lnTo>
                  <a:pt x="2678" y="3958"/>
                </a:lnTo>
                <a:lnTo>
                  <a:pt x="2687" y="3932"/>
                </a:lnTo>
                <a:lnTo>
                  <a:pt x="2694" y="3906"/>
                </a:lnTo>
                <a:lnTo>
                  <a:pt x="2700" y="3879"/>
                </a:lnTo>
                <a:lnTo>
                  <a:pt x="2706" y="3853"/>
                </a:lnTo>
                <a:lnTo>
                  <a:pt x="2709" y="3825"/>
                </a:lnTo>
                <a:lnTo>
                  <a:pt x="2711" y="3797"/>
                </a:lnTo>
                <a:lnTo>
                  <a:pt x="2711" y="3769"/>
                </a:lnTo>
                <a:lnTo>
                  <a:pt x="2711" y="3769"/>
                </a:lnTo>
                <a:lnTo>
                  <a:pt x="2710" y="3727"/>
                </a:lnTo>
                <a:lnTo>
                  <a:pt x="2706" y="3685"/>
                </a:lnTo>
                <a:lnTo>
                  <a:pt x="2697" y="3645"/>
                </a:lnTo>
                <a:lnTo>
                  <a:pt x="2687" y="3606"/>
                </a:lnTo>
                <a:lnTo>
                  <a:pt x="2674" y="3567"/>
                </a:lnTo>
                <a:lnTo>
                  <a:pt x="2658" y="3532"/>
                </a:lnTo>
                <a:lnTo>
                  <a:pt x="2640" y="3496"/>
                </a:lnTo>
                <a:lnTo>
                  <a:pt x="2618" y="3463"/>
                </a:lnTo>
                <a:lnTo>
                  <a:pt x="2595" y="3430"/>
                </a:lnTo>
                <a:lnTo>
                  <a:pt x="2569" y="3399"/>
                </a:lnTo>
                <a:lnTo>
                  <a:pt x="2542" y="3372"/>
                </a:lnTo>
                <a:lnTo>
                  <a:pt x="2513" y="3345"/>
                </a:lnTo>
                <a:lnTo>
                  <a:pt x="2482" y="3320"/>
                </a:lnTo>
                <a:lnTo>
                  <a:pt x="2449" y="3299"/>
                </a:lnTo>
                <a:lnTo>
                  <a:pt x="2414" y="3279"/>
                </a:lnTo>
                <a:lnTo>
                  <a:pt x="2378" y="3262"/>
                </a:lnTo>
                <a:lnTo>
                  <a:pt x="2378" y="2321"/>
                </a:lnTo>
                <a:lnTo>
                  <a:pt x="2378" y="2321"/>
                </a:lnTo>
                <a:lnTo>
                  <a:pt x="2416" y="2334"/>
                </a:lnTo>
                <a:lnTo>
                  <a:pt x="2456" y="2345"/>
                </a:lnTo>
                <a:lnTo>
                  <a:pt x="2498" y="2355"/>
                </a:lnTo>
                <a:lnTo>
                  <a:pt x="2541" y="2364"/>
                </a:lnTo>
                <a:lnTo>
                  <a:pt x="2587" y="2370"/>
                </a:lnTo>
                <a:lnTo>
                  <a:pt x="2634" y="2374"/>
                </a:lnTo>
                <a:lnTo>
                  <a:pt x="2683" y="2377"/>
                </a:lnTo>
                <a:lnTo>
                  <a:pt x="2734" y="2378"/>
                </a:lnTo>
                <a:lnTo>
                  <a:pt x="3194" y="2378"/>
                </a:lnTo>
                <a:lnTo>
                  <a:pt x="3194" y="2378"/>
                </a:lnTo>
                <a:lnTo>
                  <a:pt x="3224" y="2380"/>
                </a:lnTo>
                <a:lnTo>
                  <a:pt x="3251" y="2381"/>
                </a:lnTo>
                <a:lnTo>
                  <a:pt x="3277" y="2385"/>
                </a:lnTo>
                <a:lnTo>
                  <a:pt x="3303" y="2390"/>
                </a:lnTo>
                <a:lnTo>
                  <a:pt x="3326" y="2397"/>
                </a:lnTo>
                <a:lnTo>
                  <a:pt x="3348" y="2404"/>
                </a:lnTo>
                <a:lnTo>
                  <a:pt x="3368" y="2413"/>
                </a:lnTo>
                <a:lnTo>
                  <a:pt x="3386" y="2423"/>
                </a:lnTo>
                <a:lnTo>
                  <a:pt x="3404" y="2433"/>
                </a:lnTo>
                <a:lnTo>
                  <a:pt x="3420" y="2444"/>
                </a:lnTo>
                <a:lnTo>
                  <a:pt x="3435" y="2456"/>
                </a:lnTo>
                <a:lnTo>
                  <a:pt x="3450" y="2469"/>
                </a:lnTo>
                <a:lnTo>
                  <a:pt x="3461" y="2483"/>
                </a:lnTo>
                <a:lnTo>
                  <a:pt x="3473" y="2496"/>
                </a:lnTo>
                <a:lnTo>
                  <a:pt x="3484" y="2510"/>
                </a:lnTo>
                <a:lnTo>
                  <a:pt x="3493" y="2526"/>
                </a:lnTo>
                <a:lnTo>
                  <a:pt x="3501" y="2541"/>
                </a:lnTo>
                <a:lnTo>
                  <a:pt x="3510" y="2555"/>
                </a:lnTo>
                <a:lnTo>
                  <a:pt x="3523" y="2585"/>
                </a:lnTo>
                <a:lnTo>
                  <a:pt x="3533" y="2615"/>
                </a:lnTo>
                <a:lnTo>
                  <a:pt x="3540" y="2644"/>
                </a:lnTo>
                <a:lnTo>
                  <a:pt x="3544" y="2671"/>
                </a:lnTo>
                <a:lnTo>
                  <a:pt x="3547" y="2696"/>
                </a:lnTo>
                <a:lnTo>
                  <a:pt x="3550" y="2717"/>
                </a:lnTo>
                <a:lnTo>
                  <a:pt x="3550" y="2734"/>
                </a:lnTo>
                <a:lnTo>
                  <a:pt x="3550" y="3262"/>
                </a:lnTo>
                <a:lnTo>
                  <a:pt x="3550" y="3262"/>
                </a:lnTo>
                <a:lnTo>
                  <a:pt x="3514" y="3279"/>
                </a:lnTo>
                <a:lnTo>
                  <a:pt x="3480" y="3299"/>
                </a:lnTo>
                <a:lnTo>
                  <a:pt x="3447" y="3320"/>
                </a:lnTo>
                <a:lnTo>
                  <a:pt x="3415" y="3345"/>
                </a:lnTo>
                <a:lnTo>
                  <a:pt x="3386" y="3372"/>
                </a:lnTo>
                <a:lnTo>
                  <a:pt x="3359" y="3399"/>
                </a:lnTo>
                <a:lnTo>
                  <a:pt x="3333" y="3430"/>
                </a:lnTo>
                <a:lnTo>
                  <a:pt x="3310" y="3463"/>
                </a:lnTo>
                <a:lnTo>
                  <a:pt x="3289" y="3496"/>
                </a:lnTo>
                <a:lnTo>
                  <a:pt x="3270" y="3532"/>
                </a:lnTo>
                <a:lnTo>
                  <a:pt x="3254" y="3567"/>
                </a:lnTo>
                <a:lnTo>
                  <a:pt x="3241" y="3606"/>
                </a:lnTo>
                <a:lnTo>
                  <a:pt x="3231" y="3645"/>
                </a:lnTo>
                <a:lnTo>
                  <a:pt x="3223" y="3685"/>
                </a:lnTo>
                <a:lnTo>
                  <a:pt x="3218" y="3727"/>
                </a:lnTo>
                <a:lnTo>
                  <a:pt x="3217" y="3769"/>
                </a:lnTo>
                <a:lnTo>
                  <a:pt x="3217" y="3769"/>
                </a:lnTo>
                <a:lnTo>
                  <a:pt x="3218" y="3797"/>
                </a:lnTo>
                <a:lnTo>
                  <a:pt x="3220" y="3825"/>
                </a:lnTo>
                <a:lnTo>
                  <a:pt x="3223" y="3853"/>
                </a:lnTo>
                <a:lnTo>
                  <a:pt x="3229" y="3879"/>
                </a:lnTo>
                <a:lnTo>
                  <a:pt x="3234" y="3906"/>
                </a:lnTo>
                <a:lnTo>
                  <a:pt x="3241" y="3932"/>
                </a:lnTo>
                <a:lnTo>
                  <a:pt x="3250" y="3958"/>
                </a:lnTo>
                <a:lnTo>
                  <a:pt x="3260" y="3984"/>
                </a:lnTo>
                <a:lnTo>
                  <a:pt x="3272" y="4008"/>
                </a:lnTo>
                <a:lnTo>
                  <a:pt x="3283" y="4031"/>
                </a:lnTo>
                <a:lnTo>
                  <a:pt x="3297" y="4054"/>
                </a:lnTo>
                <a:lnTo>
                  <a:pt x="3312" y="4077"/>
                </a:lnTo>
                <a:lnTo>
                  <a:pt x="3326" y="4099"/>
                </a:lnTo>
                <a:lnTo>
                  <a:pt x="3343" y="4119"/>
                </a:lnTo>
                <a:lnTo>
                  <a:pt x="3361" y="4139"/>
                </a:lnTo>
                <a:lnTo>
                  <a:pt x="3379" y="4159"/>
                </a:lnTo>
                <a:lnTo>
                  <a:pt x="3398" y="4176"/>
                </a:lnTo>
                <a:lnTo>
                  <a:pt x="3418" y="4194"/>
                </a:lnTo>
                <a:lnTo>
                  <a:pt x="3438" y="4211"/>
                </a:lnTo>
                <a:lnTo>
                  <a:pt x="3460" y="4227"/>
                </a:lnTo>
                <a:lnTo>
                  <a:pt x="3483" y="4241"/>
                </a:lnTo>
                <a:lnTo>
                  <a:pt x="3506" y="4254"/>
                </a:lnTo>
                <a:lnTo>
                  <a:pt x="3530" y="4265"/>
                </a:lnTo>
                <a:lnTo>
                  <a:pt x="3555" y="4277"/>
                </a:lnTo>
                <a:lnTo>
                  <a:pt x="3579" y="4287"/>
                </a:lnTo>
                <a:lnTo>
                  <a:pt x="3605" y="4296"/>
                </a:lnTo>
                <a:lnTo>
                  <a:pt x="3631" y="4303"/>
                </a:lnTo>
                <a:lnTo>
                  <a:pt x="3658" y="4309"/>
                </a:lnTo>
                <a:lnTo>
                  <a:pt x="3685" y="4314"/>
                </a:lnTo>
                <a:lnTo>
                  <a:pt x="3713" y="4317"/>
                </a:lnTo>
                <a:lnTo>
                  <a:pt x="3740" y="4320"/>
                </a:lnTo>
                <a:lnTo>
                  <a:pt x="3769" y="4320"/>
                </a:lnTo>
                <a:lnTo>
                  <a:pt x="3769" y="4320"/>
                </a:lnTo>
                <a:lnTo>
                  <a:pt x="3797" y="4320"/>
                </a:lnTo>
                <a:lnTo>
                  <a:pt x="3825" y="4317"/>
                </a:lnTo>
                <a:lnTo>
                  <a:pt x="3853" y="4314"/>
                </a:lnTo>
                <a:lnTo>
                  <a:pt x="3879" y="4309"/>
                </a:lnTo>
                <a:lnTo>
                  <a:pt x="3906" y="4303"/>
                </a:lnTo>
                <a:lnTo>
                  <a:pt x="3932" y="4296"/>
                </a:lnTo>
                <a:lnTo>
                  <a:pt x="3958" y="4287"/>
                </a:lnTo>
                <a:lnTo>
                  <a:pt x="3984" y="4277"/>
                </a:lnTo>
                <a:lnTo>
                  <a:pt x="4008" y="4265"/>
                </a:lnTo>
                <a:lnTo>
                  <a:pt x="4031" y="4254"/>
                </a:lnTo>
                <a:lnTo>
                  <a:pt x="4054" y="4241"/>
                </a:lnTo>
                <a:lnTo>
                  <a:pt x="4077" y="4227"/>
                </a:lnTo>
                <a:lnTo>
                  <a:pt x="4099" y="4211"/>
                </a:lnTo>
                <a:lnTo>
                  <a:pt x="4119" y="4194"/>
                </a:lnTo>
                <a:lnTo>
                  <a:pt x="4139" y="4176"/>
                </a:lnTo>
                <a:lnTo>
                  <a:pt x="4159" y="4159"/>
                </a:lnTo>
                <a:lnTo>
                  <a:pt x="4176" y="4139"/>
                </a:lnTo>
                <a:lnTo>
                  <a:pt x="4194" y="4119"/>
                </a:lnTo>
                <a:lnTo>
                  <a:pt x="4211" y="4099"/>
                </a:lnTo>
                <a:lnTo>
                  <a:pt x="4227" y="4077"/>
                </a:lnTo>
                <a:lnTo>
                  <a:pt x="4241" y="4054"/>
                </a:lnTo>
                <a:lnTo>
                  <a:pt x="4254" y="4031"/>
                </a:lnTo>
                <a:lnTo>
                  <a:pt x="4265" y="4008"/>
                </a:lnTo>
                <a:lnTo>
                  <a:pt x="4277" y="3984"/>
                </a:lnTo>
                <a:lnTo>
                  <a:pt x="4287" y="3958"/>
                </a:lnTo>
                <a:lnTo>
                  <a:pt x="4296" y="3932"/>
                </a:lnTo>
                <a:lnTo>
                  <a:pt x="4303" y="3906"/>
                </a:lnTo>
                <a:lnTo>
                  <a:pt x="4309" y="3879"/>
                </a:lnTo>
                <a:lnTo>
                  <a:pt x="4314" y="3853"/>
                </a:lnTo>
                <a:lnTo>
                  <a:pt x="4317" y="3825"/>
                </a:lnTo>
                <a:lnTo>
                  <a:pt x="4320" y="3797"/>
                </a:lnTo>
                <a:lnTo>
                  <a:pt x="4320" y="3769"/>
                </a:lnTo>
                <a:lnTo>
                  <a:pt x="4320" y="3769"/>
                </a:lnTo>
                <a:lnTo>
                  <a:pt x="4319" y="3727"/>
                </a:lnTo>
                <a:lnTo>
                  <a:pt x="4314" y="3685"/>
                </a:lnTo>
                <a:lnTo>
                  <a:pt x="4306" y="3645"/>
                </a:lnTo>
                <a:lnTo>
                  <a:pt x="4296" y="3606"/>
                </a:lnTo>
                <a:lnTo>
                  <a:pt x="4283" y="3567"/>
                </a:lnTo>
                <a:lnTo>
                  <a:pt x="4267" y="3532"/>
                </a:lnTo>
                <a:lnTo>
                  <a:pt x="4248" y="3496"/>
                </a:lnTo>
                <a:lnTo>
                  <a:pt x="4227" y="3463"/>
                </a:lnTo>
                <a:lnTo>
                  <a:pt x="4204" y="3430"/>
                </a:lnTo>
                <a:lnTo>
                  <a:pt x="4178" y="3399"/>
                </a:lnTo>
                <a:lnTo>
                  <a:pt x="4151" y="3372"/>
                </a:lnTo>
                <a:lnTo>
                  <a:pt x="4122" y="3345"/>
                </a:lnTo>
                <a:lnTo>
                  <a:pt x="4090" y="3320"/>
                </a:lnTo>
                <a:lnTo>
                  <a:pt x="4057" y="3299"/>
                </a:lnTo>
                <a:lnTo>
                  <a:pt x="4023" y="3279"/>
                </a:lnTo>
                <a:lnTo>
                  <a:pt x="3987" y="3262"/>
                </a:lnTo>
                <a:lnTo>
                  <a:pt x="3987" y="3262"/>
                </a:lnTo>
                <a:close/>
                <a:moveTo>
                  <a:pt x="869" y="3769"/>
                </a:moveTo>
                <a:lnTo>
                  <a:pt x="869" y="3769"/>
                </a:lnTo>
                <a:lnTo>
                  <a:pt x="867" y="3802"/>
                </a:lnTo>
                <a:lnTo>
                  <a:pt x="863" y="3833"/>
                </a:lnTo>
                <a:lnTo>
                  <a:pt x="855" y="3863"/>
                </a:lnTo>
                <a:lnTo>
                  <a:pt x="844" y="3892"/>
                </a:lnTo>
                <a:lnTo>
                  <a:pt x="832" y="3921"/>
                </a:lnTo>
                <a:lnTo>
                  <a:pt x="816" y="3947"/>
                </a:lnTo>
                <a:lnTo>
                  <a:pt x="797" y="3971"/>
                </a:lnTo>
                <a:lnTo>
                  <a:pt x="777" y="3994"/>
                </a:lnTo>
                <a:lnTo>
                  <a:pt x="754" y="4014"/>
                </a:lnTo>
                <a:lnTo>
                  <a:pt x="730" y="4033"/>
                </a:lnTo>
                <a:lnTo>
                  <a:pt x="702" y="4049"/>
                </a:lnTo>
                <a:lnTo>
                  <a:pt x="675" y="4061"/>
                </a:lnTo>
                <a:lnTo>
                  <a:pt x="646" y="4073"/>
                </a:lnTo>
                <a:lnTo>
                  <a:pt x="616" y="4080"/>
                </a:lnTo>
                <a:lnTo>
                  <a:pt x="585" y="4086"/>
                </a:lnTo>
                <a:lnTo>
                  <a:pt x="551" y="4087"/>
                </a:lnTo>
                <a:lnTo>
                  <a:pt x="551" y="4087"/>
                </a:lnTo>
                <a:lnTo>
                  <a:pt x="518" y="4086"/>
                </a:lnTo>
                <a:lnTo>
                  <a:pt x="487" y="4080"/>
                </a:lnTo>
                <a:lnTo>
                  <a:pt x="457" y="4073"/>
                </a:lnTo>
                <a:lnTo>
                  <a:pt x="428" y="4061"/>
                </a:lnTo>
                <a:lnTo>
                  <a:pt x="399" y="4049"/>
                </a:lnTo>
                <a:lnTo>
                  <a:pt x="373" y="4033"/>
                </a:lnTo>
                <a:lnTo>
                  <a:pt x="349" y="4014"/>
                </a:lnTo>
                <a:lnTo>
                  <a:pt x="326" y="3994"/>
                </a:lnTo>
                <a:lnTo>
                  <a:pt x="306" y="3971"/>
                </a:lnTo>
                <a:lnTo>
                  <a:pt x="287" y="3947"/>
                </a:lnTo>
                <a:lnTo>
                  <a:pt x="271" y="3921"/>
                </a:lnTo>
                <a:lnTo>
                  <a:pt x="259" y="3892"/>
                </a:lnTo>
                <a:lnTo>
                  <a:pt x="247" y="3863"/>
                </a:lnTo>
                <a:lnTo>
                  <a:pt x="240" y="3833"/>
                </a:lnTo>
                <a:lnTo>
                  <a:pt x="234" y="3802"/>
                </a:lnTo>
                <a:lnTo>
                  <a:pt x="233" y="3769"/>
                </a:lnTo>
                <a:lnTo>
                  <a:pt x="233" y="3769"/>
                </a:lnTo>
                <a:lnTo>
                  <a:pt x="234" y="3735"/>
                </a:lnTo>
                <a:lnTo>
                  <a:pt x="240" y="3704"/>
                </a:lnTo>
                <a:lnTo>
                  <a:pt x="247" y="3674"/>
                </a:lnTo>
                <a:lnTo>
                  <a:pt x="259" y="3645"/>
                </a:lnTo>
                <a:lnTo>
                  <a:pt x="271" y="3616"/>
                </a:lnTo>
                <a:lnTo>
                  <a:pt x="287" y="3590"/>
                </a:lnTo>
                <a:lnTo>
                  <a:pt x="306" y="3566"/>
                </a:lnTo>
                <a:lnTo>
                  <a:pt x="326" y="3543"/>
                </a:lnTo>
                <a:lnTo>
                  <a:pt x="349" y="3523"/>
                </a:lnTo>
                <a:lnTo>
                  <a:pt x="373" y="3504"/>
                </a:lnTo>
                <a:lnTo>
                  <a:pt x="399" y="3488"/>
                </a:lnTo>
                <a:lnTo>
                  <a:pt x="428" y="3476"/>
                </a:lnTo>
                <a:lnTo>
                  <a:pt x="457" y="3465"/>
                </a:lnTo>
                <a:lnTo>
                  <a:pt x="487" y="3457"/>
                </a:lnTo>
                <a:lnTo>
                  <a:pt x="518" y="3453"/>
                </a:lnTo>
                <a:lnTo>
                  <a:pt x="551" y="3451"/>
                </a:lnTo>
                <a:lnTo>
                  <a:pt x="551" y="3451"/>
                </a:lnTo>
                <a:lnTo>
                  <a:pt x="585" y="3453"/>
                </a:lnTo>
                <a:lnTo>
                  <a:pt x="616" y="3457"/>
                </a:lnTo>
                <a:lnTo>
                  <a:pt x="646" y="3465"/>
                </a:lnTo>
                <a:lnTo>
                  <a:pt x="675" y="3476"/>
                </a:lnTo>
                <a:lnTo>
                  <a:pt x="702" y="3488"/>
                </a:lnTo>
                <a:lnTo>
                  <a:pt x="730" y="3504"/>
                </a:lnTo>
                <a:lnTo>
                  <a:pt x="754" y="3523"/>
                </a:lnTo>
                <a:lnTo>
                  <a:pt x="777" y="3543"/>
                </a:lnTo>
                <a:lnTo>
                  <a:pt x="797" y="3566"/>
                </a:lnTo>
                <a:lnTo>
                  <a:pt x="816" y="3590"/>
                </a:lnTo>
                <a:lnTo>
                  <a:pt x="832" y="3616"/>
                </a:lnTo>
                <a:lnTo>
                  <a:pt x="844" y="3645"/>
                </a:lnTo>
                <a:lnTo>
                  <a:pt x="855" y="3674"/>
                </a:lnTo>
                <a:lnTo>
                  <a:pt x="863" y="3704"/>
                </a:lnTo>
                <a:lnTo>
                  <a:pt x="867" y="3735"/>
                </a:lnTo>
                <a:lnTo>
                  <a:pt x="869" y="3769"/>
                </a:lnTo>
                <a:lnTo>
                  <a:pt x="869" y="3769"/>
                </a:lnTo>
                <a:close/>
                <a:moveTo>
                  <a:pt x="1841" y="551"/>
                </a:moveTo>
                <a:lnTo>
                  <a:pt x="1841" y="551"/>
                </a:lnTo>
                <a:lnTo>
                  <a:pt x="1844" y="518"/>
                </a:lnTo>
                <a:lnTo>
                  <a:pt x="1848" y="487"/>
                </a:lnTo>
                <a:lnTo>
                  <a:pt x="1856" y="457"/>
                </a:lnTo>
                <a:lnTo>
                  <a:pt x="1867" y="428"/>
                </a:lnTo>
                <a:lnTo>
                  <a:pt x="1880" y="399"/>
                </a:lnTo>
                <a:lnTo>
                  <a:pt x="1896" y="373"/>
                </a:lnTo>
                <a:lnTo>
                  <a:pt x="1914" y="349"/>
                </a:lnTo>
                <a:lnTo>
                  <a:pt x="1935" y="326"/>
                </a:lnTo>
                <a:lnTo>
                  <a:pt x="1958" y="306"/>
                </a:lnTo>
                <a:lnTo>
                  <a:pt x="1982" y="287"/>
                </a:lnTo>
                <a:lnTo>
                  <a:pt x="2008" y="271"/>
                </a:lnTo>
                <a:lnTo>
                  <a:pt x="2036" y="259"/>
                </a:lnTo>
                <a:lnTo>
                  <a:pt x="2065" y="247"/>
                </a:lnTo>
                <a:lnTo>
                  <a:pt x="2095" y="240"/>
                </a:lnTo>
                <a:lnTo>
                  <a:pt x="2127" y="234"/>
                </a:lnTo>
                <a:lnTo>
                  <a:pt x="2160" y="233"/>
                </a:lnTo>
                <a:lnTo>
                  <a:pt x="2160" y="233"/>
                </a:lnTo>
                <a:lnTo>
                  <a:pt x="2193" y="234"/>
                </a:lnTo>
                <a:lnTo>
                  <a:pt x="2225" y="240"/>
                </a:lnTo>
                <a:lnTo>
                  <a:pt x="2255" y="247"/>
                </a:lnTo>
                <a:lnTo>
                  <a:pt x="2284" y="259"/>
                </a:lnTo>
                <a:lnTo>
                  <a:pt x="2312" y="271"/>
                </a:lnTo>
                <a:lnTo>
                  <a:pt x="2338" y="287"/>
                </a:lnTo>
                <a:lnTo>
                  <a:pt x="2363" y="306"/>
                </a:lnTo>
                <a:lnTo>
                  <a:pt x="2385" y="326"/>
                </a:lnTo>
                <a:lnTo>
                  <a:pt x="2406" y="349"/>
                </a:lnTo>
                <a:lnTo>
                  <a:pt x="2424" y="373"/>
                </a:lnTo>
                <a:lnTo>
                  <a:pt x="2440" y="399"/>
                </a:lnTo>
                <a:lnTo>
                  <a:pt x="2453" y="428"/>
                </a:lnTo>
                <a:lnTo>
                  <a:pt x="2464" y="457"/>
                </a:lnTo>
                <a:lnTo>
                  <a:pt x="2472" y="487"/>
                </a:lnTo>
                <a:lnTo>
                  <a:pt x="2476" y="518"/>
                </a:lnTo>
                <a:lnTo>
                  <a:pt x="2479" y="551"/>
                </a:lnTo>
                <a:lnTo>
                  <a:pt x="2479" y="551"/>
                </a:lnTo>
                <a:lnTo>
                  <a:pt x="2476" y="585"/>
                </a:lnTo>
                <a:lnTo>
                  <a:pt x="2472" y="616"/>
                </a:lnTo>
                <a:lnTo>
                  <a:pt x="2464" y="646"/>
                </a:lnTo>
                <a:lnTo>
                  <a:pt x="2453" y="675"/>
                </a:lnTo>
                <a:lnTo>
                  <a:pt x="2440" y="704"/>
                </a:lnTo>
                <a:lnTo>
                  <a:pt x="2424" y="730"/>
                </a:lnTo>
                <a:lnTo>
                  <a:pt x="2406" y="754"/>
                </a:lnTo>
                <a:lnTo>
                  <a:pt x="2385" y="777"/>
                </a:lnTo>
                <a:lnTo>
                  <a:pt x="2363" y="797"/>
                </a:lnTo>
                <a:lnTo>
                  <a:pt x="2338" y="816"/>
                </a:lnTo>
                <a:lnTo>
                  <a:pt x="2312" y="832"/>
                </a:lnTo>
                <a:lnTo>
                  <a:pt x="2284" y="844"/>
                </a:lnTo>
                <a:lnTo>
                  <a:pt x="2255" y="855"/>
                </a:lnTo>
                <a:lnTo>
                  <a:pt x="2225" y="863"/>
                </a:lnTo>
                <a:lnTo>
                  <a:pt x="2193" y="867"/>
                </a:lnTo>
                <a:lnTo>
                  <a:pt x="2160" y="869"/>
                </a:lnTo>
                <a:lnTo>
                  <a:pt x="2160" y="869"/>
                </a:lnTo>
                <a:lnTo>
                  <a:pt x="2127" y="867"/>
                </a:lnTo>
                <a:lnTo>
                  <a:pt x="2095" y="863"/>
                </a:lnTo>
                <a:lnTo>
                  <a:pt x="2065" y="855"/>
                </a:lnTo>
                <a:lnTo>
                  <a:pt x="2036" y="844"/>
                </a:lnTo>
                <a:lnTo>
                  <a:pt x="2008" y="832"/>
                </a:lnTo>
                <a:lnTo>
                  <a:pt x="1982" y="816"/>
                </a:lnTo>
                <a:lnTo>
                  <a:pt x="1958" y="797"/>
                </a:lnTo>
                <a:lnTo>
                  <a:pt x="1935" y="777"/>
                </a:lnTo>
                <a:lnTo>
                  <a:pt x="1914" y="754"/>
                </a:lnTo>
                <a:lnTo>
                  <a:pt x="1896" y="730"/>
                </a:lnTo>
                <a:lnTo>
                  <a:pt x="1880" y="704"/>
                </a:lnTo>
                <a:lnTo>
                  <a:pt x="1867" y="675"/>
                </a:lnTo>
                <a:lnTo>
                  <a:pt x="1856" y="646"/>
                </a:lnTo>
                <a:lnTo>
                  <a:pt x="1848" y="616"/>
                </a:lnTo>
                <a:lnTo>
                  <a:pt x="1844" y="585"/>
                </a:lnTo>
                <a:lnTo>
                  <a:pt x="1841" y="551"/>
                </a:lnTo>
                <a:lnTo>
                  <a:pt x="1841" y="551"/>
                </a:lnTo>
                <a:close/>
                <a:moveTo>
                  <a:pt x="2479" y="3769"/>
                </a:moveTo>
                <a:lnTo>
                  <a:pt x="2479" y="3769"/>
                </a:lnTo>
                <a:lnTo>
                  <a:pt x="2476" y="3802"/>
                </a:lnTo>
                <a:lnTo>
                  <a:pt x="2472" y="3833"/>
                </a:lnTo>
                <a:lnTo>
                  <a:pt x="2464" y="3863"/>
                </a:lnTo>
                <a:lnTo>
                  <a:pt x="2453" y="3892"/>
                </a:lnTo>
                <a:lnTo>
                  <a:pt x="2440" y="3921"/>
                </a:lnTo>
                <a:lnTo>
                  <a:pt x="2424" y="3947"/>
                </a:lnTo>
                <a:lnTo>
                  <a:pt x="2406" y="3971"/>
                </a:lnTo>
                <a:lnTo>
                  <a:pt x="2385" y="3994"/>
                </a:lnTo>
                <a:lnTo>
                  <a:pt x="2363" y="4014"/>
                </a:lnTo>
                <a:lnTo>
                  <a:pt x="2338" y="4033"/>
                </a:lnTo>
                <a:lnTo>
                  <a:pt x="2312" y="4049"/>
                </a:lnTo>
                <a:lnTo>
                  <a:pt x="2284" y="4061"/>
                </a:lnTo>
                <a:lnTo>
                  <a:pt x="2255" y="4073"/>
                </a:lnTo>
                <a:lnTo>
                  <a:pt x="2225" y="4080"/>
                </a:lnTo>
                <a:lnTo>
                  <a:pt x="2193" y="4086"/>
                </a:lnTo>
                <a:lnTo>
                  <a:pt x="2160" y="4087"/>
                </a:lnTo>
                <a:lnTo>
                  <a:pt x="2160" y="4087"/>
                </a:lnTo>
                <a:lnTo>
                  <a:pt x="2127" y="4086"/>
                </a:lnTo>
                <a:lnTo>
                  <a:pt x="2095" y="4080"/>
                </a:lnTo>
                <a:lnTo>
                  <a:pt x="2065" y="4073"/>
                </a:lnTo>
                <a:lnTo>
                  <a:pt x="2036" y="4061"/>
                </a:lnTo>
                <a:lnTo>
                  <a:pt x="2008" y="4049"/>
                </a:lnTo>
                <a:lnTo>
                  <a:pt x="1982" y="4033"/>
                </a:lnTo>
                <a:lnTo>
                  <a:pt x="1958" y="4014"/>
                </a:lnTo>
                <a:lnTo>
                  <a:pt x="1935" y="3994"/>
                </a:lnTo>
                <a:lnTo>
                  <a:pt x="1914" y="3971"/>
                </a:lnTo>
                <a:lnTo>
                  <a:pt x="1896" y="3947"/>
                </a:lnTo>
                <a:lnTo>
                  <a:pt x="1880" y="3921"/>
                </a:lnTo>
                <a:lnTo>
                  <a:pt x="1867" y="3892"/>
                </a:lnTo>
                <a:lnTo>
                  <a:pt x="1856" y="3863"/>
                </a:lnTo>
                <a:lnTo>
                  <a:pt x="1848" y="3833"/>
                </a:lnTo>
                <a:lnTo>
                  <a:pt x="1844" y="3802"/>
                </a:lnTo>
                <a:lnTo>
                  <a:pt x="1841" y="3769"/>
                </a:lnTo>
                <a:lnTo>
                  <a:pt x="1841" y="3769"/>
                </a:lnTo>
                <a:lnTo>
                  <a:pt x="1844" y="3735"/>
                </a:lnTo>
                <a:lnTo>
                  <a:pt x="1848" y="3704"/>
                </a:lnTo>
                <a:lnTo>
                  <a:pt x="1856" y="3674"/>
                </a:lnTo>
                <a:lnTo>
                  <a:pt x="1867" y="3645"/>
                </a:lnTo>
                <a:lnTo>
                  <a:pt x="1880" y="3616"/>
                </a:lnTo>
                <a:lnTo>
                  <a:pt x="1896" y="3590"/>
                </a:lnTo>
                <a:lnTo>
                  <a:pt x="1914" y="3566"/>
                </a:lnTo>
                <a:lnTo>
                  <a:pt x="1935" y="3543"/>
                </a:lnTo>
                <a:lnTo>
                  <a:pt x="1958" y="3523"/>
                </a:lnTo>
                <a:lnTo>
                  <a:pt x="1982" y="3504"/>
                </a:lnTo>
                <a:lnTo>
                  <a:pt x="2008" y="3488"/>
                </a:lnTo>
                <a:lnTo>
                  <a:pt x="2036" y="3476"/>
                </a:lnTo>
                <a:lnTo>
                  <a:pt x="2065" y="3465"/>
                </a:lnTo>
                <a:lnTo>
                  <a:pt x="2095" y="3457"/>
                </a:lnTo>
                <a:lnTo>
                  <a:pt x="2127" y="3453"/>
                </a:lnTo>
                <a:lnTo>
                  <a:pt x="2160" y="3451"/>
                </a:lnTo>
                <a:lnTo>
                  <a:pt x="2160" y="3451"/>
                </a:lnTo>
                <a:lnTo>
                  <a:pt x="2193" y="3453"/>
                </a:lnTo>
                <a:lnTo>
                  <a:pt x="2225" y="3457"/>
                </a:lnTo>
                <a:lnTo>
                  <a:pt x="2255" y="3465"/>
                </a:lnTo>
                <a:lnTo>
                  <a:pt x="2284" y="3476"/>
                </a:lnTo>
                <a:lnTo>
                  <a:pt x="2312" y="3488"/>
                </a:lnTo>
                <a:lnTo>
                  <a:pt x="2338" y="3504"/>
                </a:lnTo>
                <a:lnTo>
                  <a:pt x="2363" y="3523"/>
                </a:lnTo>
                <a:lnTo>
                  <a:pt x="2385" y="3543"/>
                </a:lnTo>
                <a:lnTo>
                  <a:pt x="2406" y="3566"/>
                </a:lnTo>
                <a:lnTo>
                  <a:pt x="2424" y="3590"/>
                </a:lnTo>
                <a:lnTo>
                  <a:pt x="2440" y="3616"/>
                </a:lnTo>
                <a:lnTo>
                  <a:pt x="2453" y="3645"/>
                </a:lnTo>
                <a:lnTo>
                  <a:pt x="2464" y="3674"/>
                </a:lnTo>
                <a:lnTo>
                  <a:pt x="2472" y="3704"/>
                </a:lnTo>
                <a:lnTo>
                  <a:pt x="2476" y="3735"/>
                </a:lnTo>
                <a:lnTo>
                  <a:pt x="2479" y="3769"/>
                </a:lnTo>
                <a:lnTo>
                  <a:pt x="2479" y="3769"/>
                </a:lnTo>
                <a:close/>
                <a:moveTo>
                  <a:pt x="3769" y="4087"/>
                </a:moveTo>
                <a:lnTo>
                  <a:pt x="3769" y="4087"/>
                </a:lnTo>
                <a:lnTo>
                  <a:pt x="3735" y="4086"/>
                </a:lnTo>
                <a:lnTo>
                  <a:pt x="3704" y="4080"/>
                </a:lnTo>
                <a:lnTo>
                  <a:pt x="3674" y="4073"/>
                </a:lnTo>
                <a:lnTo>
                  <a:pt x="3645" y="4061"/>
                </a:lnTo>
                <a:lnTo>
                  <a:pt x="3618" y="4049"/>
                </a:lnTo>
                <a:lnTo>
                  <a:pt x="3590" y="4033"/>
                </a:lnTo>
                <a:lnTo>
                  <a:pt x="3566" y="4014"/>
                </a:lnTo>
                <a:lnTo>
                  <a:pt x="3543" y="3994"/>
                </a:lnTo>
                <a:lnTo>
                  <a:pt x="3523" y="3971"/>
                </a:lnTo>
                <a:lnTo>
                  <a:pt x="3504" y="3947"/>
                </a:lnTo>
                <a:lnTo>
                  <a:pt x="3488" y="3921"/>
                </a:lnTo>
                <a:lnTo>
                  <a:pt x="3476" y="3892"/>
                </a:lnTo>
                <a:lnTo>
                  <a:pt x="3465" y="3863"/>
                </a:lnTo>
                <a:lnTo>
                  <a:pt x="3457" y="3833"/>
                </a:lnTo>
                <a:lnTo>
                  <a:pt x="3453" y="3802"/>
                </a:lnTo>
                <a:lnTo>
                  <a:pt x="3451" y="3769"/>
                </a:lnTo>
                <a:lnTo>
                  <a:pt x="3451" y="3769"/>
                </a:lnTo>
                <a:lnTo>
                  <a:pt x="3453" y="3735"/>
                </a:lnTo>
                <a:lnTo>
                  <a:pt x="3457" y="3704"/>
                </a:lnTo>
                <a:lnTo>
                  <a:pt x="3465" y="3674"/>
                </a:lnTo>
                <a:lnTo>
                  <a:pt x="3476" y="3645"/>
                </a:lnTo>
                <a:lnTo>
                  <a:pt x="3488" y="3616"/>
                </a:lnTo>
                <a:lnTo>
                  <a:pt x="3504" y="3590"/>
                </a:lnTo>
                <a:lnTo>
                  <a:pt x="3523" y="3566"/>
                </a:lnTo>
                <a:lnTo>
                  <a:pt x="3543" y="3543"/>
                </a:lnTo>
                <a:lnTo>
                  <a:pt x="3566" y="3523"/>
                </a:lnTo>
                <a:lnTo>
                  <a:pt x="3590" y="3504"/>
                </a:lnTo>
                <a:lnTo>
                  <a:pt x="3618" y="3488"/>
                </a:lnTo>
                <a:lnTo>
                  <a:pt x="3645" y="3476"/>
                </a:lnTo>
                <a:lnTo>
                  <a:pt x="3674" y="3465"/>
                </a:lnTo>
                <a:lnTo>
                  <a:pt x="3704" y="3457"/>
                </a:lnTo>
                <a:lnTo>
                  <a:pt x="3735" y="3453"/>
                </a:lnTo>
                <a:lnTo>
                  <a:pt x="3769" y="3451"/>
                </a:lnTo>
                <a:lnTo>
                  <a:pt x="3769" y="3451"/>
                </a:lnTo>
                <a:lnTo>
                  <a:pt x="3802" y="3453"/>
                </a:lnTo>
                <a:lnTo>
                  <a:pt x="3833" y="3457"/>
                </a:lnTo>
                <a:lnTo>
                  <a:pt x="3863" y="3465"/>
                </a:lnTo>
                <a:lnTo>
                  <a:pt x="3892" y="3476"/>
                </a:lnTo>
                <a:lnTo>
                  <a:pt x="3921" y="3488"/>
                </a:lnTo>
                <a:lnTo>
                  <a:pt x="3947" y="3504"/>
                </a:lnTo>
                <a:lnTo>
                  <a:pt x="3971" y="3523"/>
                </a:lnTo>
                <a:lnTo>
                  <a:pt x="3994" y="3543"/>
                </a:lnTo>
                <a:lnTo>
                  <a:pt x="4014" y="3566"/>
                </a:lnTo>
                <a:lnTo>
                  <a:pt x="4033" y="3590"/>
                </a:lnTo>
                <a:lnTo>
                  <a:pt x="4049" y="3616"/>
                </a:lnTo>
                <a:lnTo>
                  <a:pt x="4061" y="3645"/>
                </a:lnTo>
                <a:lnTo>
                  <a:pt x="4073" y="3674"/>
                </a:lnTo>
                <a:lnTo>
                  <a:pt x="4080" y="3704"/>
                </a:lnTo>
                <a:lnTo>
                  <a:pt x="4086" y="3735"/>
                </a:lnTo>
                <a:lnTo>
                  <a:pt x="4087" y="3769"/>
                </a:lnTo>
                <a:lnTo>
                  <a:pt x="4087" y="3769"/>
                </a:lnTo>
                <a:lnTo>
                  <a:pt x="4086" y="3802"/>
                </a:lnTo>
                <a:lnTo>
                  <a:pt x="4080" y="3833"/>
                </a:lnTo>
                <a:lnTo>
                  <a:pt x="4073" y="3863"/>
                </a:lnTo>
                <a:lnTo>
                  <a:pt x="4061" y="3892"/>
                </a:lnTo>
                <a:lnTo>
                  <a:pt x="4049" y="3921"/>
                </a:lnTo>
                <a:lnTo>
                  <a:pt x="4033" y="3947"/>
                </a:lnTo>
                <a:lnTo>
                  <a:pt x="4014" y="3971"/>
                </a:lnTo>
                <a:lnTo>
                  <a:pt x="3994" y="3994"/>
                </a:lnTo>
                <a:lnTo>
                  <a:pt x="3971" y="4014"/>
                </a:lnTo>
                <a:lnTo>
                  <a:pt x="3947" y="4033"/>
                </a:lnTo>
                <a:lnTo>
                  <a:pt x="3921" y="4049"/>
                </a:lnTo>
                <a:lnTo>
                  <a:pt x="3892" y="4061"/>
                </a:lnTo>
                <a:lnTo>
                  <a:pt x="3863" y="4073"/>
                </a:lnTo>
                <a:lnTo>
                  <a:pt x="3833" y="4080"/>
                </a:lnTo>
                <a:lnTo>
                  <a:pt x="3802" y="4086"/>
                </a:lnTo>
                <a:lnTo>
                  <a:pt x="3769" y="4087"/>
                </a:lnTo>
                <a:lnTo>
                  <a:pt x="3769" y="4087"/>
                </a:lnTo>
                <a:close/>
              </a:path>
            </a:pathLst>
          </a:custGeom>
          <a:solidFill>
            <a:schemeClr val="bg1"/>
          </a:solidFill>
          <a:ln>
            <a:noFill/>
          </a:ln>
        </p:spPr>
        <p:txBody>
          <a:bodyPr vert="horz" wrap="square" lIns="91412" tIns="45706" rIns="91412" bIns="45706"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641" name="Rectangle 640"/>
          <p:cNvSpPr/>
          <p:nvPr/>
        </p:nvSpPr>
        <p:spPr>
          <a:xfrm>
            <a:off x="6715870" y="1758209"/>
            <a:ext cx="20918" cy="349773"/>
          </a:xfrm>
          <a:prstGeom prst="rect">
            <a:avLst/>
          </a:prstGeom>
          <a:gradFill>
            <a:gsLst>
              <a:gs pos="0">
                <a:srgbClr val="BCB09E">
                  <a:alpha val="65000"/>
                </a:srgbClr>
              </a:gs>
              <a:gs pos="54000">
                <a:srgbClr val="565595"/>
              </a:gs>
            </a:gsLst>
            <a:lin ang="5400000" scaled="0"/>
          </a:gradFill>
          <a:ln w="25400" cap="flat" cmpd="sng" algn="ctr">
            <a:no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28" name="Freeform 27"/>
          <p:cNvSpPr>
            <a:spLocks/>
          </p:cNvSpPr>
          <p:nvPr/>
        </p:nvSpPr>
        <p:spPr bwMode="auto">
          <a:xfrm>
            <a:off x="6376215" y="1834233"/>
            <a:ext cx="703953" cy="601596"/>
          </a:xfrm>
          <a:custGeom>
            <a:avLst/>
            <a:gdLst>
              <a:gd name="connsiteX0" fmla="*/ 0 w 750924"/>
              <a:gd name="connsiteY0" fmla="*/ 0 h 644253"/>
              <a:gd name="connsiteX1" fmla="*/ 750924 w 750924"/>
              <a:gd name="connsiteY1" fmla="*/ 0 h 644253"/>
              <a:gd name="connsiteX2" fmla="*/ 750924 w 750924"/>
              <a:gd name="connsiteY2" fmla="*/ 637175 h 644253"/>
              <a:gd name="connsiteX3" fmla="*/ 562963 w 750924"/>
              <a:gd name="connsiteY3" fmla="*/ 637765 h 644253"/>
              <a:gd name="connsiteX4" fmla="*/ 375462 w 750924"/>
              <a:gd name="connsiteY4" fmla="*/ 638945 h 644253"/>
              <a:gd name="connsiteX5" fmla="*/ 187042 w 750924"/>
              <a:gd name="connsiteY5" fmla="*/ 641894 h 644253"/>
              <a:gd name="connsiteX6" fmla="*/ 0 w 750924"/>
              <a:gd name="connsiteY6" fmla="*/ 644253 h 644253"/>
              <a:gd name="connsiteX7" fmla="*/ 0 w 750924"/>
              <a:gd name="connsiteY7" fmla="*/ 0 h 64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924" h="644253">
                <a:moveTo>
                  <a:pt x="0" y="0"/>
                </a:moveTo>
                <a:lnTo>
                  <a:pt x="750924" y="0"/>
                </a:lnTo>
                <a:lnTo>
                  <a:pt x="750924" y="637175"/>
                </a:lnTo>
                <a:lnTo>
                  <a:pt x="562963" y="637765"/>
                </a:lnTo>
                <a:lnTo>
                  <a:pt x="375462" y="638945"/>
                </a:lnTo>
                <a:lnTo>
                  <a:pt x="187042" y="641894"/>
                </a:lnTo>
                <a:lnTo>
                  <a:pt x="0" y="644253"/>
                </a:lnTo>
                <a:lnTo>
                  <a:pt x="0" y="0"/>
                </a:lnTo>
                <a:close/>
              </a:path>
            </a:pathLst>
          </a:custGeom>
          <a:solidFill>
            <a:schemeClr val="accent6">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defRPr/>
            </a:pPr>
            <a:r>
              <a:rPr lang="en-US" sz="900" kern="0" dirty="0" smtClean="0">
                <a:solidFill>
                  <a:schemeClr val="bg1"/>
                </a:solidFill>
                <a:latin typeface="+mj-lt"/>
              </a:rPr>
              <a:t>DLP</a:t>
            </a:r>
            <a:endParaRPr lang="en-US" sz="900" kern="0" dirty="0">
              <a:solidFill>
                <a:schemeClr val="bg1"/>
              </a:solidFill>
              <a:latin typeface="+mj-lt"/>
            </a:endParaRPr>
          </a:p>
        </p:txBody>
      </p:sp>
      <p:grpSp>
        <p:nvGrpSpPr>
          <p:cNvPr id="788" name="Group 525"/>
          <p:cNvGrpSpPr/>
          <p:nvPr/>
        </p:nvGrpSpPr>
        <p:grpSpPr>
          <a:xfrm>
            <a:off x="6657446" y="2205848"/>
            <a:ext cx="163124" cy="178578"/>
            <a:chOff x="5059330" y="7098673"/>
            <a:chExt cx="742341" cy="812665"/>
          </a:xfrm>
          <a:solidFill>
            <a:schemeClr val="bg1"/>
          </a:solidFill>
        </p:grpSpPr>
        <p:sp>
          <p:nvSpPr>
            <p:cNvPr id="527" name="Freeform 19"/>
            <p:cNvSpPr>
              <a:spLocks noChangeAspect="1" noEditPoints="1"/>
            </p:cNvSpPr>
            <p:nvPr/>
          </p:nvSpPr>
          <p:spPr bwMode="auto">
            <a:xfrm>
              <a:off x="5059330" y="7384519"/>
              <a:ext cx="409969" cy="526816"/>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a:noFill/>
            </a:ln>
          </p:spPr>
          <p:txBody>
            <a:bodyPr vert="horz" wrap="square" lIns="91440" tIns="45720" rIns="91440" bIns="45720" numCol="1" anchor="t" anchorCtr="0" compatLnSpc="1">
              <a:prstTxWarp prst="textNoShape">
                <a:avLst/>
              </a:prstTxWarp>
            </a:bodyPr>
            <a:lstStyle/>
            <a:p>
              <a:pPr defTabSz="457170"/>
              <a:endParaRPr lang="en-US">
                <a:solidFill>
                  <a:srgbClr val="435153"/>
                </a:solidFill>
                <a:latin typeface="+mj-lt"/>
              </a:endParaRPr>
            </a:p>
          </p:txBody>
        </p:sp>
        <p:sp>
          <p:nvSpPr>
            <p:cNvPr id="528" name="Freeform 168"/>
            <p:cNvSpPr>
              <a:spLocks noEditPoints="1"/>
            </p:cNvSpPr>
            <p:nvPr/>
          </p:nvSpPr>
          <p:spPr bwMode="auto">
            <a:xfrm>
              <a:off x="5093242" y="7098673"/>
              <a:ext cx="708429" cy="812665"/>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0"/>
              <a:endParaRPr lang="en-US">
                <a:solidFill>
                  <a:srgbClr val="435153"/>
                </a:solidFill>
                <a:latin typeface="+mj-lt"/>
              </a:endParaRPr>
            </a:p>
          </p:txBody>
        </p:sp>
      </p:grpSp>
      <p:sp>
        <p:nvSpPr>
          <p:cNvPr id="532" name="Rectangle 531"/>
          <p:cNvSpPr/>
          <p:nvPr/>
        </p:nvSpPr>
        <p:spPr>
          <a:xfrm>
            <a:off x="6715870" y="2404955"/>
            <a:ext cx="20918" cy="349773"/>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01" name="Rectangle 500"/>
          <p:cNvSpPr/>
          <p:nvPr/>
        </p:nvSpPr>
        <p:spPr>
          <a:xfrm>
            <a:off x="8228108" y="4023246"/>
            <a:ext cx="123659" cy="123659"/>
          </a:xfrm>
          <a:prstGeom prst="rect">
            <a:avLst/>
          </a:prstGeom>
          <a:solidFill>
            <a:srgbClr val="004080"/>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rgbClr val="2F2E7E"/>
              </a:solidFill>
              <a:latin typeface="+mj-lt"/>
            </a:endParaRPr>
          </a:p>
        </p:txBody>
      </p:sp>
      <p:sp>
        <p:nvSpPr>
          <p:cNvPr id="502" name="Rectangle 501"/>
          <p:cNvSpPr/>
          <p:nvPr/>
        </p:nvSpPr>
        <p:spPr>
          <a:xfrm>
            <a:off x="8376916" y="4046048"/>
            <a:ext cx="362217"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a:solidFill>
                  <a:srgbClr val="676767">
                    <a:lumMod val="75000"/>
                  </a:srgbClr>
                </a:solidFill>
                <a:latin typeface="+mj-lt"/>
                <a:ea typeface="ＭＳ Ｐゴシック" charset="0"/>
                <a:cs typeface="ＭＳ Ｐゴシック" charset="0"/>
              </a:rPr>
              <a:t>Hybrid</a:t>
            </a:r>
          </a:p>
        </p:txBody>
      </p:sp>
      <p:sp>
        <p:nvSpPr>
          <p:cNvPr id="503" name="Rectangle 502"/>
          <p:cNvSpPr/>
          <p:nvPr/>
        </p:nvSpPr>
        <p:spPr>
          <a:xfrm>
            <a:off x="1321352" y="2942415"/>
            <a:ext cx="3949284" cy="341029"/>
          </a:xfrm>
          <a:prstGeom prst="rect">
            <a:avLst/>
          </a:prstGeom>
          <a:solidFill>
            <a:srgbClr val="D7E8FC"/>
          </a:solidFill>
          <a:ln w="6350">
            <a:solidFill>
              <a:schemeClr val="tx2">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18" tIns="45718" rIns="91436" bIns="45718" rtlCol="0" anchor="ctr"/>
          <a:lstStyle/>
          <a:p>
            <a:r>
              <a:rPr lang="en-US" sz="1000" dirty="0">
                <a:solidFill>
                  <a:schemeClr val="accent5">
                    <a:lumMod val="50000"/>
                  </a:schemeClr>
                </a:solidFill>
                <a:latin typeface="+mj-lt"/>
              </a:rPr>
              <a:t>CWS</a:t>
            </a:r>
          </a:p>
        </p:txBody>
      </p:sp>
      <p:sp>
        <p:nvSpPr>
          <p:cNvPr id="504" name="Rectangle 503"/>
          <p:cNvSpPr/>
          <p:nvPr/>
        </p:nvSpPr>
        <p:spPr>
          <a:xfrm>
            <a:off x="1321352" y="3295926"/>
            <a:ext cx="3949284" cy="341029"/>
          </a:xfrm>
          <a:prstGeom prst="rect">
            <a:avLst/>
          </a:prstGeom>
          <a:solidFill>
            <a:srgbClr val="000099">
              <a:alpha val="6667"/>
            </a:srgbClr>
          </a:solidFill>
          <a:ln w="6350">
            <a:solidFill>
              <a:srgbClr val="8989FF"/>
            </a:solidFill>
          </a:ln>
          <a:effectLst/>
        </p:spPr>
        <p:style>
          <a:lnRef idx="2">
            <a:schemeClr val="accent1">
              <a:shade val="50000"/>
            </a:schemeClr>
          </a:lnRef>
          <a:fillRef idx="1">
            <a:schemeClr val="accent1"/>
          </a:fillRef>
          <a:effectRef idx="0">
            <a:schemeClr val="accent1"/>
          </a:effectRef>
          <a:fontRef idx="minor">
            <a:schemeClr val="lt1"/>
          </a:fontRef>
        </p:style>
        <p:txBody>
          <a:bodyPr lIns="45718" tIns="45718" rIns="91436" bIns="45718" rtlCol="0" anchor="ctr"/>
          <a:lstStyle/>
          <a:p>
            <a:r>
              <a:rPr lang="en-US" sz="1000" dirty="0">
                <a:solidFill>
                  <a:schemeClr val="accent3">
                    <a:lumMod val="75000"/>
                  </a:schemeClr>
                </a:solidFill>
                <a:latin typeface="+mj-lt"/>
              </a:rPr>
              <a:t>WSA</a:t>
            </a:r>
          </a:p>
        </p:txBody>
      </p:sp>
      <p:sp>
        <p:nvSpPr>
          <p:cNvPr id="505" name="Freeform 504"/>
          <p:cNvSpPr>
            <a:spLocks noEditPoints="1"/>
          </p:cNvSpPr>
          <p:nvPr/>
        </p:nvSpPr>
        <p:spPr bwMode="auto">
          <a:xfrm flipH="1">
            <a:off x="1223934" y="3836669"/>
            <a:ext cx="437690" cy="486280"/>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676767">
              <a:lumMod val="85000"/>
            </a:srgbClr>
          </a:solidFill>
          <a:ln w="9525">
            <a:noFill/>
            <a:round/>
            <a:headEnd/>
            <a:tailEnd/>
          </a:ln>
        </p:spPr>
        <p:txBody>
          <a:bodyPr vert="horz" wrap="square" lIns="68577" tIns="34289" rIns="68577" bIns="34289" numCol="1" anchor="t" anchorCtr="0" compatLnSpc="1">
            <a:prstTxWarp prst="textNoShape">
              <a:avLst/>
            </a:prstTxWarp>
          </a:bodyPr>
          <a:lstStyle/>
          <a:p>
            <a:pPr defTabSz="685600" fontAlgn="auto">
              <a:spcBef>
                <a:spcPts val="0"/>
              </a:spcBef>
              <a:spcAft>
                <a:spcPts val="0"/>
              </a:spcAft>
              <a:defRPr/>
            </a:pPr>
            <a:endParaRPr lang="en-US" sz="900" kern="0">
              <a:solidFill>
                <a:srgbClr val="FFFFFF"/>
              </a:solidFill>
              <a:latin typeface="+mj-lt"/>
            </a:endParaRPr>
          </a:p>
        </p:txBody>
      </p:sp>
      <p:sp>
        <p:nvSpPr>
          <p:cNvPr id="506" name="Rounded Rectangle 191"/>
          <p:cNvSpPr/>
          <p:nvPr/>
        </p:nvSpPr>
        <p:spPr>
          <a:xfrm>
            <a:off x="4005226" y="4327057"/>
            <a:ext cx="786948"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defRPr/>
            </a:pPr>
            <a:r>
              <a:rPr lang="ja-JP" altLang="en-US" sz="900" kern="0" dirty="0" smtClean="0">
                <a:solidFill>
                  <a:srgbClr val="676767"/>
                </a:solidFill>
                <a:latin typeface="+mj-lt"/>
              </a:rPr>
              <a:t>ローミング</a:t>
            </a:r>
            <a:endParaRPr lang="en-US" sz="900" kern="0" dirty="0">
              <a:solidFill>
                <a:srgbClr val="676767"/>
              </a:solidFill>
              <a:latin typeface="+mj-lt"/>
            </a:endParaRPr>
          </a:p>
        </p:txBody>
      </p:sp>
      <p:grpSp>
        <p:nvGrpSpPr>
          <p:cNvPr id="789" name="Group 506"/>
          <p:cNvGrpSpPr/>
          <p:nvPr/>
        </p:nvGrpSpPr>
        <p:grpSpPr>
          <a:xfrm>
            <a:off x="4296840" y="3778979"/>
            <a:ext cx="396046" cy="543970"/>
            <a:chOff x="2427200" y="7613831"/>
            <a:chExt cx="1051866" cy="1445113"/>
          </a:xfrm>
          <a:solidFill>
            <a:srgbClr val="676767">
              <a:lumMod val="85000"/>
            </a:srgbClr>
          </a:solidFill>
        </p:grpSpPr>
        <p:grpSp>
          <p:nvGrpSpPr>
            <p:cNvPr id="793" name="Group 549"/>
            <p:cNvGrpSpPr/>
            <p:nvPr/>
          </p:nvGrpSpPr>
          <p:grpSpPr>
            <a:xfrm rot="19897570">
              <a:off x="3208484" y="7613831"/>
              <a:ext cx="270582" cy="541943"/>
              <a:chOff x="4630738" y="4803775"/>
              <a:chExt cx="2216150" cy="4438650"/>
            </a:xfrm>
            <a:grpFill/>
          </p:grpSpPr>
          <p:sp>
            <p:nvSpPr>
              <p:cNvPr id="554"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55"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grpSp>
        <p:sp>
          <p:nvSpPr>
            <p:cNvPr id="551" name="Freeform 550"/>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FFFFFF"/>
                </a:solidFill>
                <a:latin typeface="+mj-lt"/>
              </a:endParaRPr>
            </a:p>
          </p:txBody>
        </p:sp>
      </p:grpSp>
      <p:sp>
        <p:nvSpPr>
          <p:cNvPr id="564" name="Rounded Rectangle 191"/>
          <p:cNvSpPr/>
          <p:nvPr/>
        </p:nvSpPr>
        <p:spPr>
          <a:xfrm>
            <a:off x="2338280" y="4327057"/>
            <a:ext cx="734864"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pPr>
            <a:r>
              <a:rPr lang="ja-JP" altLang="en-US" sz="900" kern="0" dirty="0" smtClean="0">
                <a:solidFill>
                  <a:srgbClr val="676767"/>
                </a:solidFill>
                <a:latin typeface="+mj-lt"/>
              </a:rPr>
              <a:t>支社</a:t>
            </a:r>
            <a:endParaRPr lang="en-US" sz="900" kern="0" dirty="0">
              <a:solidFill>
                <a:srgbClr val="676767"/>
              </a:solidFill>
              <a:latin typeface="+mj-lt"/>
            </a:endParaRPr>
          </a:p>
        </p:txBody>
      </p:sp>
      <p:grpSp>
        <p:nvGrpSpPr>
          <p:cNvPr id="795" name="Group 567"/>
          <p:cNvGrpSpPr/>
          <p:nvPr/>
        </p:nvGrpSpPr>
        <p:grpSpPr>
          <a:xfrm>
            <a:off x="2467848" y="3804051"/>
            <a:ext cx="432267" cy="518898"/>
            <a:chOff x="5816600" y="1936751"/>
            <a:chExt cx="450840" cy="541339"/>
          </a:xfrm>
          <a:solidFill>
            <a:srgbClr val="676767">
              <a:lumMod val="85000"/>
            </a:srgbClr>
          </a:solidFill>
        </p:grpSpPr>
        <p:sp>
          <p:nvSpPr>
            <p:cNvPr id="569" name="Freeform 278"/>
            <p:cNvSpPr>
              <a:spLocks/>
            </p:cNvSpPr>
            <p:nvPr/>
          </p:nvSpPr>
          <p:spPr bwMode="auto">
            <a:xfrm>
              <a:off x="5997565" y="2133601"/>
              <a:ext cx="269875" cy="344489"/>
            </a:xfrm>
            <a:custGeom>
              <a:avLst/>
              <a:gdLst>
                <a:gd name="T0" fmla="*/ 125 w 339"/>
                <a:gd name="T1" fmla="*/ 397 h 436"/>
                <a:gd name="T2" fmla="*/ 125 w 339"/>
                <a:gd name="T3" fmla="*/ 363 h 436"/>
                <a:gd name="T4" fmla="*/ 304 w 339"/>
                <a:gd name="T5" fmla="*/ 370 h 436"/>
                <a:gd name="T6" fmla="*/ 304 w 339"/>
                <a:gd name="T7" fmla="*/ 328 h 436"/>
                <a:gd name="T8" fmla="*/ 125 w 339"/>
                <a:gd name="T9" fmla="*/ 297 h 436"/>
                <a:gd name="T10" fmla="*/ 125 w 339"/>
                <a:gd name="T11" fmla="*/ 263 h 436"/>
                <a:gd name="T12" fmla="*/ 304 w 339"/>
                <a:gd name="T13" fmla="*/ 302 h 436"/>
                <a:gd name="T14" fmla="*/ 304 w 339"/>
                <a:gd name="T15" fmla="*/ 261 h 436"/>
                <a:gd name="T16" fmla="*/ 125 w 339"/>
                <a:gd name="T17" fmla="*/ 197 h 436"/>
                <a:gd name="T18" fmla="*/ 125 w 339"/>
                <a:gd name="T19" fmla="*/ 162 h 436"/>
                <a:gd name="T20" fmla="*/ 304 w 339"/>
                <a:gd name="T21" fmla="*/ 234 h 436"/>
                <a:gd name="T22" fmla="*/ 304 w 339"/>
                <a:gd name="T23" fmla="*/ 195 h 436"/>
                <a:gd name="T24" fmla="*/ 125 w 339"/>
                <a:gd name="T25" fmla="*/ 97 h 436"/>
                <a:gd name="T26" fmla="*/ 125 w 339"/>
                <a:gd name="T27" fmla="*/ 61 h 436"/>
                <a:gd name="T28" fmla="*/ 304 w 339"/>
                <a:gd name="T29" fmla="*/ 165 h 436"/>
                <a:gd name="T30" fmla="*/ 304 w 339"/>
                <a:gd name="T31" fmla="*/ 128 h 436"/>
                <a:gd name="T32" fmla="*/ 125 w 339"/>
                <a:gd name="T33" fmla="*/ 0 h 436"/>
                <a:gd name="T34" fmla="*/ 70 w 339"/>
                <a:gd name="T35" fmla="*/ 41 h 436"/>
                <a:gd name="T36" fmla="*/ 70 w 339"/>
                <a:gd name="T37" fmla="*/ 41 h 436"/>
                <a:gd name="T38" fmla="*/ 57 w 339"/>
                <a:gd name="T39" fmla="*/ 71 h 436"/>
                <a:gd name="T40" fmla="*/ 40 w 339"/>
                <a:gd name="T41" fmla="*/ 114 h 436"/>
                <a:gd name="T42" fmla="*/ 22 w 339"/>
                <a:gd name="T43" fmla="*/ 153 h 436"/>
                <a:gd name="T44" fmla="*/ 16 w 339"/>
                <a:gd name="T45" fmla="*/ 165 h 436"/>
                <a:gd name="T46" fmla="*/ 13 w 339"/>
                <a:gd name="T47" fmla="*/ 169 h 436"/>
                <a:gd name="T48" fmla="*/ 10 w 339"/>
                <a:gd name="T49" fmla="*/ 170 h 436"/>
                <a:gd name="T50" fmla="*/ 0 w 339"/>
                <a:gd name="T51" fmla="*/ 406 h 436"/>
                <a:gd name="T52" fmla="*/ 0 w 339"/>
                <a:gd name="T53" fmla="*/ 406 h 436"/>
                <a:gd name="T54" fmla="*/ 18 w 339"/>
                <a:gd name="T55" fmla="*/ 416 h 436"/>
                <a:gd name="T56" fmla="*/ 18 w 339"/>
                <a:gd name="T57" fmla="*/ 416 h 436"/>
                <a:gd name="T58" fmla="*/ 18 w 339"/>
                <a:gd name="T59" fmla="*/ 420 h 436"/>
                <a:gd name="T60" fmla="*/ 18 w 339"/>
                <a:gd name="T61" fmla="*/ 424 h 436"/>
                <a:gd name="T62" fmla="*/ 18 w 339"/>
                <a:gd name="T63" fmla="*/ 426 h 436"/>
                <a:gd name="T64" fmla="*/ 17 w 339"/>
                <a:gd name="T65" fmla="*/ 431 h 436"/>
                <a:gd name="T66" fmla="*/ 17 w 339"/>
                <a:gd name="T67" fmla="*/ 431 h 436"/>
                <a:gd name="T68" fmla="*/ 14 w 339"/>
                <a:gd name="T69" fmla="*/ 433 h 436"/>
                <a:gd name="T70" fmla="*/ 10 w 339"/>
                <a:gd name="T71" fmla="*/ 435 h 436"/>
                <a:gd name="T72" fmla="*/ 5 w 339"/>
                <a:gd name="T73" fmla="*/ 436 h 436"/>
                <a:gd name="T74" fmla="*/ 339 w 339"/>
                <a:gd name="T75" fmla="*/ 436 h 436"/>
                <a:gd name="T76" fmla="*/ 339 w 339"/>
                <a:gd name="T77" fmla="*/ 397 h 436"/>
                <a:gd name="T78" fmla="*/ 125 w 339"/>
                <a:gd name="T79" fmla="*/ 39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9" h="436">
                  <a:moveTo>
                    <a:pt x="125" y="397"/>
                  </a:moveTo>
                  <a:lnTo>
                    <a:pt x="125" y="363"/>
                  </a:lnTo>
                  <a:lnTo>
                    <a:pt x="304" y="370"/>
                  </a:lnTo>
                  <a:lnTo>
                    <a:pt x="304" y="328"/>
                  </a:lnTo>
                  <a:lnTo>
                    <a:pt x="125" y="297"/>
                  </a:lnTo>
                  <a:lnTo>
                    <a:pt x="125" y="263"/>
                  </a:lnTo>
                  <a:lnTo>
                    <a:pt x="304" y="302"/>
                  </a:lnTo>
                  <a:lnTo>
                    <a:pt x="304" y="261"/>
                  </a:lnTo>
                  <a:lnTo>
                    <a:pt x="125" y="197"/>
                  </a:lnTo>
                  <a:lnTo>
                    <a:pt x="125" y="162"/>
                  </a:lnTo>
                  <a:lnTo>
                    <a:pt x="304" y="234"/>
                  </a:lnTo>
                  <a:lnTo>
                    <a:pt x="304" y="195"/>
                  </a:lnTo>
                  <a:lnTo>
                    <a:pt x="125" y="97"/>
                  </a:lnTo>
                  <a:lnTo>
                    <a:pt x="125" y="61"/>
                  </a:lnTo>
                  <a:lnTo>
                    <a:pt x="304" y="165"/>
                  </a:lnTo>
                  <a:lnTo>
                    <a:pt x="304" y="128"/>
                  </a:lnTo>
                  <a:lnTo>
                    <a:pt x="125" y="0"/>
                  </a:lnTo>
                  <a:lnTo>
                    <a:pt x="70" y="41"/>
                  </a:lnTo>
                  <a:lnTo>
                    <a:pt x="70" y="41"/>
                  </a:lnTo>
                  <a:lnTo>
                    <a:pt x="57" y="71"/>
                  </a:lnTo>
                  <a:lnTo>
                    <a:pt x="40" y="114"/>
                  </a:lnTo>
                  <a:lnTo>
                    <a:pt x="22" y="153"/>
                  </a:lnTo>
                  <a:lnTo>
                    <a:pt x="16" y="165"/>
                  </a:lnTo>
                  <a:lnTo>
                    <a:pt x="13" y="169"/>
                  </a:lnTo>
                  <a:lnTo>
                    <a:pt x="10" y="170"/>
                  </a:lnTo>
                  <a:lnTo>
                    <a:pt x="0" y="406"/>
                  </a:lnTo>
                  <a:lnTo>
                    <a:pt x="0" y="406"/>
                  </a:lnTo>
                  <a:lnTo>
                    <a:pt x="18" y="416"/>
                  </a:lnTo>
                  <a:lnTo>
                    <a:pt x="18" y="416"/>
                  </a:lnTo>
                  <a:lnTo>
                    <a:pt x="18" y="420"/>
                  </a:lnTo>
                  <a:lnTo>
                    <a:pt x="18" y="424"/>
                  </a:lnTo>
                  <a:lnTo>
                    <a:pt x="18" y="426"/>
                  </a:lnTo>
                  <a:lnTo>
                    <a:pt x="17" y="431"/>
                  </a:lnTo>
                  <a:lnTo>
                    <a:pt x="17" y="431"/>
                  </a:lnTo>
                  <a:lnTo>
                    <a:pt x="14" y="433"/>
                  </a:lnTo>
                  <a:lnTo>
                    <a:pt x="10" y="435"/>
                  </a:lnTo>
                  <a:lnTo>
                    <a:pt x="5" y="436"/>
                  </a:lnTo>
                  <a:lnTo>
                    <a:pt x="339" y="436"/>
                  </a:lnTo>
                  <a:lnTo>
                    <a:pt x="339" y="397"/>
                  </a:lnTo>
                  <a:lnTo>
                    <a:pt x="125"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74" name="Freeform 279"/>
            <p:cNvSpPr>
              <a:spLocks/>
            </p:cNvSpPr>
            <p:nvPr/>
          </p:nvSpPr>
          <p:spPr bwMode="auto">
            <a:xfrm>
              <a:off x="5878503" y="1936751"/>
              <a:ext cx="93663" cy="117476"/>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75" name="Freeform 280"/>
            <p:cNvSpPr>
              <a:spLocks/>
            </p:cNvSpPr>
            <p:nvPr/>
          </p:nvSpPr>
          <p:spPr bwMode="auto">
            <a:xfrm>
              <a:off x="5816600" y="2049462"/>
              <a:ext cx="217488" cy="428625"/>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grpSp>
      <p:cxnSp>
        <p:nvCxnSpPr>
          <p:cNvPr id="576" name="Straight Connector 575"/>
          <p:cNvCxnSpPr/>
          <p:nvPr/>
        </p:nvCxnSpPr>
        <p:spPr>
          <a:xfrm>
            <a:off x="4695197" y="2984298"/>
            <a:ext cx="0" cy="262330"/>
          </a:xfrm>
          <a:prstGeom prst="line">
            <a:avLst/>
          </a:prstGeom>
          <a:noFill/>
          <a:ln w="9525" cap="flat" cmpd="sng" algn="ctr">
            <a:solidFill>
              <a:srgbClr val="435153"/>
            </a:solidFill>
            <a:prstDash val="solid"/>
          </a:ln>
          <a:effectLst/>
        </p:spPr>
      </p:cxnSp>
      <p:grpSp>
        <p:nvGrpSpPr>
          <p:cNvPr id="64" name="Group 576"/>
          <p:cNvGrpSpPr/>
          <p:nvPr/>
        </p:nvGrpSpPr>
        <p:grpSpPr>
          <a:xfrm>
            <a:off x="1936508" y="3454427"/>
            <a:ext cx="495623" cy="124969"/>
            <a:chOff x="-7735888" y="-3497263"/>
            <a:chExt cx="3568700" cy="895350"/>
          </a:xfrm>
        </p:grpSpPr>
        <p:sp>
          <p:nvSpPr>
            <p:cNvPr id="578" name="Freeform 21"/>
            <p:cNvSpPr>
              <a:spLocks/>
            </p:cNvSpPr>
            <p:nvPr/>
          </p:nvSpPr>
          <p:spPr bwMode="auto">
            <a:xfrm>
              <a:off x="-7681913" y="-3338513"/>
              <a:ext cx="3028950" cy="736600"/>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79" name="Freeform 39"/>
            <p:cNvSpPr>
              <a:spLocks/>
            </p:cNvSpPr>
            <p:nvPr/>
          </p:nvSpPr>
          <p:spPr bwMode="auto">
            <a:xfrm>
              <a:off x="-7735888" y="-3497263"/>
              <a:ext cx="3568700" cy="889000"/>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chemeClr val="accent3">
                <a:lumMod val="75000"/>
              </a:schemeClr>
            </a:solidFill>
            <a:ln>
              <a:noFill/>
            </a:ln>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95" name="Freeform 40"/>
            <p:cNvSpPr>
              <a:spLocks/>
            </p:cNvSpPr>
            <p:nvPr/>
          </p:nvSpPr>
          <p:spPr bwMode="auto">
            <a:xfrm>
              <a:off x="-7735888" y="-3338513"/>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96" name="Freeform 41"/>
            <p:cNvSpPr>
              <a:spLocks/>
            </p:cNvSpPr>
            <p:nvPr/>
          </p:nvSpPr>
          <p:spPr bwMode="auto">
            <a:xfrm>
              <a:off x="-6478588" y="-3275013"/>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00" name="Freeform 42"/>
            <p:cNvSpPr>
              <a:spLocks/>
            </p:cNvSpPr>
            <p:nvPr/>
          </p:nvSpPr>
          <p:spPr bwMode="auto">
            <a:xfrm>
              <a:off x="-59769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1" name="Freeform 43"/>
            <p:cNvSpPr>
              <a:spLocks/>
            </p:cNvSpPr>
            <p:nvPr/>
          </p:nvSpPr>
          <p:spPr bwMode="auto">
            <a:xfrm>
              <a:off x="-60658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2" name="Freeform 44"/>
            <p:cNvSpPr>
              <a:spLocks/>
            </p:cNvSpPr>
            <p:nvPr/>
          </p:nvSpPr>
          <p:spPr bwMode="auto">
            <a:xfrm>
              <a:off x="-6262688" y="-3125788"/>
              <a:ext cx="66675" cy="79375"/>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3" name="Freeform 45"/>
            <p:cNvSpPr>
              <a:spLocks/>
            </p:cNvSpPr>
            <p:nvPr/>
          </p:nvSpPr>
          <p:spPr bwMode="auto">
            <a:xfrm>
              <a:off x="-6348413" y="-312896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4" name="Freeform 46"/>
            <p:cNvSpPr>
              <a:spLocks/>
            </p:cNvSpPr>
            <p:nvPr/>
          </p:nvSpPr>
          <p:spPr bwMode="auto">
            <a:xfrm>
              <a:off x="-6437313" y="-313213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5" name="Freeform 47"/>
            <p:cNvSpPr>
              <a:spLocks/>
            </p:cNvSpPr>
            <p:nvPr/>
          </p:nvSpPr>
          <p:spPr bwMode="auto">
            <a:xfrm>
              <a:off x="-6523038" y="-313531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6" name="Freeform 48"/>
            <p:cNvSpPr>
              <a:spLocks/>
            </p:cNvSpPr>
            <p:nvPr/>
          </p:nvSpPr>
          <p:spPr bwMode="auto">
            <a:xfrm>
              <a:off x="-6611938" y="-313848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7" name="Freeform 49"/>
            <p:cNvSpPr>
              <a:spLocks/>
            </p:cNvSpPr>
            <p:nvPr/>
          </p:nvSpPr>
          <p:spPr bwMode="auto">
            <a:xfrm>
              <a:off x="-6697663" y="-3138488"/>
              <a:ext cx="66675" cy="76200"/>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8" name="Freeform 50"/>
            <p:cNvSpPr>
              <a:spLocks/>
            </p:cNvSpPr>
            <p:nvPr/>
          </p:nvSpPr>
          <p:spPr bwMode="auto">
            <a:xfrm>
              <a:off x="-7694613" y="-3275013"/>
              <a:ext cx="107950" cy="107950"/>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9" name="Freeform 51"/>
            <p:cNvSpPr>
              <a:spLocks/>
            </p:cNvSpPr>
            <p:nvPr/>
          </p:nvSpPr>
          <p:spPr bwMode="auto">
            <a:xfrm>
              <a:off x="-7586663" y="-3148013"/>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0" name="Rectangle 52"/>
            <p:cNvSpPr>
              <a:spLocks noChangeArrowheads="1"/>
            </p:cNvSpPr>
            <p:nvPr/>
          </p:nvSpPr>
          <p:spPr bwMode="auto">
            <a:xfrm>
              <a:off x="-75295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1" name="Rectangle 53"/>
            <p:cNvSpPr>
              <a:spLocks noChangeArrowheads="1"/>
            </p:cNvSpPr>
            <p:nvPr/>
          </p:nvSpPr>
          <p:spPr bwMode="auto">
            <a:xfrm>
              <a:off x="-738346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2" name="Rectangle 54"/>
            <p:cNvSpPr>
              <a:spLocks noChangeArrowheads="1"/>
            </p:cNvSpPr>
            <p:nvPr/>
          </p:nvSpPr>
          <p:spPr bwMode="auto">
            <a:xfrm>
              <a:off x="-724058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2" name="Rectangle 55"/>
            <p:cNvSpPr>
              <a:spLocks noChangeArrowheads="1"/>
            </p:cNvSpPr>
            <p:nvPr/>
          </p:nvSpPr>
          <p:spPr bwMode="auto">
            <a:xfrm>
              <a:off x="-709453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3" name="Rectangle 56"/>
            <p:cNvSpPr>
              <a:spLocks noChangeArrowheads="1"/>
            </p:cNvSpPr>
            <p:nvPr/>
          </p:nvSpPr>
          <p:spPr bwMode="auto">
            <a:xfrm>
              <a:off x="-67040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4" name="Rectangle 57"/>
            <p:cNvSpPr>
              <a:spLocks noChangeArrowheads="1"/>
            </p:cNvSpPr>
            <p:nvPr/>
          </p:nvSpPr>
          <p:spPr bwMode="auto">
            <a:xfrm>
              <a:off x="-6967538" y="-3290888"/>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5" name="Freeform 58"/>
            <p:cNvSpPr>
              <a:spLocks/>
            </p:cNvSpPr>
            <p:nvPr/>
          </p:nvSpPr>
          <p:spPr bwMode="auto">
            <a:xfrm>
              <a:off x="-7735888" y="-2998788"/>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6" name="Freeform 59"/>
            <p:cNvSpPr>
              <a:spLocks/>
            </p:cNvSpPr>
            <p:nvPr/>
          </p:nvSpPr>
          <p:spPr bwMode="auto">
            <a:xfrm>
              <a:off x="-6478588" y="-2935288"/>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47" name="Freeform 60"/>
            <p:cNvSpPr>
              <a:spLocks/>
            </p:cNvSpPr>
            <p:nvPr/>
          </p:nvSpPr>
          <p:spPr bwMode="auto">
            <a:xfrm>
              <a:off x="-59769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8" name="Freeform 61"/>
            <p:cNvSpPr>
              <a:spLocks/>
            </p:cNvSpPr>
            <p:nvPr/>
          </p:nvSpPr>
          <p:spPr bwMode="auto">
            <a:xfrm>
              <a:off x="-60658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9" name="Freeform 62"/>
            <p:cNvSpPr>
              <a:spLocks/>
            </p:cNvSpPr>
            <p:nvPr/>
          </p:nvSpPr>
          <p:spPr bwMode="auto">
            <a:xfrm>
              <a:off x="-6262688" y="-2786063"/>
              <a:ext cx="66675" cy="76200"/>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0" name="Freeform 63"/>
            <p:cNvSpPr>
              <a:spLocks/>
            </p:cNvSpPr>
            <p:nvPr/>
          </p:nvSpPr>
          <p:spPr bwMode="auto">
            <a:xfrm>
              <a:off x="-6348413" y="-278923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1" name="Freeform 64"/>
            <p:cNvSpPr>
              <a:spLocks/>
            </p:cNvSpPr>
            <p:nvPr/>
          </p:nvSpPr>
          <p:spPr bwMode="auto">
            <a:xfrm>
              <a:off x="-6437313" y="-2792413"/>
              <a:ext cx="66675" cy="79375"/>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2" name="Freeform 65"/>
            <p:cNvSpPr>
              <a:spLocks/>
            </p:cNvSpPr>
            <p:nvPr/>
          </p:nvSpPr>
          <p:spPr bwMode="auto">
            <a:xfrm>
              <a:off x="-6523038" y="-279558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3" name="Freeform 66"/>
            <p:cNvSpPr>
              <a:spLocks/>
            </p:cNvSpPr>
            <p:nvPr/>
          </p:nvSpPr>
          <p:spPr bwMode="auto">
            <a:xfrm>
              <a:off x="-6611938" y="-2798763"/>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4" name="Freeform 67"/>
            <p:cNvSpPr>
              <a:spLocks/>
            </p:cNvSpPr>
            <p:nvPr/>
          </p:nvSpPr>
          <p:spPr bwMode="auto">
            <a:xfrm>
              <a:off x="-6697663" y="-2801938"/>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5" name="Freeform 68"/>
            <p:cNvSpPr>
              <a:spLocks/>
            </p:cNvSpPr>
            <p:nvPr/>
          </p:nvSpPr>
          <p:spPr bwMode="auto">
            <a:xfrm>
              <a:off x="-7694613" y="-2935288"/>
              <a:ext cx="107950" cy="107950"/>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6" name="Freeform 69"/>
            <p:cNvSpPr>
              <a:spLocks/>
            </p:cNvSpPr>
            <p:nvPr/>
          </p:nvSpPr>
          <p:spPr bwMode="auto">
            <a:xfrm>
              <a:off x="-7586663" y="-2808288"/>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7" name="Rectangle 70"/>
            <p:cNvSpPr>
              <a:spLocks noChangeArrowheads="1"/>
            </p:cNvSpPr>
            <p:nvPr/>
          </p:nvSpPr>
          <p:spPr bwMode="auto">
            <a:xfrm>
              <a:off x="-75295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8" name="Rectangle 71"/>
            <p:cNvSpPr>
              <a:spLocks noChangeArrowheads="1"/>
            </p:cNvSpPr>
            <p:nvPr/>
          </p:nvSpPr>
          <p:spPr bwMode="auto">
            <a:xfrm>
              <a:off x="-738346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9" name="Rectangle 72"/>
            <p:cNvSpPr>
              <a:spLocks noChangeArrowheads="1"/>
            </p:cNvSpPr>
            <p:nvPr/>
          </p:nvSpPr>
          <p:spPr bwMode="auto">
            <a:xfrm>
              <a:off x="-724058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0" name="Rectangle 73"/>
            <p:cNvSpPr>
              <a:spLocks noChangeArrowheads="1"/>
            </p:cNvSpPr>
            <p:nvPr/>
          </p:nvSpPr>
          <p:spPr bwMode="auto">
            <a:xfrm>
              <a:off x="-709453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1" name="Rectangle 74"/>
            <p:cNvSpPr>
              <a:spLocks noChangeArrowheads="1"/>
            </p:cNvSpPr>
            <p:nvPr/>
          </p:nvSpPr>
          <p:spPr bwMode="auto">
            <a:xfrm>
              <a:off x="-67040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2" name="Rectangle 75"/>
            <p:cNvSpPr>
              <a:spLocks noChangeArrowheads="1"/>
            </p:cNvSpPr>
            <p:nvPr/>
          </p:nvSpPr>
          <p:spPr bwMode="auto">
            <a:xfrm>
              <a:off x="-6967538" y="-2951163"/>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grpSp>
      <p:sp>
        <p:nvSpPr>
          <p:cNvPr id="663" name="Rounded Rectangle 191"/>
          <p:cNvSpPr/>
          <p:nvPr/>
        </p:nvSpPr>
        <p:spPr>
          <a:xfrm>
            <a:off x="2062176" y="3335221"/>
            <a:ext cx="244679"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WCCP</a:t>
            </a:r>
          </a:p>
        </p:txBody>
      </p:sp>
      <p:grpSp>
        <p:nvGrpSpPr>
          <p:cNvPr id="65" name="Group 663"/>
          <p:cNvGrpSpPr/>
          <p:nvPr/>
        </p:nvGrpSpPr>
        <p:grpSpPr>
          <a:xfrm>
            <a:off x="1721847" y="3101536"/>
            <a:ext cx="542397" cy="136797"/>
            <a:chOff x="1377853" y="3377132"/>
            <a:chExt cx="567188" cy="143050"/>
          </a:xfrm>
        </p:grpSpPr>
        <p:sp>
          <p:nvSpPr>
            <p:cNvPr id="665" name="Freeform 21"/>
            <p:cNvSpPr>
              <a:spLocks/>
            </p:cNvSpPr>
            <p:nvPr/>
          </p:nvSpPr>
          <p:spPr bwMode="auto">
            <a:xfrm>
              <a:off x="1386433" y="3402495"/>
              <a:ext cx="481403" cy="117687"/>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6" name="Freeform 39"/>
            <p:cNvSpPr>
              <a:spLocks/>
            </p:cNvSpPr>
            <p:nvPr/>
          </p:nvSpPr>
          <p:spPr bwMode="auto">
            <a:xfrm>
              <a:off x="1377853" y="3377132"/>
              <a:ext cx="567188" cy="142036"/>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7" name="Freeform 40"/>
            <p:cNvSpPr>
              <a:spLocks/>
            </p:cNvSpPr>
            <p:nvPr/>
          </p:nvSpPr>
          <p:spPr bwMode="auto">
            <a:xfrm>
              <a:off x="1377854" y="3402496"/>
              <a:ext cx="489477" cy="54785"/>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8" name="Freeform 41"/>
            <p:cNvSpPr>
              <a:spLocks/>
            </p:cNvSpPr>
            <p:nvPr/>
          </p:nvSpPr>
          <p:spPr bwMode="auto">
            <a:xfrm>
              <a:off x="1577682" y="3412640"/>
              <a:ext cx="264923" cy="39567"/>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9" name="Freeform 42"/>
            <p:cNvSpPr>
              <a:spLocks/>
            </p:cNvSpPr>
            <p:nvPr/>
          </p:nvSpPr>
          <p:spPr bwMode="auto">
            <a:xfrm>
              <a:off x="1657410" y="3437497"/>
              <a:ext cx="10092" cy="12175"/>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0" name="Freeform 43"/>
            <p:cNvSpPr>
              <a:spLocks/>
            </p:cNvSpPr>
            <p:nvPr/>
          </p:nvSpPr>
          <p:spPr bwMode="auto">
            <a:xfrm>
              <a:off x="1643281" y="3437497"/>
              <a:ext cx="10092" cy="12175"/>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1" name="Freeform 44"/>
            <p:cNvSpPr>
              <a:spLocks/>
            </p:cNvSpPr>
            <p:nvPr/>
          </p:nvSpPr>
          <p:spPr bwMode="auto">
            <a:xfrm>
              <a:off x="1611996" y="3436482"/>
              <a:ext cx="10597" cy="12682"/>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2" name="Freeform 45"/>
            <p:cNvSpPr>
              <a:spLocks/>
            </p:cNvSpPr>
            <p:nvPr/>
          </p:nvSpPr>
          <p:spPr bwMode="auto">
            <a:xfrm>
              <a:off x="1598370" y="3435975"/>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3" name="Freeform 46"/>
            <p:cNvSpPr>
              <a:spLocks/>
            </p:cNvSpPr>
            <p:nvPr/>
          </p:nvSpPr>
          <p:spPr bwMode="auto">
            <a:xfrm>
              <a:off x="1584241" y="3435468"/>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4" name="Freeform 47"/>
            <p:cNvSpPr>
              <a:spLocks/>
            </p:cNvSpPr>
            <p:nvPr/>
          </p:nvSpPr>
          <p:spPr bwMode="auto">
            <a:xfrm>
              <a:off x="1570617" y="3434961"/>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5" name="Freeform 48"/>
            <p:cNvSpPr>
              <a:spLocks/>
            </p:cNvSpPr>
            <p:nvPr/>
          </p:nvSpPr>
          <p:spPr bwMode="auto">
            <a:xfrm>
              <a:off x="1556487" y="3434454"/>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6" name="Freeform 49"/>
            <p:cNvSpPr>
              <a:spLocks/>
            </p:cNvSpPr>
            <p:nvPr/>
          </p:nvSpPr>
          <p:spPr bwMode="auto">
            <a:xfrm>
              <a:off x="1542863" y="3434454"/>
              <a:ext cx="10597" cy="12175"/>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7" name="Freeform 50"/>
            <p:cNvSpPr>
              <a:spLocks/>
            </p:cNvSpPr>
            <p:nvPr/>
          </p:nvSpPr>
          <p:spPr bwMode="auto">
            <a:xfrm>
              <a:off x="1384414" y="3412640"/>
              <a:ext cx="17157" cy="17247"/>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8" name="Freeform 51"/>
            <p:cNvSpPr>
              <a:spLocks/>
            </p:cNvSpPr>
            <p:nvPr/>
          </p:nvSpPr>
          <p:spPr bwMode="auto">
            <a:xfrm>
              <a:off x="1401571" y="3432932"/>
              <a:ext cx="122117" cy="12175"/>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9" name="Rectangle 52"/>
            <p:cNvSpPr>
              <a:spLocks noChangeArrowheads="1"/>
            </p:cNvSpPr>
            <p:nvPr/>
          </p:nvSpPr>
          <p:spPr bwMode="auto">
            <a:xfrm>
              <a:off x="141065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0" name="Rectangle 53"/>
            <p:cNvSpPr>
              <a:spLocks noChangeArrowheads="1"/>
            </p:cNvSpPr>
            <p:nvPr/>
          </p:nvSpPr>
          <p:spPr bwMode="auto">
            <a:xfrm>
              <a:off x="1433866"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1" name="Rectangle 54"/>
            <p:cNvSpPr>
              <a:spLocks noChangeArrowheads="1"/>
            </p:cNvSpPr>
            <p:nvPr/>
          </p:nvSpPr>
          <p:spPr bwMode="auto">
            <a:xfrm>
              <a:off x="145657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2" name="Rectangle 55"/>
            <p:cNvSpPr>
              <a:spLocks noChangeArrowheads="1"/>
            </p:cNvSpPr>
            <p:nvPr/>
          </p:nvSpPr>
          <p:spPr bwMode="auto">
            <a:xfrm>
              <a:off x="1479786"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3" name="Rectangle 56"/>
            <p:cNvSpPr>
              <a:spLocks noChangeArrowheads="1"/>
            </p:cNvSpPr>
            <p:nvPr/>
          </p:nvSpPr>
          <p:spPr bwMode="auto">
            <a:xfrm>
              <a:off x="154185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4" name="Rectangle 57"/>
            <p:cNvSpPr>
              <a:spLocks noChangeArrowheads="1"/>
            </p:cNvSpPr>
            <p:nvPr/>
          </p:nvSpPr>
          <p:spPr bwMode="auto">
            <a:xfrm>
              <a:off x="1499971" y="3410105"/>
              <a:ext cx="21698" cy="21813"/>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5" name="Freeform 58"/>
            <p:cNvSpPr>
              <a:spLocks/>
            </p:cNvSpPr>
            <p:nvPr/>
          </p:nvSpPr>
          <p:spPr bwMode="auto">
            <a:xfrm>
              <a:off x="1377854" y="3456774"/>
              <a:ext cx="489477" cy="54785"/>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6" name="Freeform 59"/>
            <p:cNvSpPr>
              <a:spLocks/>
            </p:cNvSpPr>
            <p:nvPr/>
          </p:nvSpPr>
          <p:spPr bwMode="auto">
            <a:xfrm>
              <a:off x="1577682" y="3466919"/>
              <a:ext cx="264923" cy="39567"/>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7" name="Freeform 60"/>
            <p:cNvSpPr>
              <a:spLocks/>
            </p:cNvSpPr>
            <p:nvPr/>
          </p:nvSpPr>
          <p:spPr bwMode="auto">
            <a:xfrm>
              <a:off x="1657410" y="3491775"/>
              <a:ext cx="10092" cy="12175"/>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8" name="Freeform 61"/>
            <p:cNvSpPr>
              <a:spLocks/>
            </p:cNvSpPr>
            <p:nvPr/>
          </p:nvSpPr>
          <p:spPr bwMode="auto">
            <a:xfrm>
              <a:off x="1643281" y="3491775"/>
              <a:ext cx="10092" cy="12175"/>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9" name="Freeform 62"/>
            <p:cNvSpPr>
              <a:spLocks/>
            </p:cNvSpPr>
            <p:nvPr/>
          </p:nvSpPr>
          <p:spPr bwMode="auto">
            <a:xfrm>
              <a:off x="1611996" y="3490761"/>
              <a:ext cx="10597" cy="12175"/>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0" name="Freeform 63"/>
            <p:cNvSpPr>
              <a:spLocks/>
            </p:cNvSpPr>
            <p:nvPr/>
          </p:nvSpPr>
          <p:spPr bwMode="auto">
            <a:xfrm>
              <a:off x="1598370" y="3490254"/>
              <a:ext cx="10597" cy="12682"/>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1" name="Freeform 64"/>
            <p:cNvSpPr>
              <a:spLocks/>
            </p:cNvSpPr>
            <p:nvPr/>
          </p:nvSpPr>
          <p:spPr bwMode="auto">
            <a:xfrm>
              <a:off x="1584241" y="3489746"/>
              <a:ext cx="10597" cy="12682"/>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2" name="Freeform 65"/>
            <p:cNvSpPr>
              <a:spLocks/>
            </p:cNvSpPr>
            <p:nvPr/>
          </p:nvSpPr>
          <p:spPr bwMode="auto">
            <a:xfrm>
              <a:off x="1570617" y="3489239"/>
              <a:ext cx="10597" cy="12682"/>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3" name="Freeform 66"/>
            <p:cNvSpPr>
              <a:spLocks/>
            </p:cNvSpPr>
            <p:nvPr/>
          </p:nvSpPr>
          <p:spPr bwMode="auto">
            <a:xfrm>
              <a:off x="1556487" y="3488732"/>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4" name="Freeform 67"/>
            <p:cNvSpPr>
              <a:spLocks/>
            </p:cNvSpPr>
            <p:nvPr/>
          </p:nvSpPr>
          <p:spPr bwMode="auto">
            <a:xfrm>
              <a:off x="1542863" y="3488224"/>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5" name="Freeform 68"/>
            <p:cNvSpPr>
              <a:spLocks/>
            </p:cNvSpPr>
            <p:nvPr/>
          </p:nvSpPr>
          <p:spPr bwMode="auto">
            <a:xfrm>
              <a:off x="1384414" y="3466919"/>
              <a:ext cx="17157" cy="17247"/>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6" name="Freeform 69"/>
            <p:cNvSpPr>
              <a:spLocks/>
            </p:cNvSpPr>
            <p:nvPr/>
          </p:nvSpPr>
          <p:spPr bwMode="auto">
            <a:xfrm>
              <a:off x="1401571" y="3487209"/>
              <a:ext cx="122117" cy="12175"/>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7" name="Rectangle 70"/>
            <p:cNvSpPr>
              <a:spLocks noChangeArrowheads="1"/>
            </p:cNvSpPr>
            <p:nvPr/>
          </p:nvSpPr>
          <p:spPr bwMode="auto">
            <a:xfrm>
              <a:off x="141065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8" name="Rectangle 71"/>
            <p:cNvSpPr>
              <a:spLocks noChangeArrowheads="1"/>
            </p:cNvSpPr>
            <p:nvPr/>
          </p:nvSpPr>
          <p:spPr bwMode="auto">
            <a:xfrm>
              <a:off x="1433866"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9" name="Rectangle 72"/>
            <p:cNvSpPr>
              <a:spLocks noChangeArrowheads="1"/>
            </p:cNvSpPr>
            <p:nvPr/>
          </p:nvSpPr>
          <p:spPr bwMode="auto">
            <a:xfrm>
              <a:off x="145657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0" name="Rectangle 73"/>
            <p:cNvSpPr>
              <a:spLocks noChangeArrowheads="1"/>
            </p:cNvSpPr>
            <p:nvPr/>
          </p:nvSpPr>
          <p:spPr bwMode="auto">
            <a:xfrm>
              <a:off x="1479786"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1" name="Rectangle 74"/>
            <p:cNvSpPr>
              <a:spLocks noChangeArrowheads="1"/>
            </p:cNvSpPr>
            <p:nvPr/>
          </p:nvSpPr>
          <p:spPr bwMode="auto">
            <a:xfrm>
              <a:off x="154185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2" name="Rectangle 75"/>
            <p:cNvSpPr>
              <a:spLocks noChangeArrowheads="1"/>
            </p:cNvSpPr>
            <p:nvPr/>
          </p:nvSpPr>
          <p:spPr bwMode="auto">
            <a:xfrm>
              <a:off x="1499971" y="3464382"/>
              <a:ext cx="21698" cy="21813"/>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03" name="Rounded Rectangle 191"/>
          <p:cNvSpPr/>
          <p:nvPr/>
        </p:nvSpPr>
        <p:spPr>
          <a:xfrm>
            <a:off x="1937792" y="2972594"/>
            <a:ext cx="166265"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ASA</a:t>
            </a:r>
          </a:p>
        </p:txBody>
      </p:sp>
      <p:grpSp>
        <p:nvGrpSpPr>
          <p:cNvPr id="66" name="Group 703"/>
          <p:cNvGrpSpPr/>
          <p:nvPr/>
        </p:nvGrpSpPr>
        <p:grpSpPr>
          <a:xfrm>
            <a:off x="2753327" y="3463323"/>
            <a:ext cx="422528" cy="110719"/>
            <a:chOff x="-12771438" y="-1804988"/>
            <a:chExt cx="4140200" cy="1079501"/>
          </a:xfrm>
        </p:grpSpPr>
        <p:sp>
          <p:nvSpPr>
            <p:cNvPr id="705" name="Freeform 22"/>
            <p:cNvSpPr>
              <a:spLocks/>
            </p:cNvSpPr>
            <p:nvPr/>
          </p:nvSpPr>
          <p:spPr bwMode="auto">
            <a:xfrm>
              <a:off x="-12555538" y="-1804988"/>
              <a:ext cx="3924300" cy="908050"/>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06" name="Freeform 23"/>
            <p:cNvSpPr>
              <a:spLocks/>
            </p:cNvSpPr>
            <p:nvPr/>
          </p:nvSpPr>
          <p:spPr bwMode="auto">
            <a:xfrm>
              <a:off x="-12771438" y="-1566862"/>
              <a:ext cx="3886200" cy="841375"/>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07" name="Freeform 24"/>
            <p:cNvSpPr>
              <a:spLocks/>
            </p:cNvSpPr>
            <p:nvPr/>
          </p:nvSpPr>
          <p:spPr bwMode="auto">
            <a:xfrm>
              <a:off x="-12515533" y="-1476057"/>
              <a:ext cx="3305175" cy="685800"/>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8" name="Freeform 25"/>
            <p:cNvSpPr>
              <a:spLocks/>
            </p:cNvSpPr>
            <p:nvPr/>
          </p:nvSpPr>
          <p:spPr bwMode="auto">
            <a:xfrm>
              <a:off x="-12515533" y="-1476057"/>
              <a:ext cx="3305175" cy="266700"/>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9" name="Freeform 26"/>
            <p:cNvSpPr>
              <a:spLocks/>
            </p:cNvSpPr>
            <p:nvPr/>
          </p:nvSpPr>
          <p:spPr bwMode="auto">
            <a:xfrm>
              <a:off x="-12742863" y="-1268412"/>
              <a:ext cx="149225" cy="368300"/>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0" name="Freeform 27"/>
            <p:cNvSpPr>
              <a:spLocks/>
            </p:cNvSpPr>
            <p:nvPr/>
          </p:nvSpPr>
          <p:spPr bwMode="auto">
            <a:xfrm>
              <a:off x="-9125903" y="-1119187"/>
              <a:ext cx="168275" cy="365125"/>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1" name="Freeform 28"/>
            <p:cNvSpPr>
              <a:spLocks/>
            </p:cNvSpPr>
            <p:nvPr/>
          </p:nvSpPr>
          <p:spPr bwMode="auto">
            <a:xfrm>
              <a:off x="-9043353" y="-881062"/>
              <a:ext cx="85725" cy="82550"/>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2" name="Freeform 29"/>
            <p:cNvSpPr>
              <a:spLocks/>
            </p:cNvSpPr>
            <p:nvPr/>
          </p:nvSpPr>
          <p:spPr bwMode="auto">
            <a:xfrm>
              <a:off x="-12742863" y="-1033462"/>
              <a:ext cx="82550" cy="82550"/>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13" name="Rounded Rectangle 191"/>
          <p:cNvSpPr/>
          <p:nvPr/>
        </p:nvSpPr>
        <p:spPr>
          <a:xfrm>
            <a:off x="2736524" y="3335221"/>
            <a:ext cx="514006"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Load Balancer</a:t>
            </a:r>
          </a:p>
        </p:txBody>
      </p:sp>
      <p:grpSp>
        <p:nvGrpSpPr>
          <p:cNvPr id="67" name="Group 713"/>
          <p:cNvGrpSpPr/>
          <p:nvPr/>
        </p:nvGrpSpPr>
        <p:grpSpPr>
          <a:xfrm>
            <a:off x="2547189" y="3107395"/>
            <a:ext cx="462403" cy="121200"/>
            <a:chOff x="2129791" y="3385289"/>
            <a:chExt cx="483538" cy="126740"/>
          </a:xfrm>
        </p:grpSpPr>
        <p:sp>
          <p:nvSpPr>
            <p:cNvPr id="715" name="Freeform 22"/>
            <p:cNvSpPr>
              <a:spLocks/>
            </p:cNvSpPr>
            <p:nvPr/>
          </p:nvSpPr>
          <p:spPr bwMode="auto">
            <a:xfrm>
              <a:off x="2155006" y="3385289"/>
              <a:ext cx="458323" cy="106611"/>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rgbClr val="435153">
                    <a:lumMod val="50000"/>
                  </a:srgbClr>
                </a:gs>
                <a:gs pos="31000">
                  <a:srgbClr val="435153">
                    <a:lumMod val="75000"/>
                  </a:srgb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6" name="Freeform 23"/>
            <p:cNvSpPr>
              <a:spLocks/>
            </p:cNvSpPr>
            <p:nvPr/>
          </p:nvSpPr>
          <p:spPr bwMode="auto">
            <a:xfrm>
              <a:off x="2129791" y="3413246"/>
              <a:ext cx="453873" cy="98783"/>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7" name="Freeform 24"/>
            <p:cNvSpPr>
              <a:spLocks/>
            </p:cNvSpPr>
            <p:nvPr/>
          </p:nvSpPr>
          <p:spPr bwMode="auto">
            <a:xfrm>
              <a:off x="2159678" y="3423907"/>
              <a:ext cx="386015" cy="80517"/>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8" name="Freeform 25"/>
            <p:cNvSpPr>
              <a:spLocks/>
            </p:cNvSpPr>
            <p:nvPr/>
          </p:nvSpPr>
          <p:spPr bwMode="auto">
            <a:xfrm>
              <a:off x="2159678" y="3423907"/>
              <a:ext cx="386015" cy="31313"/>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rgbClr val="435153">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9" name="Freeform 26"/>
            <p:cNvSpPr>
              <a:spLocks/>
            </p:cNvSpPr>
            <p:nvPr/>
          </p:nvSpPr>
          <p:spPr bwMode="auto">
            <a:xfrm>
              <a:off x="2133129" y="3448286"/>
              <a:ext cx="17428" cy="43241"/>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0" name="Freeform 27"/>
            <p:cNvSpPr>
              <a:spLocks/>
            </p:cNvSpPr>
            <p:nvPr/>
          </p:nvSpPr>
          <p:spPr bwMode="auto">
            <a:xfrm>
              <a:off x="2555556" y="3465807"/>
              <a:ext cx="19653" cy="42868"/>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1" name="Freeform 28"/>
            <p:cNvSpPr>
              <a:spLocks/>
            </p:cNvSpPr>
            <p:nvPr/>
          </p:nvSpPr>
          <p:spPr bwMode="auto">
            <a:xfrm>
              <a:off x="2565198" y="3493764"/>
              <a:ext cx="10012" cy="9692"/>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2" name="Freeform 29"/>
            <p:cNvSpPr>
              <a:spLocks/>
            </p:cNvSpPr>
            <p:nvPr/>
          </p:nvSpPr>
          <p:spPr bwMode="auto">
            <a:xfrm>
              <a:off x="2133129" y="3475871"/>
              <a:ext cx="9641" cy="9692"/>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23" name="Rounded Rectangle 191"/>
          <p:cNvSpPr/>
          <p:nvPr/>
        </p:nvSpPr>
        <p:spPr>
          <a:xfrm>
            <a:off x="2669217" y="2972594"/>
            <a:ext cx="285124"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WSA</a:t>
            </a:r>
          </a:p>
        </p:txBody>
      </p:sp>
      <p:grpSp>
        <p:nvGrpSpPr>
          <p:cNvPr id="69" name="Group 724"/>
          <p:cNvGrpSpPr/>
          <p:nvPr/>
        </p:nvGrpSpPr>
        <p:grpSpPr>
          <a:xfrm>
            <a:off x="4078782" y="3456644"/>
            <a:ext cx="414737" cy="146293"/>
            <a:chOff x="8929533" y="-3143770"/>
            <a:chExt cx="4737107" cy="1662632"/>
          </a:xfrm>
        </p:grpSpPr>
        <p:grpSp>
          <p:nvGrpSpPr>
            <p:cNvPr id="72" name="Group 736"/>
            <p:cNvGrpSpPr/>
            <p:nvPr/>
          </p:nvGrpSpPr>
          <p:grpSpPr>
            <a:xfrm>
              <a:off x="8929533" y="-3143770"/>
              <a:ext cx="4737107" cy="1662632"/>
              <a:chOff x="8929533" y="-3143770"/>
              <a:chExt cx="4737107" cy="1662632"/>
            </a:xfrm>
          </p:grpSpPr>
          <p:sp>
            <p:nvSpPr>
              <p:cNvPr id="740" name="Freeform 30"/>
              <p:cNvSpPr>
                <a:spLocks/>
              </p:cNvSpPr>
              <p:nvPr/>
            </p:nvSpPr>
            <p:spPr bwMode="auto">
              <a:xfrm>
                <a:off x="9558190" y="-2163763"/>
                <a:ext cx="831850" cy="552450"/>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1" name="Freeform 31"/>
              <p:cNvSpPr>
                <a:spLocks/>
              </p:cNvSpPr>
              <p:nvPr/>
            </p:nvSpPr>
            <p:spPr bwMode="auto">
              <a:xfrm>
                <a:off x="11469540" y="-2074863"/>
                <a:ext cx="831850" cy="552450"/>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2" name="Freeform 32"/>
              <p:cNvSpPr>
                <a:spLocks/>
              </p:cNvSpPr>
              <p:nvPr/>
            </p:nvSpPr>
            <p:spPr bwMode="auto">
              <a:xfrm>
                <a:off x="8929540" y="-2817813"/>
                <a:ext cx="4152900" cy="317500"/>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3" name="Freeform 33"/>
              <p:cNvSpPr>
                <a:spLocks/>
              </p:cNvSpPr>
              <p:nvPr/>
            </p:nvSpPr>
            <p:spPr bwMode="auto">
              <a:xfrm>
                <a:off x="8929533" y="-2557465"/>
                <a:ext cx="4152894" cy="1076327"/>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4" name="Freeform 34"/>
              <p:cNvSpPr>
                <a:spLocks/>
              </p:cNvSpPr>
              <p:nvPr/>
            </p:nvSpPr>
            <p:spPr bwMode="auto">
              <a:xfrm>
                <a:off x="13082440" y="-3073402"/>
                <a:ext cx="584200" cy="1573213"/>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5" name="Freeform 35"/>
              <p:cNvSpPr>
                <a:spLocks/>
              </p:cNvSpPr>
              <p:nvPr/>
            </p:nvSpPr>
            <p:spPr bwMode="auto">
              <a:xfrm>
                <a:off x="8929540" y="-3143770"/>
                <a:ext cx="4737100" cy="364057"/>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676767">
                  <a:lumMod val="50000"/>
                </a:srgbClr>
              </a:solidFill>
              <a:ln>
                <a:noFill/>
              </a:ln>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grpSp>
        <p:sp>
          <p:nvSpPr>
            <p:cNvPr id="738" name="Rectangle 737"/>
            <p:cNvSpPr/>
            <p:nvPr/>
          </p:nvSpPr>
          <p:spPr>
            <a:xfrm>
              <a:off x="9794081" y="-1887538"/>
              <a:ext cx="370510" cy="171862"/>
            </a:xfrm>
            <a:prstGeom prst="rect">
              <a:avLst/>
            </a:prstGeom>
            <a:solidFill>
              <a:srgbClr val="232429"/>
            </a:solidFill>
            <a:ln w="25400" cap="flat" cmpd="sng" algn="ctr">
              <a:noFill/>
              <a:prstDash val="solid"/>
            </a:ln>
            <a:effectLst/>
          </p:spPr>
          <p:txBody>
            <a:bodyPr rtlCol="0" anchor="ctr"/>
            <a:lstStyle/>
            <a:p>
              <a:pPr algn="ctr" defTabSz="913661">
                <a:defRPr/>
              </a:pPr>
              <a:endParaRPr lang="en-US" sz="1400" kern="0">
                <a:solidFill>
                  <a:prstClr val="white"/>
                </a:solidFill>
                <a:latin typeface="+mj-lt"/>
                <a:ea typeface="+mn-ea"/>
                <a:cs typeface="+mn-cs"/>
              </a:endParaRPr>
            </a:p>
          </p:txBody>
        </p:sp>
        <p:sp>
          <p:nvSpPr>
            <p:cNvPr id="739" name="Rectangle 738"/>
            <p:cNvSpPr/>
            <p:nvPr/>
          </p:nvSpPr>
          <p:spPr>
            <a:xfrm>
              <a:off x="11719942" y="-1801607"/>
              <a:ext cx="370510" cy="171862"/>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726" name="Rounded Rectangle 191"/>
          <p:cNvSpPr/>
          <p:nvPr/>
        </p:nvSpPr>
        <p:spPr>
          <a:xfrm>
            <a:off x="4154980" y="3335221"/>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PBR</a:t>
            </a:r>
          </a:p>
        </p:txBody>
      </p:sp>
      <p:grpSp>
        <p:nvGrpSpPr>
          <p:cNvPr id="77" name="Group 726"/>
          <p:cNvGrpSpPr/>
          <p:nvPr/>
        </p:nvGrpSpPr>
        <p:grpSpPr>
          <a:xfrm>
            <a:off x="4011460" y="3093620"/>
            <a:ext cx="453878" cy="160140"/>
            <a:chOff x="3553591" y="3364929"/>
            <a:chExt cx="474623" cy="167460"/>
          </a:xfrm>
        </p:grpSpPr>
        <p:sp>
          <p:nvSpPr>
            <p:cNvPr id="729"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0"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1"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2"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3"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4"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5" name="Rectangle 734"/>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736" name="Rectangle 735"/>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728" name="Rounded Rectangle 191"/>
          <p:cNvSpPr/>
          <p:nvPr/>
        </p:nvSpPr>
        <p:spPr>
          <a:xfrm>
            <a:off x="3972824" y="2972594"/>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ISR </a:t>
            </a:r>
            <a:r>
              <a:rPr lang="en-US" sz="600" kern="0" dirty="0" smtClean="0">
                <a:latin typeface="+mj-lt"/>
              </a:rPr>
              <a:t>G2</a:t>
            </a:r>
            <a:endParaRPr lang="en-US" sz="600" kern="0" dirty="0">
              <a:latin typeface="+mj-lt"/>
            </a:endParaRPr>
          </a:p>
        </p:txBody>
      </p:sp>
      <p:grpSp>
        <p:nvGrpSpPr>
          <p:cNvPr id="78" name="Group 746"/>
          <p:cNvGrpSpPr/>
          <p:nvPr/>
        </p:nvGrpSpPr>
        <p:grpSpPr>
          <a:xfrm>
            <a:off x="4793779" y="2958146"/>
            <a:ext cx="437216" cy="301701"/>
            <a:chOff x="4913891" y="3155554"/>
            <a:chExt cx="457200" cy="315491"/>
          </a:xfrm>
        </p:grpSpPr>
        <p:grpSp>
          <p:nvGrpSpPr>
            <p:cNvPr id="80" name="Group 747"/>
            <p:cNvGrpSpPr/>
            <p:nvPr/>
          </p:nvGrpSpPr>
          <p:grpSpPr>
            <a:xfrm>
              <a:off x="5020557" y="3263552"/>
              <a:ext cx="243869" cy="207493"/>
              <a:chOff x="4372034" y="3328885"/>
              <a:chExt cx="281541" cy="239546"/>
            </a:xfrm>
          </p:grpSpPr>
          <p:sp>
            <p:nvSpPr>
              <p:cNvPr id="756" name="Freeform 38"/>
              <p:cNvSpPr>
                <a:spLocks/>
              </p:cNvSpPr>
              <p:nvPr/>
            </p:nvSpPr>
            <p:spPr bwMode="auto">
              <a:xfrm>
                <a:off x="4453260" y="3406329"/>
                <a:ext cx="123541" cy="124192"/>
              </a:xfrm>
              <a:custGeom>
                <a:avLst/>
                <a:gdLst>
                  <a:gd name="T0" fmla="*/ 1626 w 1628"/>
                  <a:gd name="T1" fmla="*/ 856 h 1628"/>
                  <a:gd name="T2" fmla="*/ 1612 w 1628"/>
                  <a:gd name="T3" fmla="*/ 978 h 1628"/>
                  <a:gd name="T4" fmla="*/ 1578 w 1628"/>
                  <a:gd name="T5" fmla="*/ 1094 h 1628"/>
                  <a:gd name="T6" fmla="*/ 1530 w 1628"/>
                  <a:gd name="T7" fmla="*/ 1202 h 1628"/>
                  <a:gd name="T8" fmla="*/ 1466 w 1628"/>
                  <a:gd name="T9" fmla="*/ 1302 h 1628"/>
                  <a:gd name="T10" fmla="*/ 1390 w 1628"/>
                  <a:gd name="T11" fmla="*/ 1390 h 1628"/>
                  <a:gd name="T12" fmla="*/ 1302 w 1628"/>
                  <a:gd name="T13" fmla="*/ 1466 h 1628"/>
                  <a:gd name="T14" fmla="*/ 1202 w 1628"/>
                  <a:gd name="T15" fmla="*/ 1530 h 1628"/>
                  <a:gd name="T16" fmla="*/ 1094 w 1628"/>
                  <a:gd name="T17" fmla="*/ 1578 h 1628"/>
                  <a:gd name="T18" fmla="*/ 978 w 1628"/>
                  <a:gd name="T19" fmla="*/ 1612 h 1628"/>
                  <a:gd name="T20" fmla="*/ 856 w 1628"/>
                  <a:gd name="T21" fmla="*/ 1626 h 1628"/>
                  <a:gd name="T22" fmla="*/ 772 w 1628"/>
                  <a:gd name="T23" fmla="*/ 1626 h 1628"/>
                  <a:gd name="T24" fmla="*/ 650 w 1628"/>
                  <a:gd name="T25" fmla="*/ 1612 h 1628"/>
                  <a:gd name="T26" fmla="*/ 534 w 1628"/>
                  <a:gd name="T27" fmla="*/ 1578 h 1628"/>
                  <a:gd name="T28" fmla="*/ 426 w 1628"/>
                  <a:gd name="T29" fmla="*/ 1530 h 1628"/>
                  <a:gd name="T30" fmla="*/ 326 w 1628"/>
                  <a:gd name="T31" fmla="*/ 1466 h 1628"/>
                  <a:gd name="T32" fmla="*/ 238 w 1628"/>
                  <a:gd name="T33" fmla="*/ 1390 h 1628"/>
                  <a:gd name="T34" fmla="*/ 162 w 1628"/>
                  <a:gd name="T35" fmla="*/ 1302 h 1628"/>
                  <a:gd name="T36" fmla="*/ 98 w 1628"/>
                  <a:gd name="T37" fmla="*/ 1202 h 1628"/>
                  <a:gd name="T38" fmla="*/ 50 w 1628"/>
                  <a:gd name="T39" fmla="*/ 1094 h 1628"/>
                  <a:gd name="T40" fmla="*/ 16 w 1628"/>
                  <a:gd name="T41" fmla="*/ 978 h 1628"/>
                  <a:gd name="T42" fmla="*/ 2 w 1628"/>
                  <a:gd name="T43" fmla="*/ 856 h 1628"/>
                  <a:gd name="T44" fmla="*/ 2 w 1628"/>
                  <a:gd name="T45" fmla="*/ 772 h 1628"/>
                  <a:gd name="T46" fmla="*/ 16 w 1628"/>
                  <a:gd name="T47" fmla="*/ 650 h 1628"/>
                  <a:gd name="T48" fmla="*/ 50 w 1628"/>
                  <a:gd name="T49" fmla="*/ 534 h 1628"/>
                  <a:gd name="T50" fmla="*/ 98 w 1628"/>
                  <a:gd name="T51" fmla="*/ 426 h 1628"/>
                  <a:gd name="T52" fmla="*/ 162 w 1628"/>
                  <a:gd name="T53" fmla="*/ 326 h 1628"/>
                  <a:gd name="T54" fmla="*/ 238 w 1628"/>
                  <a:gd name="T55" fmla="*/ 238 h 1628"/>
                  <a:gd name="T56" fmla="*/ 326 w 1628"/>
                  <a:gd name="T57" fmla="*/ 162 h 1628"/>
                  <a:gd name="T58" fmla="*/ 426 w 1628"/>
                  <a:gd name="T59" fmla="*/ 98 h 1628"/>
                  <a:gd name="T60" fmla="*/ 534 w 1628"/>
                  <a:gd name="T61" fmla="*/ 50 h 1628"/>
                  <a:gd name="T62" fmla="*/ 650 w 1628"/>
                  <a:gd name="T63" fmla="*/ 16 h 1628"/>
                  <a:gd name="T64" fmla="*/ 772 w 1628"/>
                  <a:gd name="T65" fmla="*/ 2 h 1628"/>
                  <a:gd name="T66" fmla="*/ 856 w 1628"/>
                  <a:gd name="T67" fmla="*/ 2 h 1628"/>
                  <a:gd name="T68" fmla="*/ 978 w 1628"/>
                  <a:gd name="T69" fmla="*/ 16 h 1628"/>
                  <a:gd name="T70" fmla="*/ 1094 w 1628"/>
                  <a:gd name="T71" fmla="*/ 50 h 1628"/>
                  <a:gd name="T72" fmla="*/ 1202 w 1628"/>
                  <a:gd name="T73" fmla="*/ 98 h 1628"/>
                  <a:gd name="T74" fmla="*/ 1302 w 1628"/>
                  <a:gd name="T75" fmla="*/ 162 h 1628"/>
                  <a:gd name="T76" fmla="*/ 1390 w 1628"/>
                  <a:gd name="T77" fmla="*/ 238 h 1628"/>
                  <a:gd name="T78" fmla="*/ 1466 w 1628"/>
                  <a:gd name="T79" fmla="*/ 326 h 1628"/>
                  <a:gd name="T80" fmla="*/ 1530 w 1628"/>
                  <a:gd name="T81" fmla="*/ 426 h 1628"/>
                  <a:gd name="T82" fmla="*/ 1578 w 1628"/>
                  <a:gd name="T83" fmla="*/ 534 h 1628"/>
                  <a:gd name="T84" fmla="*/ 1612 w 1628"/>
                  <a:gd name="T85" fmla="*/ 650 h 1628"/>
                  <a:gd name="T86" fmla="*/ 1626 w 1628"/>
                  <a:gd name="T87" fmla="*/ 772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28" h="1628">
                    <a:moveTo>
                      <a:pt x="1628" y="814"/>
                    </a:moveTo>
                    <a:lnTo>
                      <a:pt x="1628" y="814"/>
                    </a:lnTo>
                    <a:lnTo>
                      <a:pt x="1626" y="856"/>
                    </a:lnTo>
                    <a:lnTo>
                      <a:pt x="1624" y="898"/>
                    </a:lnTo>
                    <a:lnTo>
                      <a:pt x="1618" y="938"/>
                    </a:lnTo>
                    <a:lnTo>
                      <a:pt x="1612" y="978"/>
                    </a:lnTo>
                    <a:lnTo>
                      <a:pt x="1602" y="1018"/>
                    </a:lnTo>
                    <a:lnTo>
                      <a:pt x="1592" y="1056"/>
                    </a:lnTo>
                    <a:lnTo>
                      <a:pt x="1578" y="1094"/>
                    </a:lnTo>
                    <a:lnTo>
                      <a:pt x="1564" y="1130"/>
                    </a:lnTo>
                    <a:lnTo>
                      <a:pt x="1548" y="1166"/>
                    </a:lnTo>
                    <a:lnTo>
                      <a:pt x="1530" y="1202"/>
                    </a:lnTo>
                    <a:lnTo>
                      <a:pt x="1510" y="1236"/>
                    </a:lnTo>
                    <a:lnTo>
                      <a:pt x="1488" y="1270"/>
                    </a:lnTo>
                    <a:lnTo>
                      <a:pt x="1466" y="1302"/>
                    </a:lnTo>
                    <a:lnTo>
                      <a:pt x="1442" y="1332"/>
                    </a:lnTo>
                    <a:lnTo>
                      <a:pt x="1416" y="1362"/>
                    </a:lnTo>
                    <a:lnTo>
                      <a:pt x="1390" y="1390"/>
                    </a:lnTo>
                    <a:lnTo>
                      <a:pt x="1362" y="1416"/>
                    </a:lnTo>
                    <a:lnTo>
                      <a:pt x="1332" y="1442"/>
                    </a:lnTo>
                    <a:lnTo>
                      <a:pt x="1302" y="1466"/>
                    </a:lnTo>
                    <a:lnTo>
                      <a:pt x="1270" y="1488"/>
                    </a:lnTo>
                    <a:lnTo>
                      <a:pt x="1236" y="1510"/>
                    </a:lnTo>
                    <a:lnTo>
                      <a:pt x="1202" y="1530"/>
                    </a:lnTo>
                    <a:lnTo>
                      <a:pt x="1166" y="1548"/>
                    </a:lnTo>
                    <a:lnTo>
                      <a:pt x="1130" y="1564"/>
                    </a:lnTo>
                    <a:lnTo>
                      <a:pt x="1094" y="1578"/>
                    </a:lnTo>
                    <a:lnTo>
                      <a:pt x="1056" y="1592"/>
                    </a:lnTo>
                    <a:lnTo>
                      <a:pt x="1018" y="1602"/>
                    </a:lnTo>
                    <a:lnTo>
                      <a:pt x="978" y="1612"/>
                    </a:lnTo>
                    <a:lnTo>
                      <a:pt x="938" y="1618"/>
                    </a:lnTo>
                    <a:lnTo>
                      <a:pt x="898" y="1624"/>
                    </a:lnTo>
                    <a:lnTo>
                      <a:pt x="856" y="1626"/>
                    </a:lnTo>
                    <a:lnTo>
                      <a:pt x="814" y="1628"/>
                    </a:lnTo>
                    <a:lnTo>
                      <a:pt x="814" y="1628"/>
                    </a:lnTo>
                    <a:lnTo>
                      <a:pt x="772" y="1626"/>
                    </a:lnTo>
                    <a:lnTo>
                      <a:pt x="730" y="1624"/>
                    </a:lnTo>
                    <a:lnTo>
                      <a:pt x="690" y="1618"/>
                    </a:lnTo>
                    <a:lnTo>
                      <a:pt x="650" y="1612"/>
                    </a:lnTo>
                    <a:lnTo>
                      <a:pt x="610" y="1602"/>
                    </a:lnTo>
                    <a:lnTo>
                      <a:pt x="572" y="1592"/>
                    </a:lnTo>
                    <a:lnTo>
                      <a:pt x="534" y="1578"/>
                    </a:lnTo>
                    <a:lnTo>
                      <a:pt x="498" y="1564"/>
                    </a:lnTo>
                    <a:lnTo>
                      <a:pt x="462" y="1548"/>
                    </a:lnTo>
                    <a:lnTo>
                      <a:pt x="426" y="1530"/>
                    </a:lnTo>
                    <a:lnTo>
                      <a:pt x="392" y="1510"/>
                    </a:lnTo>
                    <a:lnTo>
                      <a:pt x="358" y="1488"/>
                    </a:lnTo>
                    <a:lnTo>
                      <a:pt x="326" y="1466"/>
                    </a:lnTo>
                    <a:lnTo>
                      <a:pt x="296" y="1442"/>
                    </a:lnTo>
                    <a:lnTo>
                      <a:pt x="266" y="1416"/>
                    </a:lnTo>
                    <a:lnTo>
                      <a:pt x="238" y="1390"/>
                    </a:lnTo>
                    <a:lnTo>
                      <a:pt x="212" y="1362"/>
                    </a:lnTo>
                    <a:lnTo>
                      <a:pt x="186" y="1332"/>
                    </a:lnTo>
                    <a:lnTo>
                      <a:pt x="162" y="1302"/>
                    </a:lnTo>
                    <a:lnTo>
                      <a:pt x="140" y="1270"/>
                    </a:lnTo>
                    <a:lnTo>
                      <a:pt x="118" y="1236"/>
                    </a:lnTo>
                    <a:lnTo>
                      <a:pt x="98" y="1202"/>
                    </a:lnTo>
                    <a:lnTo>
                      <a:pt x="80" y="1166"/>
                    </a:lnTo>
                    <a:lnTo>
                      <a:pt x="64" y="1130"/>
                    </a:lnTo>
                    <a:lnTo>
                      <a:pt x="50" y="1094"/>
                    </a:lnTo>
                    <a:lnTo>
                      <a:pt x="36" y="1056"/>
                    </a:lnTo>
                    <a:lnTo>
                      <a:pt x="26" y="1018"/>
                    </a:lnTo>
                    <a:lnTo>
                      <a:pt x="16" y="978"/>
                    </a:lnTo>
                    <a:lnTo>
                      <a:pt x="10" y="938"/>
                    </a:lnTo>
                    <a:lnTo>
                      <a:pt x="4" y="898"/>
                    </a:lnTo>
                    <a:lnTo>
                      <a:pt x="2" y="856"/>
                    </a:lnTo>
                    <a:lnTo>
                      <a:pt x="0" y="814"/>
                    </a:lnTo>
                    <a:lnTo>
                      <a:pt x="0" y="814"/>
                    </a:lnTo>
                    <a:lnTo>
                      <a:pt x="2" y="772"/>
                    </a:lnTo>
                    <a:lnTo>
                      <a:pt x="4" y="730"/>
                    </a:lnTo>
                    <a:lnTo>
                      <a:pt x="10" y="690"/>
                    </a:lnTo>
                    <a:lnTo>
                      <a:pt x="16" y="650"/>
                    </a:lnTo>
                    <a:lnTo>
                      <a:pt x="26" y="610"/>
                    </a:lnTo>
                    <a:lnTo>
                      <a:pt x="36" y="572"/>
                    </a:lnTo>
                    <a:lnTo>
                      <a:pt x="50" y="534"/>
                    </a:lnTo>
                    <a:lnTo>
                      <a:pt x="64" y="498"/>
                    </a:lnTo>
                    <a:lnTo>
                      <a:pt x="80" y="462"/>
                    </a:lnTo>
                    <a:lnTo>
                      <a:pt x="98" y="426"/>
                    </a:lnTo>
                    <a:lnTo>
                      <a:pt x="118" y="392"/>
                    </a:lnTo>
                    <a:lnTo>
                      <a:pt x="140" y="358"/>
                    </a:lnTo>
                    <a:lnTo>
                      <a:pt x="162" y="326"/>
                    </a:lnTo>
                    <a:lnTo>
                      <a:pt x="186" y="296"/>
                    </a:lnTo>
                    <a:lnTo>
                      <a:pt x="212" y="266"/>
                    </a:lnTo>
                    <a:lnTo>
                      <a:pt x="238" y="238"/>
                    </a:lnTo>
                    <a:lnTo>
                      <a:pt x="266" y="212"/>
                    </a:lnTo>
                    <a:lnTo>
                      <a:pt x="296" y="186"/>
                    </a:lnTo>
                    <a:lnTo>
                      <a:pt x="326" y="162"/>
                    </a:lnTo>
                    <a:lnTo>
                      <a:pt x="358" y="140"/>
                    </a:lnTo>
                    <a:lnTo>
                      <a:pt x="392" y="118"/>
                    </a:lnTo>
                    <a:lnTo>
                      <a:pt x="426" y="98"/>
                    </a:lnTo>
                    <a:lnTo>
                      <a:pt x="462" y="80"/>
                    </a:lnTo>
                    <a:lnTo>
                      <a:pt x="498" y="64"/>
                    </a:lnTo>
                    <a:lnTo>
                      <a:pt x="534" y="50"/>
                    </a:lnTo>
                    <a:lnTo>
                      <a:pt x="572" y="36"/>
                    </a:lnTo>
                    <a:lnTo>
                      <a:pt x="610" y="26"/>
                    </a:lnTo>
                    <a:lnTo>
                      <a:pt x="650" y="16"/>
                    </a:lnTo>
                    <a:lnTo>
                      <a:pt x="690" y="10"/>
                    </a:lnTo>
                    <a:lnTo>
                      <a:pt x="730" y="4"/>
                    </a:lnTo>
                    <a:lnTo>
                      <a:pt x="772" y="2"/>
                    </a:lnTo>
                    <a:lnTo>
                      <a:pt x="814" y="0"/>
                    </a:lnTo>
                    <a:lnTo>
                      <a:pt x="814" y="0"/>
                    </a:lnTo>
                    <a:lnTo>
                      <a:pt x="856" y="2"/>
                    </a:lnTo>
                    <a:lnTo>
                      <a:pt x="898" y="4"/>
                    </a:lnTo>
                    <a:lnTo>
                      <a:pt x="938" y="10"/>
                    </a:lnTo>
                    <a:lnTo>
                      <a:pt x="978" y="16"/>
                    </a:lnTo>
                    <a:lnTo>
                      <a:pt x="1018" y="26"/>
                    </a:lnTo>
                    <a:lnTo>
                      <a:pt x="1056" y="36"/>
                    </a:lnTo>
                    <a:lnTo>
                      <a:pt x="1094" y="50"/>
                    </a:lnTo>
                    <a:lnTo>
                      <a:pt x="1130" y="64"/>
                    </a:lnTo>
                    <a:lnTo>
                      <a:pt x="1166" y="80"/>
                    </a:lnTo>
                    <a:lnTo>
                      <a:pt x="1202" y="98"/>
                    </a:lnTo>
                    <a:lnTo>
                      <a:pt x="1236" y="118"/>
                    </a:lnTo>
                    <a:lnTo>
                      <a:pt x="1270" y="140"/>
                    </a:lnTo>
                    <a:lnTo>
                      <a:pt x="1302" y="162"/>
                    </a:lnTo>
                    <a:lnTo>
                      <a:pt x="1332" y="186"/>
                    </a:lnTo>
                    <a:lnTo>
                      <a:pt x="1362" y="212"/>
                    </a:lnTo>
                    <a:lnTo>
                      <a:pt x="1390" y="238"/>
                    </a:lnTo>
                    <a:lnTo>
                      <a:pt x="1416" y="266"/>
                    </a:lnTo>
                    <a:lnTo>
                      <a:pt x="1442" y="296"/>
                    </a:lnTo>
                    <a:lnTo>
                      <a:pt x="1466" y="326"/>
                    </a:lnTo>
                    <a:lnTo>
                      <a:pt x="1488" y="358"/>
                    </a:lnTo>
                    <a:lnTo>
                      <a:pt x="1510" y="392"/>
                    </a:lnTo>
                    <a:lnTo>
                      <a:pt x="1530" y="426"/>
                    </a:lnTo>
                    <a:lnTo>
                      <a:pt x="1548" y="462"/>
                    </a:lnTo>
                    <a:lnTo>
                      <a:pt x="1564" y="498"/>
                    </a:lnTo>
                    <a:lnTo>
                      <a:pt x="1578" y="534"/>
                    </a:lnTo>
                    <a:lnTo>
                      <a:pt x="1592" y="572"/>
                    </a:lnTo>
                    <a:lnTo>
                      <a:pt x="1602" y="610"/>
                    </a:lnTo>
                    <a:lnTo>
                      <a:pt x="1612" y="650"/>
                    </a:lnTo>
                    <a:lnTo>
                      <a:pt x="1618" y="690"/>
                    </a:lnTo>
                    <a:lnTo>
                      <a:pt x="1624" y="730"/>
                    </a:lnTo>
                    <a:lnTo>
                      <a:pt x="1626" y="772"/>
                    </a:lnTo>
                    <a:lnTo>
                      <a:pt x="1628" y="814"/>
                    </a:lnTo>
                    <a:lnTo>
                      <a:pt x="1628" y="814"/>
                    </a:lnTo>
                    <a:close/>
                  </a:path>
                </a:pathLst>
              </a:custGeom>
              <a:solidFill>
                <a:srgbClr val="FFFFFF"/>
              </a:solidFill>
              <a:ln w="12700">
                <a:noFill/>
                <a:prstDash val="solid"/>
                <a:round/>
                <a:headEnd/>
                <a:tailEnd/>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757" name="Freeform 36"/>
              <p:cNvSpPr>
                <a:spLocks/>
              </p:cNvSpPr>
              <p:nvPr/>
            </p:nvSpPr>
            <p:spPr bwMode="auto">
              <a:xfrm>
                <a:off x="4454777" y="3429824"/>
                <a:ext cx="103659" cy="98408"/>
              </a:xfrm>
              <a:custGeom>
                <a:avLst/>
                <a:gdLst>
                  <a:gd name="T0" fmla="*/ 64 w 1366"/>
                  <a:gd name="T1" fmla="*/ 248 h 1290"/>
                  <a:gd name="T2" fmla="*/ 200 w 1366"/>
                  <a:gd name="T3" fmla="*/ 154 h 1290"/>
                  <a:gd name="T4" fmla="*/ 338 w 1366"/>
                  <a:gd name="T5" fmla="*/ 82 h 1290"/>
                  <a:gd name="T6" fmla="*/ 462 w 1366"/>
                  <a:gd name="T7" fmla="*/ 36 h 1290"/>
                  <a:gd name="T8" fmla="*/ 598 w 1366"/>
                  <a:gd name="T9" fmla="*/ 6 h 1290"/>
                  <a:gd name="T10" fmla="*/ 744 w 1366"/>
                  <a:gd name="T11" fmla="*/ 2 h 1290"/>
                  <a:gd name="T12" fmla="*/ 894 w 1366"/>
                  <a:gd name="T13" fmla="*/ 32 h 1290"/>
                  <a:gd name="T14" fmla="*/ 1020 w 1366"/>
                  <a:gd name="T15" fmla="*/ 88 h 1290"/>
                  <a:gd name="T16" fmla="*/ 1096 w 1366"/>
                  <a:gd name="T17" fmla="*/ 136 h 1290"/>
                  <a:gd name="T18" fmla="*/ 1172 w 1366"/>
                  <a:gd name="T19" fmla="*/ 198 h 1290"/>
                  <a:gd name="T20" fmla="*/ 1210 w 1366"/>
                  <a:gd name="T21" fmla="*/ 238 h 1290"/>
                  <a:gd name="T22" fmla="*/ 1264 w 1366"/>
                  <a:gd name="T23" fmla="*/ 320 h 1290"/>
                  <a:gd name="T24" fmla="*/ 1328 w 1366"/>
                  <a:gd name="T25" fmla="*/ 466 h 1290"/>
                  <a:gd name="T26" fmla="*/ 1352 w 1366"/>
                  <a:gd name="T27" fmla="*/ 564 h 1290"/>
                  <a:gd name="T28" fmla="*/ 1364 w 1366"/>
                  <a:gd name="T29" fmla="*/ 674 h 1290"/>
                  <a:gd name="T30" fmla="*/ 1362 w 1366"/>
                  <a:gd name="T31" fmla="*/ 798 h 1290"/>
                  <a:gd name="T32" fmla="*/ 1340 w 1366"/>
                  <a:gd name="T33" fmla="*/ 936 h 1290"/>
                  <a:gd name="T34" fmla="*/ 1294 w 1366"/>
                  <a:gd name="T35" fmla="*/ 1084 h 1290"/>
                  <a:gd name="T36" fmla="*/ 1248 w 1366"/>
                  <a:gd name="T37" fmla="*/ 1158 h 1290"/>
                  <a:gd name="T38" fmla="*/ 1152 w 1366"/>
                  <a:gd name="T39" fmla="*/ 1218 h 1290"/>
                  <a:gd name="T40" fmla="*/ 1066 w 1366"/>
                  <a:gd name="T41" fmla="*/ 1256 h 1290"/>
                  <a:gd name="T42" fmla="*/ 960 w 1366"/>
                  <a:gd name="T43" fmla="*/ 1284 h 1290"/>
                  <a:gd name="T44" fmla="*/ 938 w 1366"/>
                  <a:gd name="T45" fmla="*/ 1264 h 1290"/>
                  <a:gd name="T46" fmla="*/ 1008 w 1366"/>
                  <a:gd name="T47" fmla="*/ 1146 h 1290"/>
                  <a:gd name="T48" fmla="*/ 1076 w 1366"/>
                  <a:gd name="T49" fmla="*/ 992 h 1290"/>
                  <a:gd name="T50" fmla="*/ 1108 w 1366"/>
                  <a:gd name="T51" fmla="*/ 884 h 1290"/>
                  <a:gd name="T52" fmla="*/ 1128 w 1366"/>
                  <a:gd name="T53" fmla="*/ 770 h 1290"/>
                  <a:gd name="T54" fmla="*/ 1128 w 1366"/>
                  <a:gd name="T55" fmla="*/ 654 h 1290"/>
                  <a:gd name="T56" fmla="*/ 1102 w 1366"/>
                  <a:gd name="T57" fmla="*/ 538 h 1290"/>
                  <a:gd name="T58" fmla="*/ 1046 w 1366"/>
                  <a:gd name="T59" fmla="*/ 428 h 1290"/>
                  <a:gd name="T60" fmla="*/ 988 w 1366"/>
                  <a:gd name="T61" fmla="*/ 358 h 1290"/>
                  <a:gd name="T62" fmla="*/ 916 w 1366"/>
                  <a:gd name="T63" fmla="*/ 302 h 1290"/>
                  <a:gd name="T64" fmla="*/ 830 w 1366"/>
                  <a:gd name="T65" fmla="*/ 262 h 1290"/>
                  <a:gd name="T66" fmla="*/ 746 w 1366"/>
                  <a:gd name="T67" fmla="*/ 240 h 1290"/>
                  <a:gd name="T68" fmla="*/ 646 w 1366"/>
                  <a:gd name="T69" fmla="*/ 236 h 1290"/>
                  <a:gd name="T70" fmla="*/ 532 w 1366"/>
                  <a:gd name="T71" fmla="*/ 256 h 1290"/>
                  <a:gd name="T72" fmla="*/ 406 w 1366"/>
                  <a:gd name="T73" fmla="*/ 310 h 1290"/>
                  <a:gd name="T74" fmla="*/ 266 w 1366"/>
                  <a:gd name="T75" fmla="*/ 404 h 1290"/>
                  <a:gd name="T76" fmla="*/ 118 w 1366"/>
                  <a:gd name="T77" fmla="*/ 546 h 1290"/>
                  <a:gd name="T78" fmla="*/ 12 w 1366"/>
                  <a:gd name="T79" fmla="*/ 672 h 1290"/>
                  <a:gd name="T80" fmla="*/ 0 w 1366"/>
                  <a:gd name="T81" fmla="*/ 520 h 1290"/>
                  <a:gd name="T82" fmla="*/ 6 w 1366"/>
                  <a:gd name="T83" fmla="*/ 390 h 1290"/>
                  <a:gd name="T84" fmla="*/ 26 w 1366"/>
                  <a:gd name="T85" fmla="*/ 298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6" h="1290">
                    <a:moveTo>
                      <a:pt x="36" y="272"/>
                    </a:moveTo>
                    <a:lnTo>
                      <a:pt x="36" y="272"/>
                    </a:lnTo>
                    <a:lnTo>
                      <a:pt x="64" y="248"/>
                    </a:lnTo>
                    <a:lnTo>
                      <a:pt x="98" y="222"/>
                    </a:lnTo>
                    <a:lnTo>
                      <a:pt x="144" y="190"/>
                    </a:lnTo>
                    <a:lnTo>
                      <a:pt x="200" y="154"/>
                    </a:lnTo>
                    <a:lnTo>
                      <a:pt x="264" y="118"/>
                    </a:lnTo>
                    <a:lnTo>
                      <a:pt x="300" y="100"/>
                    </a:lnTo>
                    <a:lnTo>
                      <a:pt x="338" y="82"/>
                    </a:lnTo>
                    <a:lnTo>
                      <a:pt x="378" y="66"/>
                    </a:lnTo>
                    <a:lnTo>
                      <a:pt x="420" y="50"/>
                    </a:lnTo>
                    <a:lnTo>
                      <a:pt x="462" y="36"/>
                    </a:lnTo>
                    <a:lnTo>
                      <a:pt x="506" y="24"/>
                    </a:lnTo>
                    <a:lnTo>
                      <a:pt x="552" y="14"/>
                    </a:lnTo>
                    <a:lnTo>
                      <a:pt x="598" y="6"/>
                    </a:lnTo>
                    <a:lnTo>
                      <a:pt x="646" y="2"/>
                    </a:lnTo>
                    <a:lnTo>
                      <a:pt x="694" y="0"/>
                    </a:lnTo>
                    <a:lnTo>
                      <a:pt x="744" y="2"/>
                    </a:lnTo>
                    <a:lnTo>
                      <a:pt x="794" y="8"/>
                    </a:lnTo>
                    <a:lnTo>
                      <a:pt x="844" y="18"/>
                    </a:lnTo>
                    <a:lnTo>
                      <a:pt x="894" y="32"/>
                    </a:lnTo>
                    <a:lnTo>
                      <a:pt x="944" y="50"/>
                    </a:lnTo>
                    <a:lnTo>
                      <a:pt x="996" y="74"/>
                    </a:lnTo>
                    <a:lnTo>
                      <a:pt x="1020" y="88"/>
                    </a:lnTo>
                    <a:lnTo>
                      <a:pt x="1046" y="102"/>
                    </a:lnTo>
                    <a:lnTo>
                      <a:pt x="1072" y="118"/>
                    </a:lnTo>
                    <a:lnTo>
                      <a:pt x="1096" y="136"/>
                    </a:lnTo>
                    <a:lnTo>
                      <a:pt x="1122" y="156"/>
                    </a:lnTo>
                    <a:lnTo>
                      <a:pt x="1146" y="176"/>
                    </a:lnTo>
                    <a:lnTo>
                      <a:pt x="1172" y="198"/>
                    </a:lnTo>
                    <a:lnTo>
                      <a:pt x="1196" y="222"/>
                    </a:lnTo>
                    <a:lnTo>
                      <a:pt x="1196" y="222"/>
                    </a:lnTo>
                    <a:lnTo>
                      <a:pt x="1210" y="238"/>
                    </a:lnTo>
                    <a:lnTo>
                      <a:pt x="1224" y="258"/>
                    </a:lnTo>
                    <a:lnTo>
                      <a:pt x="1242" y="286"/>
                    </a:lnTo>
                    <a:lnTo>
                      <a:pt x="1264" y="320"/>
                    </a:lnTo>
                    <a:lnTo>
                      <a:pt x="1286" y="362"/>
                    </a:lnTo>
                    <a:lnTo>
                      <a:pt x="1308" y="412"/>
                    </a:lnTo>
                    <a:lnTo>
                      <a:pt x="1328" y="466"/>
                    </a:lnTo>
                    <a:lnTo>
                      <a:pt x="1336" y="498"/>
                    </a:lnTo>
                    <a:lnTo>
                      <a:pt x="1344" y="530"/>
                    </a:lnTo>
                    <a:lnTo>
                      <a:pt x="1352" y="564"/>
                    </a:lnTo>
                    <a:lnTo>
                      <a:pt x="1356" y="598"/>
                    </a:lnTo>
                    <a:lnTo>
                      <a:pt x="1362" y="636"/>
                    </a:lnTo>
                    <a:lnTo>
                      <a:pt x="1364" y="674"/>
                    </a:lnTo>
                    <a:lnTo>
                      <a:pt x="1366" y="714"/>
                    </a:lnTo>
                    <a:lnTo>
                      <a:pt x="1364" y="754"/>
                    </a:lnTo>
                    <a:lnTo>
                      <a:pt x="1362" y="798"/>
                    </a:lnTo>
                    <a:lnTo>
                      <a:pt x="1358" y="842"/>
                    </a:lnTo>
                    <a:lnTo>
                      <a:pt x="1350" y="888"/>
                    </a:lnTo>
                    <a:lnTo>
                      <a:pt x="1340" y="936"/>
                    </a:lnTo>
                    <a:lnTo>
                      <a:pt x="1328" y="984"/>
                    </a:lnTo>
                    <a:lnTo>
                      <a:pt x="1312" y="1034"/>
                    </a:lnTo>
                    <a:lnTo>
                      <a:pt x="1294" y="1084"/>
                    </a:lnTo>
                    <a:lnTo>
                      <a:pt x="1272" y="1138"/>
                    </a:lnTo>
                    <a:lnTo>
                      <a:pt x="1272" y="1138"/>
                    </a:lnTo>
                    <a:lnTo>
                      <a:pt x="1248" y="1158"/>
                    </a:lnTo>
                    <a:lnTo>
                      <a:pt x="1218" y="1178"/>
                    </a:lnTo>
                    <a:lnTo>
                      <a:pt x="1178" y="1204"/>
                    </a:lnTo>
                    <a:lnTo>
                      <a:pt x="1152" y="1218"/>
                    </a:lnTo>
                    <a:lnTo>
                      <a:pt x="1126" y="1230"/>
                    </a:lnTo>
                    <a:lnTo>
                      <a:pt x="1098" y="1244"/>
                    </a:lnTo>
                    <a:lnTo>
                      <a:pt x="1066" y="1256"/>
                    </a:lnTo>
                    <a:lnTo>
                      <a:pt x="1032" y="1266"/>
                    </a:lnTo>
                    <a:lnTo>
                      <a:pt x="998" y="1276"/>
                    </a:lnTo>
                    <a:lnTo>
                      <a:pt x="960" y="1284"/>
                    </a:lnTo>
                    <a:lnTo>
                      <a:pt x="920" y="1290"/>
                    </a:lnTo>
                    <a:lnTo>
                      <a:pt x="920" y="1290"/>
                    </a:lnTo>
                    <a:lnTo>
                      <a:pt x="938" y="1264"/>
                    </a:lnTo>
                    <a:lnTo>
                      <a:pt x="956" y="1234"/>
                    </a:lnTo>
                    <a:lnTo>
                      <a:pt x="980" y="1194"/>
                    </a:lnTo>
                    <a:lnTo>
                      <a:pt x="1008" y="1146"/>
                    </a:lnTo>
                    <a:lnTo>
                      <a:pt x="1036" y="1090"/>
                    </a:lnTo>
                    <a:lnTo>
                      <a:pt x="1062" y="1026"/>
                    </a:lnTo>
                    <a:lnTo>
                      <a:pt x="1076" y="992"/>
                    </a:lnTo>
                    <a:lnTo>
                      <a:pt x="1088" y="958"/>
                    </a:lnTo>
                    <a:lnTo>
                      <a:pt x="1098" y="922"/>
                    </a:lnTo>
                    <a:lnTo>
                      <a:pt x="1108" y="884"/>
                    </a:lnTo>
                    <a:lnTo>
                      <a:pt x="1116" y="848"/>
                    </a:lnTo>
                    <a:lnTo>
                      <a:pt x="1122" y="810"/>
                    </a:lnTo>
                    <a:lnTo>
                      <a:pt x="1128" y="770"/>
                    </a:lnTo>
                    <a:lnTo>
                      <a:pt x="1130" y="732"/>
                    </a:lnTo>
                    <a:lnTo>
                      <a:pt x="1130" y="692"/>
                    </a:lnTo>
                    <a:lnTo>
                      <a:pt x="1128" y="654"/>
                    </a:lnTo>
                    <a:lnTo>
                      <a:pt x="1122" y="614"/>
                    </a:lnTo>
                    <a:lnTo>
                      <a:pt x="1114" y="576"/>
                    </a:lnTo>
                    <a:lnTo>
                      <a:pt x="1102" y="538"/>
                    </a:lnTo>
                    <a:lnTo>
                      <a:pt x="1088" y="500"/>
                    </a:lnTo>
                    <a:lnTo>
                      <a:pt x="1068" y="464"/>
                    </a:lnTo>
                    <a:lnTo>
                      <a:pt x="1046" y="428"/>
                    </a:lnTo>
                    <a:lnTo>
                      <a:pt x="1020" y="392"/>
                    </a:lnTo>
                    <a:lnTo>
                      <a:pt x="988" y="358"/>
                    </a:lnTo>
                    <a:lnTo>
                      <a:pt x="988" y="358"/>
                    </a:lnTo>
                    <a:lnTo>
                      <a:pt x="970" y="342"/>
                    </a:lnTo>
                    <a:lnTo>
                      <a:pt x="946" y="324"/>
                    </a:lnTo>
                    <a:lnTo>
                      <a:pt x="916" y="302"/>
                    </a:lnTo>
                    <a:lnTo>
                      <a:pt x="876" y="282"/>
                    </a:lnTo>
                    <a:lnTo>
                      <a:pt x="854" y="272"/>
                    </a:lnTo>
                    <a:lnTo>
                      <a:pt x="830" y="262"/>
                    </a:lnTo>
                    <a:lnTo>
                      <a:pt x="804" y="252"/>
                    </a:lnTo>
                    <a:lnTo>
                      <a:pt x="776" y="246"/>
                    </a:lnTo>
                    <a:lnTo>
                      <a:pt x="746" y="240"/>
                    </a:lnTo>
                    <a:lnTo>
                      <a:pt x="714" y="236"/>
                    </a:lnTo>
                    <a:lnTo>
                      <a:pt x="682" y="234"/>
                    </a:lnTo>
                    <a:lnTo>
                      <a:pt x="646" y="236"/>
                    </a:lnTo>
                    <a:lnTo>
                      <a:pt x="610" y="240"/>
                    </a:lnTo>
                    <a:lnTo>
                      <a:pt x="572" y="246"/>
                    </a:lnTo>
                    <a:lnTo>
                      <a:pt x="532" y="256"/>
                    </a:lnTo>
                    <a:lnTo>
                      <a:pt x="492" y="270"/>
                    </a:lnTo>
                    <a:lnTo>
                      <a:pt x="450" y="288"/>
                    </a:lnTo>
                    <a:lnTo>
                      <a:pt x="406" y="310"/>
                    </a:lnTo>
                    <a:lnTo>
                      <a:pt x="360" y="336"/>
                    </a:lnTo>
                    <a:lnTo>
                      <a:pt x="314" y="366"/>
                    </a:lnTo>
                    <a:lnTo>
                      <a:pt x="266" y="404"/>
                    </a:lnTo>
                    <a:lnTo>
                      <a:pt x="218" y="444"/>
                    </a:lnTo>
                    <a:lnTo>
                      <a:pt x="168" y="492"/>
                    </a:lnTo>
                    <a:lnTo>
                      <a:pt x="118" y="546"/>
                    </a:lnTo>
                    <a:lnTo>
                      <a:pt x="66" y="606"/>
                    </a:lnTo>
                    <a:lnTo>
                      <a:pt x="12" y="672"/>
                    </a:lnTo>
                    <a:lnTo>
                      <a:pt x="12" y="672"/>
                    </a:lnTo>
                    <a:lnTo>
                      <a:pt x="6" y="628"/>
                    </a:lnTo>
                    <a:lnTo>
                      <a:pt x="2" y="580"/>
                    </a:lnTo>
                    <a:lnTo>
                      <a:pt x="0" y="520"/>
                    </a:lnTo>
                    <a:lnTo>
                      <a:pt x="0" y="456"/>
                    </a:lnTo>
                    <a:lnTo>
                      <a:pt x="2" y="422"/>
                    </a:lnTo>
                    <a:lnTo>
                      <a:pt x="6" y="390"/>
                    </a:lnTo>
                    <a:lnTo>
                      <a:pt x="10" y="356"/>
                    </a:lnTo>
                    <a:lnTo>
                      <a:pt x="16" y="326"/>
                    </a:lnTo>
                    <a:lnTo>
                      <a:pt x="26" y="298"/>
                    </a:lnTo>
                    <a:lnTo>
                      <a:pt x="36" y="272"/>
                    </a:lnTo>
                    <a:lnTo>
                      <a:pt x="36" y="272"/>
                    </a:lnTo>
                    <a:close/>
                  </a:path>
                </a:pathLst>
              </a:custGeom>
              <a:gradFill>
                <a:gsLst>
                  <a:gs pos="100000">
                    <a:srgbClr val="00B0F0">
                      <a:lumMod val="50000"/>
                    </a:srgbClr>
                  </a:gs>
                  <a:gs pos="0">
                    <a:srgbClr val="00B050"/>
                  </a:gs>
                </a:gsLst>
                <a:lin ang="2700000" scaled="1"/>
              </a:gra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758" name="Freeform 37"/>
              <p:cNvSpPr>
                <a:spLocks/>
              </p:cNvSpPr>
              <p:nvPr/>
            </p:nvSpPr>
            <p:spPr bwMode="auto">
              <a:xfrm>
                <a:off x="4501826" y="3409380"/>
                <a:ext cx="72850" cy="81473"/>
              </a:xfrm>
              <a:custGeom>
                <a:avLst/>
                <a:gdLst>
                  <a:gd name="T0" fmla="*/ 316 w 960"/>
                  <a:gd name="T1" fmla="*/ 0 h 1068"/>
                  <a:gd name="T2" fmla="*/ 288 w 960"/>
                  <a:gd name="T3" fmla="*/ 14 h 1068"/>
                  <a:gd name="T4" fmla="*/ 224 w 960"/>
                  <a:gd name="T5" fmla="*/ 58 h 1068"/>
                  <a:gd name="T6" fmla="*/ 146 w 960"/>
                  <a:gd name="T7" fmla="*/ 130 h 1068"/>
                  <a:gd name="T8" fmla="*/ 108 w 960"/>
                  <a:gd name="T9" fmla="*/ 176 h 1068"/>
                  <a:gd name="T10" fmla="*/ 72 w 960"/>
                  <a:gd name="T11" fmla="*/ 228 h 1068"/>
                  <a:gd name="T12" fmla="*/ 40 w 960"/>
                  <a:gd name="T13" fmla="*/ 286 h 1068"/>
                  <a:gd name="T14" fmla="*/ 16 w 960"/>
                  <a:gd name="T15" fmla="*/ 352 h 1068"/>
                  <a:gd name="T16" fmla="*/ 2 w 960"/>
                  <a:gd name="T17" fmla="*/ 424 h 1068"/>
                  <a:gd name="T18" fmla="*/ 0 w 960"/>
                  <a:gd name="T19" fmla="*/ 500 h 1068"/>
                  <a:gd name="T20" fmla="*/ 12 w 960"/>
                  <a:gd name="T21" fmla="*/ 584 h 1068"/>
                  <a:gd name="T22" fmla="*/ 38 w 960"/>
                  <a:gd name="T23" fmla="*/ 674 h 1068"/>
                  <a:gd name="T24" fmla="*/ 86 w 960"/>
                  <a:gd name="T25" fmla="*/ 770 h 1068"/>
                  <a:gd name="T26" fmla="*/ 152 w 960"/>
                  <a:gd name="T27" fmla="*/ 870 h 1068"/>
                  <a:gd name="T28" fmla="*/ 162 w 960"/>
                  <a:gd name="T29" fmla="*/ 880 h 1068"/>
                  <a:gd name="T30" fmla="*/ 192 w 960"/>
                  <a:gd name="T31" fmla="*/ 908 h 1068"/>
                  <a:gd name="T32" fmla="*/ 244 w 960"/>
                  <a:gd name="T33" fmla="*/ 944 h 1068"/>
                  <a:gd name="T34" fmla="*/ 320 w 960"/>
                  <a:gd name="T35" fmla="*/ 984 h 1068"/>
                  <a:gd name="T36" fmla="*/ 424 w 960"/>
                  <a:gd name="T37" fmla="*/ 1022 h 1068"/>
                  <a:gd name="T38" fmla="*/ 520 w 960"/>
                  <a:gd name="T39" fmla="*/ 1046 h 1068"/>
                  <a:gd name="T40" fmla="*/ 596 w 960"/>
                  <a:gd name="T41" fmla="*/ 1058 h 1068"/>
                  <a:gd name="T42" fmla="*/ 678 w 960"/>
                  <a:gd name="T43" fmla="*/ 1064 h 1068"/>
                  <a:gd name="T44" fmla="*/ 768 w 960"/>
                  <a:gd name="T45" fmla="*/ 1068 h 1068"/>
                  <a:gd name="T46" fmla="*/ 868 w 960"/>
                  <a:gd name="T47" fmla="*/ 1064 h 1068"/>
                  <a:gd name="T48" fmla="*/ 920 w 960"/>
                  <a:gd name="T49" fmla="*/ 1060 h 1068"/>
                  <a:gd name="T50" fmla="*/ 952 w 960"/>
                  <a:gd name="T51" fmla="*/ 916 h 1068"/>
                  <a:gd name="T52" fmla="*/ 960 w 960"/>
                  <a:gd name="T53" fmla="*/ 870 h 1068"/>
                  <a:gd name="T54" fmla="*/ 876 w 960"/>
                  <a:gd name="T55" fmla="*/ 878 h 1068"/>
                  <a:gd name="T56" fmla="*/ 784 w 960"/>
                  <a:gd name="T57" fmla="*/ 882 h 1068"/>
                  <a:gd name="T58" fmla="*/ 676 w 960"/>
                  <a:gd name="T59" fmla="*/ 878 h 1068"/>
                  <a:gd name="T60" fmla="*/ 556 w 960"/>
                  <a:gd name="T61" fmla="*/ 864 h 1068"/>
                  <a:gd name="T62" fmla="*/ 468 w 960"/>
                  <a:gd name="T63" fmla="*/ 842 h 1068"/>
                  <a:gd name="T64" fmla="*/ 412 w 960"/>
                  <a:gd name="T65" fmla="*/ 824 h 1068"/>
                  <a:gd name="T66" fmla="*/ 360 w 960"/>
                  <a:gd name="T67" fmla="*/ 798 h 1068"/>
                  <a:gd name="T68" fmla="*/ 312 w 960"/>
                  <a:gd name="T69" fmla="*/ 766 h 1068"/>
                  <a:gd name="T70" fmla="*/ 270 w 960"/>
                  <a:gd name="T71" fmla="*/ 728 h 1068"/>
                  <a:gd name="T72" fmla="*/ 252 w 960"/>
                  <a:gd name="T73" fmla="*/ 708 h 1068"/>
                  <a:gd name="T74" fmla="*/ 226 w 960"/>
                  <a:gd name="T75" fmla="*/ 668 h 1068"/>
                  <a:gd name="T76" fmla="*/ 198 w 960"/>
                  <a:gd name="T77" fmla="*/ 606 h 1068"/>
                  <a:gd name="T78" fmla="*/ 180 w 960"/>
                  <a:gd name="T79" fmla="*/ 546 h 1068"/>
                  <a:gd name="T80" fmla="*/ 172 w 960"/>
                  <a:gd name="T81" fmla="*/ 502 h 1068"/>
                  <a:gd name="T82" fmla="*/ 172 w 960"/>
                  <a:gd name="T83" fmla="*/ 454 h 1068"/>
                  <a:gd name="T84" fmla="*/ 180 w 960"/>
                  <a:gd name="T85" fmla="*/ 402 h 1068"/>
                  <a:gd name="T86" fmla="*/ 198 w 960"/>
                  <a:gd name="T87" fmla="*/ 350 h 1068"/>
                  <a:gd name="T88" fmla="*/ 228 w 960"/>
                  <a:gd name="T89" fmla="*/ 298 h 1068"/>
                  <a:gd name="T90" fmla="*/ 270 w 960"/>
                  <a:gd name="T91" fmla="*/ 246 h 1068"/>
                  <a:gd name="T92" fmla="*/ 330 w 960"/>
                  <a:gd name="T93" fmla="*/ 196 h 1068"/>
                  <a:gd name="T94" fmla="*/ 406 w 960"/>
                  <a:gd name="T95" fmla="*/ 148 h 1068"/>
                  <a:gd name="T96" fmla="*/ 500 w 960"/>
                  <a:gd name="T97" fmla="*/ 102 h 1068"/>
                  <a:gd name="T98" fmla="*/ 556 w 960"/>
                  <a:gd name="T99" fmla="*/ 80 h 1068"/>
                  <a:gd name="T100" fmla="*/ 512 w 960"/>
                  <a:gd name="T101" fmla="*/ 52 h 1068"/>
                  <a:gd name="T102" fmla="*/ 444 w 960"/>
                  <a:gd name="T103" fmla="*/ 22 h 1068"/>
                  <a:gd name="T104" fmla="*/ 382 w 960"/>
                  <a:gd name="T105" fmla="*/ 4 h 1068"/>
                  <a:gd name="T106" fmla="*/ 338 w 960"/>
                  <a:gd name="T107" fmla="*/ 0 h 1068"/>
                  <a:gd name="T108" fmla="*/ 316 w 960"/>
                  <a:gd name="T109"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0" h="1068">
                    <a:moveTo>
                      <a:pt x="316" y="0"/>
                    </a:moveTo>
                    <a:lnTo>
                      <a:pt x="316" y="0"/>
                    </a:lnTo>
                    <a:lnTo>
                      <a:pt x="306" y="4"/>
                    </a:lnTo>
                    <a:lnTo>
                      <a:pt x="288" y="14"/>
                    </a:lnTo>
                    <a:lnTo>
                      <a:pt x="258" y="34"/>
                    </a:lnTo>
                    <a:lnTo>
                      <a:pt x="224" y="58"/>
                    </a:lnTo>
                    <a:lnTo>
                      <a:pt x="186" y="90"/>
                    </a:lnTo>
                    <a:lnTo>
                      <a:pt x="146" y="130"/>
                    </a:lnTo>
                    <a:lnTo>
                      <a:pt x="128" y="152"/>
                    </a:lnTo>
                    <a:lnTo>
                      <a:pt x="108" y="176"/>
                    </a:lnTo>
                    <a:lnTo>
                      <a:pt x="90" y="200"/>
                    </a:lnTo>
                    <a:lnTo>
                      <a:pt x="72" y="228"/>
                    </a:lnTo>
                    <a:lnTo>
                      <a:pt x="56" y="256"/>
                    </a:lnTo>
                    <a:lnTo>
                      <a:pt x="40" y="286"/>
                    </a:lnTo>
                    <a:lnTo>
                      <a:pt x="28" y="318"/>
                    </a:lnTo>
                    <a:lnTo>
                      <a:pt x="16" y="352"/>
                    </a:lnTo>
                    <a:lnTo>
                      <a:pt x="8" y="386"/>
                    </a:lnTo>
                    <a:lnTo>
                      <a:pt x="2" y="424"/>
                    </a:lnTo>
                    <a:lnTo>
                      <a:pt x="0" y="462"/>
                    </a:lnTo>
                    <a:lnTo>
                      <a:pt x="0" y="500"/>
                    </a:lnTo>
                    <a:lnTo>
                      <a:pt x="4" y="542"/>
                    </a:lnTo>
                    <a:lnTo>
                      <a:pt x="12" y="584"/>
                    </a:lnTo>
                    <a:lnTo>
                      <a:pt x="22" y="628"/>
                    </a:lnTo>
                    <a:lnTo>
                      <a:pt x="38" y="674"/>
                    </a:lnTo>
                    <a:lnTo>
                      <a:pt x="60" y="720"/>
                    </a:lnTo>
                    <a:lnTo>
                      <a:pt x="86" y="770"/>
                    </a:lnTo>
                    <a:lnTo>
                      <a:pt x="116" y="818"/>
                    </a:lnTo>
                    <a:lnTo>
                      <a:pt x="152" y="870"/>
                    </a:lnTo>
                    <a:lnTo>
                      <a:pt x="152" y="870"/>
                    </a:lnTo>
                    <a:lnTo>
                      <a:pt x="162" y="880"/>
                    </a:lnTo>
                    <a:lnTo>
                      <a:pt x="174" y="892"/>
                    </a:lnTo>
                    <a:lnTo>
                      <a:pt x="192" y="908"/>
                    </a:lnTo>
                    <a:lnTo>
                      <a:pt x="214" y="924"/>
                    </a:lnTo>
                    <a:lnTo>
                      <a:pt x="244" y="944"/>
                    </a:lnTo>
                    <a:lnTo>
                      <a:pt x="278" y="964"/>
                    </a:lnTo>
                    <a:lnTo>
                      <a:pt x="320" y="984"/>
                    </a:lnTo>
                    <a:lnTo>
                      <a:pt x="368" y="1004"/>
                    </a:lnTo>
                    <a:lnTo>
                      <a:pt x="424" y="1022"/>
                    </a:lnTo>
                    <a:lnTo>
                      <a:pt x="486" y="1040"/>
                    </a:lnTo>
                    <a:lnTo>
                      <a:pt x="520" y="1046"/>
                    </a:lnTo>
                    <a:lnTo>
                      <a:pt x="558" y="1052"/>
                    </a:lnTo>
                    <a:lnTo>
                      <a:pt x="596" y="1058"/>
                    </a:lnTo>
                    <a:lnTo>
                      <a:pt x="636" y="1062"/>
                    </a:lnTo>
                    <a:lnTo>
                      <a:pt x="678" y="1064"/>
                    </a:lnTo>
                    <a:lnTo>
                      <a:pt x="722" y="1066"/>
                    </a:lnTo>
                    <a:lnTo>
                      <a:pt x="768" y="1068"/>
                    </a:lnTo>
                    <a:lnTo>
                      <a:pt x="816" y="1066"/>
                    </a:lnTo>
                    <a:lnTo>
                      <a:pt x="868" y="1064"/>
                    </a:lnTo>
                    <a:lnTo>
                      <a:pt x="920" y="1060"/>
                    </a:lnTo>
                    <a:lnTo>
                      <a:pt x="920" y="1060"/>
                    </a:lnTo>
                    <a:lnTo>
                      <a:pt x="938" y="980"/>
                    </a:lnTo>
                    <a:lnTo>
                      <a:pt x="952" y="916"/>
                    </a:lnTo>
                    <a:lnTo>
                      <a:pt x="960" y="870"/>
                    </a:lnTo>
                    <a:lnTo>
                      <a:pt x="960" y="870"/>
                    </a:lnTo>
                    <a:lnTo>
                      <a:pt x="938" y="874"/>
                    </a:lnTo>
                    <a:lnTo>
                      <a:pt x="876" y="878"/>
                    </a:lnTo>
                    <a:lnTo>
                      <a:pt x="832" y="880"/>
                    </a:lnTo>
                    <a:lnTo>
                      <a:pt x="784" y="882"/>
                    </a:lnTo>
                    <a:lnTo>
                      <a:pt x="732" y="882"/>
                    </a:lnTo>
                    <a:lnTo>
                      <a:pt x="676" y="878"/>
                    </a:lnTo>
                    <a:lnTo>
                      <a:pt x="616" y="872"/>
                    </a:lnTo>
                    <a:lnTo>
                      <a:pt x="556" y="864"/>
                    </a:lnTo>
                    <a:lnTo>
                      <a:pt x="498" y="852"/>
                    </a:lnTo>
                    <a:lnTo>
                      <a:pt x="468" y="842"/>
                    </a:lnTo>
                    <a:lnTo>
                      <a:pt x="440" y="834"/>
                    </a:lnTo>
                    <a:lnTo>
                      <a:pt x="412" y="824"/>
                    </a:lnTo>
                    <a:lnTo>
                      <a:pt x="386" y="812"/>
                    </a:lnTo>
                    <a:lnTo>
                      <a:pt x="360" y="798"/>
                    </a:lnTo>
                    <a:lnTo>
                      <a:pt x="336" y="782"/>
                    </a:lnTo>
                    <a:lnTo>
                      <a:pt x="312" y="766"/>
                    </a:lnTo>
                    <a:lnTo>
                      <a:pt x="290" y="748"/>
                    </a:lnTo>
                    <a:lnTo>
                      <a:pt x="270" y="728"/>
                    </a:lnTo>
                    <a:lnTo>
                      <a:pt x="252" y="708"/>
                    </a:lnTo>
                    <a:lnTo>
                      <a:pt x="252" y="708"/>
                    </a:lnTo>
                    <a:lnTo>
                      <a:pt x="240" y="690"/>
                    </a:lnTo>
                    <a:lnTo>
                      <a:pt x="226" y="668"/>
                    </a:lnTo>
                    <a:lnTo>
                      <a:pt x="212" y="640"/>
                    </a:lnTo>
                    <a:lnTo>
                      <a:pt x="198" y="606"/>
                    </a:lnTo>
                    <a:lnTo>
                      <a:pt x="184" y="568"/>
                    </a:lnTo>
                    <a:lnTo>
                      <a:pt x="180" y="546"/>
                    </a:lnTo>
                    <a:lnTo>
                      <a:pt x="176" y="524"/>
                    </a:lnTo>
                    <a:lnTo>
                      <a:pt x="172" y="502"/>
                    </a:lnTo>
                    <a:lnTo>
                      <a:pt x="172" y="478"/>
                    </a:lnTo>
                    <a:lnTo>
                      <a:pt x="172" y="454"/>
                    </a:lnTo>
                    <a:lnTo>
                      <a:pt x="174" y="428"/>
                    </a:lnTo>
                    <a:lnTo>
                      <a:pt x="180" y="402"/>
                    </a:lnTo>
                    <a:lnTo>
                      <a:pt x="188" y="376"/>
                    </a:lnTo>
                    <a:lnTo>
                      <a:pt x="198" y="350"/>
                    </a:lnTo>
                    <a:lnTo>
                      <a:pt x="210" y="324"/>
                    </a:lnTo>
                    <a:lnTo>
                      <a:pt x="228" y="298"/>
                    </a:lnTo>
                    <a:lnTo>
                      <a:pt x="246" y="272"/>
                    </a:lnTo>
                    <a:lnTo>
                      <a:pt x="270" y="246"/>
                    </a:lnTo>
                    <a:lnTo>
                      <a:pt x="298" y="222"/>
                    </a:lnTo>
                    <a:lnTo>
                      <a:pt x="330" y="196"/>
                    </a:lnTo>
                    <a:lnTo>
                      <a:pt x="364" y="172"/>
                    </a:lnTo>
                    <a:lnTo>
                      <a:pt x="406" y="148"/>
                    </a:lnTo>
                    <a:lnTo>
                      <a:pt x="450" y="124"/>
                    </a:lnTo>
                    <a:lnTo>
                      <a:pt x="500" y="102"/>
                    </a:lnTo>
                    <a:lnTo>
                      <a:pt x="556" y="80"/>
                    </a:lnTo>
                    <a:lnTo>
                      <a:pt x="556" y="80"/>
                    </a:lnTo>
                    <a:lnTo>
                      <a:pt x="536" y="66"/>
                    </a:lnTo>
                    <a:lnTo>
                      <a:pt x="512" y="52"/>
                    </a:lnTo>
                    <a:lnTo>
                      <a:pt x="482" y="38"/>
                    </a:lnTo>
                    <a:lnTo>
                      <a:pt x="444" y="22"/>
                    </a:lnTo>
                    <a:lnTo>
                      <a:pt x="404" y="10"/>
                    </a:lnTo>
                    <a:lnTo>
                      <a:pt x="382" y="4"/>
                    </a:lnTo>
                    <a:lnTo>
                      <a:pt x="360" y="2"/>
                    </a:lnTo>
                    <a:lnTo>
                      <a:pt x="338" y="0"/>
                    </a:lnTo>
                    <a:lnTo>
                      <a:pt x="316" y="0"/>
                    </a:lnTo>
                    <a:lnTo>
                      <a:pt x="316" y="0"/>
                    </a:lnTo>
                    <a:close/>
                  </a:path>
                </a:pathLst>
              </a:custGeom>
              <a:gradFill>
                <a:gsLst>
                  <a:gs pos="89000">
                    <a:srgbClr val="00B0F0">
                      <a:lumMod val="75000"/>
                    </a:srgbClr>
                  </a:gs>
                  <a:gs pos="0">
                    <a:srgbClr val="00B050"/>
                  </a:gs>
                </a:gsLst>
                <a:lin ang="2700000" scaled="1"/>
              </a:gra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759" name="Freeform 167"/>
              <p:cNvSpPr>
                <a:spLocks noEditPoints="1"/>
              </p:cNvSpPr>
              <p:nvPr/>
            </p:nvSpPr>
            <p:spPr bwMode="auto">
              <a:xfrm>
                <a:off x="4372034" y="3328885"/>
                <a:ext cx="281541" cy="239546"/>
              </a:xfrm>
              <a:custGeom>
                <a:avLst/>
                <a:gdLst>
                  <a:gd name="T0" fmla="*/ 26 w 689"/>
                  <a:gd name="T1" fmla="*/ 0 h 582"/>
                  <a:gd name="T2" fmla="*/ 5 w 689"/>
                  <a:gd name="T3" fmla="*/ 15 h 582"/>
                  <a:gd name="T4" fmla="*/ 0 w 689"/>
                  <a:gd name="T5" fmla="*/ 550 h 582"/>
                  <a:gd name="T6" fmla="*/ 5 w 689"/>
                  <a:gd name="T7" fmla="*/ 567 h 582"/>
                  <a:gd name="T8" fmla="*/ 26 w 689"/>
                  <a:gd name="T9" fmla="*/ 582 h 582"/>
                  <a:gd name="T10" fmla="*/ 663 w 689"/>
                  <a:gd name="T11" fmla="*/ 582 h 582"/>
                  <a:gd name="T12" fmla="*/ 684 w 689"/>
                  <a:gd name="T13" fmla="*/ 567 h 582"/>
                  <a:gd name="T14" fmla="*/ 689 w 689"/>
                  <a:gd name="T15" fmla="*/ 32 h 582"/>
                  <a:gd name="T16" fmla="*/ 684 w 689"/>
                  <a:gd name="T17" fmla="*/ 15 h 582"/>
                  <a:gd name="T18" fmla="*/ 663 w 689"/>
                  <a:gd name="T19" fmla="*/ 0 h 582"/>
                  <a:gd name="T20" fmla="*/ 231 w 689"/>
                  <a:gd name="T21" fmla="*/ 40 h 582"/>
                  <a:gd name="T22" fmla="*/ 248 w 689"/>
                  <a:gd name="T23" fmla="*/ 48 h 582"/>
                  <a:gd name="T24" fmla="*/ 255 w 689"/>
                  <a:gd name="T25" fmla="*/ 66 h 582"/>
                  <a:gd name="T26" fmla="*/ 251 w 689"/>
                  <a:gd name="T27" fmla="*/ 79 h 582"/>
                  <a:gd name="T28" fmla="*/ 236 w 689"/>
                  <a:gd name="T29" fmla="*/ 89 h 582"/>
                  <a:gd name="T30" fmla="*/ 221 w 689"/>
                  <a:gd name="T31" fmla="*/ 87 h 582"/>
                  <a:gd name="T32" fmla="*/ 209 w 689"/>
                  <a:gd name="T33" fmla="*/ 75 h 582"/>
                  <a:gd name="T34" fmla="*/ 208 w 689"/>
                  <a:gd name="T35" fmla="*/ 60 h 582"/>
                  <a:gd name="T36" fmla="*/ 217 w 689"/>
                  <a:gd name="T37" fmla="*/ 46 h 582"/>
                  <a:gd name="T38" fmla="*/ 231 w 689"/>
                  <a:gd name="T39" fmla="*/ 40 h 582"/>
                  <a:gd name="T40" fmla="*/ 159 w 689"/>
                  <a:gd name="T41" fmla="*/ 43 h 582"/>
                  <a:gd name="T42" fmla="*/ 173 w 689"/>
                  <a:gd name="T43" fmla="*/ 55 h 582"/>
                  <a:gd name="T44" fmla="*/ 174 w 689"/>
                  <a:gd name="T45" fmla="*/ 70 h 582"/>
                  <a:gd name="T46" fmla="*/ 163 w 689"/>
                  <a:gd name="T47" fmla="*/ 86 h 582"/>
                  <a:gd name="T48" fmla="*/ 150 w 689"/>
                  <a:gd name="T49" fmla="*/ 90 h 582"/>
                  <a:gd name="T50" fmla="*/ 132 w 689"/>
                  <a:gd name="T51" fmla="*/ 82 h 582"/>
                  <a:gd name="T52" fmla="*/ 125 w 689"/>
                  <a:gd name="T53" fmla="*/ 66 h 582"/>
                  <a:gd name="T54" fmla="*/ 129 w 689"/>
                  <a:gd name="T55" fmla="*/ 51 h 582"/>
                  <a:gd name="T56" fmla="*/ 144 w 689"/>
                  <a:gd name="T57" fmla="*/ 42 h 582"/>
                  <a:gd name="T58" fmla="*/ 67 w 689"/>
                  <a:gd name="T59" fmla="*/ 40 h 582"/>
                  <a:gd name="T60" fmla="*/ 85 w 689"/>
                  <a:gd name="T61" fmla="*/ 48 h 582"/>
                  <a:gd name="T62" fmla="*/ 92 w 689"/>
                  <a:gd name="T63" fmla="*/ 66 h 582"/>
                  <a:gd name="T64" fmla="*/ 88 w 689"/>
                  <a:gd name="T65" fmla="*/ 79 h 582"/>
                  <a:gd name="T66" fmla="*/ 73 w 689"/>
                  <a:gd name="T67" fmla="*/ 89 h 582"/>
                  <a:gd name="T68" fmla="*/ 58 w 689"/>
                  <a:gd name="T69" fmla="*/ 87 h 582"/>
                  <a:gd name="T70" fmla="*/ 46 w 689"/>
                  <a:gd name="T71" fmla="*/ 75 h 582"/>
                  <a:gd name="T72" fmla="*/ 44 w 689"/>
                  <a:gd name="T73" fmla="*/ 60 h 582"/>
                  <a:gd name="T74" fmla="*/ 54 w 689"/>
                  <a:gd name="T75" fmla="*/ 46 h 582"/>
                  <a:gd name="T76" fmla="*/ 67 w 689"/>
                  <a:gd name="T77" fmla="*/ 40 h 582"/>
                  <a:gd name="T78" fmla="*/ 646 w 689"/>
                  <a:gd name="T79" fmla="*/ 518 h 582"/>
                  <a:gd name="T80" fmla="*/ 628 w 689"/>
                  <a:gd name="T81" fmla="*/ 535 h 582"/>
                  <a:gd name="T82" fmla="*/ 73 w 689"/>
                  <a:gd name="T83" fmla="*/ 538 h 582"/>
                  <a:gd name="T84" fmla="*/ 50 w 689"/>
                  <a:gd name="T85" fmla="*/ 528 h 582"/>
                  <a:gd name="T86" fmla="*/ 40 w 689"/>
                  <a:gd name="T87" fmla="*/ 505 h 582"/>
                  <a:gd name="T88" fmla="*/ 43 w 689"/>
                  <a:gd name="T89" fmla="*/ 172 h 582"/>
                  <a:gd name="T90" fmla="*/ 61 w 689"/>
                  <a:gd name="T91" fmla="*/ 155 h 582"/>
                  <a:gd name="T92" fmla="*/ 616 w 689"/>
                  <a:gd name="T93" fmla="*/ 152 h 582"/>
                  <a:gd name="T94" fmla="*/ 639 w 689"/>
                  <a:gd name="T95" fmla="*/ 162 h 582"/>
                  <a:gd name="T96" fmla="*/ 649 w 689"/>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9" h="582">
                    <a:moveTo>
                      <a:pt x="657" y="0"/>
                    </a:moveTo>
                    <a:lnTo>
                      <a:pt x="32" y="0"/>
                    </a:lnTo>
                    <a:lnTo>
                      <a:pt x="32" y="0"/>
                    </a:lnTo>
                    <a:lnTo>
                      <a:pt x="26" y="0"/>
                    </a:lnTo>
                    <a:lnTo>
                      <a:pt x="19" y="3"/>
                    </a:lnTo>
                    <a:lnTo>
                      <a:pt x="13" y="5"/>
                    </a:lnTo>
                    <a:lnTo>
                      <a:pt x="9" y="9"/>
                    </a:lnTo>
                    <a:lnTo>
                      <a:pt x="5" y="15"/>
                    </a:lnTo>
                    <a:lnTo>
                      <a:pt x="3" y="20"/>
                    </a:lnTo>
                    <a:lnTo>
                      <a:pt x="0" y="25"/>
                    </a:lnTo>
                    <a:lnTo>
                      <a:pt x="0" y="32"/>
                    </a:lnTo>
                    <a:lnTo>
                      <a:pt x="0" y="550"/>
                    </a:lnTo>
                    <a:lnTo>
                      <a:pt x="0" y="550"/>
                    </a:lnTo>
                    <a:lnTo>
                      <a:pt x="0" y="557"/>
                    </a:lnTo>
                    <a:lnTo>
                      <a:pt x="3" y="562"/>
                    </a:lnTo>
                    <a:lnTo>
                      <a:pt x="5" y="567"/>
                    </a:lnTo>
                    <a:lnTo>
                      <a:pt x="9" y="573"/>
                    </a:lnTo>
                    <a:lnTo>
                      <a:pt x="13" y="577"/>
                    </a:lnTo>
                    <a:lnTo>
                      <a:pt x="19" y="580"/>
                    </a:lnTo>
                    <a:lnTo>
                      <a:pt x="26" y="582"/>
                    </a:lnTo>
                    <a:lnTo>
                      <a:pt x="32" y="582"/>
                    </a:lnTo>
                    <a:lnTo>
                      <a:pt x="657" y="582"/>
                    </a:lnTo>
                    <a:lnTo>
                      <a:pt x="657" y="582"/>
                    </a:lnTo>
                    <a:lnTo>
                      <a:pt x="663" y="582"/>
                    </a:lnTo>
                    <a:lnTo>
                      <a:pt x="669" y="580"/>
                    </a:lnTo>
                    <a:lnTo>
                      <a:pt x="674" y="577"/>
                    </a:lnTo>
                    <a:lnTo>
                      <a:pt x="680" y="573"/>
                    </a:lnTo>
                    <a:lnTo>
                      <a:pt x="684" y="567"/>
                    </a:lnTo>
                    <a:lnTo>
                      <a:pt x="686" y="562"/>
                    </a:lnTo>
                    <a:lnTo>
                      <a:pt x="689" y="557"/>
                    </a:lnTo>
                    <a:lnTo>
                      <a:pt x="689" y="550"/>
                    </a:lnTo>
                    <a:lnTo>
                      <a:pt x="689" y="32"/>
                    </a:lnTo>
                    <a:lnTo>
                      <a:pt x="689" y="32"/>
                    </a:lnTo>
                    <a:lnTo>
                      <a:pt x="689" y="25"/>
                    </a:lnTo>
                    <a:lnTo>
                      <a:pt x="686" y="20"/>
                    </a:lnTo>
                    <a:lnTo>
                      <a:pt x="684" y="15"/>
                    </a:lnTo>
                    <a:lnTo>
                      <a:pt x="680" y="9"/>
                    </a:lnTo>
                    <a:lnTo>
                      <a:pt x="674" y="5"/>
                    </a:lnTo>
                    <a:lnTo>
                      <a:pt x="669" y="3"/>
                    </a:lnTo>
                    <a:lnTo>
                      <a:pt x="663" y="0"/>
                    </a:lnTo>
                    <a:lnTo>
                      <a:pt x="657" y="0"/>
                    </a:lnTo>
                    <a:lnTo>
                      <a:pt x="657" y="0"/>
                    </a:lnTo>
                    <a:close/>
                    <a:moveTo>
                      <a:pt x="231" y="40"/>
                    </a:moveTo>
                    <a:lnTo>
                      <a:pt x="231" y="40"/>
                    </a:lnTo>
                    <a:lnTo>
                      <a:pt x="236" y="42"/>
                    </a:lnTo>
                    <a:lnTo>
                      <a:pt x="240" y="43"/>
                    </a:lnTo>
                    <a:lnTo>
                      <a:pt x="244" y="46"/>
                    </a:lnTo>
                    <a:lnTo>
                      <a:pt x="248" y="48"/>
                    </a:lnTo>
                    <a:lnTo>
                      <a:pt x="251" y="51"/>
                    </a:lnTo>
                    <a:lnTo>
                      <a:pt x="253" y="55"/>
                    </a:lnTo>
                    <a:lnTo>
                      <a:pt x="255" y="60"/>
                    </a:lnTo>
                    <a:lnTo>
                      <a:pt x="255" y="66"/>
                    </a:lnTo>
                    <a:lnTo>
                      <a:pt x="255" y="66"/>
                    </a:lnTo>
                    <a:lnTo>
                      <a:pt x="255" y="70"/>
                    </a:lnTo>
                    <a:lnTo>
                      <a:pt x="253" y="75"/>
                    </a:lnTo>
                    <a:lnTo>
                      <a:pt x="251" y="79"/>
                    </a:lnTo>
                    <a:lnTo>
                      <a:pt x="248" y="82"/>
                    </a:lnTo>
                    <a:lnTo>
                      <a:pt x="244" y="86"/>
                    </a:lnTo>
                    <a:lnTo>
                      <a:pt x="240" y="87"/>
                    </a:lnTo>
                    <a:lnTo>
                      <a:pt x="236" y="89"/>
                    </a:lnTo>
                    <a:lnTo>
                      <a:pt x="231" y="90"/>
                    </a:lnTo>
                    <a:lnTo>
                      <a:pt x="231" y="90"/>
                    </a:lnTo>
                    <a:lnTo>
                      <a:pt x="226" y="89"/>
                    </a:lnTo>
                    <a:lnTo>
                      <a:pt x="221" y="87"/>
                    </a:lnTo>
                    <a:lnTo>
                      <a:pt x="217" y="86"/>
                    </a:lnTo>
                    <a:lnTo>
                      <a:pt x="213" y="82"/>
                    </a:lnTo>
                    <a:lnTo>
                      <a:pt x="210" y="79"/>
                    </a:lnTo>
                    <a:lnTo>
                      <a:pt x="209" y="75"/>
                    </a:lnTo>
                    <a:lnTo>
                      <a:pt x="208" y="70"/>
                    </a:lnTo>
                    <a:lnTo>
                      <a:pt x="206" y="66"/>
                    </a:lnTo>
                    <a:lnTo>
                      <a:pt x="206" y="66"/>
                    </a:lnTo>
                    <a:lnTo>
                      <a:pt x="208" y="60"/>
                    </a:lnTo>
                    <a:lnTo>
                      <a:pt x="209" y="55"/>
                    </a:lnTo>
                    <a:lnTo>
                      <a:pt x="210" y="51"/>
                    </a:lnTo>
                    <a:lnTo>
                      <a:pt x="213" y="48"/>
                    </a:lnTo>
                    <a:lnTo>
                      <a:pt x="217" y="46"/>
                    </a:lnTo>
                    <a:lnTo>
                      <a:pt x="221" y="43"/>
                    </a:lnTo>
                    <a:lnTo>
                      <a:pt x="226" y="42"/>
                    </a:lnTo>
                    <a:lnTo>
                      <a:pt x="231" y="40"/>
                    </a:lnTo>
                    <a:lnTo>
                      <a:pt x="231" y="40"/>
                    </a:lnTo>
                    <a:close/>
                    <a:moveTo>
                      <a:pt x="150" y="40"/>
                    </a:moveTo>
                    <a:lnTo>
                      <a:pt x="150" y="40"/>
                    </a:lnTo>
                    <a:lnTo>
                      <a:pt x="154" y="42"/>
                    </a:lnTo>
                    <a:lnTo>
                      <a:pt x="159" y="43"/>
                    </a:lnTo>
                    <a:lnTo>
                      <a:pt x="163" y="46"/>
                    </a:lnTo>
                    <a:lnTo>
                      <a:pt x="167" y="48"/>
                    </a:lnTo>
                    <a:lnTo>
                      <a:pt x="170" y="51"/>
                    </a:lnTo>
                    <a:lnTo>
                      <a:pt x="173" y="55"/>
                    </a:lnTo>
                    <a:lnTo>
                      <a:pt x="174" y="60"/>
                    </a:lnTo>
                    <a:lnTo>
                      <a:pt x="174" y="66"/>
                    </a:lnTo>
                    <a:lnTo>
                      <a:pt x="174" y="66"/>
                    </a:lnTo>
                    <a:lnTo>
                      <a:pt x="174" y="70"/>
                    </a:lnTo>
                    <a:lnTo>
                      <a:pt x="173" y="75"/>
                    </a:lnTo>
                    <a:lnTo>
                      <a:pt x="170" y="79"/>
                    </a:lnTo>
                    <a:lnTo>
                      <a:pt x="167" y="82"/>
                    </a:lnTo>
                    <a:lnTo>
                      <a:pt x="163" y="86"/>
                    </a:lnTo>
                    <a:lnTo>
                      <a:pt x="159" y="87"/>
                    </a:lnTo>
                    <a:lnTo>
                      <a:pt x="154" y="89"/>
                    </a:lnTo>
                    <a:lnTo>
                      <a:pt x="150" y="90"/>
                    </a:lnTo>
                    <a:lnTo>
                      <a:pt x="150" y="90"/>
                    </a:lnTo>
                    <a:lnTo>
                      <a:pt x="144" y="89"/>
                    </a:lnTo>
                    <a:lnTo>
                      <a:pt x="140" y="87"/>
                    </a:lnTo>
                    <a:lnTo>
                      <a:pt x="136" y="86"/>
                    </a:lnTo>
                    <a:lnTo>
                      <a:pt x="132" y="82"/>
                    </a:lnTo>
                    <a:lnTo>
                      <a:pt x="129" y="79"/>
                    </a:lnTo>
                    <a:lnTo>
                      <a:pt x="127" y="75"/>
                    </a:lnTo>
                    <a:lnTo>
                      <a:pt x="125" y="70"/>
                    </a:lnTo>
                    <a:lnTo>
                      <a:pt x="125" y="66"/>
                    </a:lnTo>
                    <a:lnTo>
                      <a:pt x="125" y="66"/>
                    </a:lnTo>
                    <a:lnTo>
                      <a:pt x="125" y="60"/>
                    </a:lnTo>
                    <a:lnTo>
                      <a:pt x="127" y="55"/>
                    </a:lnTo>
                    <a:lnTo>
                      <a:pt x="129" y="51"/>
                    </a:lnTo>
                    <a:lnTo>
                      <a:pt x="132" y="48"/>
                    </a:lnTo>
                    <a:lnTo>
                      <a:pt x="136" y="46"/>
                    </a:lnTo>
                    <a:lnTo>
                      <a:pt x="140" y="43"/>
                    </a:lnTo>
                    <a:lnTo>
                      <a:pt x="144" y="42"/>
                    </a:lnTo>
                    <a:lnTo>
                      <a:pt x="150" y="40"/>
                    </a:lnTo>
                    <a:lnTo>
                      <a:pt x="150" y="40"/>
                    </a:lnTo>
                    <a:close/>
                    <a:moveTo>
                      <a:pt x="67" y="40"/>
                    </a:moveTo>
                    <a:lnTo>
                      <a:pt x="67" y="40"/>
                    </a:lnTo>
                    <a:lnTo>
                      <a:pt x="73" y="42"/>
                    </a:lnTo>
                    <a:lnTo>
                      <a:pt x="77" y="43"/>
                    </a:lnTo>
                    <a:lnTo>
                      <a:pt x="81" y="46"/>
                    </a:lnTo>
                    <a:lnTo>
                      <a:pt x="85" y="48"/>
                    </a:lnTo>
                    <a:lnTo>
                      <a:pt x="88" y="51"/>
                    </a:lnTo>
                    <a:lnTo>
                      <a:pt x="90" y="55"/>
                    </a:lnTo>
                    <a:lnTo>
                      <a:pt x="92" y="60"/>
                    </a:lnTo>
                    <a:lnTo>
                      <a:pt x="92" y="66"/>
                    </a:lnTo>
                    <a:lnTo>
                      <a:pt x="92" y="66"/>
                    </a:lnTo>
                    <a:lnTo>
                      <a:pt x="92" y="70"/>
                    </a:lnTo>
                    <a:lnTo>
                      <a:pt x="90" y="75"/>
                    </a:lnTo>
                    <a:lnTo>
                      <a:pt x="88" y="79"/>
                    </a:lnTo>
                    <a:lnTo>
                      <a:pt x="85" y="82"/>
                    </a:lnTo>
                    <a:lnTo>
                      <a:pt x="81" y="86"/>
                    </a:lnTo>
                    <a:lnTo>
                      <a:pt x="77" y="87"/>
                    </a:lnTo>
                    <a:lnTo>
                      <a:pt x="73" y="89"/>
                    </a:lnTo>
                    <a:lnTo>
                      <a:pt x="67" y="90"/>
                    </a:lnTo>
                    <a:lnTo>
                      <a:pt x="67" y="90"/>
                    </a:lnTo>
                    <a:lnTo>
                      <a:pt x="63" y="89"/>
                    </a:lnTo>
                    <a:lnTo>
                      <a:pt x="58" y="87"/>
                    </a:lnTo>
                    <a:lnTo>
                      <a:pt x="54" y="86"/>
                    </a:lnTo>
                    <a:lnTo>
                      <a:pt x="51" y="82"/>
                    </a:lnTo>
                    <a:lnTo>
                      <a:pt x="47" y="79"/>
                    </a:lnTo>
                    <a:lnTo>
                      <a:pt x="46" y="75"/>
                    </a:lnTo>
                    <a:lnTo>
                      <a:pt x="44" y="70"/>
                    </a:lnTo>
                    <a:lnTo>
                      <a:pt x="43" y="66"/>
                    </a:lnTo>
                    <a:lnTo>
                      <a:pt x="43" y="66"/>
                    </a:lnTo>
                    <a:lnTo>
                      <a:pt x="44" y="60"/>
                    </a:lnTo>
                    <a:lnTo>
                      <a:pt x="46" y="55"/>
                    </a:lnTo>
                    <a:lnTo>
                      <a:pt x="47" y="51"/>
                    </a:lnTo>
                    <a:lnTo>
                      <a:pt x="51" y="48"/>
                    </a:lnTo>
                    <a:lnTo>
                      <a:pt x="54" y="46"/>
                    </a:lnTo>
                    <a:lnTo>
                      <a:pt x="58" y="43"/>
                    </a:lnTo>
                    <a:lnTo>
                      <a:pt x="63" y="42"/>
                    </a:lnTo>
                    <a:lnTo>
                      <a:pt x="67" y="40"/>
                    </a:lnTo>
                    <a:lnTo>
                      <a:pt x="67" y="40"/>
                    </a:lnTo>
                    <a:close/>
                    <a:moveTo>
                      <a:pt x="649" y="505"/>
                    </a:moveTo>
                    <a:lnTo>
                      <a:pt x="649" y="505"/>
                    </a:lnTo>
                    <a:lnTo>
                      <a:pt x="647" y="511"/>
                    </a:lnTo>
                    <a:lnTo>
                      <a:pt x="646" y="518"/>
                    </a:lnTo>
                    <a:lnTo>
                      <a:pt x="643" y="523"/>
                    </a:lnTo>
                    <a:lnTo>
                      <a:pt x="639" y="528"/>
                    </a:lnTo>
                    <a:lnTo>
                      <a:pt x="634" y="532"/>
                    </a:lnTo>
                    <a:lnTo>
                      <a:pt x="628" y="535"/>
                    </a:lnTo>
                    <a:lnTo>
                      <a:pt x="623" y="536"/>
                    </a:lnTo>
                    <a:lnTo>
                      <a:pt x="616" y="538"/>
                    </a:lnTo>
                    <a:lnTo>
                      <a:pt x="73" y="538"/>
                    </a:lnTo>
                    <a:lnTo>
                      <a:pt x="73" y="538"/>
                    </a:lnTo>
                    <a:lnTo>
                      <a:pt x="66" y="536"/>
                    </a:lnTo>
                    <a:lnTo>
                      <a:pt x="61" y="535"/>
                    </a:lnTo>
                    <a:lnTo>
                      <a:pt x="55" y="532"/>
                    </a:lnTo>
                    <a:lnTo>
                      <a:pt x="50" y="528"/>
                    </a:lnTo>
                    <a:lnTo>
                      <a:pt x="46" y="523"/>
                    </a:lnTo>
                    <a:lnTo>
                      <a:pt x="43" y="518"/>
                    </a:lnTo>
                    <a:lnTo>
                      <a:pt x="40" y="511"/>
                    </a:lnTo>
                    <a:lnTo>
                      <a:pt x="40" y="505"/>
                    </a:lnTo>
                    <a:lnTo>
                      <a:pt x="40" y="185"/>
                    </a:lnTo>
                    <a:lnTo>
                      <a:pt x="40" y="185"/>
                    </a:lnTo>
                    <a:lnTo>
                      <a:pt x="40" y="179"/>
                    </a:lnTo>
                    <a:lnTo>
                      <a:pt x="43" y="172"/>
                    </a:lnTo>
                    <a:lnTo>
                      <a:pt x="46" y="167"/>
                    </a:lnTo>
                    <a:lnTo>
                      <a:pt x="50" y="162"/>
                    </a:lnTo>
                    <a:lnTo>
                      <a:pt x="55" y="158"/>
                    </a:lnTo>
                    <a:lnTo>
                      <a:pt x="61" y="155"/>
                    </a:lnTo>
                    <a:lnTo>
                      <a:pt x="66" y="154"/>
                    </a:lnTo>
                    <a:lnTo>
                      <a:pt x="73" y="152"/>
                    </a:lnTo>
                    <a:lnTo>
                      <a:pt x="616" y="152"/>
                    </a:lnTo>
                    <a:lnTo>
                      <a:pt x="616" y="152"/>
                    </a:lnTo>
                    <a:lnTo>
                      <a:pt x="623" y="154"/>
                    </a:lnTo>
                    <a:lnTo>
                      <a:pt x="628" y="155"/>
                    </a:lnTo>
                    <a:lnTo>
                      <a:pt x="634" y="158"/>
                    </a:lnTo>
                    <a:lnTo>
                      <a:pt x="639" y="162"/>
                    </a:lnTo>
                    <a:lnTo>
                      <a:pt x="643" y="167"/>
                    </a:lnTo>
                    <a:lnTo>
                      <a:pt x="646" y="172"/>
                    </a:lnTo>
                    <a:lnTo>
                      <a:pt x="647" y="179"/>
                    </a:lnTo>
                    <a:lnTo>
                      <a:pt x="649" y="185"/>
                    </a:lnTo>
                    <a:lnTo>
                      <a:pt x="649" y="505"/>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grpSp>
        <p:sp>
          <p:nvSpPr>
            <p:cNvPr id="749" name="Rounded Rectangle 191"/>
            <p:cNvSpPr/>
            <p:nvPr/>
          </p:nvSpPr>
          <p:spPr>
            <a:xfrm>
              <a:off x="4913891" y="3155554"/>
              <a:ext cx="457200" cy="91440"/>
            </a:xfrm>
            <a:prstGeom prst="rect">
              <a:avLst/>
            </a:prstGeom>
            <a:noFill/>
            <a:ln w="25400" cap="flat" cmpd="sng" algn="ctr">
              <a:noFill/>
              <a:prstDash val="solid"/>
            </a:ln>
            <a:effectLst/>
          </p:spPr>
          <p:txBody>
            <a:bodyPr lIns="0" rIns="0" rtlCol="0" anchor="ctr"/>
            <a:lstStyle/>
            <a:p>
              <a:pPr algn="ctr" defTabSz="685282">
                <a:defRPr/>
              </a:pPr>
              <a:r>
                <a:rPr lang="en-US" sz="600" kern="0" dirty="0">
                  <a:latin typeface="+mj-lt"/>
                </a:rPr>
                <a:t>AnyConnect</a:t>
              </a:r>
            </a:p>
          </p:txBody>
        </p:sp>
      </p:grpSp>
      <p:cxnSp>
        <p:nvCxnSpPr>
          <p:cNvPr id="760" name="Straight Connector 759"/>
          <p:cNvCxnSpPr/>
          <p:nvPr/>
        </p:nvCxnSpPr>
        <p:spPr>
          <a:xfrm>
            <a:off x="3829232" y="2984298"/>
            <a:ext cx="0" cy="262330"/>
          </a:xfrm>
          <a:prstGeom prst="line">
            <a:avLst/>
          </a:prstGeom>
          <a:noFill/>
          <a:ln w="9525" cap="flat" cmpd="sng" algn="ctr">
            <a:solidFill>
              <a:srgbClr val="435153"/>
            </a:solidFill>
            <a:prstDash val="solid"/>
          </a:ln>
          <a:effectLst/>
        </p:spPr>
      </p:cxnSp>
      <p:sp>
        <p:nvSpPr>
          <p:cNvPr id="762" name="Rounded Rectangle 191"/>
          <p:cNvSpPr/>
          <p:nvPr/>
        </p:nvSpPr>
        <p:spPr>
          <a:xfrm>
            <a:off x="3394534" y="3335221"/>
            <a:ext cx="54619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Explicit/PAC</a:t>
            </a:r>
          </a:p>
        </p:txBody>
      </p:sp>
      <p:grpSp>
        <p:nvGrpSpPr>
          <p:cNvPr id="82" name="Group 762"/>
          <p:cNvGrpSpPr/>
          <p:nvPr/>
        </p:nvGrpSpPr>
        <p:grpSpPr>
          <a:xfrm>
            <a:off x="3378489" y="3079388"/>
            <a:ext cx="242947" cy="170398"/>
            <a:chOff x="2959121" y="3359566"/>
            <a:chExt cx="254051" cy="178186"/>
          </a:xfrm>
        </p:grpSpPr>
        <p:sp>
          <p:nvSpPr>
            <p:cNvPr id="769" name="Freeform 136"/>
            <p:cNvSpPr>
              <a:spLocks noEditPoints="1"/>
            </p:cNvSpPr>
            <p:nvPr/>
          </p:nvSpPr>
          <p:spPr bwMode="auto">
            <a:xfrm>
              <a:off x="2959121" y="3485550"/>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70" name="Freeform 136"/>
            <p:cNvSpPr>
              <a:spLocks noEditPoints="1"/>
            </p:cNvSpPr>
            <p:nvPr/>
          </p:nvSpPr>
          <p:spPr bwMode="auto">
            <a:xfrm>
              <a:off x="2959121" y="3422558"/>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sp>
          <p:nvSpPr>
            <p:cNvPr id="771" name="Freeform 136"/>
            <p:cNvSpPr>
              <a:spLocks noEditPoints="1"/>
            </p:cNvSpPr>
            <p:nvPr/>
          </p:nvSpPr>
          <p:spPr bwMode="auto">
            <a:xfrm>
              <a:off x="2959121" y="3359566"/>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grpSp>
      <p:sp>
        <p:nvSpPr>
          <p:cNvPr id="764" name="Rounded Rectangle 191"/>
          <p:cNvSpPr/>
          <p:nvPr/>
        </p:nvSpPr>
        <p:spPr>
          <a:xfrm>
            <a:off x="3284336" y="2972594"/>
            <a:ext cx="431246"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Explicit/PAC</a:t>
            </a:r>
          </a:p>
        </p:txBody>
      </p:sp>
      <p:grpSp>
        <p:nvGrpSpPr>
          <p:cNvPr id="83" name="Group 764"/>
          <p:cNvGrpSpPr/>
          <p:nvPr/>
        </p:nvGrpSpPr>
        <p:grpSpPr>
          <a:xfrm>
            <a:off x="3546158" y="3439844"/>
            <a:ext cx="242947" cy="170398"/>
            <a:chOff x="2959121" y="3379886"/>
            <a:chExt cx="254051" cy="178186"/>
          </a:xfrm>
        </p:grpSpPr>
        <p:sp>
          <p:nvSpPr>
            <p:cNvPr id="766" name="Freeform 136"/>
            <p:cNvSpPr>
              <a:spLocks noEditPoints="1"/>
            </p:cNvSpPr>
            <p:nvPr/>
          </p:nvSpPr>
          <p:spPr bwMode="auto">
            <a:xfrm>
              <a:off x="2959121" y="3505870"/>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67" name="Freeform 136"/>
            <p:cNvSpPr>
              <a:spLocks noEditPoints="1"/>
            </p:cNvSpPr>
            <p:nvPr/>
          </p:nvSpPr>
          <p:spPr bwMode="auto">
            <a:xfrm>
              <a:off x="2959121" y="3442878"/>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sp>
          <p:nvSpPr>
            <p:cNvPr id="768" name="Freeform 136"/>
            <p:cNvSpPr>
              <a:spLocks noEditPoints="1"/>
            </p:cNvSpPr>
            <p:nvPr/>
          </p:nvSpPr>
          <p:spPr bwMode="auto">
            <a:xfrm>
              <a:off x="2959121" y="3379886"/>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grpSp>
      <p:grpSp>
        <p:nvGrpSpPr>
          <p:cNvPr id="94" name="Group 771"/>
          <p:cNvGrpSpPr/>
          <p:nvPr/>
        </p:nvGrpSpPr>
        <p:grpSpPr>
          <a:xfrm>
            <a:off x="1849537" y="3730614"/>
            <a:ext cx="469484" cy="807887"/>
            <a:chOff x="2273348" y="3963321"/>
            <a:chExt cx="490943" cy="844813"/>
          </a:xfrm>
        </p:grpSpPr>
        <p:cxnSp>
          <p:nvCxnSpPr>
            <p:cNvPr id="773" name="Straight Connector 772"/>
            <p:cNvCxnSpPr/>
            <p:nvPr/>
          </p:nvCxnSpPr>
          <p:spPr>
            <a:xfrm flipV="1">
              <a:off x="2273348" y="4520380"/>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74" name="Straight Connector 773"/>
            <p:cNvCxnSpPr/>
            <p:nvPr/>
          </p:nvCxnSpPr>
          <p:spPr>
            <a:xfrm>
              <a:off x="2764291" y="3963321"/>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grpSp>
        <p:nvGrpSpPr>
          <p:cNvPr id="95" name="Group 774"/>
          <p:cNvGrpSpPr/>
          <p:nvPr/>
        </p:nvGrpSpPr>
        <p:grpSpPr>
          <a:xfrm>
            <a:off x="3006949" y="3731810"/>
            <a:ext cx="469484" cy="807886"/>
            <a:chOff x="3787922" y="3964575"/>
            <a:chExt cx="490943" cy="844812"/>
          </a:xfrm>
        </p:grpSpPr>
        <p:cxnSp>
          <p:nvCxnSpPr>
            <p:cNvPr id="776" name="Straight Connector 775"/>
            <p:cNvCxnSpPr/>
            <p:nvPr/>
          </p:nvCxnSpPr>
          <p:spPr>
            <a:xfrm flipV="1">
              <a:off x="3787922" y="4521633"/>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77" name="Straight Connector 776"/>
            <p:cNvCxnSpPr/>
            <p:nvPr/>
          </p:nvCxnSpPr>
          <p:spPr>
            <a:xfrm>
              <a:off x="4278864" y="3964575"/>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sp>
        <p:nvSpPr>
          <p:cNvPr id="778" name="Freeform 777"/>
          <p:cNvSpPr/>
          <p:nvPr/>
        </p:nvSpPr>
        <p:spPr>
          <a:xfrm>
            <a:off x="4764528" y="3654135"/>
            <a:ext cx="322365" cy="495282"/>
          </a:xfrm>
          <a:custGeom>
            <a:avLst/>
            <a:gdLst>
              <a:gd name="connsiteX0" fmla="*/ 259649 w 337099"/>
              <a:gd name="connsiteY0" fmla="*/ 0 h 517920"/>
              <a:gd name="connsiteX1" fmla="*/ 337099 w 337099"/>
              <a:gd name="connsiteY1" fmla="*/ 73586 h 517920"/>
              <a:gd name="connsiteX2" fmla="*/ 293967 w 337099"/>
              <a:gd name="connsiteY2" fmla="*/ 73586 h 517920"/>
              <a:gd name="connsiteX3" fmla="*/ 293967 w 337099"/>
              <a:gd name="connsiteY3" fmla="*/ 517920 h 517920"/>
              <a:gd name="connsiteX4" fmla="*/ 0 w 337099"/>
              <a:gd name="connsiteY4" fmla="*/ 517920 h 517920"/>
              <a:gd name="connsiteX5" fmla="*/ 0 w 337099"/>
              <a:gd name="connsiteY5" fmla="*/ 449285 h 517920"/>
              <a:gd name="connsiteX6" fmla="*/ 225332 w 337099"/>
              <a:gd name="connsiteY6" fmla="*/ 449285 h 517920"/>
              <a:gd name="connsiteX7" fmla="*/ 225332 w 337099"/>
              <a:gd name="connsiteY7" fmla="*/ 73586 h 517920"/>
              <a:gd name="connsiteX8" fmla="*/ 182199 w 337099"/>
              <a:gd name="connsiteY8" fmla="*/ 73586 h 5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099" h="517920">
                <a:moveTo>
                  <a:pt x="259649" y="0"/>
                </a:moveTo>
                <a:lnTo>
                  <a:pt x="337099" y="73586"/>
                </a:lnTo>
                <a:lnTo>
                  <a:pt x="293967" y="73586"/>
                </a:lnTo>
                <a:lnTo>
                  <a:pt x="293967" y="517920"/>
                </a:lnTo>
                <a:lnTo>
                  <a:pt x="0" y="517920"/>
                </a:lnTo>
                <a:lnTo>
                  <a:pt x="0" y="449285"/>
                </a:lnTo>
                <a:lnTo>
                  <a:pt x="225332" y="449285"/>
                </a:lnTo>
                <a:lnTo>
                  <a:pt x="225332" y="73586"/>
                </a:lnTo>
                <a:lnTo>
                  <a:pt x="182199"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79" name="Freeform 778"/>
          <p:cNvSpPr/>
          <p:nvPr/>
        </p:nvSpPr>
        <p:spPr>
          <a:xfrm>
            <a:off x="2913429" y="3639933"/>
            <a:ext cx="1062268" cy="496011"/>
          </a:xfrm>
          <a:custGeom>
            <a:avLst/>
            <a:gdLst>
              <a:gd name="connsiteX0" fmla="*/ 1033371 w 1110821"/>
              <a:gd name="connsiteY0" fmla="*/ 0 h 518682"/>
              <a:gd name="connsiteX1" fmla="*/ 1110821 w 1110821"/>
              <a:gd name="connsiteY1" fmla="*/ 73586 h 518682"/>
              <a:gd name="connsiteX2" fmla="*/ 1067689 w 1110821"/>
              <a:gd name="connsiteY2" fmla="*/ 73586 h 518682"/>
              <a:gd name="connsiteX3" fmla="*/ 1067689 w 1110821"/>
              <a:gd name="connsiteY3" fmla="*/ 517920 h 518682"/>
              <a:gd name="connsiteX4" fmla="*/ 926903 w 1110821"/>
              <a:gd name="connsiteY4" fmla="*/ 517920 h 518682"/>
              <a:gd name="connsiteX5" fmla="*/ 773722 w 1110821"/>
              <a:gd name="connsiteY5" fmla="*/ 517920 h 518682"/>
              <a:gd name="connsiteX6" fmla="*/ 602192 w 1110821"/>
              <a:gd name="connsiteY6" fmla="*/ 517920 h 518682"/>
              <a:gd name="connsiteX7" fmla="*/ 602192 w 1110821"/>
              <a:gd name="connsiteY7" fmla="*/ 518682 h 518682"/>
              <a:gd name="connsiteX8" fmla="*/ 90299 w 1110821"/>
              <a:gd name="connsiteY8" fmla="*/ 518682 h 518682"/>
              <a:gd name="connsiteX9" fmla="*/ 90299 w 1110821"/>
              <a:gd name="connsiteY9" fmla="*/ 517774 h 518682"/>
              <a:gd name="connsiteX10" fmla="*/ 0 w 1110821"/>
              <a:gd name="connsiteY10" fmla="*/ 517774 h 518682"/>
              <a:gd name="connsiteX11" fmla="*/ 0 w 1110821"/>
              <a:gd name="connsiteY11" fmla="*/ 450029 h 518682"/>
              <a:gd name="connsiteX12" fmla="*/ 90299 w 1110821"/>
              <a:gd name="connsiteY12" fmla="*/ 450029 h 518682"/>
              <a:gd name="connsiteX13" fmla="*/ 90299 w 1110821"/>
              <a:gd name="connsiteY13" fmla="*/ 446499 h 518682"/>
              <a:gd name="connsiteX14" fmla="*/ 602192 w 1110821"/>
              <a:gd name="connsiteY14" fmla="*/ 446499 h 518682"/>
              <a:gd name="connsiteX15" fmla="*/ 602192 w 1110821"/>
              <a:gd name="connsiteY15" fmla="*/ 448622 h 518682"/>
              <a:gd name="connsiteX16" fmla="*/ 926903 w 1110821"/>
              <a:gd name="connsiteY16" fmla="*/ 448622 h 518682"/>
              <a:gd name="connsiteX17" fmla="*/ 926903 w 1110821"/>
              <a:gd name="connsiteY17" fmla="*/ 449285 h 518682"/>
              <a:gd name="connsiteX18" fmla="*/ 999054 w 1110821"/>
              <a:gd name="connsiteY18" fmla="*/ 449285 h 518682"/>
              <a:gd name="connsiteX19" fmla="*/ 999054 w 1110821"/>
              <a:gd name="connsiteY19" fmla="*/ 73586 h 518682"/>
              <a:gd name="connsiteX20" fmla="*/ 955921 w 1110821"/>
              <a:gd name="connsiteY20" fmla="*/ 73586 h 51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0821" h="518682">
                <a:moveTo>
                  <a:pt x="1033371" y="0"/>
                </a:moveTo>
                <a:lnTo>
                  <a:pt x="1110821" y="73586"/>
                </a:lnTo>
                <a:lnTo>
                  <a:pt x="1067689" y="73586"/>
                </a:lnTo>
                <a:lnTo>
                  <a:pt x="1067689" y="517920"/>
                </a:lnTo>
                <a:lnTo>
                  <a:pt x="926903" y="517920"/>
                </a:lnTo>
                <a:lnTo>
                  <a:pt x="773722" y="517920"/>
                </a:lnTo>
                <a:lnTo>
                  <a:pt x="602192" y="517920"/>
                </a:lnTo>
                <a:lnTo>
                  <a:pt x="602192" y="518682"/>
                </a:lnTo>
                <a:lnTo>
                  <a:pt x="90299" y="518682"/>
                </a:lnTo>
                <a:lnTo>
                  <a:pt x="90299" y="517774"/>
                </a:lnTo>
                <a:lnTo>
                  <a:pt x="0" y="517774"/>
                </a:lnTo>
                <a:lnTo>
                  <a:pt x="0" y="450029"/>
                </a:lnTo>
                <a:lnTo>
                  <a:pt x="90299" y="450029"/>
                </a:lnTo>
                <a:lnTo>
                  <a:pt x="90299" y="446499"/>
                </a:lnTo>
                <a:lnTo>
                  <a:pt x="602192" y="446499"/>
                </a:lnTo>
                <a:lnTo>
                  <a:pt x="602192" y="448622"/>
                </a:lnTo>
                <a:lnTo>
                  <a:pt x="926903" y="448622"/>
                </a:lnTo>
                <a:lnTo>
                  <a:pt x="926903" y="449285"/>
                </a:lnTo>
                <a:lnTo>
                  <a:pt x="999054" y="449285"/>
                </a:lnTo>
                <a:lnTo>
                  <a:pt x="999054" y="73586"/>
                </a:lnTo>
                <a:lnTo>
                  <a:pt x="955921"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80" name="Freeform 779"/>
          <p:cNvSpPr/>
          <p:nvPr/>
        </p:nvSpPr>
        <p:spPr>
          <a:xfrm>
            <a:off x="1734714" y="3654135"/>
            <a:ext cx="322365" cy="495282"/>
          </a:xfrm>
          <a:custGeom>
            <a:avLst/>
            <a:gdLst>
              <a:gd name="connsiteX0" fmla="*/ 259649 w 337099"/>
              <a:gd name="connsiteY0" fmla="*/ 0 h 517920"/>
              <a:gd name="connsiteX1" fmla="*/ 337099 w 337099"/>
              <a:gd name="connsiteY1" fmla="*/ 73586 h 517920"/>
              <a:gd name="connsiteX2" fmla="*/ 293967 w 337099"/>
              <a:gd name="connsiteY2" fmla="*/ 73586 h 517920"/>
              <a:gd name="connsiteX3" fmla="*/ 293967 w 337099"/>
              <a:gd name="connsiteY3" fmla="*/ 517920 h 517920"/>
              <a:gd name="connsiteX4" fmla="*/ 0 w 337099"/>
              <a:gd name="connsiteY4" fmla="*/ 517920 h 517920"/>
              <a:gd name="connsiteX5" fmla="*/ 0 w 337099"/>
              <a:gd name="connsiteY5" fmla="*/ 449285 h 517920"/>
              <a:gd name="connsiteX6" fmla="*/ 225332 w 337099"/>
              <a:gd name="connsiteY6" fmla="*/ 449285 h 517920"/>
              <a:gd name="connsiteX7" fmla="*/ 225332 w 337099"/>
              <a:gd name="connsiteY7" fmla="*/ 73586 h 517920"/>
              <a:gd name="connsiteX8" fmla="*/ 182199 w 337099"/>
              <a:gd name="connsiteY8" fmla="*/ 73586 h 5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099" h="517920">
                <a:moveTo>
                  <a:pt x="259649" y="0"/>
                </a:moveTo>
                <a:lnTo>
                  <a:pt x="337099" y="73586"/>
                </a:lnTo>
                <a:lnTo>
                  <a:pt x="293967" y="73586"/>
                </a:lnTo>
                <a:lnTo>
                  <a:pt x="293967" y="517920"/>
                </a:lnTo>
                <a:lnTo>
                  <a:pt x="0" y="517920"/>
                </a:lnTo>
                <a:lnTo>
                  <a:pt x="0" y="449285"/>
                </a:lnTo>
                <a:lnTo>
                  <a:pt x="225332" y="449285"/>
                </a:lnTo>
                <a:lnTo>
                  <a:pt x="225332" y="73586"/>
                </a:lnTo>
                <a:lnTo>
                  <a:pt x="182199"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81" name="Rectangle 780"/>
          <p:cNvSpPr/>
          <p:nvPr/>
        </p:nvSpPr>
        <p:spPr>
          <a:xfrm>
            <a:off x="745971" y="2942415"/>
            <a:ext cx="559019" cy="694540"/>
          </a:xfrm>
          <a:prstGeom prst="rect">
            <a:avLst/>
          </a:prstGeom>
          <a:solidFill>
            <a:schemeClr val="accent3">
              <a:lumMod val="75000"/>
            </a:schemeClr>
          </a:solidFill>
          <a:ln w="6350" cap="flat" cmpd="sng" algn="ctr">
            <a:solidFill>
              <a:schemeClr val="bg1">
                <a:lumMod val="50000"/>
              </a:schemeClr>
            </a:solidFill>
            <a:prstDash val="solid"/>
          </a:ln>
          <a:effectLst/>
        </p:spPr>
        <p:txBody>
          <a:bodyPr lIns="45718" tIns="45718" rIns="0" bIns="45718" rtlCol="0" anchor="b"/>
          <a:lstStyle/>
          <a:p>
            <a:pPr defTabSz="913661">
              <a:defRPr/>
            </a:pPr>
            <a:r>
              <a:rPr lang="ja-JP" altLang="en-US" sz="700" kern="0" dirty="0" smtClean="0">
                <a:solidFill>
                  <a:schemeClr val="bg1"/>
                </a:solidFill>
                <a:latin typeface="+mj-lt"/>
                <a:ea typeface="+mn-ea"/>
                <a:cs typeface="+mn-cs"/>
              </a:rPr>
              <a:t>トラフィック</a:t>
            </a:r>
            <a:endParaRPr lang="en-US" altLang="ja-JP" sz="700" kern="0" dirty="0" smtClean="0">
              <a:solidFill>
                <a:schemeClr val="bg1"/>
              </a:solidFill>
              <a:latin typeface="+mj-lt"/>
              <a:ea typeface="+mn-ea"/>
              <a:cs typeface="+mn-cs"/>
            </a:endParaRPr>
          </a:p>
          <a:p>
            <a:pPr defTabSz="913661">
              <a:defRPr/>
            </a:pPr>
            <a:r>
              <a:rPr lang="ja-JP" altLang="en-US" sz="700" kern="0" dirty="0" smtClean="0">
                <a:solidFill>
                  <a:schemeClr val="bg1"/>
                </a:solidFill>
                <a:latin typeface="+mj-lt"/>
                <a:ea typeface="+mn-ea"/>
                <a:cs typeface="+mn-cs"/>
              </a:rPr>
              <a:t>リダイレクト</a:t>
            </a:r>
            <a:endParaRPr lang="en-US" altLang="ja-JP" sz="700" kern="0" dirty="0" smtClean="0">
              <a:solidFill>
                <a:schemeClr val="bg1"/>
              </a:solidFill>
              <a:latin typeface="+mj-lt"/>
              <a:ea typeface="+mn-ea"/>
              <a:cs typeface="+mn-cs"/>
            </a:endParaRPr>
          </a:p>
          <a:p>
            <a:pPr defTabSz="913661">
              <a:defRPr/>
            </a:pPr>
            <a:r>
              <a:rPr lang="ja-JP" altLang="en-US" sz="700" kern="0" dirty="0" smtClean="0">
                <a:solidFill>
                  <a:schemeClr val="bg1"/>
                </a:solidFill>
                <a:latin typeface="+mj-lt"/>
                <a:ea typeface="+mn-ea"/>
                <a:cs typeface="+mn-cs"/>
              </a:rPr>
              <a:t>方法</a:t>
            </a:r>
            <a:endParaRPr lang="en-US" sz="700" kern="0" dirty="0">
              <a:solidFill>
                <a:schemeClr val="bg1"/>
              </a:solidFill>
              <a:latin typeface="+mj-lt"/>
              <a:ea typeface="+mn-ea"/>
              <a:cs typeface="+mn-cs"/>
            </a:endParaRPr>
          </a:p>
        </p:txBody>
      </p:sp>
      <p:sp>
        <p:nvSpPr>
          <p:cNvPr id="782" name="Freeform 246"/>
          <p:cNvSpPr>
            <a:spLocks noEditPoints="1"/>
          </p:cNvSpPr>
          <p:nvPr/>
        </p:nvSpPr>
        <p:spPr bwMode="auto">
          <a:xfrm>
            <a:off x="844787" y="3011501"/>
            <a:ext cx="355066" cy="232720"/>
          </a:xfrm>
          <a:custGeom>
            <a:avLst/>
            <a:gdLst>
              <a:gd name="T0" fmla="*/ 947 w 1585"/>
              <a:gd name="T1" fmla="*/ 428 h 1236"/>
              <a:gd name="T2" fmla="*/ 482 w 1585"/>
              <a:gd name="T3" fmla="*/ 1085 h 1236"/>
              <a:gd name="T4" fmla="*/ 432 w 1585"/>
              <a:gd name="T5" fmla="*/ 1116 h 1236"/>
              <a:gd name="T6" fmla="*/ 92 w 1585"/>
              <a:gd name="T7" fmla="*/ 1118 h 1236"/>
              <a:gd name="T8" fmla="*/ 45 w 1585"/>
              <a:gd name="T9" fmla="*/ 1099 h 1236"/>
              <a:gd name="T10" fmla="*/ 12 w 1585"/>
              <a:gd name="T11" fmla="*/ 1058 h 1236"/>
              <a:gd name="T12" fmla="*/ 0 w 1585"/>
              <a:gd name="T13" fmla="*/ 1004 h 1236"/>
              <a:gd name="T14" fmla="*/ 8 w 1585"/>
              <a:gd name="T15" fmla="*/ 959 h 1236"/>
              <a:gd name="T16" fmla="*/ 38 w 1585"/>
              <a:gd name="T17" fmla="*/ 914 h 1236"/>
              <a:gd name="T18" fmla="*/ 82 w 1585"/>
              <a:gd name="T19" fmla="*/ 890 h 1236"/>
              <a:gd name="T20" fmla="*/ 225 w 1585"/>
              <a:gd name="T21" fmla="*/ 894 h 1236"/>
              <a:gd name="T22" fmla="*/ 357 w 1585"/>
              <a:gd name="T23" fmla="*/ 890 h 1236"/>
              <a:gd name="T24" fmla="*/ 424 w 1585"/>
              <a:gd name="T25" fmla="*/ 808 h 1236"/>
              <a:gd name="T26" fmla="*/ 881 w 1585"/>
              <a:gd name="T27" fmla="*/ 159 h 1236"/>
              <a:gd name="T28" fmla="*/ 927 w 1585"/>
              <a:gd name="T29" fmla="*/ 123 h 1236"/>
              <a:gd name="T30" fmla="*/ 1217 w 1585"/>
              <a:gd name="T31" fmla="*/ 117 h 1236"/>
              <a:gd name="T32" fmla="*/ 1231 w 1585"/>
              <a:gd name="T33" fmla="*/ 7 h 1236"/>
              <a:gd name="T34" fmla="*/ 1252 w 1585"/>
              <a:gd name="T35" fmla="*/ 2 h 1236"/>
              <a:gd name="T36" fmla="*/ 1427 w 1585"/>
              <a:gd name="T37" fmla="*/ 103 h 1236"/>
              <a:gd name="T38" fmla="*/ 1572 w 1585"/>
              <a:gd name="T39" fmla="*/ 213 h 1236"/>
              <a:gd name="T40" fmla="*/ 1585 w 1585"/>
              <a:gd name="T41" fmla="*/ 234 h 1236"/>
              <a:gd name="T42" fmla="*/ 1570 w 1585"/>
              <a:gd name="T43" fmla="*/ 260 h 1236"/>
              <a:gd name="T44" fmla="*/ 1400 w 1585"/>
              <a:gd name="T45" fmla="*/ 384 h 1236"/>
              <a:gd name="T46" fmla="*/ 1252 w 1585"/>
              <a:gd name="T47" fmla="*/ 465 h 1236"/>
              <a:gd name="T48" fmla="*/ 1232 w 1585"/>
              <a:gd name="T49" fmla="*/ 463 h 1236"/>
              <a:gd name="T50" fmla="*/ 1221 w 1585"/>
              <a:gd name="T51" fmla="*/ 431 h 1236"/>
              <a:gd name="T52" fmla="*/ 1150 w 1585"/>
              <a:gd name="T53" fmla="*/ 344 h 1236"/>
              <a:gd name="T54" fmla="*/ 1013 w 1585"/>
              <a:gd name="T55" fmla="*/ 345 h 1236"/>
              <a:gd name="T56" fmla="*/ 168 w 1585"/>
              <a:gd name="T57" fmla="*/ 346 h 1236"/>
              <a:gd name="T58" fmla="*/ 347 w 1585"/>
              <a:gd name="T59" fmla="*/ 345 h 1236"/>
              <a:gd name="T60" fmla="*/ 419 w 1585"/>
              <a:gd name="T61" fmla="*/ 423 h 1236"/>
              <a:gd name="T62" fmla="*/ 489 w 1585"/>
              <a:gd name="T63" fmla="*/ 159 h 1236"/>
              <a:gd name="T64" fmla="*/ 454 w 1585"/>
              <a:gd name="T65" fmla="*/ 128 h 1236"/>
              <a:gd name="T66" fmla="*/ 103 w 1585"/>
              <a:gd name="T67" fmla="*/ 117 h 1236"/>
              <a:gd name="T68" fmla="*/ 63 w 1585"/>
              <a:gd name="T69" fmla="*/ 125 h 1236"/>
              <a:gd name="T70" fmla="*/ 24 w 1585"/>
              <a:gd name="T71" fmla="*/ 158 h 1236"/>
              <a:gd name="T72" fmla="*/ 2 w 1585"/>
              <a:gd name="T73" fmla="*/ 209 h 1236"/>
              <a:gd name="T74" fmla="*/ 2 w 1585"/>
              <a:gd name="T75" fmla="*/ 255 h 1236"/>
              <a:gd name="T76" fmla="*/ 24 w 1585"/>
              <a:gd name="T77" fmla="*/ 306 h 1236"/>
              <a:gd name="T78" fmla="*/ 63 w 1585"/>
              <a:gd name="T79" fmla="*/ 339 h 1236"/>
              <a:gd name="T80" fmla="*/ 103 w 1585"/>
              <a:gd name="T81" fmla="*/ 347 h 1236"/>
              <a:gd name="T82" fmla="*/ 1577 w 1585"/>
              <a:gd name="T83" fmla="*/ 1022 h 1236"/>
              <a:gd name="T84" fmla="*/ 1501 w 1585"/>
              <a:gd name="T85" fmla="*/ 1085 h 1236"/>
              <a:gd name="T86" fmla="*/ 1283 w 1585"/>
              <a:gd name="T87" fmla="*/ 1222 h 1236"/>
              <a:gd name="T88" fmla="*/ 1234 w 1585"/>
              <a:gd name="T89" fmla="*/ 1235 h 1236"/>
              <a:gd name="T90" fmla="*/ 1225 w 1585"/>
              <a:gd name="T91" fmla="*/ 1221 h 1236"/>
              <a:gd name="T92" fmla="*/ 1215 w 1585"/>
              <a:gd name="T93" fmla="*/ 1118 h 1236"/>
              <a:gd name="T94" fmla="*/ 927 w 1585"/>
              <a:gd name="T95" fmla="*/ 1112 h 1236"/>
              <a:gd name="T96" fmla="*/ 881 w 1585"/>
              <a:gd name="T97" fmla="*/ 1076 h 1236"/>
              <a:gd name="T98" fmla="*/ 904 w 1585"/>
              <a:gd name="T99" fmla="*/ 744 h 1236"/>
              <a:gd name="T100" fmla="*/ 1006 w 1585"/>
              <a:gd name="T101" fmla="*/ 886 h 1236"/>
              <a:gd name="T102" fmla="*/ 1044 w 1585"/>
              <a:gd name="T103" fmla="*/ 892 h 1236"/>
              <a:gd name="T104" fmla="*/ 1217 w 1585"/>
              <a:gd name="T105" fmla="*/ 889 h 1236"/>
              <a:gd name="T106" fmla="*/ 1231 w 1585"/>
              <a:gd name="T107" fmla="*/ 777 h 1236"/>
              <a:gd name="T108" fmla="*/ 1252 w 1585"/>
              <a:gd name="T109" fmla="*/ 772 h 1236"/>
              <a:gd name="T110" fmla="*/ 1427 w 1585"/>
              <a:gd name="T111" fmla="*/ 873 h 1236"/>
              <a:gd name="T112" fmla="*/ 1572 w 1585"/>
              <a:gd name="T113" fmla="*/ 983 h 1236"/>
              <a:gd name="T114" fmla="*/ 1585 w 1585"/>
              <a:gd name="T115" fmla="*/ 1004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1236">
                <a:moveTo>
                  <a:pt x="1010" y="346"/>
                </a:moveTo>
                <a:lnTo>
                  <a:pt x="1010" y="346"/>
                </a:lnTo>
                <a:lnTo>
                  <a:pt x="1003" y="354"/>
                </a:lnTo>
                <a:lnTo>
                  <a:pt x="990" y="371"/>
                </a:lnTo>
                <a:lnTo>
                  <a:pt x="947" y="428"/>
                </a:lnTo>
                <a:lnTo>
                  <a:pt x="816" y="612"/>
                </a:lnTo>
                <a:lnTo>
                  <a:pt x="651" y="844"/>
                </a:lnTo>
                <a:lnTo>
                  <a:pt x="489" y="1076"/>
                </a:lnTo>
                <a:lnTo>
                  <a:pt x="489" y="1076"/>
                </a:lnTo>
                <a:lnTo>
                  <a:pt x="482" y="1085"/>
                </a:lnTo>
                <a:lnTo>
                  <a:pt x="473" y="1095"/>
                </a:lnTo>
                <a:lnTo>
                  <a:pt x="463" y="1102"/>
                </a:lnTo>
                <a:lnTo>
                  <a:pt x="454" y="1108"/>
                </a:lnTo>
                <a:lnTo>
                  <a:pt x="443" y="1112"/>
                </a:lnTo>
                <a:lnTo>
                  <a:pt x="432" y="1116"/>
                </a:lnTo>
                <a:lnTo>
                  <a:pt x="421" y="1118"/>
                </a:lnTo>
                <a:lnTo>
                  <a:pt x="409" y="1118"/>
                </a:lnTo>
                <a:lnTo>
                  <a:pt x="103" y="1118"/>
                </a:lnTo>
                <a:lnTo>
                  <a:pt x="103" y="1118"/>
                </a:lnTo>
                <a:lnTo>
                  <a:pt x="92" y="1118"/>
                </a:lnTo>
                <a:lnTo>
                  <a:pt x="82" y="1116"/>
                </a:lnTo>
                <a:lnTo>
                  <a:pt x="72" y="1114"/>
                </a:lnTo>
                <a:lnTo>
                  <a:pt x="63" y="1110"/>
                </a:lnTo>
                <a:lnTo>
                  <a:pt x="53" y="1105"/>
                </a:lnTo>
                <a:lnTo>
                  <a:pt x="45" y="1099"/>
                </a:lnTo>
                <a:lnTo>
                  <a:pt x="38" y="1092"/>
                </a:lnTo>
                <a:lnTo>
                  <a:pt x="30" y="1085"/>
                </a:lnTo>
                <a:lnTo>
                  <a:pt x="24" y="1077"/>
                </a:lnTo>
                <a:lnTo>
                  <a:pt x="18" y="1068"/>
                </a:lnTo>
                <a:lnTo>
                  <a:pt x="12" y="1058"/>
                </a:lnTo>
                <a:lnTo>
                  <a:pt x="8" y="1049"/>
                </a:lnTo>
                <a:lnTo>
                  <a:pt x="5" y="1038"/>
                </a:lnTo>
                <a:lnTo>
                  <a:pt x="2" y="1026"/>
                </a:lnTo>
                <a:lnTo>
                  <a:pt x="0" y="1016"/>
                </a:lnTo>
                <a:lnTo>
                  <a:pt x="0" y="1004"/>
                </a:lnTo>
                <a:lnTo>
                  <a:pt x="0" y="1004"/>
                </a:lnTo>
                <a:lnTo>
                  <a:pt x="0" y="992"/>
                </a:lnTo>
                <a:lnTo>
                  <a:pt x="2" y="980"/>
                </a:lnTo>
                <a:lnTo>
                  <a:pt x="5" y="970"/>
                </a:lnTo>
                <a:lnTo>
                  <a:pt x="8" y="959"/>
                </a:lnTo>
                <a:lnTo>
                  <a:pt x="12" y="948"/>
                </a:lnTo>
                <a:lnTo>
                  <a:pt x="18" y="939"/>
                </a:lnTo>
                <a:lnTo>
                  <a:pt x="24" y="929"/>
                </a:lnTo>
                <a:lnTo>
                  <a:pt x="30" y="921"/>
                </a:lnTo>
                <a:lnTo>
                  <a:pt x="38" y="914"/>
                </a:lnTo>
                <a:lnTo>
                  <a:pt x="45" y="907"/>
                </a:lnTo>
                <a:lnTo>
                  <a:pt x="53" y="902"/>
                </a:lnTo>
                <a:lnTo>
                  <a:pt x="63" y="896"/>
                </a:lnTo>
                <a:lnTo>
                  <a:pt x="72" y="893"/>
                </a:lnTo>
                <a:lnTo>
                  <a:pt x="82" y="890"/>
                </a:lnTo>
                <a:lnTo>
                  <a:pt x="92" y="888"/>
                </a:lnTo>
                <a:lnTo>
                  <a:pt x="103" y="888"/>
                </a:lnTo>
                <a:lnTo>
                  <a:pt x="103" y="888"/>
                </a:lnTo>
                <a:lnTo>
                  <a:pt x="167" y="892"/>
                </a:lnTo>
                <a:lnTo>
                  <a:pt x="225" y="894"/>
                </a:lnTo>
                <a:lnTo>
                  <a:pt x="286" y="894"/>
                </a:lnTo>
                <a:lnTo>
                  <a:pt x="286" y="894"/>
                </a:lnTo>
                <a:lnTo>
                  <a:pt x="324" y="894"/>
                </a:lnTo>
                <a:lnTo>
                  <a:pt x="346" y="892"/>
                </a:lnTo>
                <a:lnTo>
                  <a:pt x="357" y="890"/>
                </a:lnTo>
                <a:lnTo>
                  <a:pt x="360" y="889"/>
                </a:lnTo>
                <a:lnTo>
                  <a:pt x="360" y="889"/>
                </a:lnTo>
                <a:lnTo>
                  <a:pt x="367" y="881"/>
                </a:lnTo>
                <a:lnTo>
                  <a:pt x="382" y="864"/>
                </a:lnTo>
                <a:lnTo>
                  <a:pt x="424" y="808"/>
                </a:lnTo>
                <a:lnTo>
                  <a:pt x="483" y="725"/>
                </a:lnTo>
                <a:lnTo>
                  <a:pt x="556" y="624"/>
                </a:lnTo>
                <a:lnTo>
                  <a:pt x="721" y="391"/>
                </a:lnTo>
                <a:lnTo>
                  <a:pt x="881" y="159"/>
                </a:lnTo>
                <a:lnTo>
                  <a:pt x="881" y="159"/>
                </a:lnTo>
                <a:lnTo>
                  <a:pt x="889" y="150"/>
                </a:lnTo>
                <a:lnTo>
                  <a:pt x="898" y="141"/>
                </a:lnTo>
                <a:lnTo>
                  <a:pt x="907" y="133"/>
                </a:lnTo>
                <a:lnTo>
                  <a:pt x="917" y="128"/>
                </a:lnTo>
                <a:lnTo>
                  <a:pt x="927" y="123"/>
                </a:lnTo>
                <a:lnTo>
                  <a:pt x="938" y="119"/>
                </a:lnTo>
                <a:lnTo>
                  <a:pt x="950" y="117"/>
                </a:lnTo>
                <a:lnTo>
                  <a:pt x="962" y="117"/>
                </a:lnTo>
                <a:lnTo>
                  <a:pt x="1217" y="117"/>
                </a:lnTo>
                <a:lnTo>
                  <a:pt x="1217" y="117"/>
                </a:lnTo>
                <a:lnTo>
                  <a:pt x="1219" y="74"/>
                </a:lnTo>
                <a:lnTo>
                  <a:pt x="1223" y="39"/>
                </a:lnTo>
                <a:lnTo>
                  <a:pt x="1225" y="26"/>
                </a:lnTo>
                <a:lnTo>
                  <a:pt x="1227" y="15"/>
                </a:lnTo>
                <a:lnTo>
                  <a:pt x="1231" y="7"/>
                </a:lnTo>
                <a:lnTo>
                  <a:pt x="1233" y="4"/>
                </a:lnTo>
                <a:lnTo>
                  <a:pt x="1243" y="0"/>
                </a:lnTo>
                <a:lnTo>
                  <a:pt x="1243" y="0"/>
                </a:lnTo>
                <a:lnTo>
                  <a:pt x="1246" y="1"/>
                </a:lnTo>
                <a:lnTo>
                  <a:pt x="1252" y="2"/>
                </a:lnTo>
                <a:lnTo>
                  <a:pt x="1267" y="9"/>
                </a:lnTo>
                <a:lnTo>
                  <a:pt x="1288" y="19"/>
                </a:lnTo>
                <a:lnTo>
                  <a:pt x="1311" y="32"/>
                </a:lnTo>
                <a:lnTo>
                  <a:pt x="1367" y="64"/>
                </a:lnTo>
                <a:lnTo>
                  <a:pt x="1427" y="103"/>
                </a:lnTo>
                <a:lnTo>
                  <a:pt x="1486" y="143"/>
                </a:lnTo>
                <a:lnTo>
                  <a:pt x="1513" y="162"/>
                </a:lnTo>
                <a:lnTo>
                  <a:pt x="1537" y="181"/>
                </a:lnTo>
                <a:lnTo>
                  <a:pt x="1557" y="197"/>
                </a:lnTo>
                <a:lnTo>
                  <a:pt x="1572" y="213"/>
                </a:lnTo>
                <a:lnTo>
                  <a:pt x="1578" y="218"/>
                </a:lnTo>
                <a:lnTo>
                  <a:pt x="1582" y="224"/>
                </a:lnTo>
                <a:lnTo>
                  <a:pt x="1585" y="229"/>
                </a:lnTo>
                <a:lnTo>
                  <a:pt x="1585" y="234"/>
                </a:lnTo>
                <a:lnTo>
                  <a:pt x="1585" y="234"/>
                </a:lnTo>
                <a:lnTo>
                  <a:pt x="1585" y="239"/>
                </a:lnTo>
                <a:lnTo>
                  <a:pt x="1582" y="244"/>
                </a:lnTo>
                <a:lnTo>
                  <a:pt x="1577" y="252"/>
                </a:lnTo>
                <a:lnTo>
                  <a:pt x="1570" y="260"/>
                </a:lnTo>
                <a:lnTo>
                  <a:pt x="1570" y="260"/>
                </a:lnTo>
                <a:lnTo>
                  <a:pt x="1558" y="272"/>
                </a:lnTo>
                <a:lnTo>
                  <a:pt x="1541" y="285"/>
                </a:lnTo>
                <a:lnTo>
                  <a:pt x="1501" y="315"/>
                </a:lnTo>
                <a:lnTo>
                  <a:pt x="1453" y="350"/>
                </a:lnTo>
                <a:lnTo>
                  <a:pt x="1400" y="384"/>
                </a:lnTo>
                <a:lnTo>
                  <a:pt x="1349" y="416"/>
                </a:lnTo>
                <a:lnTo>
                  <a:pt x="1303" y="442"/>
                </a:lnTo>
                <a:lnTo>
                  <a:pt x="1283" y="452"/>
                </a:lnTo>
                <a:lnTo>
                  <a:pt x="1266" y="461"/>
                </a:lnTo>
                <a:lnTo>
                  <a:pt x="1252" y="465"/>
                </a:lnTo>
                <a:lnTo>
                  <a:pt x="1243" y="466"/>
                </a:lnTo>
                <a:lnTo>
                  <a:pt x="1243" y="466"/>
                </a:lnTo>
                <a:lnTo>
                  <a:pt x="1234" y="465"/>
                </a:lnTo>
                <a:lnTo>
                  <a:pt x="1234" y="465"/>
                </a:lnTo>
                <a:lnTo>
                  <a:pt x="1232" y="463"/>
                </a:lnTo>
                <a:lnTo>
                  <a:pt x="1230" y="461"/>
                </a:lnTo>
                <a:lnTo>
                  <a:pt x="1227" y="457"/>
                </a:lnTo>
                <a:lnTo>
                  <a:pt x="1225" y="451"/>
                </a:lnTo>
                <a:lnTo>
                  <a:pt x="1223" y="442"/>
                </a:lnTo>
                <a:lnTo>
                  <a:pt x="1221" y="431"/>
                </a:lnTo>
                <a:lnTo>
                  <a:pt x="1218" y="396"/>
                </a:lnTo>
                <a:lnTo>
                  <a:pt x="1218" y="396"/>
                </a:lnTo>
                <a:lnTo>
                  <a:pt x="1215" y="346"/>
                </a:lnTo>
                <a:lnTo>
                  <a:pt x="1215" y="346"/>
                </a:lnTo>
                <a:lnTo>
                  <a:pt x="1150" y="344"/>
                </a:lnTo>
                <a:lnTo>
                  <a:pt x="1080" y="342"/>
                </a:lnTo>
                <a:lnTo>
                  <a:pt x="1080" y="342"/>
                </a:lnTo>
                <a:lnTo>
                  <a:pt x="1044" y="342"/>
                </a:lnTo>
                <a:lnTo>
                  <a:pt x="1024" y="344"/>
                </a:lnTo>
                <a:lnTo>
                  <a:pt x="1013" y="345"/>
                </a:lnTo>
                <a:lnTo>
                  <a:pt x="1010" y="346"/>
                </a:lnTo>
                <a:lnTo>
                  <a:pt x="1010" y="346"/>
                </a:lnTo>
                <a:close/>
                <a:moveTo>
                  <a:pt x="103" y="347"/>
                </a:moveTo>
                <a:lnTo>
                  <a:pt x="103" y="347"/>
                </a:lnTo>
                <a:lnTo>
                  <a:pt x="168" y="346"/>
                </a:lnTo>
                <a:lnTo>
                  <a:pt x="228" y="345"/>
                </a:lnTo>
                <a:lnTo>
                  <a:pt x="289" y="344"/>
                </a:lnTo>
                <a:lnTo>
                  <a:pt x="289" y="344"/>
                </a:lnTo>
                <a:lnTo>
                  <a:pt x="326" y="345"/>
                </a:lnTo>
                <a:lnTo>
                  <a:pt x="347" y="345"/>
                </a:lnTo>
                <a:lnTo>
                  <a:pt x="362" y="346"/>
                </a:lnTo>
                <a:lnTo>
                  <a:pt x="362" y="346"/>
                </a:lnTo>
                <a:lnTo>
                  <a:pt x="369" y="354"/>
                </a:lnTo>
                <a:lnTo>
                  <a:pt x="382" y="371"/>
                </a:lnTo>
                <a:lnTo>
                  <a:pt x="419" y="423"/>
                </a:lnTo>
                <a:lnTo>
                  <a:pt x="468" y="492"/>
                </a:lnTo>
                <a:lnTo>
                  <a:pt x="517" y="568"/>
                </a:lnTo>
                <a:lnTo>
                  <a:pt x="527" y="581"/>
                </a:lnTo>
                <a:lnTo>
                  <a:pt x="659" y="396"/>
                </a:lnTo>
                <a:lnTo>
                  <a:pt x="489" y="159"/>
                </a:lnTo>
                <a:lnTo>
                  <a:pt x="489" y="159"/>
                </a:lnTo>
                <a:lnTo>
                  <a:pt x="482" y="150"/>
                </a:lnTo>
                <a:lnTo>
                  <a:pt x="473" y="141"/>
                </a:lnTo>
                <a:lnTo>
                  <a:pt x="463" y="133"/>
                </a:lnTo>
                <a:lnTo>
                  <a:pt x="454" y="128"/>
                </a:lnTo>
                <a:lnTo>
                  <a:pt x="443" y="123"/>
                </a:lnTo>
                <a:lnTo>
                  <a:pt x="432" y="119"/>
                </a:lnTo>
                <a:lnTo>
                  <a:pt x="421" y="117"/>
                </a:lnTo>
                <a:lnTo>
                  <a:pt x="410" y="117"/>
                </a:lnTo>
                <a:lnTo>
                  <a:pt x="103" y="117"/>
                </a:lnTo>
                <a:lnTo>
                  <a:pt x="103" y="117"/>
                </a:lnTo>
                <a:lnTo>
                  <a:pt x="92" y="117"/>
                </a:lnTo>
                <a:lnTo>
                  <a:pt x="82" y="119"/>
                </a:lnTo>
                <a:lnTo>
                  <a:pt x="72" y="122"/>
                </a:lnTo>
                <a:lnTo>
                  <a:pt x="63" y="125"/>
                </a:lnTo>
                <a:lnTo>
                  <a:pt x="53" y="130"/>
                </a:lnTo>
                <a:lnTo>
                  <a:pt x="45" y="136"/>
                </a:lnTo>
                <a:lnTo>
                  <a:pt x="38" y="143"/>
                </a:lnTo>
                <a:lnTo>
                  <a:pt x="30" y="150"/>
                </a:lnTo>
                <a:lnTo>
                  <a:pt x="24" y="158"/>
                </a:lnTo>
                <a:lnTo>
                  <a:pt x="18" y="168"/>
                </a:lnTo>
                <a:lnTo>
                  <a:pt x="12" y="177"/>
                </a:lnTo>
                <a:lnTo>
                  <a:pt x="8" y="187"/>
                </a:lnTo>
                <a:lnTo>
                  <a:pt x="5" y="197"/>
                </a:lnTo>
                <a:lnTo>
                  <a:pt x="2" y="209"/>
                </a:lnTo>
                <a:lnTo>
                  <a:pt x="0" y="220"/>
                </a:lnTo>
                <a:lnTo>
                  <a:pt x="0" y="231"/>
                </a:lnTo>
                <a:lnTo>
                  <a:pt x="0" y="231"/>
                </a:lnTo>
                <a:lnTo>
                  <a:pt x="0" y="243"/>
                </a:lnTo>
                <a:lnTo>
                  <a:pt x="2" y="255"/>
                </a:lnTo>
                <a:lnTo>
                  <a:pt x="5" y="267"/>
                </a:lnTo>
                <a:lnTo>
                  <a:pt x="8" y="278"/>
                </a:lnTo>
                <a:lnTo>
                  <a:pt x="12" y="287"/>
                </a:lnTo>
                <a:lnTo>
                  <a:pt x="18" y="296"/>
                </a:lnTo>
                <a:lnTo>
                  <a:pt x="24" y="306"/>
                </a:lnTo>
                <a:lnTo>
                  <a:pt x="30" y="314"/>
                </a:lnTo>
                <a:lnTo>
                  <a:pt x="38" y="321"/>
                </a:lnTo>
                <a:lnTo>
                  <a:pt x="45" y="328"/>
                </a:lnTo>
                <a:lnTo>
                  <a:pt x="54" y="334"/>
                </a:lnTo>
                <a:lnTo>
                  <a:pt x="63" y="339"/>
                </a:lnTo>
                <a:lnTo>
                  <a:pt x="72" y="342"/>
                </a:lnTo>
                <a:lnTo>
                  <a:pt x="83" y="345"/>
                </a:lnTo>
                <a:lnTo>
                  <a:pt x="92" y="347"/>
                </a:lnTo>
                <a:lnTo>
                  <a:pt x="103" y="347"/>
                </a:lnTo>
                <a:lnTo>
                  <a:pt x="103" y="347"/>
                </a:lnTo>
                <a:close/>
                <a:moveTo>
                  <a:pt x="1585" y="1004"/>
                </a:moveTo>
                <a:lnTo>
                  <a:pt x="1585" y="1004"/>
                </a:lnTo>
                <a:lnTo>
                  <a:pt x="1585" y="1009"/>
                </a:lnTo>
                <a:lnTo>
                  <a:pt x="1582" y="1016"/>
                </a:lnTo>
                <a:lnTo>
                  <a:pt x="1577" y="1022"/>
                </a:lnTo>
                <a:lnTo>
                  <a:pt x="1570" y="1030"/>
                </a:lnTo>
                <a:lnTo>
                  <a:pt x="1570" y="1030"/>
                </a:lnTo>
                <a:lnTo>
                  <a:pt x="1558" y="1042"/>
                </a:lnTo>
                <a:lnTo>
                  <a:pt x="1541" y="1055"/>
                </a:lnTo>
                <a:lnTo>
                  <a:pt x="1501" y="1085"/>
                </a:lnTo>
                <a:lnTo>
                  <a:pt x="1452" y="1120"/>
                </a:lnTo>
                <a:lnTo>
                  <a:pt x="1400" y="1155"/>
                </a:lnTo>
                <a:lnTo>
                  <a:pt x="1349" y="1186"/>
                </a:lnTo>
                <a:lnTo>
                  <a:pt x="1303" y="1213"/>
                </a:lnTo>
                <a:lnTo>
                  <a:pt x="1283" y="1222"/>
                </a:lnTo>
                <a:lnTo>
                  <a:pt x="1265" y="1231"/>
                </a:lnTo>
                <a:lnTo>
                  <a:pt x="1252" y="1235"/>
                </a:lnTo>
                <a:lnTo>
                  <a:pt x="1243" y="1236"/>
                </a:lnTo>
                <a:lnTo>
                  <a:pt x="1243" y="1236"/>
                </a:lnTo>
                <a:lnTo>
                  <a:pt x="1234" y="1235"/>
                </a:lnTo>
                <a:lnTo>
                  <a:pt x="1234" y="1235"/>
                </a:lnTo>
                <a:lnTo>
                  <a:pt x="1232" y="1234"/>
                </a:lnTo>
                <a:lnTo>
                  <a:pt x="1230" y="1231"/>
                </a:lnTo>
                <a:lnTo>
                  <a:pt x="1227" y="1227"/>
                </a:lnTo>
                <a:lnTo>
                  <a:pt x="1225" y="1221"/>
                </a:lnTo>
                <a:lnTo>
                  <a:pt x="1223" y="1213"/>
                </a:lnTo>
                <a:lnTo>
                  <a:pt x="1221" y="1201"/>
                </a:lnTo>
                <a:lnTo>
                  <a:pt x="1218" y="1166"/>
                </a:lnTo>
                <a:lnTo>
                  <a:pt x="1218" y="1166"/>
                </a:lnTo>
                <a:lnTo>
                  <a:pt x="1215" y="1118"/>
                </a:lnTo>
                <a:lnTo>
                  <a:pt x="962" y="1118"/>
                </a:lnTo>
                <a:lnTo>
                  <a:pt x="962" y="1118"/>
                </a:lnTo>
                <a:lnTo>
                  <a:pt x="950" y="1118"/>
                </a:lnTo>
                <a:lnTo>
                  <a:pt x="938" y="1116"/>
                </a:lnTo>
                <a:lnTo>
                  <a:pt x="927" y="1112"/>
                </a:lnTo>
                <a:lnTo>
                  <a:pt x="917" y="1108"/>
                </a:lnTo>
                <a:lnTo>
                  <a:pt x="907" y="1102"/>
                </a:lnTo>
                <a:lnTo>
                  <a:pt x="898" y="1095"/>
                </a:lnTo>
                <a:lnTo>
                  <a:pt x="889" y="1085"/>
                </a:lnTo>
                <a:lnTo>
                  <a:pt x="881" y="1076"/>
                </a:lnTo>
                <a:lnTo>
                  <a:pt x="712" y="840"/>
                </a:lnTo>
                <a:lnTo>
                  <a:pt x="845" y="654"/>
                </a:lnTo>
                <a:lnTo>
                  <a:pt x="853" y="667"/>
                </a:lnTo>
                <a:lnTo>
                  <a:pt x="853" y="667"/>
                </a:lnTo>
                <a:lnTo>
                  <a:pt x="904" y="744"/>
                </a:lnTo>
                <a:lnTo>
                  <a:pt x="951" y="814"/>
                </a:lnTo>
                <a:lnTo>
                  <a:pt x="971" y="842"/>
                </a:lnTo>
                <a:lnTo>
                  <a:pt x="989" y="866"/>
                </a:lnTo>
                <a:lnTo>
                  <a:pt x="1002" y="881"/>
                </a:lnTo>
                <a:lnTo>
                  <a:pt x="1006" y="886"/>
                </a:lnTo>
                <a:lnTo>
                  <a:pt x="1010" y="889"/>
                </a:lnTo>
                <a:lnTo>
                  <a:pt x="1010" y="889"/>
                </a:lnTo>
                <a:lnTo>
                  <a:pt x="1012" y="889"/>
                </a:lnTo>
                <a:lnTo>
                  <a:pt x="1023" y="890"/>
                </a:lnTo>
                <a:lnTo>
                  <a:pt x="1044" y="892"/>
                </a:lnTo>
                <a:lnTo>
                  <a:pt x="1078" y="893"/>
                </a:lnTo>
                <a:lnTo>
                  <a:pt x="1078" y="893"/>
                </a:lnTo>
                <a:lnTo>
                  <a:pt x="1152" y="892"/>
                </a:lnTo>
                <a:lnTo>
                  <a:pt x="1217" y="889"/>
                </a:lnTo>
                <a:lnTo>
                  <a:pt x="1217" y="889"/>
                </a:lnTo>
                <a:lnTo>
                  <a:pt x="1219" y="846"/>
                </a:lnTo>
                <a:lnTo>
                  <a:pt x="1223" y="810"/>
                </a:lnTo>
                <a:lnTo>
                  <a:pt x="1225" y="797"/>
                </a:lnTo>
                <a:lnTo>
                  <a:pt x="1227" y="785"/>
                </a:lnTo>
                <a:lnTo>
                  <a:pt x="1231" y="777"/>
                </a:lnTo>
                <a:lnTo>
                  <a:pt x="1233" y="774"/>
                </a:lnTo>
                <a:lnTo>
                  <a:pt x="1243" y="771"/>
                </a:lnTo>
                <a:lnTo>
                  <a:pt x="1243" y="771"/>
                </a:lnTo>
                <a:lnTo>
                  <a:pt x="1246" y="771"/>
                </a:lnTo>
                <a:lnTo>
                  <a:pt x="1252" y="772"/>
                </a:lnTo>
                <a:lnTo>
                  <a:pt x="1267" y="779"/>
                </a:lnTo>
                <a:lnTo>
                  <a:pt x="1288" y="789"/>
                </a:lnTo>
                <a:lnTo>
                  <a:pt x="1311" y="802"/>
                </a:lnTo>
                <a:lnTo>
                  <a:pt x="1367" y="834"/>
                </a:lnTo>
                <a:lnTo>
                  <a:pt x="1427" y="873"/>
                </a:lnTo>
                <a:lnTo>
                  <a:pt x="1486" y="913"/>
                </a:lnTo>
                <a:lnTo>
                  <a:pt x="1513" y="932"/>
                </a:lnTo>
                <a:lnTo>
                  <a:pt x="1537" y="951"/>
                </a:lnTo>
                <a:lnTo>
                  <a:pt x="1557" y="967"/>
                </a:lnTo>
                <a:lnTo>
                  <a:pt x="1572" y="983"/>
                </a:lnTo>
                <a:lnTo>
                  <a:pt x="1578" y="988"/>
                </a:lnTo>
                <a:lnTo>
                  <a:pt x="1582" y="994"/>
                </a:lnTo>
                <a:lnTo>
                  <a:pt x="1585" y="999"/>
                </a:lnTo>
                <a:lnTo>
                  <a:pt x="1585" y="1004"/>
                </a:lnTo>
                <a:lnTo>
                  <a:pt x="1585" y="1004"/>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83" name="Rounded Rectangle 191"/>
          <p:cNvSpPr/>
          <p:nvPr/>
        </p:nvSpPr>
        <p:spPr>
          <a:xfrm>
            <a:off x="1112478" y="4327057"/>
            <a:ext cx="829758"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pPr>
            <a:r>
              <a:rPr lang="ja-JP" altLang="en-US" sz="900" kern="0" dirty="0" smtClean="0">
                <a:solidFill>
                  <a:srgbClr val="676767"/>
                </a:solidFill>
                <a:latin typeface="+mj-lt"/>
              </a:rPr>
              <a:t>本社</a:t>
            </a:r>
            <a:endParaRPr lang="en-US" sz="900" kern="0" dirty="0">
              <a:solidFill>
                <a:srgbClr val="676767"/>
              </a:solidFill>
              <a:latin typeface="+mj-lt"/>
            </a:endParaRPr>
          </a:p>
        </p:txBody>
      </p:sp>
      <p:sp>
        <p:nvSpPr>
          <p:cNvPr id="784" name="Freeform 113"/>
          <p:cNvSpPr>
            <a:spLocks noEditPoints="1"/>
          </p:cNvSpPr>
          <p:nvPr/>
        </p:nvSpPr>
        <p:spPr bwMode="auto">
          <a:xfrm>
            <a:off x="5289025" y="3868420"/>
            <a:ext cx="287340" cy="387661"/>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rgbClr val="585858"/>
          </a:solidFill>
          <a:ln>
            <a:noFill/>
          </a:ln>
          <a:extLst/>
        </p:spPr>
        <p:txBody>
          <a:bodyPr vert="horz" wrap="square" lIns="91436" tIns="45718" rIns="91436" bIns="45718" numCol="1" anchor="t" anchorCtr="0" compatLnSpc="1">
            <a:prstTxWarp prst="textNoShape">
              <a:avLst/>
            </a:prstTxWarp>
          </a:bodyPr>
          <a:lstStyle/>
          <a:p>
            <a:endParaRPr lang="en-US">
              <a:latin typeface="+mj-lt"/>
            </a:endParaRPr>
          </a:p>
        </p:txBody>
      </p:sp>
      <p:grpSp>
        <p:nvGrpSpPr>
          <p:cNvPr id="801" name="Group 784"/>
          <p:cNvGrpSpPr/>
          <p:nvPr/>
        </p:nvGrpSpPr>
        <p:grpSpPr>
          <a:xfrm>
            <a:off x="4695752" y="3731810"/>
            <a:ext cx="469484" cy="807886"/>
            <a:chOff x="3787922" y="3964575"/>
            <a:chExt cx="490943" cy="844812"/>
          </a:xfrm>
        </p:grpSpPr>
        <p:cxnSp>
          <p:nvCxnSpPr>
            <p:cNvPr id="786" name="Straight Connector 785"/>
            <p:cNvCxnSpPr/>
            <p:nvPr/>
          </p:nvCxnSpPr>
          <p:spPr>
            <a:xfrm flipV="1">
              <a:off x="3787922" y="4521633"/>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87" name="Straight Connector 786"/>
            <p:cNvCxnSpPr/>
            <p:nvPr/>
          </p:nvCxnSpPr>
          <p:spPr>
            <a:xfrm>
              <a:off x="4278864" y="3964575"/>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sp>
        <p:nvSpPr>
          <p:cNvPr id="790" name="Rectangle 789"/>
          <p:cNvSpPr/>
          <p:nvPr/>
        </p:nvSpPr>
        <p:spPr>
          <a:xfrm>
            <a:off x="5637089" y="3125017"/>
            <a:ext cx="75488" cy="961876"/>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791" name="Rectangle 790"/>
          <p:cNvSpPr/>
          <p:nvPr/>
        </p:nvSpPr>
        <p:spPr>
          <a:xfrm rot="16200000">
            <a:off x="5616759" y="3994413"/>
            <a:ext cx="73475" cy="1181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792" name="Rounded Rectangle 191"/>
          <p:cNvSpPr/>
          <p:nvPr/>
        </p:nvSpPr>
        <p:spPr>
          <a:xfrm>
            <a:off x="5054965" y="4327057"/>
            <a:ext cx="786948" cy="185499"/>
          </a:xfrm>
          <a:prstGeom prst="rect">
            <a:avLst/>
          </a:prstGeom>
          <a:noFill/>
          <a:ln w="25400" cap="flat" cmpd="sng" algn="ctr">
            <a:noFill/>
            <a:prstDash val="solid"/>
          </a:ln>
          <a:effectLst/>
        </p:spPr>
        <p:txBody>
          <a:bodyPr lIns="0" tIns="34289" rIns="0" bIns="34289" rtlCol="0" anchor="ctr"/>
          <a:lstStyle/>
          <a:p>
            <a:pPr algn="ctr" defTabSz="685288" fontAlgn="auto">
              <a:spcBef>
                <a:spcPts val="0"/>
              </a:spcBef>
              <a:spcAft>
                <a:spcPts val="0"/>
              </a:spcAft>
              <a:defRPr/>
            </a:pPr>
            <a:r>
              <a:rPr lang="en-US" sz="900" kern="0" dirty="0" smtClean="0">
                <a:solidFill>
                  <a:srgbClr val="676767"/>
                </a:solidFill>
                <a:latin typeface="+mj-lt"/>
              </a:rPr>
              <a:t>BYOD</a:t>
            </a:r>
            <a:endParaRPr lang="en-US" sz="900" kern="0" dirty="0">
              <a:solidFill>
                <a:srgbClr val="676767"/>
              </a:solidFill>
              <a:latin typeface="+mj-lt"/>
            </a:endParaRPr>
          </a:p>
        </p:txBody>
      </p:sp>
      <p:grpSp>
        <p:nvGrpSpPr>
          <p:cNvPr id="802" name="Group 792"/>
          <p:cNvGrpSpPr/>
          <p:nvPr/>
        </p:nvGrpSpPr>
        <p:grpSpPr>
          <a:xfrm>
            <a:off x="6523824" y="3018217"/>
            <a:ext cx="840435" cy="847835"/>
            <a:chOff x="8996814" y="3218366"/>
            <a:chExt cx="878848" cy="886587"/>
          </a:xfrm>
        </p:grpSpPr>
        <p:sp>
          <p:nvSpPr>
            <p:cNvPr id="794" name="Rounded Rectangle 191"/>
            <p:cNvSpPr/>
            <p:nvPr/>
          </p:nvSpPr>
          <p:spPr>
            <a:xfrm>
              <a:off x="9185814" y="3960737"/>
              <a:ext cx="689848" cy="144216"/>
            </a:xfrm>
            <a:prstGeom prst="rect">
              <a:avLst/>
            </a:prstGeom>
            <a:noFill/>
            <a:ln w="25400" cap="flat" cmpd="sng" algn="ctr">
              <a:noFill/>
              <a:prstDash val="solid"/>
            </a:ln>
            <a:effectLst/>
          </p:spPr>
          <p:txBody>
            <a:bodyPr rtlCol="0" anchor="ctr"/>
            <a:lstStyle/>
            <a:p>
              <a:pPr algn="ctr" defTabSz="913710">
                <a:defRPr/>
              </a:pPr>
              <a:r>
                <a:rPr lang="en-US" sz="1000" kern="0" dirty="0">
                  <a:solidFill>
                    <a:srgbClr val="676767"/>
                  </a:solidFill>
                  <a:latin typeface="+mj-lt"/>
                </a:rPr>
                <a:t>Admin</a:t>
              </a:r>
            </a:p>
          </p:txBody>
        </p:sp>
        <p:grpSp>
          <p:nvGrpSpPr>
            <p:cNvPr id="803" name="Group 794"/>
            <p:cNvGrpSpPr/>
            <p:nvPr/>
          </p:nvGrpSpPr>
          <p:grpSpPr>
            <a:xfrm>
              <a:off x="8996814" y="3218366"/>
              <a:ext cx="771032" cy="702649"/>
              <a:chOff x="6430918" y="3787229"/>
              <a:chExt cx="771032" cy="702649"/>
            </a:xfrm>
          </p:grpSpPr>
          <p:sp>
            <p:nvSpPr>
              <p:cNvPr id="796" name="Freeform 795"/>
              <p:cNvSpPr/>
              <p:nvPr/>
            </p:nvSpPr>
            <p:spPr>
              <a:xfrm>
                <a:off x="6430918" y="3932956"/>
                <a:ext cx="387297" cy="351293"/>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7" name="Oval 23"/>
              <p:cNvSpPr/>
              <p:nvPr/>
            </p:nvSpPr>
            <p:spPr bwMode="auto">
              <a:xfrm>
                <a:off x="6480253" y="4253309"/>
                <a:ext cx="280781" cy="16708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8" name="Rounded Rectangle 13"/>
              <p:cNvSpPr/>
              <p:nvPr/>
            </p:nvSpPr>
            <p:spPr bwMode="auto">
              <a:xfrm>
                <a:off x="6701329" y="4087371"/>
                <a:ext cx="464423" cy="402507"/>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9" name="Oval 798"/>
              <p:cNvSpPr/>
              <p:nvPr/>
            </p:nvSpPr>
            <p:spPr bwMode="auto">
              <a:xfrm>
                <a:off x="6835328" y="3787229"/>
                <a:ext cx="281935" cy="270741"/>
              </a:xfrm>
              <a:prstGeom prst="ellipse">
                <a:avLst/>
              </a:pr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800" name="Rounded Rectangle 14"/>
              <p:cNvSpPr/>
              <p:nvPr/>
            </p:nvSpPr>
            <p:spPr bwMode="auto">
              <a:xfrm>
                <a:off x="6908223" y="4127518"/>
                <a:ext cx="293727" cy="283609"/>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grpSp>
      </p:grpSp>
      <p:sp>
        <p:nvSpPr>
          <p:cNvPr id="437" name="Rectangle 436"/>
          <p:cNvSpPr/>
          <p:nvPr/>
        </p:nvSpPr>
        <p:spPr>
          <a:xfrm rot="5400000">
            <a:off x="610507" y="3397310"/>
            <a:ext cx="104932" cy="137411"/>
          </a:xfrm>
          <a:prstGeom prst="rect">
            <a:avLst/>
          </a:prstGeom>
          <a:solidFill>
            <a:srgbClr val="EEEEF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433" name="Rectangle 846"/>
          <p:cNvSpPr/>
          <p:nvPr/>
        </p:nvSpPr>
        <p:spPr>
          <a:xfrm>
            <a:off x="7144606" y="1230890"/>
            <a:ext cx="89390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sp>
        <p:nvSpPr>
          <p:cNvPr id="92" name="Oval 91"/>
          <p:cNvSpPr/>
          <p:nvPr/>
        </p:nvSpPr>
        <p:spPr>
          <a:xfrm>
            <a:off x="7012664" y="1600449"/>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3" name="Freeform 92"/>
          <p:cNvSpPr>
            <a:spLocks noEditPoints="1"/>
          </p:cNvSpPr>
          <p:nvPr/>
        </p:nvSpPr>
        <p:spPr bwMode="auto">
          <a:xfrm>
            <a:off x="7048760" y="1642974"/>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1" name="Oval 100"/>
          <p:cNvSpPr/>
          <p:nvPr/>
        </p:nvSpPr>
        <p:spPr>
          <a:xfrm>
            <a:off x="7012664" y="1866213"/>
            <a:ext cx="199447" cy="191528"/>
          </a:xfrm>
          <a:prstGeom prst="ellipse">
            <a:avLst/>
          </a:prstGeom>
          <a:solidFill>
            <a:srgbClr val="C00000"/>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02" name="Rectangle 49"/>
          <p:cNvSpPr>
            <a:spLocks noChangeArrowheads="1"/>
          </p:cNvSpPr>
          <p:nvPr/>
        </p:nvSpPr>
        <p:spPr bwMode="auto">
          <a:xfrm>
            <a:off x="7048949" y="1980746"/>
            <a:ext cx="82259" cy="27375"/>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3" name="Rectangle 50"/>
          <p:cNvSpPr>
            <a:spLocks noChangeArrowheads="1"/>
          </p:cNvSpPr>
          <p:nvPr/>
        </p:nvSpPr>
        <p:spPr bwMode="auto">
          <a:xfrm>
            <a:off x="7090082" y="1950633"/>
            <a:ext cx="82259" cy="27375"/>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4" name="Rectangle 51"/>
          <p:cNvSpPr>
            <a:spLocks noChangeArrowheads="1"/>
          </p:cNvSpPr>
          <p:nvPr/>
        </p:nvSpPr>
        <p:spPr bwMode="auto">
          <a:xfrm>
            <a:off x="7134877" y="1980746"/>
            <a:ext cx="37465" cy="27375"/>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5" name="Rectangle 52"/>
          <p:cNvSpPr>
            <a:spLocks noChangeArrowheads="1"/>
          </p:cNvSpPr>
          <p:nvPr/>
        </p:nvSpPr>
        <p:spPr bwMode="auto">
          <a:xfrm>
            <a:off x="7134877" y="1920914"/>
            <a:ext cx="37465" cy="26983"/>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6" name="Rectangle 53"/>
          <p:cNvSpPr>
            <a:spLocks noChangeArrowheads="1"/>
          </p:cNvSpPr>
          <p:nvPr/>
        </p:nvSpPr>
        <p:spPr bwMode="auto">
          <a:xfrm>
            <a:off x="7048952" y="1950633"/>
            <a:ext cx="37057" cy="27375"/>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7" name="Rectangle 54"/>
          <p:cNvSpPr>
            <a:spLocks noChangeArrowheads="1"/>
          </p:cNvSpPr>
          <p:nvPr/>
        </p:nvSpPr>
        <p:spPr bwMode="auto">
          <a:xfrm>
            <a:off x="7048949" y="1920914"/>
            <a:ext cx="82259" cy="26983"/>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3" name="Oval 112"/>
          <p:cNvSpPr/>
          <p:nvPr/>
        </p:nvSpPr>
        <p:spPr>
          <a:xfrm>
            <a:off x="7012664" y="1334687"/>
            <a:ext cx="199447" cy="191528"/>
          </a:xfrm>
          <a:prstGeom prst="ellipse">
            <a:avLst/>
          </a:prstGeom>
          <a:solidFill>
            <a:schemeClr val="accent4"/>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14" name="Freeform 8"/>
          <p:cNvSpPr>
            <a:spLocks/>
          </p:cNvSpPr>
          <p:nvPr/>
        </p:nvSpPr>
        <p:spPr bwMode="auto">
          <a:xfrm>
            <a:off x="7064525" y="1394143"/>
            <a:ext cx="99219" cy="7375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000000"/>
              </a:solidFill>
              <a:latin typeface="+mj-lt"/>
            </a:endParaRPr>
          </a:p>
        </p:txBody>
      </p:sp>
      <p:sp>
        <p:nvSpPr>
          <p:cNvPr id="535" name="Oval 534"/>
          <p:cNvSpPr/>
          <p:nvPr/>
        </p:nvSpPr>
        <p:spPr>
          <a:xfrm>
            <a:off x="1339893"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3" name="Oval 542"/>
          <p:cNvSpPr/>
          <p:nvPr/>
        </p:nvSpPr>
        <p:spPr>
          <a:xfrm>
            <a:off x="2338286"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5" name="Oval 544"/>
          <p:cNvSpPr/>
          <p:nvPr/>
        </p:nvSpPr>
        <p:spPr>
          <a:xfrm>
            <a:off x="3323221"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7" name="Oval 546"/>
          <p:cNvSpPr/>
          <p:nvPr/>
        </p:nvSpPr>
        <p:spPr>
          <a:xfrm>
            <a:off x="5124147"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9" name="Oval 548"/>
          <p:cNvSpPr/>
          <p:nvPr/>
        </p:nvSpPr>
        <p:spPr>
          <a:xfrm>
            <a:off x="5916689"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33" name="Oval 532"/>
          <p:cNvSpPr/>
          <p:nvPr/>
        </p:nvSpPr>
        <p:spPr>
          <a:xfrm>
            <a:off x="6644966"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434" name="Right Arrow 433"/>
          <p:cNvSpPr/>
          <p:nvPr/>
        </p:nvSpPr>
        <p:spPr>
          <a:xfrm flipH="1">
            <a:off x="5294738" y="3429931"/>
            <a:ext cx="417838" cy="132390"/>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435" name="Right Arrow 434"/>
          <p:cNvSpPr/>
          <p:nvPr/>
        </p:nvSpPr>
        <p:spPr>
          <a:xfrm flipH="1">
            <a:off x="5294738" y="3067366"/>
            <a:ext cx="417838" cy="132390"/>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grpSp>
        <p:nvGrpSpPr>
          <p:cNvPr id="805" name="Group 431"/>
          <p:cNvGrpSpPr/>
          <p:nvPr/>
        </p:nvGrpSpPr>
        <p:grpSpPr>
          <a:xfrm>
            <a:off x="7709858" y="1840828"/>
            <a:ext cx="288218" cy="151566"/>
            <a:chOff x="7234599" y="1342765"/>
            <a:chExt cx="307449" cy="161680"/>
          </a:xfrm>
        </p:grpSpPr>
        <p:sp>
          <p:nvSpPr>
            <p:cNvPr id="436" name="Rectangle 435"/>
            <p:cNvSpPr/>
            <p:nvPr/>
          </p:nvSpPr>
          <p:spPr>
            <a:xfrm>
              <a:off x="7234599" y="1342765"/>
              <a:ext cx="307449" cy="161680"/>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438" name="Freeform 65"/>
            <p:cNvSpPr>
              <a:spLocks noEditPoints="1"/>
            </p:cNvSpPr>
            <p:nvPr/>
          </p:nvSpPr>
          <p:spPr bwMode="auto">
            <a:xfrm>
              <a:off x="7268757" y="1379552"/>
              <a:ext cx="82997" cy="85404"/>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439" name="Freeform 66"/>
            <p:cNvSpPr>
              <a:spLocks/>
            </p:cNvSpPr>
            <p:nvPr/>
          </p:nvSpPr>
          <p:spPr bwMode="auto">
            <a:xfrm>
              <a:off x="7350188" y="1379552"/>
              <a:ext cx="79863" cy="85404"/>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0" name="Freeform 67"/>
            <p:cNvSpPr>
              <a:spLocks noEditPoints="1"/>
            </p:cNvSpPr>
            <p:nvPr/>
          </p:nvSpPr>
          <p:spPr bwMode="auto">
            <a:xfrm>
              <a:off x="7436388" y="1379552"/>
              <a:ext cx="63304" cy="85404"/>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nvGrpSpPr>
          <p:cNvPr id="806" name="Group 10"/>
          <p:cNvGrpSpPr/>
          <p:nvPr/>
        </p:nvGrpSpPr>
        <p:grpSpPr>
          <a:xfrm>
            <a:off x="7012664" y="2113459"/>
            <a:ext cx="199447" cy="191528"/>
            <a:chOff x="7106606" y="2272255"/>
            <a:chExt cx="208563" cy="200282"/>
          </a:xfrm>
        </p:grpSpPr>
        <p:sp>
          <p:nvSpPr>
            <p:cNvPr id="441" name="Oval 440"/>
            <p:cNvSpPr/>
            <p:nvPr/>
          </p:nvSpPr>
          <p:spPr>
            <a:xfrm>
              <a:off x="7106606" y="2272255"/>
              <a:ext cx="208563" cy="200282"/>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rtlCol="0" anchor="ctr"/>
            <a:lstStyle/>
            <a:p>
              <a:pPr algn="ctr" defTabSz="1218539">
                <a:defRPr/>
              </a:pPr>
              <a:endParaRPr lang="en-US" sz="2400" kern="0">
                <a:solidFill>
                  <a:prstClr val="white"/>
                </a:solidFill>
                <a:latin typeface="+mj-lt"/>
              </a:endParaRPr>
            </a:p>
          </p:txBody>
        </p:sp>
        <p:grpSp>
          <p:nvGrpSpPr>
            <p:cNvPr id="807" name="Group 441"/>
            <p:cNvGrpSpPr/>
            <p:nvPr/>
          </p:nvGrpSpPr>
          <p:grpSpPr>
            <a:xfrm>
              <a:off x="7144603" y="2327545"/>
              <a:ext cx="130936" cy="95002"/>
              <a:chOff x="11664752" y="2672824"/>
              <a:chExt cx="166844" cy="126062"/>
            </a:xfrm>
          </p:grpSpPr>
          <p:sp>
            <p:nvSpPr>
              <p:cNvPr id="443"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4"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5"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6"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7"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8"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808" name="Group 448"/>
          <p:cNvGrpSpPr/>
          <p:nvPr/>
        </p:nvGrpSpPr>
        <p:grpSpPr>
          <a:xfrm>
            <a:off x="3777373" y="1973641"/>
            <a:ext cx="199447" cy="191528"/>
            <a:chOff x="7106606" y="2272255"/>
            <a:chExt cx="208563" cy="200282"/>
          </a:xfrm>
        </p:grpSpPr>
        <p:sp>
          <p:nvSpPr>
            <p:cNvPr id="450" name="Oval 449"/>
            <p:cNvSpPr/>
            <p:nvPr/>
          </p:nvSpPr>
          <p:spPr>
            <a:xfrm>
              <a:off x="7106606" y="2272255"/>
              <a:ext cx="208563" cy="200282"/>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rtlCol="0" anchor="ctr"/>
            <a:lstStyle/>
            <a:p>
              <a:pPr algn="ctr" defTabSz="1218539">
                <a:defRPr/>
              </a:pPr>
              <a:endParaRPr lang="en-US" sz="2400" kern="0">
                <a:solidFill>
                  <a:prstClr val="white"/>
                </a:solidFill>
                <a:latin typeface="+mj-lt"/>
              </a:endParaRPr>
            </a:p>
          </p:txBody>
        </p:sp>
        <p:grpSp>
          <p:nvGrpSpPr>
            <p:cNvPr id="809" name="Group 450"/>
            <p:cNvGrpSpPr/>
            <p:nvPr/>
          </p:nvGrpSpPr>
          <p:grpSpPr>
            <a:xfrm>
              <a:off x="7144603" y="2327545"/>
              <a:ext cx="130936" cy="95002"/>
              <a:chOff x="11664752" y="2672824"/>
              <a:chExt cx="166844" cy="126062"/>
            </a:xfrm>
          </p:grpSpPr>
          <p:sp>
            <p:nvSpPr>
              <p:cNvPr id="452"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7"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8"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9"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60"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61"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sp>
        <p:nvSpPr>
          <p:cNvPr id="462" name="Rectangle 846"/>
          <p:cNvSpPr/>
          <p:nvPr/>
        </p:nvSpPr>
        <p:spPr>
          <a:xfrm>
            <a:off x="8065748" y="1228147"/>
            <a:ext cx="67338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sp>
        <p:nvSpPr>
          <p:cNvPr id="159" name="Oval 158"/>
          <p:cNvSpPr/>
          <p:nvPr/>
        </p:nvSpPr>
        <p:spPr>
          <a:xfrm>
            <a:off x="8650373" y="1853244"/>
            <a:ext cx="199447" cy="191528"/>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grpSp>
        <p:nvGrpSpPr>
          <p:cNvPr id="810" name="Group 159"/>
          <p:cNvGrpSpPr/>
          <p:nvPr/>
        </p:nvGrpSpPr>
        <p:grpSpPr>
          <a:xfrm>
            <a:off x="8686709" y="1906116"/>
            <a:ext cx="125213" cy="90850"/>
            <a:chOff x="11664752" y="2672824"/>
            <a:chExt cx="166844" cy="126062"/>
          </a:xfrm>
        </p:grpSpPr>
        <p:sp>
          <p:nvSpPr>
            <p:cNvPr id="161"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2"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3"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4"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5"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6"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169" name="Oval 168"/>
          <p:cNvSpPr/>
          <p:nvPr/>
        </p:nvSpPr>
        <p:spPr>
          <a:xfrm>
            <a:off x="8650373" y="1591034"/>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70" name="Freeform 169"/>
          <p:cNvSpPr>
            <a:spLocks noEditPoints="1"/>
          </p:cNvSpPr>
          <p:nvPr/>
        </p:nvSpPr>
        <p:spPr bwMode="auto">
          <a:xfrm>
            <a:off x="8686469" y="1633560"/>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pic>
        <p:nvPicPr>
          <p:cNvPr id="472" name="Picture 10" descr="C:\Users\ecoffey\AppData\Local\Temp\Rar$DRa0.220\30074_Device_service_module_default_256.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4795" y="3277124"/>
            <a:ext cx="233876" cy="331243"/>
          </a:xfrm>
          <a:prstGeom prst="rect">
            <a:avLst/>
          </a:prstGeom>
          <a:noFill/>
          <a:extLst>
            <a:ext uri="{909E8E84-426E-40dd-AFC4-6F175D3DCCD1}">
              <a14:hiddenFill xmlns:a14="http://schemas.microsoft.com/office/drawing/2010/main">
                <a:solidFill>
                  <a:srgbClr val="FFFFFF"/>
                </a:solidFill>
              </a14:hiddenFill>
            </a:ext>
          </a:extLst>
        </p:spPr>
      </p:pic>
      <p:sp>
        <p:nvSpPr>
          <p:cNvPr id="429" name="Rounded Rectangle 191"/>
          <p:cNvSpPr/>
          <p:nvPr/>
        </p:nvSpPr>
        <p:spPr>
          <a:xfrm>
            <a:off x="4307116" y="2972594"/>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err="1">
                <a:latin typeface="+mj-lt"/>
              </a:rPr>
              <a:t>ISR</a:t>
            </a:r>
            <a:r>
              <a:rPr lang="en-US" sz="600" kern="0" dirty="0">
                <a:latin typeface="+mj-lt"/>
              </a:rPr>
              <a:t> </a:t>
            </a:r>
            <a:r>
              <a:rPr lang="en-US" sz="600" kern="0" dirty="0" smtClean="0">
                <a:latin typeface="+mj-lt"/>
              </a:rPr>
              <a:t>4K</a:t>
            </a:r>
            <a:endParaRPr lang="en-US" sz="600" kern="0" dirty="0">
              <a:latin typeface="+mj-lt"/>
            </a:endParaRPr>
          </a:p>
        </p:txBody>
      </p:sp>
      <p:sp>
        <p:nvSpPr>
          <p:cNvPr id="442" name="Rectangle 846"/>
          <p:cNvSpPr/>
          <p:nvPr/>
        </p:nvSpPr>
        <p:spPr>
          <a:xfrm>
            <a:off x="5637089" y="1228147"/>
            <a:ext cx="704135"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grpSp>
        <p:nvGrpSpPr>
          <p:cNvPr id="16" name="Group 15"/>
          <p:cNvGrpSpPr/>
          <p:nvPr/>
        </p:nvGrpSpPr>
        <p:grpSpPr>
          <a:xfrm>
            <a:off x="8380248" y="1221828"/>
            <a:ext cx="409406" cy="230832"/>
            <a:chOff x="9215617" y="1449165"/>
            <a:chExt cx="409406" cy="230832"/>
          </a:xfrm>
        </p:grpSpPr>
        <p:sp>
          <p:nvSpPr>
            <p:cNvPr id="451" name="Rectangle 450"/>
            <p:cNvSpPr/>
            <p:nvPr/>
          </p:nvSpPr>
          <p:spPr>
            <a:xfrm>
              <a:off x="9278797" y="1491408"/>
              <a:ext cx="288218" cy="151566"/>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14" name="TextBox 13"/>
            <p:cNvSpPr txBox="1"/>
            <p:nvPr/>
          </p:nvSpPr>
          <p:spPr>
            <a:xfrm>
              <a:off x="9215617" y="1449165"/>
              <a:ext cx="409406" cy="230832"/>
            </a:xfrm>
            <a:prstGeom prst="rect">
              <a:avLst/>
            </a:prstGeom>
            <a:noFill/>
          </p:spPr>
          <p:txBody>
            <a:bodyPr wrap="square" rtlCol="0">
              <a:spAutoFit/>
            </a:bodyPr>
            <a:lstStyle/>
            <a:p>
              <a:r>
                <a:rPr lang="en-US" sz="900" dirty="0" smtClean="0">
                  <a:solidFill>
                    <a:schemeClr val="bg1"/>
                  </a:solidFill>
                </a:rPr>
                <a:t>CTA</a:t>
              </a:r>
              <a:endParaRPr lang="en-US" sz="900" dirty="0">
                <a:solidFill>
                  <a:schemeClr val="bg1"/>
                </a:solidFill>
              </a:endParaRPr>
            </a:p>
          </p:txBody>
        </p:sp>
      </p:grpSp>
      <p:sp>
        <p:nvSpPr>
          <p:cNvPr id="466" name="Rectangle 465"/>
          <p:cNvSpPr/>
          <p:nvPr/>
        </p:nvSpPr>
        <p:spPr>
          <a:xfrm>
            <a:off x="8130086" y="1315521"/>
            <a:ext cx="537103" cy="462262"/>
          </a:xfrm>
          <a:prstGeom prst="rect">
            <a:avLst/>
          </a:prstGeom>
          <a:noFill/>
          <a:effectLst/>
        </p:spPr>
        <p:txBody>
          <a:bodyPr lIns="0" tIns="0" rIns="0" bIns="0" anchor="ctr">
            <a:noAutofit/>
          </a:bodyPr>
          <a:lstStyle/>
          <a:p>
            <a:pPr algn="ctr" defTabSz="685891" fontAlgn="auto">
              <a:spcBef>
                <a:spcPts val="0"/>
              </a:spcBef>
              <a:spcAft>
                <a:spcPts val="0"/>
              </a:spcAft>
            </a:pPr>
            <a:r>
              <a:rPr lang="ja-JP" altLang="en-US" sz="600" dirty="0">
                <a:solidFill>
                  <a:srgbClr val="FFFFFF"/>
                </a:solidFill>
                <a:latin typeface="Arial"/>
              </a:rPr>
              <a:t>振る舞い分析型の脅威</a:t>
            </a:r>
            <a:r>
              <a:rPr lang="ja-JP" altLang="en-US" sz="600" dirty="0" smtClean="0">
                <a:solidFill>
                  <a:srgbClr val="FFFFFF"/>
                </a:solidFill>
                <a:latin typeface="Arial"/>
              </a:rPr>
              <a:t>検知</a:t>
            </a:r>
            <a:endParaRPr lang="en-US" altLang="ja-JP" sz="600" dirty="0" smtClean="0">
              <a:solidFill>
                <a:srgbClr val="FFFFFF"/>
              </a:solidFill>
              <a:latin typeface="Arial"/>
            </a:endParaRPr>
          </a:p>
        </p:txBody>
      </p:sp>
    </p:spTree>
    <p:extLst>
      <p:ext uri="{BB962C8B-B14F-4D97-AF65-F5344CB8AC3E}">
        <p14:creationId xmlns:p14="http://schemas.microsoft.com/office/powerpoint/2010/main" val="3346900398"/>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altLang="ja-JP" dirty="0" smtClean="0"/>
              <a:t>Roadmap</a:t>
            </a:r>
            <a:endParaRPr lang="en-US" dirty="0"/>
          </a:p>
        </p:txBody>
      </p:sp>
      <p:pic>
        <p:nvPicPr>
          <p:cNvPr id="26626" name="Picture 2" descr="http://ih0.redbubble.net/image.79154211.0793/tb,220x200,flat-pad,220x200,ffffff.2u1.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860460" y="1540551"/>
            <a:ext cx="20955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95221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58834" y="1191489"/>
            <a:ext cx="2880810" cy="1457499"/>
          </a:xfrm>
        </p:spPr>
        <p:txBody>
          <a:bodyPr/>
          <a:lstStyle/>
          <a:p>
            <a:r>
              <a:rPr lang="en-US" sz="1400" dirty="0" smtClean="0">
                <a:solidFill>
                  <a:schemeClr val="accent1"/>
                </a:solidFill>
              </a:rPr>
              <a:t>ICAP protocol </a:t>
            </a:r>
            <a:r>
              <a:rPr lang="ja-JP" altLang="en-US" sz="1400" dirty="0" smtClean="0">
                <a:solidFill>
                  <a:schemeClr val="accent1"/>
                </a:solidFill>
              </a:rPr>
              <a:t>（標準化済み）</a:t>
            </a:r>
            <a:endParaRPr lang="en-US" sz="1400" dirty="0" smtClean="0">
              <a:solidFill>
                <a:schemeClr val="accent1"/>
              </a:solidFill>
            </a:endParaRPr>
          </a:p>
        </p:txBody>
      </p:sp>
      <p:sp>
        <p:nvSpPr>
          <p:cNvPr id="3" name="Title 2"/>
          <p:cNvSpPr>
            <a:spLocks noGrp="1"/>
          </p:cNvSpPr>
          <p:nvPr>
            <p:ph type="title"/>
          </p:nvPr>
        </p:nvSpPr>
        <p:spPr/>
        <p:txBody>
          <a:bodyPr/>
          <a:lstStyle/>
          <a:p>
            <a:r>
              <a:rPr lang="ja-JP" altLang="en-US" dirty="0" smtClean="0"/>
              <a:t>クラウドと連動する</a:t>
            </a:r>
            <a:r>
              <a:rPr lang="en-US" altLang="ja-JP" dirty="0" smtClean="0"/>
              <a:t> DLP- </a:t>
            </a:r>
            <a:r>
              <a:rPr lang="en-GB" dirty="0" smtClean="0"/>
              <a:t> Secure ICAP</a:t>
            </a:r>
            <a:endParaRPr lang="en-US" dirty="0"/>
          </a:p>
        </p:txBody>
      </p:sp>
      <p:grpSp>
        <p:nvGrpSpPr>
          <p:cNvPr id="34" name="Group 33"/>
          <p:cNvGrpSpPr/>
          <p:nvPr/>
        </p:nvGrpSpPr>
        <p:grpSpPr>
          <a:xfrm>
            <a:off x="1659775" y="2665175"/>
            <a:ext cx="2845277" cy="988996"/>
            <a:chOff x="2215342" y="1775387"/>
            <a:chExt cx="3793703" cy="1318662"/>
          </a:xfrm>
          <a:effectLst/>
        </p:grpSpPr>
        <p:sp>
          <p:nvSpPr>
            <p:cNvPr id="35" name="Rectangle 34"/>
            <p:cNvSpPr/>
            <p:nvPr/>
          </p:nvSpPr>
          <p:spPr>
            <a:xfrm>
              <a:off x="5805745" y="1926719"/>
              <a:ext cx="203300" cy="1167330"/>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36" name="Right Arrow 35"/>
            <p:cNvSpPr/>
            <p:nvPr/>
          </p:nvSpPr>
          <p:spPr>
            <a:xfrm rot="10800000">
              <a:off x="2215342" y="1775387"/>
              <a:ext cx="3793693" cy="583037"/>
            </a:xfrm>
            <a:prstGeom prst="rightArrow">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grpSp>
      <p:sp>
        <p:nvSpPr>
          <p:cNvPr id="49" name="Freeform 12"/>
          <p:cNvSpPr>
            <a:spLocks noEditPoints="1"/>
          </p:cNvSpPr>
          <p:nvPr/>
        </p:nvSpPr>
        <p:spPr bwMode="auto">
          <a:xfrm>
            <a:off x="429774" y="2521703"/>
            <a:ext cx="997398" cy="1303043"/>
          </a:xfrm>
          <a:custGeom>
            <a:avLst/>
            <a:gdLst>
              <a:gd name="T0" fmla="*/ 2147483647 w 620"/>
              <a:gd name="T1" fmla="*/ 2147483647 h 515"/>
              <a:gd name="T2" fmla="*/ 2147483647 w 620"/>
              <a:gd name="T3" fmla="*/ 2147483647 h 515"/>
              <a:gd name="T4" fmla="*/ 0 w 620"/>
              <a:gd name="T5" fmla="*/ 2147483647 h 515"/>
              <a:gd name="T6" fmla="*/ 2147483647 w 620"/>
              <a:gd name="T7" fmla="*/ 2147483647 h 515"/>
              <a:gd name="T8" fmla="*/ 2147483647 w 620"/>
              <a:gd name="T9" fmla="*/ 2147483647 h 515"/>
              <a:gd name="T10" fmla="*/ 2147483647 w 620"/>
              <a:gd name="T11" fmla="*/ 2147483647 h 515"/>
              <a:gd name="T12" fmla="*/ 2147483647 w 620"/>
              <a:gd name="T13" fmla="*/ 2147483647 h 515"/>
              <a:gd name="T14" fmla="*/ 2147483647 w 620"/>
              <a:gd name="T15" fmla="*/ 2147483647 h 515"/>
              <a:gd name="T16" fmla="*/ 2147483647 w 620"/>
              <a:gd name="T17" fmla="*/ 2147483647 h 515"/>
              <a:gd name="T18" fmla="*/ 2147483647 w 620"/>
              <a:gd name="T19" fmla="*/ 2147483647 h 515"/>
              <a:gd name="T20" fmla="*/ 2147483647 w 620"/>
              <a:gd name="T21" fmla="*/ 2147483647 h 515"/>
              <a:gd name="T22" fmla="*/ 2147483647 w 620"/>
              <a:gd name="T23" fmla="*/ 2147483647 h 515"/>
              <a:gd name="T24" fmla="*/ 2147483647 w 620"/>
              <a:gd name="T25" fmla="*/ 2147483647 h 515"/>
              <a:gd name="T26" fmla="*/ 2147483647 w 620"/>
              <a:gd name="T27" fmla="*/ 2147483647 h 515"/>
              <a:gd name="T28" fmla="*/ 2147483647 w 620"/>
              <a:gd name="T29" fmla="*/ 2147483647 h 515"/>
              <a:gd name="T30" fmla="*/ 2147483647 w 620"/>
              <a:gd name="T31" fmla="*/ 2147483647 h 515"/>
              <a:gd name="T32" fmla="*/ 2147483647 w 620"/>
              <a:gd name="T33" fmla="*/ 2147483647 h 515"/>
              <a:gd name="T34" fmla="*/ 2147483647 w 620"/>
              <a:gd name="T35" fmla="*/ 2147483647 h 515"/>
              <a:gd name="T36" fmla="*/ 2147483647 w 620"/>
              <a:gd name="T37" fmla="*/ 2147483647 h 515"/>
              <a:gd name="T38" fmla="*/ 2147483647 w 620"/>
              <a:gd name="T39" fmla="*/ 2147483647 h 515"/>
              <a:gd name="T40" fmla="*/ 2147483647 w 620"/>
              <a:gd name="T41" fmla="*/ 2147483647 h 515"/>
              <a:gd name="T42" fmla="*/ 2147483647 w 620"/>
              <a:gd name="T43" fmla="*/ 2147483647 h 515"/>
              <a:gd name="T44" fmla="*/ 2147483647 w 620"/>
              <a:gd name="T45" fmla="*/ 2147483647 h 515"/>
              <a:gd name="T46" fmla="*/ 2147483647 w 620"/>
              <a:gd name="T47" fmla="*/ 2147483647 h 515"/>
              <a:gd name="T48" fmla="*/ 2147483647 w 620"/>
              <a:gd name="T49" fmla="*/ 2147483647 h 515"/>
              <a:gd name="T50" fmla="*/ 2147483647 w 620"/>
              <a:gd name="T51" fmla="*/ 2147483647 h 515"/>
              <a:gd name="T52" fmla="*/ 2147483647 w 620"/>
              <a:gd name="T53" fmla="*/ 2147483647 h 515"/>
              <a:gd name="T54" fmla="*/ 2147483647 w 620"/>
              <a:gd name="T55" fmla="*/ 2147483647 h 515"/>
              <a:gd name="T56" fmla="*/ 2147483647 w 620"/>
              <a:gd name="T57" fmla="*/ 2147483647 h 515"/>
              <a:gd name="T58" fmla="*/ 2147483647 w 620"/>
              <a:gd name="T59" fmla="*/ 2147483647 h 515"/>
              <a:gd name="T60" fmla="*/ 2147483647 w 620"/>
              <a:gd name="T61" fmla="*/ 2147483647 h 515"/>
              <a:gd name="T62" fmla="*/ 2147483647 w 620"/>
              <a:gd name="T63" fmla="*/ 2147483647 h 515"/>
              <a:gd name="T64" fmla="*/ 2147483647 w 620"/>
              <a:gd name="T65" fmla="*/ 2147483647 h 515"/>
              <a:gd name="T66" fmla="*/ 2147483647 w 620"/>
              <a:gd name="T67" fmla="*/ 2147483647 h 515"/>
              <a:gd name="T68" fmla="*/ 2147483647 w 620"/>
              <a:gd name="T69" fmla="*/ 2147483647 h 515"/>
              <a:gd name="T70" fmla="*/ 2147483647 w 620"/>
              <a:gd name="T71" fmla="*/ 2147483647 h 515"/>
              <a:gd name="T72" fmla="*/ 2147483647 w 620"/>
              <a:gd name="T73" fmla="*/ 2147483647 h 515"/>
              <a:gd name="T74" fmla="*/ 2147483647 w 620"/>
              <a:gd name="T75" fmla="*/ 2147483647 h 515"/>
              <a:gd name="T76" fmla="*/ 2147483647 w 620"/>
              <a:gd name="T77" fmla="*/ 2147483647 h 515"/>
              <a:gd name="T78" fmla="*/ 2147483647 w 620"/>
              <a:gd name="T79" fmla="*/ 2147483647 h 515"/>
              <a:gd name="T80" fmla="*/ 2147483647 w 620"/>
              <a:gd name="T81" fmla="*/ 2147483647 h 515"/>
              <a:gd name="T82" fmla="*/ 2147483647 w 620"/>
              <a:gd name="T83" fmla="*/ 2147483647 h 515"/>
              <a:gd name="T84" fmla="*/ 2147483647 w 620"/>
              <a:gd name="T85" fmla="*/ 2147483647 h 515"/>
              <a:gd name="T86" fmla="*/ 2147483647 w 620"/>
              <a:gd name="T87" fmla="*/ 2147483647 h 515"/>
              <a:gd name="T88" fmla="*/ 2147483647 w 620"/>
              <a:gd name="T89" fmla="*/ 2147483647 h 515"/>
              <a:gd name="T90" fmla="*/ 2147483647 w 620"/>
              <a:gd name="T91" fmla="*/ 2147483647 h 515"/>
              <a:gd name="T92" fmla="*/ 2147483647 w 620"/>
              <a:gd name="T93" fmla="*/ 2147483647 h 515"/>
              <a:gd name="T94" fmla="*/ 2147483647 w 620"/>
              <a:gd name="T95" fmla="*/ 2147483647 h 515"/>
              <a:gd name="T96" fmla="*/ 2147483647 w 620"/>
              <a:gd name="T97" fmla="*/ 2147483647 h 515"/>
              <a:gd name="T98" fmla="*/ 2147483647 w 620"/>
              <a:gd name="T99" fmla="*/ 2147483647 h 515"/>
              <a:gd name="T100" fmla="*/ 2147483647 w 620"/>
              <a:gd name="T101" fmla="*/ 2147483647 h 515"/>
              <a:gd name="T102" fmla="*/ 2147483647 w 620"/>
              <a:gd name="T103" fmla="*/ 2147483647 h 515"/>
              <a:gd name="T104" fmla="*/ 2147483647 w 620"/>
              <a:gd name="T105" fmla="*/ 2147483647 h 5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0" h="515">
                <a:moveTo>
                  <a:pt x="442" y="196"/>
                </a:moveTo>
                <a:lnTo>
                  <a:pt x="442" y="31"/>
                </a:lnTo>
                <a:lnTo>
                  <a:pt x="449" y="31"/>
                </a:lnTo>
                <a:lnTo>
                  <a:pt x="449" y="0"/>
                </a:lnTo>
                <a:lnTo>
                  <a:pt x="189" y="0"/>
                </a:lnTo>
                <a:lnTo>
                  <a:pt x="189" y="31"/>
                </a:lnTo>
                <a:lnTo>
                  <a:pt x="197" y="31"/>
                </a:lnTo>
                <a:lnTo>
                  <a:pt x="197" y="140"/>
                </a:lnTo>
                <a:lnTo>
                  <a:pt x="0" y="140"/>
                </a:lnTo>
                <a:lnTo>
                  <a:pt x="0" y="166"/>
                </a:lnTo>
                <a:lnTo>
                  <a:pt x="7" y="166"/>
                </a:lnTo>
                <a:lnTo>
                  <a:pt x="7" y="515"/>
                </a:lnTo>
                <a:lnTo>
                  <a:pt x="211" y="515"/>
                </a:lnTo>
                <a:lnTo>
                  <a:pt x="440" y="515"/>
                </a:lnTo>
                <a:lnTo>
                  <a:pt x="613" y="515"/>
                </a:lnTo>
                <a:lnTo>
                  <a:pt x="613" y="218"/>
                </a:lnTo>
                <a:lnTo>
                  <a:pt x="620" y="218"/>
                </a:lnTo>
                <a:lnTo>
                  <a:pt x="620" y="196"/>
                </a:lnTo>
                <a:lnTo>
                  <a:pt x="442" y="196"/>
                </a:lnTo>
                <a:close/>
                <a:moveTo>
                  <a:pt x="90" y="395"/>
                </a:moveTo>
                <a:lnTo>
                  <a:pt x="48" y="395"/>
                </a:lnTo>
                <a:lnTo>
                  <a:pt x="48" y="352"/>
                </a:lnTo>
                <a:lnTo>
                  <a:pt x="90" y="352"/>
                </a:lnTo>
                <a:lnTo>
                  <a:pt x="90" y="395"/>
                </a:lnTo>
                <a:close/>
                <a:moveTo>
                  <a:pt x="90" y="336"/>
                </a:moveTo>
                <a:lnTo>
                  <a:pt x="48" y="336"/>
                </a:lnTo>
                <a:lnTo>
                  <a:pt x="48" y="293"/>
                </a:lnTo>
                <a:lnTo>
                  <a:pt x="90" y="293"/>
                </a:lnTo>
                <a:lnTo>
                  <a:pt x="90" y="336"/>
                </a:lnTo>
                <a:close/>
                <a:moveTo>
                  <a:pt x="90" y="277"/>
                </a:moveTo>
                <a:lnTo>
                  <a:pt x="48" y="277"/>
                </a:lnTo>
                <a:lnTo>
                  <a:pt x="48" y="236"/>
                </a:lnTo>
                <a:lnTo>
                  <a:pt x="90" y="236"/>
                </a:lnTo>
                <a:lnTo>
                  <a:pt x="90" y="277"/>
                </a:lnTo>
                <a:close/>
                <a:moveTo>
                  <a:pt x="90" y="218"/>
                </a:moveTo>
                <a:lnTo>
                  <a:pt x="48" y="218"/>
                </a:lnTo>
                <a:lnTo>
                  <a:pt x="48" y="177"/>
                </a:lnTo>
                <a:lnTo>
                  <a:pt x="90" y="177"/>
                </a:lnTo>
                <a:lnTo>
                  <a:pt x="90" y="218"/>
                </a:lnTo>
                <a:close/>
                <a:moveTo>
                  <a:pt x="168" y="395"/>
                </a:moveTo>
                <a:lnTo>
                  <a:pt x="128" y="395"/>
                </a:lnTo>
                <a:lnTo>
                  <a:pt x="128" y="352"/>
                </a:lnTo>
                <a:lnTo>
                  <a:pt x="168" y="352"/>
                </a:lnTo>
                <a:lnTo>
                  <a:pt x="168" y="395"/>
                </a:lnTo>
                <a:close/>
                <a:moveTo>
                  <a:pt x="168" y="336"/>
                </a:moveTo>
                <a:lnTo>
                  <a:pt x="128" y="336"/>
                </a:lnTo>
                <a:lnTo>
                  <a:pt x="128" y="293"/>
                </a:lnTo>
                <a:lnTo>
                  <a:pt x="168" y="293"/>
                </a:lnTo>
                <a:lnTo>
                  <a:pt x="168" y="336"/>
                </a:lnTo>
                <a:close/>
                <a:moveTo>
                  <a:pt x="168" y="277"/>
                </a:moveTo>
                <a:lnTo>
                  <a:pt x="128" y="277"/>
                </a:lnTo>
                <a:lnTo>
                  <a:pt x="128" y="236"/>
                </a:lnTo>
                <a:lnTo>
                  <a:pt x="168" y="236"/>
                </a:lnTo>
                <a:lnTo>
                  <a:pt x="168" y="277"/>
                </a:lnTo>
                <a:close/>
                <a:moveTo>
                  <a:pt x="168" y="218"/>
                </a:moveTo>
                <a:lnTo>
                  <a:pt x="128" y="218"/>
                </a:lnTo>
                <a:lnTo>
                  <a:pt x="128" y="177"/>
                </a:lnTo>
                <a:lnTo>
                  <a:pt x="168" y="177"/>
                </a:lnTo>
                <a:lnTo>
                  <a:pt x="168" y="218"/>
                </a:lnTo>
                <a:close/>
                <a:moveTo>
                  <a:pt x="296" y="439"/>
                </a:moveTo>
                <a:lnTo>
                  <a:pt x="244" y="439"/>
                </a:lnTo>
                <a:lnTo>
                  <a:pt x="244" y="390"/>
                </a:lnTo>
                <a:lnTo>
                  <a:pt x="296" y="390"/>
                </a:lnTo>
                <a:lnTo>
                  <a:pt x="296" y="439"/>
                </a:lnTo>
                <a:close/>
                <a:moveTo>
                  <a:pt x="296" y="371"/>
                </a:moveTo>
                <a:lnTo>
                  <a:pt x="244" y="371"/>
                </a:lnTo>
                <a:lnTo>
                  <a:pt x="244" y="321"/>
                </a:lnTo>
                <a:lnTo>
                  <a:pt x="296" y="321"/>
                </a:lnTo>
                <a:lnTo>
                  <a:pt x="296" y="371"/>
                </a:lnTo>
                <a:close/>
                <a:moveTo>
                  <a:pt x="296" y="303"/>
                </a:moveTo>
                <a:lnTo>
                  <a:pt x="244" y="303"/>
                </a:lnTo>
                <a:lnTo>
                  <a:pt x="244" y="253"/>
                </a:lnTo>
                <a:lnTo>
                  <a:pt x="296" y="253"/>
                </a:lnTo>
                <a:lnTo>
                  <a:pt x="296" y="303"/>
                </a:lnTo>
                <a:close/>
                <a:moveTo>
                  <a:pt x="296" y="232"/>
                </a:moveTo>
                <a:lnTo>
                  <a:pt x="244" y="232"/>
                </a:lnTo>
                <a:lnTo>
                  <a:pt x="244" y="182"/>
                </a:lnTo>
                <a:lnTo>
                  <a:pt x="296" y="182"/>
                </a:lnTo>
                <a:lnTo>
                  <a:pt x="296" y="232"/>
                </a:lnTo>
                <a:close/>
                <a:moveTo>
                  <a:pt x="296" y="163"/>
                </a:moveTo>
                <a:lnTo>
                  <a:pt x="244" y="163"/>
                </a:lnTo>
                <a:lnTo>
                  <a:pt x="244" y="114"/>
                </a:lnTo>
                <a:lnTo>
                  <a:pt x="296" y="114"/>
                </a:lnTo>
                <a:lnTo>
                  <a:pt x="296" y="163"/>
                </a:lnTo>
                <a:close/>
                <a:moveTo>
                  <a:pt x="296" y="95"/>
                </a:moveTo>
                <a:lnTo>
                  <a:pt x="244" y="95"/>
                </a:lnTo>
                <a:lnTo>
                  <a:pt x="244" y="45"/>
                </a:lnTo>
                <a:lnTo>
                  <a:pt x="296" y="45"/>
                </a:lnTo>
                <a:lnTo>
                  <a:pt x="296" y="95"/>
                </a:lnTo>
                <a:close/>
                <a:moveTo>
                  <a:pt x="390" y="439"/>
                </a:moveTo>
                <a:lnTo>
                  <a:pt x="341" y="439"/>
                </a:lnTo>
                <a:lnTo>
                  <a:pt x="341" y="390"/>
                </a:lnTo>
                <a:lnTo>
                  <a:pt x="390" y="390"/>
                </a:lnTo>
                <a:lnTo>
                  <a:pt x="390" y="439"/>
                </a:lnTo>
                <a:close/>
                <a:moveTo>
                  <a:pt x="390" y="371"/>
                </a:moveTo>
                <a:lnTo>
                  <a:pt x="341" y="371"/>
                </a:lnTo>
                <a:lnTo>
                  <a:pt x="341" y="321"/>
                </a:lnTo>
                <a:lnTo>
                  <a:pt x="390" y="321"/>
                </a:lnTo>
                <a:lnTo>
                  <a:pt x="390" y="371"/>
                </a:lnTo>
                <a:close/>
                <a:moveTo>
                  <a:pt x="390" y="303"/>
                </a:moveTo>
                <a:lnTo>
                  <a:pt x="341" y="303"/>
                </a:lnTo>
                <a:lnTo>
                  <a:pt x="341" y="253"/>
                </a:lnTo>
                <a:lnTo>
                  <a:pt x="390" y="253"/>
                </a:lnTo>
                <a:lnTo>
                  <a:pt x="390" y="303"/>
                </a:lnTo>
                <a:close/>
                <a:moveTo>
                  <a:pt x="390" y="232"/>
                </a:moveTo>
                <a:lnTo>
                  <a:pt x="341" y="232"/>
                </a:lnTo>
                <a:lnTo>
                  <a:pt x="341" y="182"/>
                </a:lnTo>
                <a:lnTo>
                  <a:pt x="390" y="182"/>
                </a:lnTo>
                <a:lnTo>
                  <a:pt x="390" y="232"/>
                </a:lnTo>
                <a:close/>
                <a:moveTo>
                  <a:pt x="390" y="163"/>
                </a:moveTo>
                <a:lnTo>
                  <a:pt x="341" y="163"/>
                </a:lnTo>
                <a:lnTo>
                  <a:pt x="341" y="114"/>
                </a:lnTo>
                <a:lnTo>
                  <a:pt x="390" y="114"/>
                </a:lnTo>
                <a:lnTo>
                  <a:pt x="390" y="163"/>
                </a:lnTo>
                <a:close/>
                <a:moveTo>
                  <a:pt x="390" y="95"/>
                </a:moveTo>
                <a:lnTo>
                  <a:pt x="341" y="95"/>
                </a:lnTo>
                <a:lnTo>
                  <a:pt x="341" y="45"/>
                </a:lnTo>
                <a:lnTo>
                  <a:pt x="390" y="45"/>
                </a:lnTo>
                <a:lnTo>
                  <a:pt x="390" y="95"/>
                </a:lnTo>
                <a:close/>
                <a:moveTo>
                  <a:pt x="509" y="411"/>
                </a:moveTo>
                <a:lnTo>
                  <a:pt x="473" y="411"/>
                </a:lnTo>
                <a:lnTo>
                  <a:pt x="473" y="378"/>
                </a:lnTo>
                <a:lnTo>
                  <a:pt x="509" y="378"/>
                </a:lnTo>
                <a:lnTo>
                  <a:pt x="509" y="411"/>
                </a:lnTo>
                <a:close/>
                <a:moveTo>
                  <a:pt x="509" y="362"/>
                </a:moveTo>
                <a:lnTo>
                  <a:pt x="473" y="362"/>
                </a:lnTo>
                <a:lnTo>
                  <a:pt x="473" y="326"/>
                </a:lnTo>
                <a:lnTo>
                  <a:pt x="509" y="326"/>
                </a:lnTo>
                <a:lnTo>
                  <a:pt x="509" y="362"/>
                </a:lnTo>
                <a:close/>
                <a:moveTo>
                  <a:pt x="509" y="312"/>
                </a:moveTo>
                <a:lnTo>
                  <a:pt x="473" y="312"/>
                </a:lnTo>
                <a:lnTo>
                  <a:pt x="473" y="277"/>
                </a:lnTo>
                <a:lnTo>
                  <a:pt x="509" y="277"/>
                </a:lnTo>
                <a:lnTo>
                  <a:pt x="509" y="312"/>
                </a:lnTo>
                <a:close/>
                <a:moveTo>
                  <a:pt x="509" y="262"/>
                </a:moveTo>
                <a:lnTo>
                  <a:pt x="473" y="262"/>
                </a:lnTo>
                <a:lnTo>
                  <a:pt x="473" y="227"/>
                </a:lnTo>
                <a:lnTo>
                  <a:pt x="509" y="227"/>
                </a:lnTo>
                <a:lnTo>
                  <a:pt x="509" y="262"/>
                </a:lnTo>
                <a:close/>
                <a:moveTo>
                  <a:pt x="575" y="411"/>
                </a:moveTo>
                <a:lnTo>
                  <a:pt x="542" y="411"/>
                </a:lnTo>
                <a:lnTo>
                  <a:pt x="542" y="378"/>
                </a:lnTo>
                <a:lnTo>
                  <a:pt x="575" y="378"/>
                </a:lnTo>
                <a:lnTo>
                  <a:pt x="575" y="411"/>
                </a:lnTo>
                <a:close/>
                <a:moveTo>
                  <a:pt x="575" y="362"/>
                </a:moveTo>
                <a:lnTo>
                  <a:pt x="542" y="362"/>
                </a:lnTo>
                <a:lnTo>
                  <a:pt x="542" y="326"/>
                </a:lnTo>
                <a:lnTo>
                  <a:pt x="575" y="326"/>
                </a:lnTo>
                <a:lnTo>
                  <a:pt x="575" y="362"/>
                </a:lnTo>
                <a:close/>
                <a:moveTo>
                  <a:pt x="575" y="312"/>
                </a:moveTo>
                <a:lnTo>
                  <a:pt x="542" y="312"/>
                </a:lnTo>
                <a:lnTo>
                  <a:pt x="542" y="277"/>
                </a:lnTo>
                <a:lnTo>
                  <a:pt x="575" y="277"/>
                </a:lnTo>
                <a:lnTo>
                  <a:pt x="575" y="312"/>
                </a:lnTo>
                <a:close/>
                <a:moveTo>
                  <a:pt x="575" y="262"/>
                </a:moveTo>
                <a:lnTo>
                  <a:pt x="542" y="262"/>
                </a:lnTo>
                <a:lnTo>
                  <a:pt x="542" y="227"/>
                </a:lnTo>
                <a:lnTo>
                  <a:pt x="575" y="227"/>
                </a:lnTo>
                <a:lnTo>
                  <a:pt x="575" y="262"/>
                </a:lnTo>
                <a:close/>
              </a:path>
            </a:pathLst>
          </a:custGeom>
          <a:solidFill>
            <a:srgbClr val="5E81D3"/>
          </a:solidFill>
          <a:ln>
            <a:noFill/>
          </a:ln>
          <a:extLst>
            <a:ext uri="{91240B29-F687-4f45-9708-019B960494DF}">
              <a14:hiddenLine xmlns:a14="http://schemas.microsoft.com/office/drawing/2010/main" w="9525">
                <a:solidFill>
                  <a:srgbClr val="000000"/>
                </a:solidFill>
                <a:round/>
                <a:headEnd/>
                <a:tailEnd/>
              </a14:hiddenLine>
            </a:ext>
          </a:extLst>
        </p:spPr>
        <p:txBody>
          <a:bodyPr lIns="91364" tIns="45682" rIns="91364" bIns="45682"/>
          <a:lstStyle/>
          <a:p>
            <a:pPr defTabSz="456801" fontAlgn="base">
              <a:spcBef>
                <a:spcPct val="0"/>
              </a:spcBef>
              <a:spcAft>
                <a:spcPct val="0"/>
              </a:spcAft>
            </a:pPr>
            <a:endParaRPr lang="en-US" sz="1350">
              <a:solidFill>
                <a:srgbClr val="676767"/>
              </a:solidFill>
              <a:ea typeface="ＭＳ Ｐゴシック" charset="0"/>
            </a:endParaRPr>
          </a:p>
        </p:txBody>
      </p:sp>
      <p:sp>
        <p:nvSpPr>
          <p:cNvPr id="50" name="TextBox 49"/>
          <p:cNvSpPr txBox="1"/>
          <p:nvPr/>
        </p:nvSpPr>
        <p:spPr>
          <a:xfrm>
            <a:off x="6692745" y="4356142"/>
            <a:ext cx="1504013" cy="294645"/>
          </a:xfrm>
          <a:prstGeom prst="rect">
            <a:avLst/>
          </a:prstGeom>
          <a:noFill/>
        </p:spPr>
        <p:txBody>
          <a:bodyPr wrap="square" lIns="68544" tIns="34273" rIns="68544" bIns="34273" rtlCol="0">
            <a:spAutoFit/>
          </a:bodyPr>
          <a:lstStyle>
            <a:defPPr>
              <a:defRPr lang="en-US"/>
            </a:defPPr>
            <a:lvl1pPr algn="ctr" defTabSz="814018" eaLnBrk="0" hangingPunct="0">
              <a:lnSpc>
                <a:spcPct val="90000"/>
              </a:lnSpc>
              <a:defRPr sz="1300">
                <a:solidFill>
                  <a:schemeClr val="accent3">
                    <a:lumMod val="10000"/>
                  </a:schemeClr>
                </a:solidFill>
                <a:latin typeface="Arial"/>
              </a:defRPr>
            </a:lvl1pPr>
            <a:lvl2pPr marL="457141" defTabSz="914285">
              <a:defRPr sz="1900"/>
            </a:lvl2pPr>
            <a:lvl3pPr marL="914285" defTabSz="914285">
              <a:defRPr sz="1900"/>
            </a:lvl3pPr>
            <a:lvl4pPr marL="1371428" defTabSz="914285">
              <a:defRPr sz="1900"/>
            </a:lvl4pPr>
            <a:lvl5pPr marL="1828572" defTabSz="914285">
              <a:defRPr sz="1900"/>
            </a:lvl5pPr>
            <a:lvl6pPr marL="2285713" defTabSz="914285">
              <a:defRPr sz="1900"/>
            </a:lvl6pPr>
            <a:lvl7pPr marL="2742857" defTabSz="914285">
              <a:defRPr sz="1900"/>
            </a:lvl7pPr>
            <a:lvl8pPr marL="3200000" defTabSz="914285">
              <a:defRPr sz="1900"/>
            </a:lvl8pPr>
            <a:lvl9pPr marL="3657144" defTabSz="914285">
              <a:defRPr sz="1900"/>
            </a:lvl9pPr>
          </a:lstStyle>
          <a:p>
            <a:r>
              <a:rPr lang="en-US" sz="1600" b="1" dirty="0">
                <a:solidFill>
                  <a:srgbClr val="676767"/>
                </a:solidFill>
                <a:latin typeface="Arial" charset="0"/>
                <a:ea typeface="ＭＳ Ｐゴシック" charset="0"/>
              </a:rPr>
              <a:t>Internet</a:t>
            </a:r>
          </a:p>
        </p:txBody>
      </p:sp>
      <p:sp>
        <p:nvSpPr>
          <p:cNvPr id="51" name="Freeform 5"/>
          <p:cNvSpPr>
            <a:spLocks noEditPoints="1"/>
          </p:cNvSpPr>
          <p:nvPr/>
        </p:nvSpPr>
        <p:spPr bwMode="auto">
          <a:xfrm>
            <a:off x="6935502" y="3253001"/>
            <a:ext cx="1018973" cy="1009377"/>
          </a:xfrm>
          <a:custGeom>
            <a:avLst/>
            <a:gdLst>
              <a:gd name="T0" fmla="*/ 1569 w 4320"/>
              <a:gd name="T1" fmla="*/ 82 h 4320"/>
              <a:gd name="T2" fmla="*/ 953 w 4320"/>
              <a:gd name="T3" fmla="*/ 368 h 4320"/>
              <a:gd name="T4" fmla="*/ 460 w 4320"/>
              <a:gd name="T5" fmla="*/ 827 h 4320"/>
              <a:gd name="T6" fmla="*/ 131 w 4320"/>
              <a:gd name="T7" fmla="*/ 1417 h 4320"/>
              <a:gd name="T8" fmla="*/ 0 w 4320"/>
              <a:gd name="T9" fmla="*/ 2103 h 4320"/>
              <a:gd name="T10" fmla="*/ 82 w 4320"/>
              <a:gd name="T11" fmla="*/ 2751 h 4320"/>
              <a:gd name="T12" fmla="*/ 368 w 4320"/>
              <a:gd name="T13" fmla="*/ 3367 h 4320"/>
              <a:gd name="T14" fmla="*/ 827 w 4320"/>
              <a:gd name="T15" fmla="*/ 3860 h 4320"/>
              <a:gd name="T16" fmla="*/ 1417 w 4320"/>
              <a:gd name="T17" fmla="*/ 4189 h 4320"/>
              <a:gd name="T18" fmla="*/ 2103 w 4320"/>
              <a:gd name="T19" fmla="*/ 4320 h 4320"/>
              <a:gd name="T20" fmla="*/ 2751 w 4320"/>
              <a:gd name="T21" fmla="*/ 4238 h 4320"/>
              <a:gd name="T22" fmla="*/ 3367 w 4320"/>
              <a:gd name="T23" fmla="*/ 3952 h 4320"/>
              <a:gd name="T24" fmla="*/ 3860 w 4320"/>
              <a:gd name="T25" fmla="*/ 3493 h 4320"/>
              <a:gd name="T26" fmla="*/ 4189 w 4320"/>
              <a:gd name="T27" fmla="*/ 2903 h 4320"/>
              <a:gd name="T28" fmla="*/ 4320 w 4320"/>
              <a:gd name="T29" fmla="*/ 2217 h 4320"/>
              <a:gd name="T30" fmla="*/ 4238 w 4320"/>
              <a:gd name="T31" fmla="*/ 1569 h 4320"/>
              <a:gd name="T32" fmla="*/ 3952 w 4320"/>
              <a:gd name="T33" fmla="*/ 953 h 4320"/>
              <a:gd name="T34" fmla="*/ 3493 w 4320"/>
              <a:gd name="T35" fmla="*/ 460 h 4320"/>
              <a:gd name="T36" fmla="*/ 2903 w 4320"/>
              <a:gd name="T37" fmla="*/ 131 h 4320"/>
              <a:gd name="T38" fmla="*/ 2217 w 4320"/>
              <a:gd name="T39" fmla="*/ 0 h 4320"/>
              <a:gd name="T40" fmla="*/ 3043 w 4320"/>
              <a:gd name="T41" fmla="*/ 1216 h 4320"/>
              <a:gd name="T42" fmla="*/ 3710 w 4320"/>
              <a:gd name="T43" fmla="*/ 1098 h 4320"/>
              <a:gd name="T44" fmla="*/ 4037 w 4320"/>
              <a:gd name="T45" fmla="*/ 2090 h 4320"/>
              <a:gd name="T46" fmla="*/ 1696 w 4320"/>
              <a:gd name="T47" fmla="*/ 3612 h 4320"/>
              <a:gd name="T48" fmla="*/ 1942 w 4320"/>
              <a:gd name="T49" fmla="*/ 3219 h 4320"/>
              <a:gd name="T50" fmla="*/ 2468 w 4320"/>
              <a:gd name="T51" fmla="*/ 509 h 4320"/>
              <a:gd name="T52" fmla="*/ 2784 w 4320"/>
              <a:gd name="T53" fmla="*/ 1160 h 4320"/>
              <a:gd name="T54" fmla="*/ 2468 w 4320"/>
              <a:gd name="T55" fmla="*/ 306 h 4320"/>
              <a:gd name="T56" fmla="*/ 3308 w 4320"/>
              <a:gd name="T57" fmla="*/ 673 h 4320"/>
              <a:gd name="T58" fmla="*/ 2990 w 4320"/>
              <a:gd name="T59" fmla="*/ 1088 h 4320"/>
              <a:gd name="T60" fmla="*/ 2587 w 4320"/>
              <a:gd name="T61" fmla="*/ 433 h 4320"/>
              <a:gd name="T62" fmla="*/ 1612 w 4320"/>
              <a:gd name="T63" fmla="*/ 1181 h 4320"/>
              <a:gd name="T64" fmla="*/ 1809 w 4320"/>
              <a:gd name="T65" fmla="*/ 559 h 4320"/>
              <a:gd name="T66" fmla="*/ 1203 w 4320"/>
              <a:gd name="T67" fmla="*/ 1031 h 4320"/>
              <a:gd name="T68" fmla="*/ 1185 w 4320"/>
              <a:gd name="T69" fmla="*/ 554 h 4320"/>
              <a:gd name="T70" fmla="*/ 1772 w 4320"/>
              <a:gd name="T71" fmla="*/ 390 h 4320"/>
              <a:gd name="T72" fmla="*/ 1355 w 4320"/>
              <a:gd name="T73" fmla="*/ 1033 h 4320"/>
              <a:gd name="T74" fmla="*/ 2090 w 4320"/>
              <a:gd name="T75" fmla="*/ 2090 h 4320"/>
              <a:gd name="T76" fmla="*/ 2090 w 4320"/>
              <a:gd name="T77" fmla="*/ 3068 h 4320"/>
              <a:gd name="T78" fmla="*/ 1396 w 4320"/>
              <a:gd name="T79" fmla="*/ 3012 h 4320"/>
              <a:gd name="T80" fmla="*/ 1257 w 4320"/>
              <a:gd name="T81" fmla="*/ 2230 h 4320"/>
              <a:gd name="T82" fmla="*/ 1248 w 4320"/>
              <a:gd name="T83" fmla="*/ 3803 h 4320"/>
              <a:gd name="T84" fmla="*/ 1267 w 4320"/>
              <a:gd name="T85" fmla="*/ 3402 h 4320"/>
              <a:gd name="T86" fmla="*/ 2230 w 4320"/>
              <a:gd name="T87" fmla="*/ 4037 h 4320"/>
              <a:gd name="T88" fmla="*/ 2749 w 4320"/>
              <a:gd name="T89" fmla="*/ 3410 h 4320"/>
              <a:gd name="T90" fmla="*/ 2281 w 4320"/>
              <a:gd name="T91" fmla="*/ 4000 h 4320"/>
              <a:gd name="T92" fmla="*/ 3330 w 4320"/>
              <a:gd name="T93" fmla="*/ 3554 h 4320"/>
              <a:gd name="T94" fmla="*/ 2782 w 4320"/>
              <a:gd name="T95" fmla="*/ 3934 h 4320"/>
              <a:gd name="T96" fmla="*/ 2889 w 4320"/>
              <a:gd name="T97" fmla="*/ 3445 h 4320"/>
              <a:gd name="T98" fmla="*/ 2230 w 4320"/>
              <a:gd name="T99" fmla="*/ 2230 h 4320"/>
              <a:gd name="T100" fmla="*/ 2961 w 4320"/>
              <a:gd name="T101" fmla="*/ 2899 h 4320"/>
              <a:gd name="T102" fmla="*/ 2579 w 4320"/>
              <a:gd name="T103" fmla="*/ 1353 h 4320"/>
              <a:gd name="T104" fmla="*/ 3063 w 4320"/>
              <a:gd name="T105" fmla="*/ 2090 h 4320"/>
              <a:gd name="T106" fmla="*/ 1277 w 4320"/>
              <a:gd name="T107" fmla="*/ 1216 h 4320"/>
              <a:gd name="T108" fmla="*/ 308 w 4320"/>
              <a:gd name="T109" fmla="*/ 1840 h 4320"/>
              <a:gd name="T110" fmla="*/ 756 w 4320"/>
              <a:gd name="T111" fmla="*/ 910 h 4320"/>
              <a:gd name="T112" fmla="*/ 1193 w 4320"/>
              <a:gd name="T113" fmla="*/ 2809 h 4320"/>
              <a:gd name="T114" fmla="*/ 1010 w 4320"/>
              <a:gd name="T115" fmla="*/ 3378 h 4320"/>
              <a:gd name="T116" fmla="*/ 409 w 4320"/>
              <a:gd name="T117" fmla="*/ 2842 h 4320"/>
              <a:gd name="T118" fmla="*/ 3310 w 4320"/>
              <a:gd name="T119" fmla="*/ 3378 h 4320"/>
              <a:gd name="T120" fmla="*/ 3127 w 4320"/>
              <a:gd name="T121" fmla="*/ 2809 h 4320"/>
              <a:gd name="T122" fmla="*/ 4022 w 4320"/>
              <a:gd name="T123" fmla="*/ 2411 h 4320"/>
              <a:gd name="T124" fmla="*/ 3546 w 4320"/>
              <a:gd name="T125" fmla="*/ 3431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20" h="4320">
                <a:moveTo>
                  <a:pt x="2160" y="0"/>
                </a:moveTo>
                <a:lnTo>
                  <a:pt x="2160" y="0"/>
                </a:lnTo>
                <a:lnTo>
                  <a:pt x="2103" y="0"/>
                </a:lnTo>
                <a:lnTo>
                  <a:pt x="2049" y="4"/>
                </a:lnTo>
                <a:lnTo>
                  <a:pt x="1994" y="6"/>
                </a:lnTo>
                <a:lnTo>
                  <a:pt x="1940" y="12"/>
                </a:lnTo>
                <a:lnTo>
                  <a:pt x="1885" y="18"/>
                </a:lnTo>
                <a:lnTo>
                  <a:pt x="1831" y="25"/>
                </a:lnTo>
                <a:lnTo>
                  <a:pt x="1778" y="33"/>
                </a:lnTo>
                <a:lnTo>
                  <a:pt x="1725" y="45"/>
                </a:lnTo>
                <a:lnTo>
                  <a:pt x="1673" y="55"/>
                </a:lnTo>
                <a:lnTo>
                  <a:pt x="1620" y="68"/>
                </a:lnTo>
                <a:lnTo>
                  <a:pt x="1569" y="82"/>
                </a:lnTo>
                <a:lnTo>
                  <a:pt x="1519" y="97"/>
                </a:lnTo>
                <a:lnTo>
                  <a:pt x="1468" y="113"/>
                </a:lnTo>
                <a:lnTo>
                  <a:pt x="1417" y="131"/>
                </a:lnTo>
                <a:lnTo>
                  <a:pt x="1369" y="150"/>
                </a:lnTo>
                <a:lnTo>
                  <a:pt x="1320" y="170"/>
                </a:lnTo>
                <a:lnTo>
                  <a:pt x="1271" y="191"/>
                </a:lnTo>
                <a:lnTo>
                  <a:pt x="1224" y="212"/>
                </a:lnTo>
                <a:lnTo>
                  <a:pt x="1177" y="236"/>
                </a:lnTo>
                <a:lnTo>
                  <a:pt x="1131" y="261"/>
                </a:lnTo>
                <a:lnTo>
                  <a:pt x="1086" y="287"/>
                </a:lnTo>
                <a:lnTo>
                  <a:pt x="1039" y="312"/>
                </a:lnTo>
                <a:lnTo>
                  <a:pt x="996" y="341"/>
                </a:lnTo>
                <a:lnTo>
                  <a:pt x="953" y="368"/>
                </a:lnTo>
                <a:lnTo>
                  <a:pt x="910" y="398"/>
                </a:lnTo>
                <a:lnTo>
                  <a:pt x="868" y="429"/>
                </a:lnTo>
                <a:lnTo>
                  <a:pt x="827" y="460"/>
                </a:lnTo>
                <a:lnTo>
                  <a:pt x="786" y="493"/>
                </a:lnTo>
                <a:lnTo>
                  <a:pt x="747" y="526"/>
                </a:lnTo>
                <a:lnTo>
                  <a:pt x="708" y="561"/>
                </a:lnTo>
                <a:lnTo>
                  <a:pt x="671" y="597"/>
                </a:lnTo>
                <a:lnTo>
                  <a:pt x="634" y="634"/>
                </a:lnTo>
                <a:lnTo>
                  <a:pt x="597" y="671"/>
                </a:lnTo>
                <a:lnTo>
                  <a:pt x="561" y="708"/>
                </a:lnTo>
                <a:lnTo>
                  <a:pt x="526" y="747"/>
                </a:lnTo>
                <a:lnTo>
                  <a:pt x="493" y="786"/>
                </a:lnTo>
                <a:lnTo>
                  <a:pt x="460" y="827"/>
                </a:lnTo>
                <a:lnTo>
                  <a:pt x="429" y="868"/>
                </a:lnTo>
                <a:lnTo>
                  <a:pt x="398" y="910"/>
                </a:lnTo>
                <a:lnTo>
                  <a:pt x="368" y="953"/>
                </a:lnTo>
                <a:lnTo>
                  <a:pt x="341" y="996"/>
                </a:lnTo>
                <a:lnTo>
                  <a:pt x="312" y="1039"/>
                </a:lnTo>
                <a:lnTo>
                  <a:pt x="287" y="1086"/>
                </a:lnTo>
                <a:lnTo>
                  <a:pt x="261" y="1131"/>
                </a:lnTo>
                <a:lnTo>
                  <a:pt x="236" y="1177"/>
                </a:lnTo>
                <a:lnTo>
                  <a:pt x="212" y="1224"/>
                </a:lnTo>
                <a:lnTo>
                  <a:pt x="191" y="1271"/>
                </a:lnTo>
                <a:lnTo>
                  <a:pt x="170" y="1320"/>
                </a:lnTo>
                <a:lnTo>
                  <a:pt x="150" y="1369"/>
                </a:lnTo>
                <a:lnTo>
                  <a:pt x="131" y="1417"/>
                </a:lnTo>
                <a:lnTo>
                  <a:pt x="113" y="1468"/>
                </a:lnTo>
                <a:lnTo>
                  <a:pt x="97" y="1519"/>
                </a:lnTo>
                <a:lnTo>
                  <a:pt x="82" y="1569"/>
                </a:lnTo>
                <a:lnTo>
                  <a:pt x="68" y="1620"/>
                </a:lnTo>
                <a:lnTo>
                  <a:pt x="55" y="1673"/>
                </a:lnTo>
                <a:lnTo>
                  <a:pt x="45" y="1725"/>
                </a:lnTo>
                <a:lnTo>
                  <a:pt x="33" y="1778"/>
                </a:lnTo>
                <a:lnTo>
                  <a:pt x="25" y="1831"/>
                </a:lnTo>
                <a:lnTo>
                  <a:pt x="18" y="1885"/>
                </a:lnTo>
                <a:lnTo>
                  <a:pt x="12" y="1940"/>
                </a:lnTo>
                <a:lnTo>
                  <a:pt x="6" y="1994"/>
                </a:lnTo>
                <a:lnTo>
                  <a:pt x="4" y="2049"/>
                </a:lnTo>
                <a:lnTo>
                  <a:pt x="0" y="2103"/>
                </a:lnTo>
                <a:lnTo>
                  <a:pt x="0" y="2160"/>
                </a:lnTo>
                <a:lnTo>
                  <a:pt x="0" y="2160"/>
                </a:lnTo>
                <a:lnTo>
                  <a:pt x="0" y="2217"/>
                </a:lnTo>
                <a:lnTo>
                  <a:pt x="4" y="2271"/>
                </a:lnTo>
                <a:lnTo>
                  <a:pt x="6" y="2326"/>
                </a:lnTo>
                <a:lnTo>
                  <a:pt x="12" y="2380"/>
                </a:lnTo>
                <a:lnTo>
                  <a:pt x="18" y="2435"/>
                </a:lnTo>
                <a:lnTo>
                  <a:pt x="25" y="2489"/>
                </a:lnTo>
                <a:lnTo>
                  <a:pt x="33" y="2542"/>
                </a:lnTo>
                <a:lnTo>
                  <a:pt x="45" y="2595"/>
                </a:lnTo>
                <a:lnTo>
                  <a:pt x="55" y="2647"/>
                </a:lnTo>
                <a:lnTo>
                  <a:pt x="68" y="2700"/>
                </a:lnTo>
                <a:lnTo>
                  <a:pt x="82" y="2751"/>
                </a:lnTo>
                <a:lnTo>
                  <a:pt x="97" y="2801"/>
                </a:lnTo>
                <a:lnTo>
                  <a:pt x="113" y="2852"/>
                </a:lnTo>
                <a:lnTo>
                  <a:pt x="131" y="2903"/>
                </a:lnTo>
                <a:lnTo>
                  <a:pt x="150" y="2951"/>
                </a:lnTo>
                <a:lnTo>
                  <a:pt x="170" y="3000"/>
                </a:lnTo>
                <a:lnTo>
                  <a:pt x="191" y="3049"/>
                </a:lnTo>
                <a:lnTo>
                  <a:pt x="212" y="3096"/>
                </a:lnTo>
                <a:lnTo>
                  <a:pt x="236" y="3143"/>
                </a:lnTo>
                <a:lnTo>
                  <a:pt x="261" y="3189"/>
                </a:lnTo>
                <a:lnTo>
                  <a:pt x="287" y="3234"/>
                </a:lnTo>
                <a:lnTo>
                  <a:pt x="312" y="3281"/>
                </a:lnTo>
                <a:lnTo>
                  <a:pt x="341" y="3324"/>
                </a:lnTo>
                <a:lnTo>
                  <a:pt x="368" y="3367"/>
                </a:lnTo>
                <a:lnTo>
                  <a:pt x="398" y="3410"/>
                </a:lnTo>
                <a:lnTo>
                  <a:pt x="429" y="3452"/>
                </a:lnTo>
                <a:lnTo>
                  <a:pt x="460" y="3493"/>
                </a:lnTo>
                <a:lnTo>
                  <a:pt x="493" y="3534"/>
                </a:lnTo>
                <a:lnTo>
                  <a:pt x="526" y="3573"/>
                </a:lnTo>
                <a:lnTo>
                  <a:pt x="561" y="3612"/>
                </a:lnTo>
                <a:lnTo>
                  <a:pt x="597" y="3649"/>
                </a:lnTo>
                <a:lnTo>
                  <a:pt x="634" y="3686"/>
                </a:lnTo>
                <a:lnTo>
                  <a:pt x="671" y="3723"/>
                </a:lnTo>
                <a:lnTo>
                  <a:pt x="708" y="3759"/>
                </a:lnTo>
                <a:lnTo>
                  <a:pt x="747" y="3794"/>
                </a:lnTo>
                <a:lnTo>
                  <a:pt x="786" y="3827"/>
                </a:lnTo>
                <a:lnTo>
                  <a:pt x="827" y="3860"/>
                </a:lnTo>
                <a:lnTo>
                  <a:pt x="868" y="3891"/>
                </a:lnTo>
                <a:lnTo>
                  <a:pt x="910" y="3922"/>
                </a:lnTo>
                <a:lnTo>
                  <a:pt x="953" y="3952"/>
                </a:lnTo>
                <a:lnTo>
                  <a:pt x="996" y="3979"/>
                </a:lnTo>
                <a:lnTo>
                  <a:pt x="1039" y="4008"/>
                </a:lnTo>
                <a:lnTo>
                  <a:pt x="1086" y="4033"/>
                </a:lnTo>
                <a:lnTo>
                  <a:pt x="1131" y="4059"/>
                </a:lnTo>
                <a:lnTo>
                  <a:pt x="1177" y="4084"/>
                </a:lnTo>
                <a:lnTo>
                  <a:pt x="1224" y="4108"/>
                </a:lnTo>
                <a:lnTo>
                  <a:pt x="1271" y="4129"/>
                </a:lnTo>
                <a:lnTo>
                  <a:pt x="1320" y="4150"/>
                </a:lnTo>
                <a:lnTo>
                  <a:pt x="1369" y="4170"/>
                </a:lnTo>
                <a:lnTo>
                  <a:pt x="1417" y="4189"/>
                </a:lnTo>
                <a:lnTo>
                  <a:pt x="1468" y="4207"/>
                </a:lnTo>
                <a:lnTo>
                  <a:pt x="1519" y="4223"/>
                </a:lnTo>
                <a:lnTo>
                  <a:pt x="1569" y="4238"/>
                </a:lnTo>
                <a:lnTo>
                  <a:pt x="1620" y="4252"/>
                </a:lnTo>
                <a:lnTo>
                  <a:pt x="1673" y="4265"/>
                </a:lnTo>
                <a:lnTo>
                  <a:pt x="1725" y="4275"/>
                </a:lnTo>
                <a:lnTo>
                  <a:pt x="1778" y="4287"/>
                </a:lnTo>
                <a:lnTo>
                  <a:pt x="1831" y="4295"/>
                </a:lnTo>
                <a:lnTo>
                  <a:pt x="1885" y="4302"/>
                </a:lnTo>
                <a:lnTo>
                  <a:pt x="1940" y="4308"/>
                </a:lnTo>
                <a:lnTo>
                  <a:pt x="1994" y="4314"/>
                </a:lnTo>
                <a:lnTo>
                  <a:pt x="2049" y="4316"/>
                </a:lnTo>
                <a:lnTo>
                  <a:pt x="2103" y="4320"/>
                </a:lnTo>
                <a:lnTo>
                  <a:pt x="2160" y="4320"/>
                </a:lnTo>
                <a:lnTo>
                  <a:pt x="2160" y="4320"/>
                </a:lnTo>
                <a:lnTo>
                  <a:pt x="2217" y="4320"/>
                </a:lnTo>
                <a:lnTo>
                  <a:pt x="2271" y="4316"/>
                </a:lnTo>
                <a:lnTo>
                  <a:pt x="2326" y="4314"/>
                </a:lnTo>
                <a:lnTo>
                  <a:pt x="2380" y="4308"/>
                </a:lnTo>
                <a:lnTo>
                  <a:pt x="2435" y="4302"/>
                </a:lnTo>
                <a:lnTo>
                  <a:pt x="2489" y="4295"/>
                </a:lnTo>
                <a:lnTo>
                  <a:pt x="2542" y="4287"/>
                </a:lnTo>
                <a:lnTo>
                  <a:pt x="2595" y="4275"/>
                </a:lnTo>
                <a:lnTo>
                  <a:pt x="2647" y="4265"/>
                </a:lnTo>
                <a:lnTo>
                  <a:pt x="2700" y="4252"/>
                </a:lnTo>
                <a:lnTo>
                  <a:pt x="2751" y="4238"/>
                </a:lnTo>
                <a:lnTo>
                  <a:pt x="2801" y="4223"/>
                </a:lnTo>
                <a:lnTo>
                  <a:pt x="2852" y="4207"/>
                </a:lnTo>
                <a:lnTo>
                  <a:pt x="2903" y="4189"/>
                </a:lnTo>
                <a:lnTo>
                  <a:pt x="2951" y="4170"/>
                </a:lnTo>
                <a:lnTo>
                  <a:pt x="3000" y="4150"/>
                </a:lnTo>
                <a:lnTo>
                  <a:pt x="3049" y="4129"/>
                </a:lnTo>
                <a:lnTo>
                  <a:pt x="3096" y="4108"/>
                </a:lnTo>
                <a:lnTo>
                  <a:pt x="3143" y="4084"/>
                </a:lnTo>
                <a:lnTo>
                  <a:pt x="3189" y="4059"/>
                </a:lnTo>
                <a:lnTo>
                  <a:pt x="3234" y="4033"/>
                </a:lnTo>
                <a:lnTo>
                  <a:pt x="3281" y="4008"/>
                </a:lnTo>
                <a:lnTo>
                  <a:pt x="3324" y="3979"/>
                </a:lnTo>
                <a:lnTo>
                  <a:pt x="3367" y="3952"/>
                </a:lnTo>
                <a:lnTo>
                  <a:pt x="3410" y="3922"/>
                </a:lnTo>
                <a:lnTo>
                  <a:pt x="3452" y="3891"/>
                </a:lnTo>
                <a:lnTo>
                  <a:pt x="3493" y="3860"/>
                </a:lnTo>
                <a:lnTo>
                  <a:pt x="3534" y="3827"/>
                </a:lnTo>
                <a:lnTo>
                  <a:pt x="3573" y="3794"/>
                </a:lnTo>
                <a:lnTo>
                  <a:pt x="3612" y="3759"/>
                </a:lnTo>
                <a:lnTo>
                  <a:pt x="3649" y="3723"/>
                </a:lnTo>
                <a:lnTo>
                  <a:pt x="3686" y="3686"/>
                </a:lnTo>
                <a:lnTo>
                  <a:pt x="3723" y="3649"/>
                </a:lnTo>
                <a:lnTo>
                  <a:pt x="3759" y="3612"/>
                </a:lnTo>
                <a:lnTo>
                  <a:pt x="3794" y="3573"/>
                </a:lnTo>
                <a:lnTo>
                  <a:pt x="3827" y="3534"/>
                </a:lnTo>
                <a:lnTo>
                  <a:pt x="3860" y="3493"/>
                </a:lnTo>
                <a:lnTo>
                  <a:pt x="3891" y="3452"/>
                </a:lnTo>
                <a:lnTo>
                  <a:pt x="3922" y="3410"/>
                </a:lnTo>
                <a:lnTo>
                  <a:pt x="3952" y="3367"/>
                </a:lnTo>
                <a:lnTo>
                  <a:pt x="3979" y="3324"/>
                </a:lnTo>
                <a:lnTo>
                  <a:pt x="4008" y="3281"/>
                </a:lnTo>
                <a:lnTo>
                  <a:pt x="4033" y="3234"/>
                </a:lnTo>
                <a:lnTo>
                  <a:pt x="4059" y="3189"/>
                </a:lnTo>
                <a:lnTo>
                  <a:pt x="4084" y="3143"/>
                </a:lnTo>
                <a:lnTo>
                  <a:pt x="4108" y="3096"/>
                </a:lnTo>
                <a:lnTo>
                  <a:pt x="4129" y="3049"/>
                </a:lnTo>
                <a:lnTo>
                  <a:pt x="4150" y="3000"/>
                </a:lnTo>
                <a:lnTo>
                  <a:pt x="4170" y="2951"/>
                </a:lnTo>
                <a:lnTo>
                  <a:pt x="4189" y="2903"/>
                </a:lnTo>
                <a:lnTo>
                  <a:pt x="4207" y="2852"/>
                </a:lnTo>
                <a:lnTo>
                  <a:pt x="4223" y="2801"/>
                </a:lnTo>
                <a:lnTo>
                  <a:pt x="4238" y="2751"/>
                </a:lnTo>
                <a:lnTo>
                  <a:pt x="4252" y="2700"/>
                </a:lnTo>
                <a:lnTo>
                  <a:pt x="4265" y="2647"/>
                </a:lnTo>
                <a:lnTo>
                  <a:pt x="4275" y="2595"/>
                </a:lnTo>
                <a:lnTo>
                  <a:pt x="4287" y="2542"/>
                </a:lnTo>
                <a:lnTo>
                  <a:pt x="4295" y="2489"/>
                </a:lnTo>
                <a:lnTo>
                  <a:pt x="4302" y="2435"/>
                </a:lnTo>
                <a:lnTo>
                  <a:pt x="4308" y="2380"/>
                </a:lnTo>
                <a:lnTo>
                  <a:pt x="4314" y="2326"/>
                </a:lnTo>
                <a:lnTo>
                  <a:pt x="4316" y="2271"/>
                </a:lnTo>
                <a:lnTo>
                  <a:pt x="4320" y="2217"/>
                </a:lnTo>
                <a:lnTo>
                  <a:pt x="4320" y="2160"/>
                </a:lnTo>
                <a:lnTo>
                  <a:pt x="4320" y="2160"/>
                </a:lnTo>
                <a:lnTo>
                  <a:pt x="4320" y="2103"/>
                </a:lnTo>
                <a:lnTo>
                  <a:pt x="4316" y="2049"/>
                </a:lnTo>
                <a:lnTo>
                  <a:pt x="4314" y="1994"/>
                </a:lnTo>
                <a:lnTo>
                  <a:pt x="4308" y="1940"/>
                </a:lnTo>
                <a:lnTo>
                  <a:pt x="4302" y="1885"/>
                </a:lnTo>
                <a:lnTo>
                  <a:pt x="4295" y="1831"/>
                </a:lnTo>
                <a:lnTo>
                  <a:pt x="4287" y="1778"/>
                </a:lnTo>
                <a:lnTo>
                  <a:pt x="4275" y="1725"/>
                </a:lnTo>
                <a:lnTo>
                  <a:pt x="4265" y="1673"/>
                </a:lnTo>
                <a:lnTo>
                  <a:pt x="4252" y="1620"/>
                </a:lnTo>
                <a:lnTo>
                  <a:pt x="4238" y="1569"/>
                </a:lnTo>
                <a:lnTo>
                  <a:pt x="4223" y="1519"/>
                </a:lnTo>
                <a:lnTo>
                  <a:pt x="4207" y="1468"/>
                </a:lnTo>
                <a:lnTo>
                  <a:pt x="4189" y="1417"/>
                </a:lnTo>
                <a:lnTo>
                  <a:pt x="4170" y="1369"/>
                </a:lnTo>
                <a:lnTo>
                  <a:pt x="4150" y="1320"/>
                </a:lnTo>
                <a:lnTo>
                  <a:pt x="4129" y="1271"/>
                </a:lnTo>
                <a:lnTo>
                  <a:pt x="4108" y="1224"/>
                </a:lnTo>
                <a:lnTo>
                  <a:pt x="4084" y="1177"/>
                </a:lnTo>
                <a:lnTo>
                  <a:pt x="4059" y="1131"/>
                </a:lnTo>
                <a:lnTo>
                  <a:pt x="4033" y="1086"/>
                </a:lnTo>
                <a:lnTo>
                  <a:pt x="4008" y="1039"/>
                </a:lnTo>
                <a:lnTo>
                  <a:pt x="3979" y="996"/>
                </a:lnTo>
                <a:lnTo>
                  <a:pt x="3952" y="953"/>
                </a:lnTo>
                <a:lnTo>
                  <a:pt x="3922" y="910"/>
                </a:lnTo>
                <a:lnTo>
                  <a:pt x="3891" y="868"/>
                </a:lnTo>
                <a:lnTo>
                  <a:pt x="3860" y="827"/>
                </a:lnTo>
                <a:lnTo>
                  <a:pt x="3827" y="786"/>
                </a:lnTo>
                <a:lnTo>
                  <a:pt x="3794" y="747"/>
                </a:lnTo>
                <a:lnTo>
                  <a:pt x="3759" y="708"/>
                </a:lnTo>
                <a:lnTo>
                  <a:pt x="3723" y="671"/>
                </a:lnTo>
                <a:lnTo>
                  <a:pt x="3686" y="634"/>
                </a:lnTo>
                <a:lnTo>
                  <a:pt x="3649" y="597"/>
                </a:lnTo>
                <a:lnTo>
                  <a:pt x="3612" y="561"/>
                </a:lnTo>
                <a:lnTo>
                  <a:pt x="3573" y="526"/>
                </a:lnTo>
                <a:lnTo>
                  <a:pt x="3534" y="493"/>
                </a:lnTo>
                <a:lnTo>
                  <a:pt x="3493" y="460"/>
                </a:lnTo>
                <a:lnTo>
                  <a:pt x="3452" y="429"/>
                </a:lnTo>
                <a:lnTo>
                  <a:pt x="3410" y="398"/>
                </a:lnTo>
                <a:lnTo>
                  <a:pt x="3367" y="368"/>
                </a:lnTo>
                <a:lnTo>
                  <a:pt x="3324" y="341"/>
                </a:lnTo>
                <a:lnTo>
                  <a:pt x="3281" y="312"/>
                </a:lnTo>
                <a:lnTo>
                  <a:pt x="3234" y="287"/>
                </a:lnTo>
                <a:lnTo>
                  <a:pt x="3189" y="261"/>
                </a:lnTo>
                <a:lnTo>
                  <a:pt x="3143" y="236"/>
                </a:lnTo>
                <a:lnTo>
                  <a:pt x="3096" y="212"/>
                </a:lnTo>
                <a:lnTo>
                  <a:pt x="3049" y="191"/>
                </a:lnTo>
                <a:lnTo>
                  <a:pt x="3000" y="170"/>
                </a:lnTo>
                <a:lnTo>
                  <a:pt x="2951" y="150"/>
                </a:lnTo>
                <a:lnTo>
                  <a:pt x="2903" y="131"/>
                </a:lnTo>
                <a:lnTo>
                  <a:pt x="2852" y="113"/>
                </a:lnTo>
                <a:lnTo>
                  <a:pt x="2801" y="97"/>
                </a:lnTo>
                <a:lnTo>
                  <a:pt x="2751" y="82"/>
                </a:lnTo>
                <a:lnTo>
                  <a:pt x="2700" y="68"/>
                </a:lnTo>
                <a:lnTo>
                  <a:pt x="2647" y="55"/>
                </a:lnTo>
                <a:lnTo>
                  <a:pt x="2595" y="45"/>
                </a:lnTo>
                <a:lnTo>
                  <a:pt x="2542" y="33"/>
                </a:lnTo>
                <a:lnTo>
                  <a:pt x="2489" y="25"/>
                </a:lnTo>
                <a:lnTo>
                  <a:pt x="2435" y="18"/>
                </a:lnTo>
                <a:lnTo>
                  <a:pt x="2380" y="12"/>
                </a:lnTo>
                <a:lnTo>
                  <a:pt x="2326" y="6"/>
                </a:lnTo>
                <a:lnTo>
                  <a:pt x="2271" y="4"/>
                </a:lnTo>
                <a:lnTo>
                  <a:pt x="2217" y="0"/>
                </a:lnTo>
                <a:lnTo>
                  <a:pt x="2160" y="0"/>
                </a:lnTo>
                <a:lnTo>
                  <a:pt x="2160" y="0"/>
                </a:lnTo>
                <a:close/>
                <a:moveTo>
                  <a:pt x="4037" y="2090"/>
                </a:moveTo>
                <a:lnTo>
                  <a:pt x="3203" y="2090"/>
                </a:lnTo>
                <a:lnTo>
                  <a:pt x="3203" y="2090"/>
                </a:lnTo>
                <a:lnTo>
                  <a:pt x="3197" y="1975"/>
                </a:lnTo>
                <a:lnTo>
                  <a:pt x="3187" y="1862"/>
                </a:lnTo>
                <a:lnTo>
                  <a:pt x="3174" y="1749"/>
                </a:lnTo>
                <a:lnTo>
                  <a:pt x="3156" y="1639"/>
                </a:lnTo>
                <a:lnTo>
                  <a:pt x="3133" y="1530"/>
                </a:lnTo>
                <a:lnTo>
                  <a:pt x="3107" y="1423"/>
                </a:lnTo>
                <a:lnTo>
                  <a:pt x="3076" y="1320"/>
                </a:lnTo>
                <a:lnTo>
                  <a:pt x="3043" y="1216"/>
                </a:lnTo>
                <a:lnTo>
                  <a:pt x="3043" y="1216"/>
                </a:lnTo>
                <a:lnTo>
                  <a:pt x="3111" y="1187"/>
                </a:lnTo>
                <a:lnTo>
                  <a:pt x="3182" y="1154"/>
                </a:lnTo>
                <a:lnTo>
                  <a:pt x="3248" y="1119"/>
                </a:lnTo>
                <a:lnTo>
                  <a:pt x="3314" y="1080"/>
                </a:lnTo>
                <a:lnTo>
                  <a:pt x="3378" y="1041"/>
                </a:lnTo>
                <a:lnTo>
                  <a:pt x="3441" y="1000"/>
                </a:lnTo>
                <a:lnTo>
                  <a:pt x="3503" y="955"/>
                </a:lnTo>
                <a:lnTo>
                  <a:pt x="3564" y="910"/>
                </a:lnTo>
                <a:lnTo>
                  <a:pt x="3564" y="910"/>
                </a:lnTo>
                <a:lnTo>
                  <a:pt x="3614" y="971"/>
                </a:lnTo>
                <a:lnTo>
                  <a:pt x="3663" y="1033"/>
                </a:lnTo>
                <a:lnTo>
                  <a:pt x="3710" y="1098"/>
                </a:lnTo>
                <a:lnTo>
                  <a:pt x="3753" y="1166"/>
                </a:lnTo>
                <a:lnTo>
                  <a:pt x="3794" y="1234"/>
                </a:lnTo>
                <a:lnTo>
                  <a:pt x="3833" y="1304"/>
                </a:lnTo>
                <a:lnTo>
                  <a:pt x="3868" y="1376"/>
                </a:lnTo>
                <a:lnTo>
                  <a:pt x="3899" y="1450"/>
                </a:lnTo>
                <a:lnTo>
                  <a:pt x="3928" y="1524"/>
                </a:lnTo>
                <a:lnTo>
                  <a:pt x="3954" y="1602"/>
                </a:lnTo>
                <a:lnTo>
                  <a:pt x="3977" y="1680"/>
                </a:lnTo>
                <a:lnTo>
                  <a:pt x="3996" y="1760"/>
                </a:lnTo>
                <a:lnTo>
                  <a:pt x="4012" y="1840"/>
                </a:lnTo>
                <a:lnTo>
                  <a:pt x="4024" y="1922"/>
                </a:lnTo>
                <a:lnTo>
                  <a:pt x="4033" y="2006"/>
                </a:lnTo>
                <a:lnTo>
                  <a:pt x="4037" y="2090"/>
                </a:lnTo>
                <a:lnTo>
                  <a:pt x="4037" y="2090"/>
                </a:lnTo>
                <a:close/>
                <a:moveTo>
                  <a:pt x="2082" y="4037"/>
                </a:moveTo>
                <a:lnTo>
                  <a:pt x="2082" y="4037"/>
                </a:lnTo>
                <a:lnTo>
                  <a:pt x="2039" y="4000"/>
                </a:lnTo>
                <a:lnTo>
                  <a:pt x="1998" y="3963"/>
                </a:lnTo>
                <a:lnTo>
                  <a:pt x="1957" y="3922"/>
                </a:lnTo>
                <a:lnTo>
                  <a:pt x="1916" y="3881"/>
                </a:lnTo>
                <a:lnTo>
                  <a:pt x="1877" y="3840"/>
                </a:lnTo>
                <a:lnTo>
                  <a:pt x="1838" y="3798"/>
                </a:lnTo>
                <a:lnTo>
                  <a:pt x="1801" y="3753"/>
                </a:lnTo>
                <a:lnTo>
                  <a:pt x="1766" y="3708"/>
                </a:lnTo>
                <a:lnTo>
                  <a:pt x="1731" y="3661"/>
                </a:lnTo>
                <a:lnTo>
                  <a:pt x="1696" y="3612"/>
                </a:lnTo>
                <a:lnTo>
                  <a:pt x="1663" y="3564"/>
                </a:lnTo>
                <a:lnTo>
                  <a:pt x="1632" y="3513"/>
                </a:lnTo>
                <a:lnTo>
                  <a:pt x="1601" y="3462"/>
                </a:lnTo>
                <a:lnTo>
                  <a:pt x="1571" y="3410"/>
                </a:lnTo>
                <a:lnTo>
                  <a:pt x="1542" y="3357"/>
                </a:lnTo>
                <a:lnTo>
                  <a:pt x="1515" y="3302"/>
                </a:lnTo>
                <a:lnTo>
                  <a:pt x="1515" y="3302"/>
                </a:lnTo>
                <a:lnTo>
                  <a:pt x="1583" y="3283"/>
                </a:lnTo>
                <a:lnTo>
                  <a:pt x="1653" y="3265"/>
                </a:lnTo>
                <a:lnTo>
                  <a:pt x="1725" y="3250"/>
                </a:lnTo>
                <a:lnTo>
                  <a:pt x="1795" y="3236"/>
                </a:lnTo>
                <a:lnTo>
                  <a:pt x="1870" y="3226"/>
                </a:lnTo>
                <a:lnTo>
                  <a:pt x="1942" y="3219"/>
                </a:lnTo>
                <a:lnTo>
                  <a:pt x="2016" y="3213"/>
                </a:lnTo>
                <a:lnTo>
                  <a:pt x="2090" y="3209"/>
                </a:lnTo>
                <a:lnTo>
                  <a:pt x="2090" y="4037"/>
                </a:lnTo>
                <a:lnTo>
                  <a:pt x="2090" y="4037"/>
                </a:lnTo>
                <a:lnTo>
                  <a:pt x="2082" y="4037"/>
                </a:lnTo>
                <a:lnTo>
                  <a:pt x="2082" y="4037"/>
                </a:lnTo>
                <a:close/>
                <a:moveTo>
                  <a:pt x="2236" y="283"/>
                </a:moveTo>
                <a:lnTo>
                  <a:pt x="2236" y="283"/>
                </a:lnTo>
                <a:lnTo>
                  <a:pt x="2285" y="326"/>
                </a:lnTo>
                <a:lnTo>
                  <a:pt x="2334" y="368"/>
                </a:lnTo>
                <a:lnTo>
                  <a:pt x="2380" y="413"/>
                </a:lnTo>
                <a:lnTo>
                  <a:pt x="2425" y="460"/>
                </a:lnTo>
                <a:lnTo>
                  <a:pt x="2468" y="509"/>
                </a:lnTo>
                <a:lnTo>
                  <a:pt x="2511" y="559"/>
                </a:lnTo>
                <a:lnTo>
                  <a:pt x="2552" y="610"/>
                </a:lnTo>
                <a:lnTo>
                  <a:pt x="2593" y="663"/>
                </a:lnTo>
                <a:lnTo>
                  <a:pt x="2630" y="717"/>
                </a:lnTo>
                <a:lnTo>
                  <a:pt x="2667" y="774"/>
                </a:lnTo>
                <a:lnTo>
                  <a:pt x="2704" y="830"/>
                </a:lnTo>
                <a:lnTo>
                  <a:pt x="2737" y="889"/>
                </a:lnTo>
                <a:lnTo>
                  <a:pt x="2770" y="949"/>
                </a:lnTo>
                <a:lnTo>
                  <a:pt x="2801" y="1010"/>
                </a:lnTo>
                <a:lnTo>
                  <a:pt x="2831" y="1072"/>
                </a:lnTo>
                <a:lnTo>
                  <a:pt x="2860" y="1137"/>
                </a:lnTo>
                <a:lnTo>
                  <a:pt x="2860" y="1137"/>
                </a:lnTo>
                <a:lnTo>
                  <a:pt x="2784" y="1160"/>
                </a:lnTo>
                <a:lnTo>
                  <a:pt x="2708" y="1181"/>
                </a:lnTo>
                <a:lnTo>
                  <a:pt x="2630" y="1201"/>
                </a:lnTo>
                <a:lnTo>
                  <a:pt x="2552" y="1216"/>
                </a:lnTo>
                <a:lnTo>
                  <a:pt x="2474" y="1230"/>
                </a:lnTo>
                <a:lnTo>
                  <a:pt x="2392" y="1240"/>
                </a:lnTo>
                <a:lnTo>
                  <a:pt x="2312" y="1246"/>
                </a:lnTo>
                <a:lnTo>
                  <a:pt x="2230" y="1252"/>
                </a:lnTo>
                <a:lnTo>
                  <a:pt x="2230" y="283"/>
                </a:lnTo>
                <a:lnTo>
                  <a:pt x="2230" y="283"/>
                </a:lnTo>
                <a:lnTo>
                  <a:pt x="2236" y="283"/>
                </a:lnTo>
                <a:lnTo>
                  <a:pt x="2236" y="283"/>
                </a:lnTo>
                <a:close/>
                <a:moveTo>
                  <a:pt x="2468" y="306"/>
                </a:moveTo>
                <a:lnTo>
                  <a:pt x="2468" y="306"/>
                </a:lnTo>
                <a:lnTo>
                  <a:pt x="2540" y="320"/>
                </a:lnTo>
                <a:lnTo>
                  <a:pt x="2610" y="335"/>
                </a:lnTo>
                <a:lnTo>
                  <a:pt x="2681" y="355"/>
                </a:lnTo>
                <a:lnTo>
                  <a:pt x="2749" y="376"/>
                </a:lnTo>
                <a:lnTo>
                  <a:pt x="2817" y="400"/>
                </a:lnTo>
                <a:lnTo>
                  <a:pt x="2883" y="425"/>
                </a:lnTo>
                <a:lnTo>
                  <a:pt x="2948" y="454"/>
                </a:lnTo>
                <a:lnTo>
                  <a:pt x="3012" y="485"/>
                </a:lnTo>
                <a:lnTo>
                  <a:pt x="3074" y="519"/>
                </a:lnTo>
                <a:lnTo>
                  <a:pt x="3135" y="554"/>
                </a:lnTo>
                <a:lnTo>
                  <a:pt x="3193" y="591"/>
                </a:lnTo>
                <a:lnTo>
                  <a:pt x="3252" y="630"/>
                </a:lnTo>
                <a:lnTo>
                  <a:pt x="3308" y="673"/>
                </a:lnTo>
                <a:lnTo>
                  <a:pt x="3363" y="715"/>
                </a:lnTo>
                <a:lnTo>
                  <a:pt x="3415" y="762"/>
                </a:lnTo>
                <a:lnTo>
                  <a:pt x="3468" y="811"/>
                </a:lnTo>
                <a:lnTo>
                  <a:pt x="3468" y="811"/>
                </a:lnTo>
                <a:lnTo>
                  <a:pt x="3412" y="852"/>
                </a:lnTo>
                <a:lnTo>
                  <a:pt x="3355" y="891"/>
                </a:lnTo>
                <a:lnTo>
                  <a:pt x="3297" y="928"/>
                </a:lnTo>
                <a:lnTo>
                  <a:pt x="3238" y="965"/>
                </a:lnTo>
                <a:lnTo>
                  <a:pt x="3178" y="998"/>
                </a:lnTo>
                <a:lnTo>
                  <a:pt x="3117" y="1031"/>
                </a:lnTo>
                <a:lnTo>
                  <a:pt x="3053" y="1061"/>
                </a:lnTo>
                <a:lnTo>
                  <a:pt x="2990" y="1088"/>
                </a:lnTo>
                <a:lnTo>
                  <a:pt x="2990" y="1088"/>
                </a:lnTo>
                <a:lnTo>
                  <a:pt x="2965" y="1033"/>
                </a:lnTo>
                <a:lnTo>
                  <a:pt x="2940" y="977"/>
                </a:lnTo>
                <a:lnTo>
                  <a:pt x="2912" y="924"/>
                </a:lnTo>
                <a:lnTo>
                  <a:pt x="2885" y="869"/>
                </a:lnTo>
                <a:lnTo>
                  <a:pt x="2856" y="817"/>
                </a:lnTo>
                <a:lnTo>
                  <a:pt x="2827" y="766"/>
                </a:lnTo>
                <a:lnTo>
                  <a:pt x="2796" y="715"/>
                </a:lnTo>
                <a:lnTo>
                  <a:pt x="2762" y="665"/>
                </a:lnTo>
                <a:lnTo>
                  <a:pt x="2729" y="616"/>
                </a:lnTo>
                <a:lnTo>
                  <a:pt x="2694" y="569"/>
                </a:lnTo>
                <a:lnTo>
                  <a:pt x="2659" y="522"/>
                </a:lnTo>
                <a:lnTo>
                  <a:pt x="2624" y="478"/>
                </a:lnTo>
                <a:lnTo>
                  <a:pt x="2587" y="433"/>
                </a:lnTo>
                <a:lnTo>
                  <a:pt x="2548" y="390"/>
                </a:lnTo>
                <a:lnTo>
                  <a:pt x="2509" y="347"/>
                </a:lnTo>
                <a:lnTo>
                  <a:pt x="2468" y="306"/>
                </a:lnTo>
                <a:lnTo>
                  <a:pt x="2468" y="306"/>
                </a:lnTo>
                <a:close/>
                <a:moveTo>
                  <a:pt x="2090" y="283"/>
                </a:moveTo>
                <a:lnTo>
                  <a:pt x="2090" y="1252"/>
                </a:lnTo>
                <a:lnTo>
                  <a:pt x="2090" y="1252"/>
                </a:lnTo>
                <a:lnTo>
                  <a:pt x="2008" y="1246"/>
                </a:lnTo>
                <a:lnTo>
                  <a:pt x="1928" y="1240"/>
                </a:lnTo>
                <a:lnTo>
                  <a:pt x="1846" y="1230"/>
                </a:lnTo>
                <a:lnTo>
                  <a:pt x="1768" y="1216"/>
                </a:lnTo>
                <a:lnTo>
                  <a:pt x="1690" y="1201"/>
                </a:lnTo>
                <a:lnTo>
                  <a:pt x="1612" y="1181"/>
                </a:lnTo>
                <a:lnTo>
                  <a:pt x="1536" y="1160"/>
                </a:lnTo>
                <a:lnTo>
                  <a:pt x="1460" y="1137"/>
                </a:lnTo>
                <a:lnTo>
                  <a:pt x="1460" y="1137"/>
                </a:lnTo>
                <a:lnTo>
                  <a:pt x="1489" y="1072"/>
                </a:lnTo>
                <a:lnTo>
                  <a:pt x="1519" y="1010"/>
                </a:lnTo>
                <a:lnTo>
                  <a:pt x="1550" y="949"/>
                </a:lnTo>
                <a:lnTo>
                  <a:pt x="1583" y="889"/>
                </a:lnTo>
                <a:lnTo>
                  <a:pt x="1616" y="830"/>
                </a:lnTo>
                <a:lnTo>
                  <a:pt x="1651" y="774"/>
                </a:lnTo>
                <a:lnTo>
                  <a:pt x="1690" y="717"/>
                </a:lnTo>
                <a:lnTo>
                  <a:pt x="1727" y="663"/>
                </a:lnTo>
                <a:lnTo>
                  <a:pt x="1768" y="610"/>
                </a:lnTo>
                <a:lnTo>
                  <a:pt x="1809" y="559"/>
                </a:lnTo>
                <a:lnTo>
                  <a:pt x="1852" y="509"/>
                </a:lnTo>
                <a:lnTo>
                  <a:pt x="1895" y="460"/>
                </a:lnTo>
                <a:lnTo>
                  <a:pt x="1940" y="413"/>
                </a:lnTo>
                <a:lnTo>
                  <a:pt x="1986" y="368"/>
                </a:lnTo>
                <a:lnTo>
                  <a:pt x="2035" y="326"/>
                </a:lnTo>
                <a:lnTo>
                  <a:pt x="2084" y="283"/>
                </a:lnTo>
                <a:lnTo>
                  <a:pt x="2084" y="283"/>
                </a:lnTo>
                <a:lnTo>
                  <a:pt x="2090" y="283"/>
                </a:lnTo>
                <a:lnTo>
                  <a:pt x="2090" y="283"/>
                </a:lnTo>
                <a:close/>
                <a:moveTo>
                  <a:pt x="1330" y="1088"/>
                </a:moveTo>
                <a:lnTo>
                  <a:pt x="1330" y="1088"/>
                </a:lnTo>
                <a:lnTo>
                  <a:pt x="1267" y="1061"/>
                </a:lnTo>
                <a:lnTo>
                  <a:pt x="1203" y="1031"/>
                </a:lnTo>
                <a:lnTo>
                  <a:pt x="1142" y="998"/>
                </a:lnTo>
                <a:lnTo>
                  <a:pt x="1082" y="965"/>
                </a:lnTo>
                <a:lnTo>
                  <a:pt x="1023" y="928"/>
                </a:lnTo>
                <a:lnTo>
                  <a:pt x="965" y="891"/>
                </a:lnTo>
                <a:lnTo>
                  <a:pt x="908" y="852"/>
                </a:lnTo>
                <a:lnTo>
                  <a:pt x="852" y="811"/>
                </a:lnTo>
                <a:lnTo>
                  <a:pt x="852" y="811"/>
                </a:lnTo>
                <a:lnTo>
                  <a:pt x="905" y="762"/>
                </a:lnTo>
                <a:lnTo>
                  <a:pt x="957" y="717"/>
                </a:lnTo>
                <a:lnTo>
                  <a:pt x="1012" y="673"/>
                </a:lnTo>
                <a:lnTo>
                  <a:pt x="1068" y="632"/>
                </a:lnTo>
                <a:lnTo>
                  <a:pt x="1127" y="591"/>
                </a:lnTo>
                <a:lnTo>
                  <a:pt x="1185" y="554"/>
                </a:lnTo>
                <a:lnTo>
                  <a:pt x="1246" y="519"/>
                </a:lnTo>
                <a:lnTo>
                  <a:pt x="1308" y="485"/>
                </a:lnTo>
                <a:lnTo>
                  <a:pt x="1372" y="454"/>
                </a:lnTo>
                <a:lnTo>
                  <a:pt x="1437" y="425"/>
                </a:lnTo>
                <a:lnTo>
                  <a:pt x="1503" y="400"/>
                </a:lnTo>
                <a:lnTo>
                  <a:pt x="1571" y="376"/>
                </a:lnTo>
                <a:lnTo>
                  <a:pt x="1639" y="355"/>
                </a:lnTo>
                <a:lnTo>
                  <a:pt x="1710" y="335"/>
                </a:lnTo>
                <a:lnTo>
                  <a:pt x="1780" y="320"/>
                </a:lnTo>
                <a:lnTo>
                  <a:pt x="1852" y="306"/>
                </a:lnTo>
                <a:lnTo>
                  <a:pt x="1852" y="306"/>
                </a:lnTo>
                <a:lnTo>
                  <a:pt x="1811" y="347"/>
                </a:lnTo>
                <a:lnTo>
                  <a:pt x="1772" y="390"/>
                </a:lnTo>
                <a:lnTo>
                  <a:pt x="1733" y="433"/>
                </a:lnTo>
                <a:lnTo>
                  <a:pt x="1696" y="478"/>
                </a:lnTo>
                <a:lnTo>
                  <a:pt x="1661" y="522"/>
                </a:lnTo>
                <a:lnTo>
                  <a:pt x="1624" y="569"/>
                </a:lnTo>
                <a:lnTo>
                  <a:pt x="1591" y="618"/>
                </a:lnTo>
                <a:lnTo>
                  <a:pt x="1558" y="665"/>
                </a:lnTo>
                <a:lnTo>
                  <a:pt x="1524" y="715"/>
                </a:lnTo>
                <a:lnTo>
                  <a:pt x="1493" y="766"/>
                </a:lnTo>
                <a:lnTo>
                  <a:pt x="1464" y="817"/>
                </a:lnTo>
                <a:lnTo>
                  <a:pt x="1435" y="869"/>
                </a:lnTo>
                <a:lnTo>
                  <a:pt x="1408" y="924"/>
                </a:lnTo>
                <a:lnTo>
                  <a:pt x="1380" y="977"/>
                </a:lnTo>
                <a:lnTo>
                  <a:pt x="1355" y="1033"/>
                </a:lnTo>
                <a:lnTo>
                  <a:pt x="1330" y="1088"/>
                </a:lnTo>
                <a:lnTo>
                  <a:pt x="1330" y="1088"/>
                </a:lnTo>
                <a:close/>
                <a:moveTo>
                  <a:pt x="1408" y="1265"/>
                </a:moveTo>
                <a:lnTo>
                  <a:pt x="1408" y="1265"/>
                </a:lnTo>
                <a:lnTo>
                  <a:pt x="1489" y="1291"/>
                </a:lnTo>
                <a:lnTo>
                  <a:pt x="1571" y="1314"/>
                </a:lnTo>
                <a:lnTo>
                  <a:pt x="1655" y="1335"/>
                </a:lnTo>
                <a:lnTo>
                  <a:pt x="1741" y="1353"/>
                </a:lnTo>
                <a:lnTo>
                  <a:pt x="1827" y="1367"/>
                </a:lnTo>
                <a:lnTo>
                  <a:pt x="1914" y="1378"/>
                </a:lnTo>
                <a:lnTo>
                  <a:pt x="2002" y="1386"/>
                </a:lnTo>
                <a:lnTo>
                  <a:pt x="2090" y="1390"/>
                </a:lnTo>
                <a:lnTo>
                  <a:pt x="2090" y="2090"/>
                </a:lnTo>
                <a:lnTo>
                  <a:pt x="1257" y="2090"/>
                </a:lnTo>
                <a:lnTo>
                  <a:pt x="1257" y="2090"/>
                </a:lnTo>
                <a:lnTo>
                  <a:pt x="1261" y="1981"/>
                </a:lnTo>
                <a:lnTo>
                  <a:pt x="1271" y="1873"/>
                </a:lnTo>
                <a:lnTo>
                  <a:pt x="1285" y="1768"/>
                </a:lnTo>
                <a:lnTo>
                  <a:pt x="1300" y="1663"/>
                </a:lnTo>
                <a:lnTo>
                  <a:pt x="1322" y="1562"/>
                </a:lnTo>
                <a:lnTo>
                  <a:pt x="1347" y="1460"/>
                </a:lnTo>
                <a:lnTo>
                  <a:pt x="1376" y="1361"/>
                </a:lnTo>
                <a:lnTo>
                  <a:pt x="1408" y="1265"/>
                </a:lnTo>
                <a:lnTo>
                  <a:pt x="1408" y="1265"/>
                </a:lnTo>
                <a:close/>
                <a:moveTo>
                  <a:pt x="2090" y="2230"/>
                </a:moveTo>
                <a:lnTo>
                  <a:pt x="2090" y="3068"/>
                </a:lnTo>
                <a:lnTo>
                  <a:pt x="2090" y="3068"/>
                </a:lnTo>
                <a:lnTo>
                  <a:pt x="2008" y="3072"/>
                </a:lnTo>
                <a:lnTo>
                  <a:pt x="1926" y="3080"/>
                </a:lnTo>
                <a:lnTo>
                  <a:pt x="1846" y="3090"/>
                </a:lnTo>
                <a:lnTo>
                  <a:pt x="1766" y="3102"/>
                </a:lnTo>
                <a:lnTo>
                  <a:pt x="1688" y="3115"/>
                </a:lnTo>
                <a:lnTo>
                  <a:pt x="1610" y="3133"/>
                </a:lnTo>
                <a:lnTo>
                  <a:pt x="1534" y="3154"/>
                </a:lnTo>
                <a:lnTo>
                  <a:pt x="1458" y="3176"/>
                </a:lnTo>
                <a:lnTo>
                  <a:pt x="1458" y="3176"/>
                </a:lnTo>
                <a:lnTo>
                  <a:pt x="1437" y="3123"/>
                </a:lnTo>
                <a:lnTo>
                  <a:pt x="1415" y="3066"/>
                </a:lnTo>
                <a:lnTo>
                  <a:pt x="1396" y="3012"/>
                </a:lnTo>
                <a:lnTo>
                  <a:pt x="1376" y="2955"/>
                </a:lnTo>
                <a:lnTo>
                  <a:pt x="1359" y="2899"/>
                </a:lnTo>
                <a:lnTo>
                  <a:pt x="1343" y="2840"/>
                </a:lnTo>
                <a:lnTo>
                  <a:pt x="1330" y="2782"/>
                </a:lnTo>
                <a:lnTo>
                  <a:pt x="1316" y="2723"/>
                </a:lnTo>
                <a:lnTo>
                  <a:pt x="1304" y="2663"/>
                </a:lnTo>
                <a:lnTo>
                  <a:pt x="1292" y="2603"/>
                </a:lnTo>
                <a:lnTo>
                  <a:pt x="1283" y="2542"/>
                </a:lnTo>
                <a:lnTo>
                  <a:pt x="1275" y="2480"/>
                </a:lnTo>
                <a:lnTo>
                  <a:pt x="1269" y="2419"/>
                </a:lnTo>
                <a:lnTo>
                  <a:pt x="1263" y="2357"/>
                </a:lnTo>
                <a:lnTo>
                  <a:pt x="1259" y="2293"/>
                </a:lnTo>
                <a:lnTo>
                  <a:pt x="1257" y="2230"/>
                </a:lnTo>
                <a:lnTo>
                  <a:pt x="2090" y="2230"/>
                </a:lnTo>
                <a:close/>
                <a:moveTo>
                  <a:pt x="1852" y="4014"/>
                </a:moveTo>
                <a:lnTo>
                  <a:pt x="1852" y="4014"/>
                </a:lnTo>
                <a:lnTo>
                  <a:pt x="1788" y="4002"/>
                </a:lnTo>
                <a:lnTo>
                  <a:pt x="1723" y="3989"/>
                </a:lnTo>
                <a:lnTo>
                  <a:pt x="1661" y="3971"/>
                </a:lnTo>
                <a:lnTo>
                  <a:pt x="1599" y="3954"/>
                </a:lnTo>
                <a:lnTo>
                  <a:pt x="1538" y="3934"/>
                </a:lnTo>
                <a:lnTo>
                  <a:pt x="1478" y="3911"/>
                </a:lnTo>
                <a:lnTo>
                  <a:pt x="1419" y="3887"/>
                </a:lnTo>
                <a:lnTo>
                  <a:pt x="1361" y="3862"/>
                </a:lnTo>
                <a:lnTo>
                  <a:pt x="1304" y="3833"/>
                </a:lnTo>
                <a:lnTo>
                  <a:pt x="1248" y="3803"/>
                </a:lnTo>
                <a:lnTo>
                  <a:pt x="1193" y="3772"/>
                </a:lnTo>
                <a:lnTo>
                  <a:pt x="1140" y="3739"/>
                </a:lnTo>
                <a:lnTo>
                  <a:pt x="1088" y="3704"/>
                </a:lnTo>
                <a:lnTo>
                  <a:pt x="1037" y="3667"/>
                </a:lnTo>
                <a:lnTo>
                  <a:pt x="988" y="3628"/>
                </a:lnTo>
                <a:lnTo>
                  <a:pt x="940" y="3589"/>
                </a:lnTo>
                <a:lnTo>
                  <a:pt x="940" y="3589"/>
                </a:lnTo>
                <a:lnTo>
                  <a:pt x="990" y="3554"/>
                </a:lnTo>
                <a:lnTo>
                  <a:pt x="1045" y="3519"/>
                </a:lnTo>
                <a:lnTo>
                  <a:pt x="1098" y="3488"/>
                </a:lnTo>
                <a:lnTo>
                  <a:pt x="1154" y="3456"/>
                </a:lnTo>
                <a:lnTo>
                  <a:pt x="1209" y="3429"/>
                </a:lnTo>
                <a:lnTo>
                  <a:pt x="1267" y="3402"/>
                </a:lnTo>
                <a:lnTo>
                  <a:pt x="1324" y="3375"/>
                </a:lnTo>
                <a:lnTo>
                  <a:pt x="1384" y="3351"/>
                </a:lnTo>
                <a:lnTo>
                  <a:pt x="1384" y="3351"/>
                </a:lnTo>
                <a:lnTo>
                  <a:pt x="1431" y="3445"/>
                </a:lnTo>
                <a:lnTo>
                  <a:pt x="1482" y="3534"/>
                </a:lnTo>
                <a:lnTo>
                  <a:pt x="1536" y="3622"/>
                </a:lnTo>
                <a:lnTo>
                  <a:pt x="1593" y="3708"/>
                </a:lnTo>
                <a:lnTo>
                  <a:pt x="1653" y="3788"/>
                </a:lnTo>
                <a:lnTo>
                  <a:pt x="1716" y="3868"/>
                </a:lnTo>
                <a:lnTo>
                  <a:pt x="1782" y="3942"/>
                </a:lnTo>
                <a:lnTo>
                  <a:pt x="1852" y="4014"/>
                </a:lnTo>
                <a:lnTo>
                  <a:pt x="1852" y="4014"/>
                </a:lnTo>
                <a:close/>
                <a:moveTo>
                  <a:pt x="2230" y="4037"/>
                </a:moveTo>
                <a:lnTo>
                  <a:pt x="2230" y="3209"/>
                </a:lnTo>
                <a:lnTo>
                  <a:pt x="2230" y="3209"/>
                </a:lnTo>
                <a:lnTo>
                  <a:pt x="2304" y="3213"/>
                </a:lnTo>
                <a:lnTo>
                  <a:pt x="2378" y="3219"/>
                </a:lnTo>
                <a:lnTo>
                  <a:pt x="2450" y="3226"/>
                </a:lnTo>
                <a:lnTo>
                  <a:pt x="2525" y="3236"/>
                </a:lnTo>
                <a:lnTo>
                  <a:pt x="2595" y="3250"/>
                </a:lnTo>
                <a:lnTo>
                  <a:pt x="2667" y="3265"/>
                </a:lnTo>
                <a:lnTo>
                  <a:pt x="2737" y="3283"/>
                </a:lnTo>
                <a:lnTo>
                  <a:pt x="2805" y="3302"/>
                </a:lnTo>
                <a:lnTo>
                  <a:pt x="2805" y="3302"/>
                </a:lnTo>
                <a:lnTo>
                  <a:pt x="2778" y="3357"/>
                </a:lnTo>
                <a:lnTo>
                  <a:pt x="2749" y="3410"/>
                </a:lnTo>
                <a:lnTo>
                  <a:pt x="2719" y="3462"/>
                </a:lnTo>
                <a:lnTo>
                  <a:pt x="2688" y="3513"/>
                </a:lnTo>
                <a:lnTo>
                  <a:pt x="2657" y="3564"/>
                </a:lnTo>
                <a:lnTo>
                  <a:pt x="2624" y="3612"/>
                </a:lnTo>
                <a:lnTo>
                  <a:pt x="2589" y="3661"/>
                </a:lnTo>
                <a:lnTo>
                  <a:pt x="2554" y="3708"/>
                </a:lnTo>
                <a:lnTo>
                  <a:pt x="2519" y="3753"/>
                </a:lnTo>
                <a:lnTo>
                  <a:pt x="2482" y="3798"/>
                </a:lnTo>
                <a:lnTo>
                  <a:pt x="2443" y="3840"/>
                </a:lnTo>
                <a:lnTo>
                  <a:pt x="2404" y="3881"/>
                </a:lnTo>
                <a:lnTo>
                  <a:pt x="2363" y="3922"/>
                </a:lnTo>
                <a:lnTo>
                  <a:pt x="2322" y="3963"/>
                </a:lnTo>
                <a:lnTo>
                  <a:pt x="2281" y="4000"/>
                </a:lnTo>
                <a:lnTo>
                  <a:pt x="2238" y="4037"/>
                </a:lnTo>
                <a:lnTo>
                  <a:pt x="2238" y="4037"/>
                </a:lnTo>
                <a:lnTo>
                  <a:pt x="2230" y="4037"/>
                </a:lnTo>
                <a:lnTo>
                  <a:pt x="2230" y="4037"/>
                </a:lnTo>
                <a:close/>
                <a:moveTo>
                  <a:pt x="2936" y="3351"/>
                </a:moveTo>
                <a:lnTo>
                  <a:pt x="2936" y="3351"/>
                </a:lnTo>
                <a:lnTo>
                  <a:pt x="2996" y="3375"/>
                </a:lnTo>
                <a:lnTo>
                  <a:pt x="3053" y="3402"/>
                </a:lnTo>
                <a:lnTo>
                  <a:pt x="3111" y="3429"/>
                </a:lnTo>
                <a:lnTo>
                  <a:pt x="3166" y="3456"/>
                </a:lnTo>
                <a:lnTo>
                  <a:pt x="3222" y="3488"/>
                </a:lnTo>
                <a:lnTo>
                  <a:pt x="3275" y="3521"/>
                </a:lnTo>
                <a:lnTo>
                  <a:pt x="3330" y="3554"/>
                </a:lnTo>
                <a:lnTo>
                  <a:pt x="3380" y="3589"/>
                </a:lnTo>
                <a:lnTo>
                  <a:pt x="3380" y="3589"/>
                </a:lnTo>
                <a:lnTo>
                  <a:pt x="3332" y="3628"/>
                </a:lnTo>
                <a:lnTo>
                  <a:pt x="3283" y="3667"/>
                </a:lnTo>
                <a:lnTo>
                  <a:pt x="3232" y="3704"/>
                </a:lnTo>
                <a:lnTo>
                  <a:pt x="3180" y="3739"/>
                </a:lnTo>
                <a:lnTo>
                  <a:pt x="3127" y="3772"/>
                </a:lnTo>
                <a:lnTo>
                  <a:pt x="3070" y="3803"/>
                </a:lnTo>
                <a:lnTo>
                  <a:pt x="3016" y="3833"/>
                </a:lnTo>
                <a:lnTo>
                  <a:pt x="2959" y="3862"/>
                </a:lnTo>
                <a:lnTo>
                  <a:pt x="2901" y="3887"/>
                </a:lnTo>
                <a:lnTo>
                  <a:pt x="2842" y="3911"/>
                </a:lnTo>
                <a:lnTo>
                  <a:pt x="2782" y="3934"/>
                </a:lnTo>
                <a:lnTo>
                  <a:pt x="2721" y="3954"/>
                </a:lnTo>
                <a:lnTo>
                  <a:pt x="2659" y="3971"/>
                </a:lnTo>
                <a:lnTo>
                  <a:pt x="2597" y="3989"/>
                </a:lnTo>
                <a:lnTo>
                  <a:pt x="2532" y="4002"/>
                </a:lnTo>
                <a:lnTo>
                  <a:pt x="2468" y="4014"/>
                </a:lnTo>
                <a:lnTo>
                  <a:pt x="2468" y="4014"/>
                </a:lnTo>
                <a:lnTo>
                  <a:pt x="2538" y="3942"/>
                </a:lnTo>
                <a:lnTo>
                  <a:pt x="2604" y="3868"/>
                </a:lnTo>
                <a:lnTo>
                  <a:pt x="2667" y="3788"/>
                </a:lnTo>
                <a:lnTo>
                  <a:pt x="2727" y="3708"/>
                </a:lnTo>
                <a:lnTo>
                  <a:pt x="2784" y="3622"/>
                </a:lnTo>
                <a:lnTo>
                  <a:pt x="2838" y="3534"/>
                </a:lnTo>
                <a:lnTo>
                  <a:pt x="2889" y="3445"/>
                </a:lnTo>
                <a:lnTo>
                  <a:pt x="2936" y="3351"/>
                </a:lnTo>
                <a:lnTo>
                  <a:pt x="2936" y="3351"/>
                </a:lnTo>
                <a:close/>
                <a:moveTo>
                  <a:pt x="2862" y="3176"/>
                </a:moveTo>
                <a:lnTo>
                  <a:pt x="2862" y="3176"/>
                </a:lnTo>
                <a:lnTo>
                  <a:pt x="2786" y="3154"/>
                </a:lnTo>
                <a:lnTo>
                  <a:pt x="2710" y="3133"/>
                </a:lnTo>
                <a:lnTo>
                  <a:pt x="2632" y="3115"/>
                </a:lnTo>
                <a:lnTo>
                  <a:pt x="2554" y="3102"/>
                </a:lnTo>
                <a:lnTo>
                  <a:pt x="2474" y="3090"/>
                </a:lnTo>
                <a:lnTo>
                  <a:pt x="2394" y="3080"/>
                </a:lnTo>
                <a:lnTo>
                  <a:pt x="2312" y="3072"/>
                </a:lnTo>
                <a:lnTo>
                  <a:pt x="2230" y="3068"/>
                </a:lnTo>
                <a:lnTo>
                  <a:pt x="2230" y="2230"/>
                </a:lnTo>
                <a:lnTo>
                  <a:pt x="3063" y="2230"/>
                </a:lnTo>
                <a:lnTo>
                  <a:pt x="3063" y="2230"/>
                </a:lnTo>
                <a:lnTo>
                  <a:pt x="3061" y="2293"/>
                </a:lnTo>
                <a:lnTo>
                  <a:pt x="3057" y="2357"/>
                </a:lnTo>
                <a:lnTo>
                  <a:pt x="3051" y="2419"/>
                </a:lnTo>
                <a:lnTo>
                  <a:pt x="3045" y="2480"/>
                </a:lnTo>
                <a:lnTo>
                  <a:pt x="3037" y="2542"/>
                </a:lnTo>
                <a:lnTo>
                  <a:pt x="3028" y="2603"/>
                </a:lnTo>
                <a:lnTo>
                  <a:pt x="3016" y="2663"/>
                </a:lnTo>
                <a:lnTo>
                  <a:pt x="3004" y="2723"/>
                </a:lnTo>
                <a:lnTo>
                  <a:pt x="2990" y="2782"/>
                </a:lnTo>
                <a:lnTo>
                  <a:pt x="2977" y="2840"/>
                </a:lnTo>
                <a:lnTo>
                  <a:pt x="2961" y="2899"/>
                </a:lnTo>
                <a:lnTo>
                  <a:pt x="2944" y="2955"/>
                </a:lnTo>
                <a:lnTo>
                  <a:pt x="2924" y="3012"/>
                </a:lnTo>
                <a:lnTo>
                  <a:pt x="2905" y="3066"/>
                </a:lnTo>
                <a:lnTo>
                  <a:pt x="2883" y="3123"/>
                </a:lnTo>
                <a:lnTo>
                  <a:pt x="2862" y="3176"/>
                </a:lnTo>
                <a:lnTo>
                  <a:pt x="2862" y="3176"/>
                </a:lnTo>
                <a:close/>
                <a:moveTo>
                  <a:pt x="2230" y="2090"/>
                </a:moveTo>
                <a:lnTo>
                  <a:pt x="2230" y="1390"/>
                </a:lnTo>
                <a:lnTo>
                  <a:pt x="2230" y="1390"/>
                </a:lnTo>
                <a:lnTo>
                  <a:pt x="2318" y="1386"/>
                </a:lnTo>
                <a:lnTo>
                  <a:pt x="2406" y="1378"/>
                </a:lnTo>
                <a:lnTo>
                  <a:pt x="2493" y="1367"/>
                </a:lnTo>
                <a:lnTo>
                  <a:pt x="2579" y="1353"/>
                </a:lnTo>
                <a:lnTo>
                  <a:pt x="2665" y="1335"/>
                </a:lnTo>
                <a:lnTo>
                  <a:pt x="2749" y="1316"/>
                </a:lnTo>
                <a:lnTo>
                  <a:pt x="2831" y="1291"/>
                </a:lnTo>
                <a:lnTo>
                  <a:pt x="2912" y="1265"/>
                </a:lnTo>
                <a:lnTo>
                  <a:pt x="2912" y="1265"/>
                </a:lnTo>
                <a:lnTo>
                  <a:pt x="2944" y="1361"/>
                </a:lnTo>
                <a:lnTo>
                  <a:pt x="2973" y="1460"/>
                </a:lnTo>
                <a:lnTo>
                  <a:pt x="2998" y="1562"/>
                </a:lnTo>
                <a:lnTo>
                  <a:pt x="3020" y="1665"/>
                </a:lnTo>
                <a:lnTo>
                  <a:pt x="3035" y="1768"/>
                </a:lnTo>
                <a:lnTo>
                  <a:pt x="3049" y="1873"/>
                </a:lnTo>
                <a:lnTo>
                  <a:pt x="3059" y="1983"/>
                </a:lnTo>
                <a:lnTo>
                  <a:pt x="3063" y="2090"/>
                </a:lnTo>
                <a:lnTo>
                  <a:pt x="2230" y="2090"/>
                </a:lnTo>
                <a:lnTo>
                  <a:pt x="2230" y="2090"/>
                </a:lnTo>
                <a:close/>
                <a:moveTo>
                  <a:pt x="756" y="910"/>
                </a:moveTo>
                <a:lnTo>
                  <a:pt x="756" y="910"/>
                </a:lnTo>
                <a:lnTo>
                  <a:pt x="817" y="955"/>
                </a:lnTo>
                <a:lnTo>
                  <a:pt x="879" y="1000"/>
                </a:lnTo>
                <a:lnTo>
                  <a:pt x="942" y="1041"/>
                </a:lnTo>
                <a:lnTo>
                  <a:pt x="1006" y="1080"/>
                </a:lnTo>
                <a:lnTo>
                  <a:pt x="1072" y="1119"/>
                </a:lnTo>
                <a:lnTo>
                  <a:pt x="1140" y="1154"/>
                </a:lnTo>
                <a:lnTo>
                  <a:pt x="1209" y="1187"/>
                </a:lnTo>
                <a:lnTo>
                  <a:pt x="1277" y="1216"/>
                </a:lnTo>
                <a:lnTo>
                  <a:pt x="1277" y="1216"/>
                </a:lnTo>
                <a:lnTo>
                  <a:pt x="1244" y="1320"/>
                </a:lnTo>
                <a:lnTo>
                  <a:pt x="1213" y="1423"/>
                </a:lnTo>
                <a:lnTo>
                  <a:pt x="1187" y="1530"/>
                </a:lnTo>
                <a:lnTo>
                  <a:pt x="1164" y="1639"/>
                </a:lnTo>
                <a:lnTo>
                  <a:pt x="1146" y="1749"/>
                </a:lnTo>
                <a:lnTo>
                  <a:pt x="1133" y="1862"/>
                </a:lnTo>
                <a:lnTo>
                  <a:pt x="1123" y="1975"/>
                </a:lnTo>
                <a:lnTo>
                  <a:pt x="1117" y="2090"/>
                </a:lnTo>
                <a:lnTo>
                  <a:pt x="283" y="2090"/>
                </a:lnTo>
                <a:lnTo>
                  <a:pt x="283" y="2090"/>
                </a:lnTo>
                <a:lnTo>
                  <a:pt x="287" y="2006"/>
                </a:lnTo>
                <a:lnTo>
                  <a:pt x="296" y="1922"/>
                </a:lnTo>
                <a:lnTo>
                  <a:pt x="308" y="1840"/>
                </a:lnTo>
                <a:lnTo>
                  <a:pt x="324" y="1760"/>
                </a:lnTo>
                <a:lnTo>
                  <a:pt x="343" y="1680"/>
                </a:lnTo>
                <a:lnTo>
                  <a:pt x="366" y="1602"/>
                </a:lnTo>
                <a:lnTo>
                  <a:pt x="392" y="1524"/>
                </a:lnTo>
                <a:lnTo>
                  <a:pt x="421" y="1450"/>
                </a:lnTo>
                <a:lnTo>
                  <a:pt x="452" y="1376"/>
                </a:lnTo>
                <a:lnTo>
                  <a:pt x="487" y="1304"/>
                </a:lnTo>
                <a:lnTo>
                  <a:pt x="526" y="1234"/>
                </a:lnTo>
                <a:lnTo>
                  <a:pt x="567" y="1166"/>
                </a:lnTo>
                <a:lnTo>
                  <a:pt x="610" y="1098"/>
                </a:lnTo>
                <a:lnTo>
                  <a:pt x="657" y="1033"/>
                </a:lnTo>
                <a:lnTo>
                  <a:pt x="706" y="971"/>
                </a:lnTo>
                <a:lnTo>
                  <a:pt x="756" y="910"/>
                </a:lnTo>
                <a:lnTo>
                  <a:pt x="756" y="910"/>
                </a:lnTo>
                <a:close/>
                <a:moveTo>
                  <a:pt x="283" y="2230"/>
                </a:moveTo>
                <a:lnTo>
                  <a:pt x="1117" y="2230"/>
                </a:lnTo>
                <a:lnTo>
                  <a:pt x="1117" y="2230"/>
                </a:lnTo>
                <a:lnTo>
                  <a:pt x="1121" y="2296"/>
                </a:lnTo>
                <a:lnTo>
                  <a:pt x="1125" y="2363"/>
                </a:lnTo>
                <a:lnTo>
                  <a:pt x="1129" y="2427"/>
                </a:lnTo>
                <a:lnTo>
                  <a:pt x="1137" y="2493"/>
                </a:lnTo>
                <a:lnTo>
                  <a:pt x="1144" y="2558"/>
                </a:lnTo>
                <a:lnTo>
                  <a:pt x="1154" y="2622"/>
                </a:lnTo>
                <a:lnTo>
                  <a:pt x="1166" y="2684"/>
                </a:lnTo>
                <a:lnTo>
                  <a:pt x="1177" y="2747"/>
                </a:lnTo>
                <a:lnTo>
                  <a:pt x="1193" y="2809"/>
                </a:lnTo>
                <a:lnTo>
                  <a:pt x="1209" y="2870"/>
                </a:lnTo>
                <a:lnTo>
                  <a:pt x="1224" y="2932"/>
                </a:lnTo>
                <a:lnTo>
                  <a:pt x="1242" y="2990"/>
                </a:lnTo>
                <a:lnTo>
                  <a:pt x="1261" y="3051"/>
                </a:lnTo>
                <a:lnTo>
                  <a:pt x="1283" y="3109"/>
                </a:lnTo>
                <a:lnTo>
                  <a:pt x="1304" y="3168"/>
                </a:lnTo>
                <a:lnTo>
                  <a:pt x="1328" y="3224"/>
                </a:lnTo>
                <a:lnTo>
                  <a:pt x="1328" y="3224"/>
                </a:lnTo>
                <a:lnTo>
                  <a:pt x="1261" y="3252"/>
                </a:lnTo>
                <a:lnTo>
                  <a:pt x="1197" y="3281"/>
                </a:lnTo>
                <a:lnTo>
                  <a:pt x="1135" y="3310"/>
                </a:lnTo>
                <a:lnTo>
                  <a:pt x="1072" y="3343"/>
                </a:lnTo>
                <a:lnTo>
                  <a:pt x="1010" y="3378"/>
                </a:lnTo>
                <a:lnTo>
                  <a:pt x="951" y="3415"/>
                </a:lnTo>
                <a:lnTo>
                  <a:pt x="891" y="3452"/>
                </a:lnTo>
                <a:lnTo>
                  <a:pt x="834" y="3493"/>
                </a:lnTo>
                <a:lnTo>
                  <a:pt x="834" y="3493"/>
                </a:lnTo>
                <a:lnTo>
                  <a:pt x="774" y="3431"/>
                </a:lnTo>
                <a:lnTo>
                  <a:pt x="717" y="3365"/>
                </a:lnTo>
                <a:lnTo>
                  <a:pt x="663" y="3298"/>
                </a:lnTo>
                <a:lnTo>
                  <a:pt x="612" y="3228"/>
                </a:lnTo>
                <a:lnTo>
                  <a:pt x="565" y="3154"/>
                </a:lnTo>
                <a:lnTo>
                  <a:pt x="521" y="3080"/>
                </a:lnTo>
                <a:lnTo>
                  <a:pt x="480" y="3004"/>
                </a:lnTo>
                <a:lnTo>
                  <a:pt x="443" y="2924"/>
                </a:lnTo>
                <a:lnTo>
                  <a:pt x="409" y="2842"/>
                </a:lnTo>
                <a:lnTo>
                  <a:pt x="378" y="2760"/>
                </a:lnTo>
                <a:lnTo>
                  <a:pt x="353" y="2675"/>
                </a:lnTo>
                <a:lnTo>
                  <a:pt x="329" y="2589"/>
                </a:lnTo>
                <a:lnTo>
                  <a:pt x="312" y="2501"/>
                </a:lnTo>
                <a:lnTo>
                  <a:pt x="298" y="2411"/>
                </a:lnTo>
                <a:lnTo>
                  <a:pt x="289" y="2322"/>
                </a:lnTo>
                <a:lnTo>
                  <a:pt x="283" y="2230"/>
                </a:lnTo>
                <a:lnTo>
                  <a:pt x="283" y="2230"/>
                </a:lnTo>
                <a:close/>
                <a:moveTo>
                  <a:pt x="3486" y="3493"/>
                </a:moveTo>
                <a:lnTo>
                  <a:pt x="3486" y="3493"/>
                </a:lnTo>
                <a:lnTo>
                  <a:pt x="3429" y="3452"/>
                </a:lnTo>
                <a:lnTo>
                  <a:pt x="3369" y="3415"/>
                </a:lnTo>
                <a:lnTo>
                  <a:pt x="3310" y="3378"/>
                </a:lnTo>
                <a:lnTo>
                  <a:pt x="3248" y="3343"/>
                </a:lnTo>
                <a:lnTo>
                  <a:pt x="3185" y="3310"/>
                </a:lnTo>
                <a:lnTo>
                  <a:pt x="3123" y="3279"/>
                </a:lnTo>
                <a:lnTo>
                  <a:pt x="3059" y="3252"/>
                </a:lnTo>
                <a:lnTo>
                  <a:pt x="2992" y="3224"/>
                </a:lnTo>
                <a:lnTo>
                  <a:pt x="2992" y="3224"/>
                </a:lnTo>
                <a:lnTo>
                  <a:pt x="3016" y="3168"/>
                </a:lnTo>
                <a:lnTo>
                  <a:pt x="3037" y="3109"/>
                </a:lnTo>
                <a:lnTo>
                  <a:pt x="3059" y="3051"/>
                </a:lnTo>
                <a:lnTo>
                  <a:pt x="3078" y="2990"/>
                </a:lnTo>
                <a:lnTo>
                  <a:pt x="3096" y="2932"/>
                </a:lnTo>
                <a:lnTo>
                  <a:pt x="3111" y="2870"/>
                </a:lnTo>
                <a:lnTo>
                  <a:pt x="3127" y="2809"/>
                </a:lnTo>
                <a:lnTo>
                  <a:pt x="3141" y="2747"/>
                </a:lnTo>
                <a:lnTo>
                  <a:pt x="3154" y="2684"/>
                </a:lnTo>
                <a:lnTo>
                  <a:pt x="3166" y="2620"/>
                </a:lnTo>
                <a:lnTo>
                  <a:pt x="3176" y="2558"/>
                </a:lnTo>
                <a:lnTo>
                  <a:pt x="3183" y="2493"/>
                </a:lnTo>
                <a:lnTo>
                  <a:pt x="3191" y="2427"/>
                </a:lnTo>
                <a:lnTo>
                  <a:pt x="3195" y="2363"/>
                </a:lnTo>
                <a:lnTo>
                  <a:pt x="3199" y="2296"/>
                </a:lnTo>
                <a:lnTo>
                  <a:pt x="3203" y="2230"/>
                </a:lnTo>
                <a:lnTo>
                  <a:pt x="4037" y="2230"/>
                </a:lnTo>
                <a:lnTo>
                  <a:pt x="4037" y="2230"/>
                </a:lnTo>
                <a:lnTo>
                  <a:pt x="4031" y="2322"/>
                </a:lnTo>
                <a:lnTo>
                  <a:pt x="4022" y="2411"/>
                </a:lnTo>
                <a:lnTo>
                  <a:pt x="4008" y="2501"/>
                </a:lnTo>
                <a:lnTo>
                  <a:pt x="3991" y="2589"/>
                </a:lnTo>
                <a:lnTo>
                  <a:pt x="3967" y="2675"/>
                </a:lnTo>
                <a:lnTo>
                  <a:pt x="3942" y="2760"/>
                </a:lnTo>
                <a:lnTo>
                  <a:pt x="3911" y="2842"/>
                </a:lnTo>
                <a:lnTo>
                  <a:pt x="3877" y="2924"/>
                </a:lnTo>
                <a:lnTo>
                  <a:pt x="3840" y="3004"/>
                </a:lnTo>
                <a:lnTo>
                  <a:pt x="3799" y="3080"/>
                </a:lnTo>
                <a:lnTo>
                  <a:pt x="3755" y="3154"/>
                </a:lnTo>
                <a:lnTo>
                  <a:pt x="3708" y="3228"/>
                </a:lnTo>
                <a:lnTo>
                  <a:pt x="3657" y="3298"/>
                </a:lnTo>
                <a:lnTo>
                  <a:pt x="3603" y="3365"/>
                </a:lnTo>
                <a:lnTo>
                  <a:pt x="3546" y="3431"/>
                </a:lnTo>
                <a:lnTo>
                  <a:pt x="3486" y="3493"/>
                </a:lnTo>
                <a:lnTo>
                  <a:pt x="3486" y="3493"/>
                </a:lnTo>
                <a:close/>
              </a:path>
            </a:pathLst>
          </a:custGeom>
          <a:solidFill>
            <a:schemeClr val="tx1">
              <a:lumMod val="75000"/>
            </a:schemeClr>
          </a:solidFill>
          <a:ln>
            <a:solidFill>
              <a:schemeClr val="bg2">
                <a:lumMod val="65000"/>
              </a:schemeClr>
            </a:solidFill>
          </a:ln>
          <a:effectLst/>
        </p:spPr>
        <p:txBody>
          <a:bodyPr vert="horz" wrap="square" lIns="68544" tIns="34273" rIns="68544" bIns="34273" numCol="1" anchor="t" anchorCtr="0" compatLnSpc="1">
            <a:prstTxWarp prst="textNoShape">
              <a:avLst/>
            </a:prstTxWarp>
          </a:bodyPr>
          <a:lstStyle/>
          <a:p>
            <a:pPr defTabSz="456873" fontAlgn="base">
              <a:spcBef>
                <a:spcPct val="0"/>
              </a:spcBef>
              <a:spcAft>
                <a:spcPct val="0"/>
              </a:spcAft>
            </a:pPr>
            <a:endParaRPr lang="en-US" sz="1350">
              <a:solidFill>
                <a:srgbClr val="676767"/>
              </a:solidFill>
              <a:ea typeface="ＭＳ Ｐゴシック" charset="0"/>
            </a:endParaRPr>
          </a:p>
        </p:txBody>
      </p:sp>
      <p:sp>
        <p:nvSpPr>
          <p:cNvPr id="52" name="TextBox 51"/>
          <p:cNvSpPr txBox="1"/>
          <p:nvPr/>
        </p:nvSpPr>
        <p:spPr>
          <a:xfrm>
            <a:off x="3226504" y="1149669"/>
            <a:ext cx="1895754" cy="1133655"/>
          </a:xfrm>
          <a:prstGeom prst="wedgeRoundRectCallout">
            <a:avLst>
              <a:gd name="adj1" fmla="val -149284"/>
              <a:gd name="adj2" fmla="val 77060"/>
              <a:gd name="adj3" fmla="val 16667"/>
            </a:avLst>
          </a:prstGeom>
          <a:solidFill>
            <a:schemeClr val="tx2">
              <a:lumMod val="20000"/>
              <a:lumOff val="80000"/>
            </a:schemeClr>
          </a:solidFill>
          <a:ln>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defRPr sz="1200" spc="-51">
                <a:solidFill>
                  <a:schemeClr val="lt1"/>
                </a:solidFill>
                <a:effectLst>
                  <a:outerShdw blurRad="88900" algn="ctr" rotWithShape="0">
                    <a:prstClr val="black">
                      <a:alpha val="44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66700" indent="-177800" algn="l" defTabSz="456702">
              <a:buFont typeface="Arial" panose="020B0604020202020204" pitchFamily="34" charset="0"/>
              <a:buChar char="•"/>
            </a:pPr>
            <a:r>
              <a:rPr lang="en-US" sz="1125" spc="0" dirty="0">
                <a:solidFill>
                  <a:schemeClr val="accent1"/>
                </a:solidFill>
                <a:effectLst/>
              </a:rPr>
              <a:t>Company Confidential</a:t>
            </a:r>
          </a:p>
          <a:p>
            <a:pPr marL="266700" indent="-177800" algn="l" defTabSz="456702">
              <a:buFont typeface="Arial" panose="020B0604020202020204" pitchFamily="34" charset="0"/>
              <a:buChar char="•"/>
            </a:pPr>
            <a:r>
              <a:rPr lang="en-US" sz="1125" spc="0" dirty="0">
                <a:solidFill>
                  <a:schemeClr val="accent1"/>
                </a:solidFill>
                <a:effectLst/>
              </a:rPr>
              <a:t>Customer Lists</a:t>
            </a:r>
          </a:p>
          <a:p>
            <a:pPr marL="266700" indent="-177800" algn="l" defTabSz="456702">
              <a:buFont typeface="Arial" panose="020B0604020202020204" pitchFamily="34" charset="0"/>
              <a:buChar char="•"/>
            </a:pPr>
            <a:r>
              <a:rPr lang="en-US" sz="1125" spc="0" dirty="0">
                <a:solidFill>
                  <a:schemeClr val="accent1"/>
                </a:solidFill>
                <a:effectLst/>
              </a:rPr>
              <a:t>Credit card number</a:t>
            </a:r>
          </a:p>
          <a:p>
            <a:pPr marL="266700" indent="-177800" algn="l" defTabSz="456702">
              <a:buFont typeface="Arial" panose="020B0604020202020204" pitchFamily="34" charset="0"/>
              <a:buChar char="•"/>
            </a:pPr>
            <a:r>
              <a:rPr lang="en-US" sz="1125" spc="0" dirty="0">
                <a:solidFill>
                  <a:schemeClr val="accent1"/>
                </a:solidFill>
                <a:effectLst/>
              </a:rPr>
              <a:t>Medical details</a:t>
            </a:r>
          </a:p>
          <a:p>
            <a:pPr marL="266700" indent="-177800" algn="l" defTabSz="456702">
              <a:buFont typeface="Arial" panose="020B0604020202020204" pitchFamily="34" charset="0"/>
              <a:buChar char="•"/>
            </a:pPr>
            <a:r>
              <a:rPr lang="en-US" sz="1125" spc="0" dirty="0">
                <a:solidFill>
                  <a:schemeClr val="accent1"/>
                </a:solidFill>
                <a:effectLst/>
              </a:rPr>
              <a:t>Roadmap</a:t>
            </a:r>
          </a:p>
          <a:p>
            <a:pPr marL="266700" indent="-177800" algn="l" defTabSz="456702">
              <a:buFont typeface="Arial" panose="020B0604020202020204" pitchFamily="34" charset="0"/>
              <a:buChar char="•"/>
            </a:pPr>
            <a:r>
              <a:rPr lang="en-US" sz="1125" spc="0" dirty="0">
                <a:solidFill>
                  <a:schemeClr val="accent1"/>
                </a:solidFill>
                <a:effectLst/>
              </a:rPr>
              <a:t>….</a:t>
            </a:r>
          </a:p>
        </p:txBody>
      </p:sp>
      <p:pic>
        <p:nvPicPr>
          <p:cNvPr id="5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017121" y="3344423"/>
            <a:ext cx="340518" cy="30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5"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625543" y="3352169"/>
            <a:ext cx="330576" cy="330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4"/>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216399" y="3340121"/>
            <a:ext cx="392907" cy="375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8" descr="C:\Users\mmaciw\AppData\Local\Microsoft\Windows\Temporary Internet Files\Content.IE5\0DOXGSS0\483px-Magnifying_glass_01.svg[1].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rot="963038">
            <a:off x="1196436" y="2457334"/>
            <a:ext cx="649153" cy="645121"/>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58"/>
          <p:cNvCxnSpPr>
            <a:endCxn id="51" idx="4"/>
          </p:cNvCxnSpPr>
          <p:nvPr/>
        </p:nvCxnSpPr>
        <p:spPr>
          <a:xfrm>
            <a:off x="5772653" y="3738440"/>
            <a:ext cx="1162847" cy="3978"/>
          </a:xfrm>
          <a:prstGeom prst="line">
            <a:avLst/>
          </a:prstGeom>
          <a:ln w="444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2394491" y="2741694"/>
            <a:ext cx="1307223" cy="276983"/>
          </a:xfrm>
          <a:prstGeom prst="rect">
            <a:avLst/>
          </a:prstGeom>
          <a:noFill/>
        </p:spPr>
        <p:txBody>
          <a:bodyPr wrap="square" lIns="68562" tIns="34282" rIns="68562" bIns="34282" rtlCol="0">
            <a:spAutoFit/>
          </a:bodyPr>
          <a:lstStyle/>
          <a:p>
            <a:r>
              <a:rPr lang="en-GB" sz="1350" dirty="0">
                <a:solidFill>
                  <a:schemeClr val="bg1"/>
                </a:solidFill>
              </a:rPr>
              <a:t>Secure ICAP</a:t>
            </a:r>
          </a:p>
        </p:txBody>
      </p:sp>
      <p:sp>
        <p:nvSpPr>
          <p:cNvPr id="62" name="TextBox 61"/>
          <p:cNvSpPr txBox="1"/>
          <p:nvPr/>
        </p:nvSpPr>
        <p:spPr>
          <a:xfrm>
            <a:off x="4522635" y="2778600"/>
            <a:ext cx="1392644" cy="288536"/>
          </a:xfrm>
          <a:prstGeom prst="rect">
            <a:avLst/>
          </a:prstGeom>
          <a:noFill/>
        </p:spPr>
        <p:txBody>
          <a:bodyPr wrap="square" lIns="68574" tIns="34288" rIns="68574" bIns="34288" rtlCol="0">
            <a:spAutoFit/>
          </a:bodyPr>
          <a:lstStyle/>
          <a:p>
            <a:r>
              <a:rPr lang="en-GB" sz="1425" b="1" dirty="0"/>
              <a:t>S-ICAP Policy</a:t>
            </a:r>
          </a:p>
        </p:txBody>
      </p:sp>
      <p:cxnSp>
        <p:nvCxnSpPr>
          <p:cNvPr id="53" name="Straight Connector 52"/>
          <p:cNvCxnSpPr/>
          <p:nvPr/>
        </p:nvCxnSpPr>
        <p:spPr>
          <a:xfrm>
            <a:off x="1427187" y="3722825"/>
            <a:ext cx="2856347" cy="15629"/>
          </a:xfrm>
          <a:prstGeom prst="line">
            <a:avLst/>
          </a:prstGeom>
          <a:ln w="444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372068" y="2135470"/>
            <a:ext cx="1590508" cy="288536"/>
          </a:xfrm>
          <a:prstGeom prst="rect">
            <a:avLst/>
          </a:prstGeom>
          <a:noFill/>
        </p:spPr>
        <p:txBody>
          <a:bodyPr wrap="square" lIns="68574" tIns="34288" rIns="68574" bIns="34288" rtlCol="0">
            <a:spAutoFit/>
          </a:bodyPr>
          <a:lstStyle/>
          <a:p>
            <a:r>
              <a:rPr lang="ja-JP" altLang="en-US" sz="1425" b="1" dirty="0" smtClean="0"/>
              <a:t>顧客の既存</a:t>
            </a:r>
            <a:r>
              <a:rPr lang="en-US" altLang="ja-JP" sz="1425" b="1" dirty="0" smtClean="0"/>
              <a:t>DLP</a:t>
            </a:r>
            <a:endParaRPr lang="en-GB" sz="1425" b="1" dirty="0"/>
          </a:p>
        </p:txBody>
      </p:sp>
      <p:pic>
        <p:nvPicPr>
          <p:cNvPr id="57" name="Picture 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414791" y="3347480"/>
            <a:ext cx="311786" cy="3262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Box 63"/>
          <p:cNvSpPr txBox="1"/>
          <p:nvPr/>
        </p:nvSpPr>
        <p:spPr>
          <a:xfrm>
            <a:off x="7735986" y="170163"/>
            <a:ext cx="1329570" cy="274158"/>
          </a:xfrm>
          <a:prstGeom prst="rect">
            <a:avLst/>
          </a:prstGeom>
          <a:noFill/>
        </p:spPr>
        <p:txBody>
          <a:bodyPr wrap="square" lIns="68556" tIns="34279" rIns="68556" bIns="34279" rtlCol="0">
            <a:spAutoFit/>
          </a:bodyPr>
          <a:lstStyle/>
          <a:p>
            <a:pPr defTabSz="685577">
              <a:lnSpc>
                <a:spcPct val="80000"/>
              </a:lnSpc>
              <a:spcBef>
                <a:spcPct val="0"/>
              </a:spcBef>
            </a:pPr>
            <a:r>
              <a:rPr lang="en-GB" sz="1600" dirty="0" smtClean="0">
                <a:solidFill>
                  <a:srgbClr val="00A2BF"/>
                </a:solidFill>
                <a:latin typeface="+mj-lt"/>
                <a:ea typeface="+mj-ea"/>
                <a:cs typeface="CiscoSans"/>
              </a:rPr>
              <a:t>Q3 CY2016</a:t>
            </a:r>
            <a:endParaRPr lang="en-GB" sz="1600" dirty="0">
              <a:solidFill>
                <a:srgbClr val="00A2BF"/>
              </a:solidFill>
              <a:latin typeface="+mj-lt"/>
              <a:ea typeface="+mj-ea"/>
              <a:cs typeface="CiscoSans"/>
            </a:endParaRPr>
          </a:p>
        </p:txBody>
      </p:sp>
      <p:grpSp>
        <p:nvGrpSpPr>
          <p:cNvPr id="5" name="Group 4"/>
          <p:cNvGrpSpPr/>
          <p:nvPr/>
        </p:nvGrpSpPr>
        <p:grpSpPr>
          <a:xfrm>
            <a:off x="4160973" y="3145341"/>
            <a:ext cx="1632976" cy="989462"/>
            <a:chOff x="4160973" y="3145341"/>
            <a:chExt cx="1632976" cy="989462"/>
          </a:xfrm>
        </p:grpSpPr>
        <p:sp>
          <p:nvSpPr>
            <p:cNvPr id="40" name="Oval 2"/>
            <p:cNvSpPr/>
            <p:nvPr/>
          </p:nvSpPr>
          <p:spPr bwMode="auto">
            <a:xfrm>
              <a:off x="4160973" y="3145341"/>
              <a:ext cx="1632976" cy="989462"/>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53" tIns="41127" rIns="41127" bIns="82253" numCol="1" spcCol="0" rtlCol="0" fromWordArt="0" anchor="b" anchorCtr="0" forceAA="0" compatLnSpc="1">
              <a:prstTxWarp prst="textNoShape">
                <a:avLst/>
              </a:prstTxWarp>
              <a:noAutofit/>
            </a:bodyPr>
            <a:lstStyle/>
            <a:p>
              <a:pPr algn="ctr" defTabSz="821684" fontAlgn="base">
                <a:spcBef>
                  <a:spcPct val="0"/>
                </a:spcBef>
                <a:spcAft>
                  <a:spcPct val="0"/>
                </a:spcAft>
              </a:pPr>
              <a:endParaRPr lang="en-US" sz="1350" spc="-45"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extBox 1"/>
            <p:cNvSpPr txBox="1"/>
            <p:nvPr/>
          </p:nvSpPr>
          <p:spPr>
            <a:xfrm>
              <a:off x="4684918" y="3532018"/>
              <a:ext cx="961679" cy="461665"/>
            </a:xfrm>
            <a:prstGeom prst="rect">
              <a:avLst/>
            </a:prstGeom>
            <a:noFill/>
          </p:spPr>
          <p:txBody>
            <a:bodyPr wrap="square" rtlCol="0">
              <a:spAutoFit/>
            </a:bodyPr>
            <a:lstStyle/>
            <a:p>
              <a:r>
                <a:rPr lang="en-US" sz="2400" b="1" dirty="0" smtClean="0">
                  <a:solidFill>
                    <a:schemeClr val="bg1"/>
                  </a:solidFill>
                </a:rPr>
                <a:t>CWS</a:t>
              </a:r>
              <a:endParaRPr lang="en-US" sz="2400" b="1" dirty="0">
                <a:solidFill>
                  <a:schemeClr val="bg1"/>
                </a:solidFill>
              </a:endParaRPr>
            </a:p>
          </p:txBody>
        </p:sp>
        <p:grpSp>
          <p:nvGrpSpPr>
            <p:cNvPr id="42" name="Group 41"/>
            <p:cNvGrpSpPr>
              <a:grpSpLocks noChangeAspect="1"/>
            </p:cNvGrpSpPr>
            <p:nvPr/>
          </p:nvGrpSpPr>
          <p:grpSpPr>
            <a:xfrm rot="20679101">
              <a:off x="4462046" y="3565869"/>
              <a:ext cx="295660" cy="362999"/>
              <a:chOff x="7798595" y="7042151"/>
              <a:chExt cx="420688" cy="419100"/>
            </a:xfrm>
            <a:solidFill>
              <a:schemeClr val="bg1"/>
            </a:solidFill>
          </p:grpSpPr>
          <p:sp>
            <p:nvSpPr>
              <p:cNvPr id="47"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solidFill>
                    <a:schemeClr val="bg1"/>
                  </a:solidFill>
                </a:endParaRPr>
              </a:p>
            </p:txBody>
          </p:sp>
          <p:sp>
            <p:nvSpPr>
              <p:cNvPr id="48"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US" sz="1275">
                  <a:solidFill>
                    <a:schemeClr val="bg1"/>
                  </a:solidFill>
                </a:endParaRPr>
              </a:p>
            </p:txBody>
          </p:sp>
        </p:grpSp>
      </p:grpSp>
    </p:spTree>
    <p:extLst>
      <p:ext uri="{BB962C8B-B14F-4D97-AF65-F5344CB8AC3E}">
        <p14:creationId xmlns:p14="http://schemas.microsoft.com/office/powerpoint/2010/main" val="257121793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right)">
                                      <p:cBhvr>
                                        <p:cTn id="7" dur="10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0" presetClass="path" presetSubtype="0" accel="50000" decel="50000" fill="hold" nodeType="clickEffect">
                                  <p:stCondLst>
                                    <p:cond delay="0"/>
                                  </p:stCondLst>
                                  <p:childTnLst>
                                    <p:animMotion origin="layout" path="M 0.01641 -0.00625 C 0.02748 -0.01365 0.03634 -0.00486 0.04754 -0.0037 C 0.065 -0.00232 0.08232 -0.00116 0.09965 -0.00116 C 0.10199 -0.00301 0.1046 -0.00324 0.10655 -0.00625 C 0.10968 -0.0111 0.1102 -0.02799 0.11098 -0.03469 C 0.11163 -0.03932 0.11319 -0.04857 0.11319 -0.04834 C 0.11319 -0.04949 0.11645 -0.08303 0.11423 -0.08673 C 0.11319 -0.08858 0.11137 -0.08812 0.10994 -0.08881 C 0.10694 -0.09482 0.10551 -0.09968 0.10434 -0.10777 C 0.10329 -0.13344 0.10421 -0.12905 0.10199 -0.14593 C 0.10134 -0.15056 0.09965 -0.16004 0.09965 -0.15958 C 0.09431 -0.1723 0.0986 -0.16467 0.0831 -0.16952 C 0.0719 -0.17322 0.06109 -0.18039 0.04976 -0.18363 C 2.35248E-6 -0.21161 -0.10851 -0.19311 -0.11919 -0.19334 C -0.13847 -0.19242 -0.15775 -0.19265 -0.17702 -0.1908 C -0.18197 -0.19034 -0.19148 -0.18617 -0.19148 -0.18594 C -0.19604 -0.1827 -0.20594 -0.17438 -0.21037 -0.17438 " pathEditMode="relative" rAng="0" ptsTypes="ffffffffffffffffA">
                                      <p:cBhvr>
                                        <p:cTn id="11" dur="2000" fill="hold"/>
                                        <p:tgtEl>
                                          <p:spTgt spid="57"/>
                                        </p:tgtEl>
                                        <p:attrNameLst>
                                          <p:attrName>ppt_x</p:attrName>
                                          <p:attrName>ppt_y</p:attrName>
                                        </p:attrNameLst>
                                      </p:cBhvr>
                                      <p:rCtr x="-6344" y="-10014"/>
                                    </p:animMotion>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500"/>
                                        <p:tgtEl>
                                          <p:spTgt spid="5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xEl>
                                              <p:pRg st="0" end="0"/>
                                            </p:txEl>
                                          </p:spTgt>
                                        </p:tgtEl>
                                        <p:attrNameLst>
                                          <p:attrName>style.visibility</p:attrName>
                                        </p:attrNameLst>
                                      </p:cBhvr>
                                      <p:to>
                                        <p:strVal val="visible"/>
                                      </p:to>
                                    </p:set>
                                    <p:animEffect transition="in" filter="fade">
                                      <p:cBhvr>
                                        <p:cTn id="20" dur="5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2"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145978"/>
            <a:ext cx="8277344" cy="3442848"/>
          </a:xfrm>
        </p:spPr>
        <p:txBody>
          <a:bodyPr/>
          <a:lstStyle/>
          <a:p>
            <a:r>
              <a:rPr lang="ja-JP" altLang="en-US" dirty="0" smtClean="0"/>
              <a:t>パートナーエコシステムを通して、複数の</a:t>
            </a:r>
            <a:r>
              <a:rPr lang="en-US" altLang="ja-JP" dirty="0" smtClean="0"/>
              <a:t>CASB</a:t>
            </a:r>
            <a:r>
              <a:rPr lang="ja-JP" altLang="en-US" dirty="0" smtClean="0"/>
              <a:t>ベンダーと</a:t>
            </a:r>
            <a:r>
              <a:rPr lang="en-US" altLang="ja-JP" dirty="0" smtClean="0"/>
              <a:t> “Plug and Play”</a:t>
            </a:r>
            <a:r>
              <a:rPr lang="ja-JP" altLang="en-US" dirty="0" smtClean="0"/>
              <a:t>を許可できるように開発中</a:t>
            </a:r>
            <a:endParaRPr lang="en-US" dirty="0" smtClean="0"/>
          </a:p>
          <a:p>
            <a:r>
              <a:rPr lang="ja-JP" altLang="en-US" dirty="0" smtClean="0"/>
              <a:t>パートナーが提供できる予定の</a:t>
            </a:r>
            <a:r>
              <a:rPr lang="en-US" altLang="ja-JP" dirty="0" smtClean="0"/>
              <a:t> CASB</a:t>
            </a:r>
            <a:r>
              <a:rPr lang="ja-JP" altLang="en-US" dirty="0" smtClean="0"/>
              <a:t>機能：</a:t>
            </a:r>
            <a:endParaRPr lang="en-US" dirty="0" smtClean="0"/>
          </a:p>
          <a:p>
            <a:pPr lvl="1"/>
            <a:r>
              <a:rPr lang="ja-JP" altLang="en-US" dirty="0" smtClean="0"/>
              <a:t>シャドー</a:t>
            </a:r>
            <a:r>
              <a:rPr lang="en-US" altLang="ja-JP" dirty="0" smtClean="0"/>
              <a:t>IT</a:t>
            </a:r>
            <a:r>
              <a:rPr lang="ja-JP" altLang="en-US" dirty="0" smtClean="0"/>
              <a:t>の可視化：　クラウド</a:t>
            </a:r>
            <a:r>
              <a:rPr lang="en-US" altLang="ja-JP" dirty="0" smtClean="0"/>
              <a:t>App</a:t>
            </a:r>
            <a:r>
              <a:rPr lang="ja-JP" altLang="en-US" dirty="0" smtClean="0"/>
              <a:t>利用の詳細</a:t>
            </a:r>
            <a:endParaRPr lang="en-US" altLang="ja-JP" dirty="0"/>
          </a:p>
          <a:p>
            <a:pPr lvl="1"/>
            <a:r>
              <a:rPr lang="ja-JP" altLang="en-US" dirty="0"/>
              <a:t>シャドー</a:t>
            </a:r>
            <a:r>
              <a:rPr lang="en-US" altLang="ja-JP" dirty="0"/>
              <a:t>IT</a:t>
            </a:r>
            <a:r>
              <a:rPr lang="ja-JP" altLang="en-US" dirty="0" smtClean="0"/>
              <a:t>のデータ可視化</a:t>
            </a:r>
            <a:r>
              <a:rPr lang="ja-JP" altLang="en-US" dirty="0"/>
              <a:t>：　</a:t>
            </a:r>
            <a:r>
              <a:rPr lang="ja-JP" altLang="en-US" dirty="0" smtClean="0"/>
              <a:t>データ量、ファイル公開、コンプライアンスの可能性、ファイル共有の許可</a:t>
            </a:r>
            <a:endParaRPr lang="en-US" altLang="ja-JP" dirty="0" smtClean="0"/>
          </a:p>
          <a:p>
            <a:pPr lvl="1"/>
            <a:r>
              <a:rPr lang="ja-JP" altLang="en-US" dirty="0" smtClean="0"/>
              <a:t>ポリシーコントロール：ポリシーの実装、事象の緩和</a:t>
            </a:r>
            <a:endParaRPr lang="en-US" altLang="ja-JP" dirty="0" smtClean="0"/>
          </a:p>
          <a:p>
            <a:pPr lvl="1"/>
            <a:r>
              <a:rPr lang="en-US" altLang="ja-JP" dirty="0" smtClean="0"/>
              <a:t>DLP: Cloud DLP</a:t>
            </a:r>
            <a:r>
              <a:rPr lang="ja-JP" altLang="en-US" dirty="0" smtClean="0"/>
              <a:t>の統合、オンプレミス</a:t>
            </a:r>
            <a:r>
              <a:rPr lang="en-US" altLang="ja-JP" dirty="0" smtClean="0"/>
              <a:t>DLP</a:t>
            </a:r>
            <a:r>
              <a:rPr lang="ja-JP" altLang="en-US" dirty="0" smtClean="0"/>
              <a:t>との統合</a:t>
            </a:r>
            <a:endParaRPr lang="en-US" altLang="ja-JP" dirty="0"/>
          </a:p>
          <a:p>
            <a:pPr lvl="1"/>
            <a:endParaRPr lang="en-US" dirty="0"/>
          </a:p>
        </p:txBody>
      </p:sp>
      <p:sp>
        <p:nvSpPr>
          <p:cNvPr id="2" name="Title 1"/>
          <p:cNvSpPr>
            <a:spLocks noGrp="1"/>
          </p:cNvSpPr>
          <p:nvPr>
            <p:ph type="title"/>
          </p:nvPr>
        </p:nvSpPr>
        <p:spPr>
          <a:xfrm>
            <a:off x="437766" y="187567"/>
            <a:ext cx="8345488" cy="731837"/>
          </a:xfrm>
        </p:spPr>
        <p:txBody>
          <a:bodyPr/>
          <a:lstStyle/>
          <a:p>
            <a:r>
              <a:rPr lang="en-US" dirty="0" smtClean="0"/>
              <a:t>Cloud Access Security Broker Strategy</a:t>
            </a:r>
            <a:endParaRPr lang="en-US" dirty="0"/>
          </a:p>
        </p:txBody>
      </p:sp>
    </p:spTree>
    <p:extLst>
      <p:ext uri="{BB962C8B-B14F-4D97-AF65-F5344CB8AC3E}">
        <p14:creationId xmlns:p14="http://schemas.microsoft.com/office/powerpoint/2010/main" val="158662898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56054" y="988393"/>
            <a:ext cx="8383595" cy="3442848"/>
          </a:xfrm>
        </p:spPr>
        <p:txBody>
          <a:bodyPr/>
          <a:lstStyle/>
          <a:p>
            <a:r>
              <a:rPr lang="ja-JP" altLang="en-US" sz="1800" dirty="0" smtClean="0">
                <a:latin typeface="Arial" charset="0"/>
                <a:ea typeface="Arial" charset="0"/>
                <a:cs typeface="Arial" charset="0"/>
              </a:rPr>
              <a:t>リリース済み</a:t>
            </a:r>
            <a:r>
              <a:rPr lang="en-US" altLang="ja-JP" sz="1800" dirty="0" smtClean="0">
                <a:latin typeface="Arial" charset="0"/>
                <a:ea typeface="Arial" charset="0"/>
                <a:cs typeface="Arial" charset="0"/>
              </a:rPr>
              <a:t>/ </a:t>
            </a:r>
            <a:r>
              <a:rPr lang="en-US" sz="1800" dirty="0" smtClean="0">
                <a:latin typeface="Arial" charset="0"/>
                <a:ea typeface="Arial" charset="0"/>
                <a:cs typeface="Arial" charset="0"/>
              </a:rPr>
              <a:t>2015,11 (Controlled Availability)</a:t>
            </a:r>
            <a:endParaRPr lang="en-US" sz="1800" dirty="0">
              <a:latin typeface="Arial" charset="0"/>
              <a:ea typeface="Arial" charset="0"/>
              <a:cs typeface="Arial" charset="0"/>
            </a:endParaRPr>
          </a:p>
          <a:p>
            <a:pPr lvl="1"/>
            <a:r>
              <a:rPr lang="en-US" sz="1500" dirty="0">
                <a:latin typeface="Arial" charset="0"/>
                <a:ea typeface="Arial" charset="0"/>
                <a:cs typeface="Arial" charset="0"/>
              </a:rPr>
              <a:t>IOS-XE version 3.16.1</a:t>
            </a:r>
          </a:p>
          <a:p>
            <a:pPr lvl="1"/>
            <a:r>
              <a:rPr lang="en-US" sz="1500" dirty="0">
                <a:latin typeface="Arial" charset="0"/>
                <a:ea typeface="Arial" charset="0"/>
                <a:cs typeface="Arial" charset="0"/>
              </a:rPr>
              <a:t>NTLM Active Authentication </a:t>
            </a:r>
            <a:r>
              <a:rPr lang="ja-JP" altLang="en-US" sz="1500" dirty="0" smtClean="0">
                <a:latin typeface="Arial" charset="0"/>
                <a:ea typeface="Arial" charset="0"/>
                <a:cs typeface="Arial" charset="0"/>
              </a:rPr>
              <a:t>は</a:t>
            </a:r>
            <a:r>
              <a:rPr lang="en-US" altLang="ja-JP" sz="1500" dirty="0" smtClean="0">
                <a:latin typeface="Arial" charset="0"/>
                <a:ea typeface="Arial" charset="0"/>
                <a:cs typeface="Arial" charset="0"/>
              </a:rPr>
              <a:t> IOS-XE </a:t>
            </a:r>
            <a:r>
              <a:rPr lang="en-US" sz="1500" dirty="0" smtClean="0">
                <a:latin typeface="Arial" charset="0"/>
                <a:ea typeface="Arial" charset="0"/>
                <a:cs typeface="Arial" charset="0"/>
              </a:rPr>
              <a:t>3.16.2 </a:t>
            </a:r>
            <a:r>
              <a:rPr lang="ja-JP" altLang="en-US" sz="1500" dirty="0" smtClean="0">
                <a:latin typeface="Arial" charset="0"/>
                <a:ea typeface="Arial" charset="0"/>
                <a:cs typeface="Arial" charset="0"/>
              </a:rPr>
              <a:t>で追加</a:t>
            </a:r>
            <a:endParaRPr lang="en-US" sz="1500" dirty="0">
              <a:latin typeface="Arial" charset="0"/>
              <a:ea typeface="Arial" charset="0"/>
              <a:cs typeface="Arial" charset="0"/>
            </a:endParaRPr>
          </a:p>
          <a:p>
            <a:r>
              <a:rPr lang="ja-JP" altLang="en-US" sz="1800" dirty="0" smtClean="0">
                <a:latin typeface="Arial" charset="0"/>
                <a:ea typeface="Arial" charset="0"/>
                <a:cs typeface="Arial" charset="0"/>
              </a:rPr>
              <a:t>トンネルベースリダイレクト</a:t>
            </a:r>
            <a:r>
              <a:rPr lang="en-US" altLang="ja-JP" sz="1800" dirty="0" smtClean="0">
                <a:latin typeface="Arial" charset="0"/>
                <a:ea typeface="Arial" charset="0"/>
                <a:cs typeface="Arial" charset="0"/>
              </a:rPr>
              <a:t> – GRE over </a:t>
            </a:r>
            <a:r>
              <a:rPr lang="en-US" altLang="ja-JP" sz="1800" dirty="0" err="1" smtClean="0">
                <a:latin typeface="Arial" charset="0"/>
                <a:ea typeface="Arial" charset="0"/>
                <a:cs typeface="Arial" charset="0"/>
              </a:rPr>
              <a:t>Ipsec</a:t>
            </a:r>
            <a:endParaRPr lang="en-US" sz="1800" dirty="0" smtClean="0">
              <a:latin typeface="Arial" charset="0"/>
              <a:ea typeface="Arial" charset="0"/>
              <a:cs typeface="Arial" charset="0"/>
            </a:endParaRPr>
          </a:p>
          <a:p>
            <a:pPr lvl="1"/>
            <a:r>
              <a:rPr lang="ja-JP" altLang="en-US" sz="1500" dirty="0" smtClean="0">
                <a:latin typeface="Arial" charset="0"/>
                <a:ea typeface="Arial" charset="0"/>
                <a:cs typeface="Arial" charset="0"/>
              </a:rPr>
              <a:t>クラウドベースのホワイトリスト機能（ドメインネーム＆</a:t>
            </a:r>
            <a:r>
              <a:rPr lang="en-US" altLang="ja-JP" sz="1500" dirty="0" smtClean="0">
                <a:latin typeface="Arial" charset="0"/>
                <a:ea typeface="Arial" charset="0"/>
                <a:cs typeface="Arial" charset="0"/>
              </a:rPr>
              <a:t>IP ACL</a:t>
            </a:r>
            <a:r>
              <a:rPr lang="ja-JP" altLang="en-US" sz="1500" dirty="0" smtClean="0">
                <a:latin typeface="Arial" charset="0"/>
                <a:ea typeface="Arial" charset="0"/>
                <a:cs typeface="Arial" charset="0"/>
              </a:rPr>
              <a:t>）</a:t>
            </a:r>
            <a:endParaRPr lang="en-US" sz="1500" dirty="0" smtClean="0">
              <a:latin typeface="Arial" charset="0"/>
              <a:ea typeface="Arial" charset="0"/>
              <a:cs typeface="Arial" charset="0"/>
            </a:endParaRPr>
          </a:p>
          <a:p>
            <a:pPr lvl="1"/>
            <a:r>
              <a:rPr lang="en-US" altLang="ja-JP" sz="1500" dirty="0" smtClean="0">
                <a:latin typeface="Arial" charset="0"/>
                <a:ea typeface="Arial" charset="0"/>
                <a:cs typeface="Arial" charset="0"/>
              </a:rPr>
              <a:t>WAN</a:t>
            </a:r>
            <a:r>
              <a:rPr lang="ja-JP" altLang="en-US" sz="1500" dirty="0" smtClean="0">
                <a:latin typeface="Arial" charset="0"/>
                <a:ea typeface="Arial" charset="0"/>
                <a:cs typeface="Arial" charset="0"/>
              </a:rPr>
              <a:t>回線二重化、</a:t>
            </a:r>
            <a:r>
              <a:rPr lang="en-US" altLang="ja-JP" sz="1500" dirty="0" smtClean="0">
                <a:latin typeface="Arial" charset="0"/>
                <a:ea typeface="Arial" charset="0"/>
                <a:cs typeface="Arial" charset="0"/>
              </a:rPr>
              <a:t>VRF</a:t>
            </a:r>
            <a:r>
              <a:rPr lang="ja-JP" altLang="en-US" sz="1500" dirty="0" smtClean="0">
                <a:latin typeface="Arial" charset="0"/>
                <a:ea typeface="Arial" charset="0"/>
                <a:cs typeface="Arial" charset="0"/>
              </a:rPr>
              <a:t>サポート</a:t>
            </a:r>
            <a:endParaRPr lang="en-US" sz="1500" dirty="0" smtClean="0">
              <a:latin typeface="Arial" charset="0"/>
              <a:ea typeface="Arial" charset="0"/>
              <a:cs typeface="Arial" charset="0"/>
            </a:endParaRPr>
          </a:p>
          <a:p>
            <a:r>
              <a:rPr lang="en-US" altLang="ja-JP" sz="1800" dirty="0" smtClean="0">
                <a:latin typeface="Arial" charset="0"/>
                <a:ea typeface="Arial" charset="0"/>
                <a:cs typeface="Arial" charset="0"/>
              </a:rPr>
              <a:t>2016</a:t>
            </a:r>
            <a:r>
              <a:rPr lang="ja-JP" altLang="en-US" sz="1800" dirty="0" smtClean="0">
                <a:latin typeface="Arial" charset="0"/>
                <a:ea typeface="Arial" charset="0"/>
                <a:cs typeface="Arial" charset="0"/>
              </a:rPr>
              <a:t>年</a:t>
            </a:r>
            <a:r>
              <a:rPr lang="en-US" altLang="ja-JP" sz="1800" dirty="0" smtClean="0">
                <a:latin typeface="Arial" charset="0"/>
                <a:ea typeface="Arial" charset="0"/>
                <a:cs typeface="Arial" charset="0"/>
              </a:rPr>
              <a:t>5</a:t>
            </a:r>
            <a:r>
              <a:rPr lang="ja-JP" altLang="en-US" sz="1800" dirty="0" smtClean="0">
                <a:latin typeface="Arial" charset="0"/>
                <a:ea typeface="Arial" charset="0"/>
                <a:cs typeface="Arial" charset="0"/>
              </a:rPr>
              <a:t>月時点</a:t>
            </a:r>
            <a:r>
              <a:rPr lang="en-US" sz="1800" dirty="0" smtClean="0">
                <a:latin typeface="Arial" charset="0"/>
                <a:ea typeface="Arial" charset="0"/>
                <a:cs typeface="Arial" charset="0"/>
              </a:rPr>
              <a:t> Controlled Availability (</a:t>
            </a:r>
            <a:r>
              <a:rPr lang="en-US" sz="1800" dirty="0" err="1" smtClean="0">
                <a:latin typeface="Arial" charset="0"/>
                <a:ea typeface="Arial" charset="0"/>
                <a:cs typeface="Arial" charset="0"/>
              </a:rPr>
              <a:t>限られた</a:t>
            </a:r>
            <a:r>
              <a:rPr lang="en-US" altLang="ja-JP" sz="1800" dirty="0" err="1" smtClean="0">
                <a:latin typeface="Arial" charset="0"/>
                <a:ea typeface="Arial" charset="0"/>
                <a:cs typeface="Arial" charset="0"/>
              </a:rPr>
              <a:t>NG</a:t>
            </a:r>
            <a:r>
              <a:rPr lang="ja-JP" altLang="en-US" sz="1800" dirty="0" smtClean="0">
                <a:latin typeface="Arial" charset="0"/>
                <a:ea typeface="Arial" charset="0"/>
                <a:cs typeface="Arial" charset="0"/>
              </a:rPr>
              <a:t>タワーでのみ</a:t>
            </a:r>
            <a:r>
              <a:rPr lang="en-US" sz="1800" dirty="0" smtClean="0">
                <a:latin typeface="Arial" charset="0"/>
                <a:ea typeface="Arial" charset="0"/>
                <a:cs typeface="Arial" charset="0"/>
              </a:rPr>
              <a:t>)</a:t>
            </a:r>
          </a:p>
          <a:p>
            <a:r>
              <a:rPr lang="en-US" altLang="ja-JP" sz="1800" dirty="0" smtClean="0">
                <a:latin typeface="Arial" charset="0"/>
                <a:ea typeface="Arial" charset="0"/>
                <a:cs typeface="Arial" charset="0"/>
              </a:rPr>
              <a:t>2016</a:t>
            </a:r>
            <a:r>
              <a:rPr lang="ja-JP" altLang="en-US" sz="1800" dirty="0" smtClean="0">
                <a:latin typeface="Arial" charset="0"/>
                <a:ea typeface="Arial" charset="0"/>
                <a:cs typeface="Arial" charset="0"/>
              </a:rPr>
              <a:t>年夏</a:t>
            </a:r>
            <a:r>
              <a:rPr lang="en-US" altLang="ja-JP" sz="1800" dirty="0" smtClean="0">
                <a:latin typeface="Arial" charset="0"/>
                <a:ea typeface="Arial" charset="0"/>
                <a:cs typeface="Arial" charset="0"/>
              </a:rPr>
              <a:t> General Availability </a:t>
            </a:r>
            <a:r>
              <a:rPr lang="ja-JP" altLang="en-US" sz="1800" dirty="0" smtClean="0">
                <a:latin typeface="Arial" charset="0"/>
                <a:ea typeface="Arial" charset="0"/>
                <a:cs typeface="Arial" charset="0"/>
              </a:rPr>
              <a:t>予定</a:t>
            </a:r>
            <a:r>
              <a:rPr lang="en-US" sz="1800" dirty="0" smtClean="0">
                <a:latin typeface="Arial" charset="0"/>
                <a:ea typeface="Arial" charset="0"/>
                <a:cs typeface="Arial" charset="0"/>
              </a:rPr>
              <a:t>- Beta Candidate: IOS-XE 3.16.3</a:t>
            </a:r>
          </a:p>
          <a:p>
            <a:pPr lvl="1"/>
            <a:r>
              <a:rPr lang="en-US" sz="1600" dirty="0" smtClean="0">
                <a:latin typeface="Arial" charset="0"/>
                <a:ea typeface="Arial" charset="0"/>
                <a:cs typeface="Arial" charset="0"/>
              </a:rPr>
              <a:t>Active NTLM </a:t>
            </a:r>
            <a:r>
              <a:rPr lang="en-US" sz="1600" dirty="0" err="1" smtClean="0">
                <a:latin typeface="Arial" charset="0"/>
                <a:ea typeface="Arial" charset="0"/>
                <a:cs typeface="Arial" charset="0"/>
              </a:rPr>
              <a:t>Auth</a:t>
            </a:r>
            <a:r>
              <a:rPr lang="ja-JP" altLang="en-US" sz="1600" dirty="0" smtClean="0">
                <a:latin typeface="Arial" charset="0"/>
                <a:ea typeface="Arial" charset="0"/>
                <a:cs typeface="Arial" charset="0"/>
              </a:rPr>
              <a:t>サポート</a:t>
            </a:r>
            <a:endParaRPr lang="en-US" sz="1600" dirty="0" smtClean="0">
              <a:latin typeface="Arial" charset="0"/>
              <a:ea typeface="Arial" charset="0"/>
              <a:cs typeface="Arial" charset="0"/>
            </a:endParaRPr>
          </a:p>
        </p:txBody>
      </p:sp>
      <p:sp>
        <p:nvSpPr>
          <p:cNvPr id="2" name="Title 1"/>
          <p:cNvSpPr>
            <a:spLocks noGrp="1"/>
          </p:cNvSpPr>
          <p:nvPr>
            <p:ph type="title"/>
          </p:nvPr>
        </p:nvSpPr>
        <p:spPr>
          <a:xfrm>
            <a:off x="437766" y="171383"/>
            <a:ext cx="8345488" cy="731837"/>
          </a:xfrm>
        </p:spPr>
        <p:txBody>
          <a:bodyPr/>
          <a:lstStyle/>
          <a:p>
            <a:r>
              <a:rPr lang="en-US" dirty="0" smtClean="0"/>
              <a:t>ISR-4K Connector</a:t>
            </a:r>
            <a:endParaRPr lang="en-US" dirty="0"/>
          </a:p>
        </p:txBody>
      </p:sp>
      <p:pic>
        <p:nvPicPr>
          <p:cNvPr id="4" name="Picture 4"/>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654288" y="141034"/>
            <a:ext cx="3315082" cy="1955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154471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6" end="6"/>
                                            </p:txEl>
                                          </p:spTgt>
                                        </p:tgtEl>
                                        <p:attrNameLst>
                                          <p:attrName>style.visibility</p:attrName>
                                        </p:attrNameLst>
                                      </p:cBhvr>
                                      <p:to>
                                        <p:strVal val="visible"/>
                                      </p:to>
                                    </p:set>
                                    <p:animEffect transition="in" filter="fade">
                                      <p:cBhvr>
                                        <p:cTn id="12" dur="500"/>
                                        <p:tgtEl>
                                          <p:spTgt spid="3">
                                            <p:txEl>
                                              <p:pRg st="6" end="6"/>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animEffect transition="in" filter="fade">
                                      <p:cBhvr>
                                        <p:cTn id="17" dur="500"/>
                                        <p:tgtEl>
                                          <p:spTgt spid="3">
                                            <p:txEl>
                                              <p:pRg st="7" end="7"/>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3">
                                            <p:txEl>
                                              <p:pRg st="8" end="8"/>
                                            </p:txEl>
                                          </p:spTgt>
                                        </p:tgtEl>
                                        <p:attrNameLst>
                                          <p:attrName>style.visibility</p:attrName>
                                        </p:attrNameLst>
                                      </p:cBhvr>
                                      <p:to>
                                        <p:strVal val="visible"/>
                                      </p:to>
                                    </p:set>
                                    <p:animEffect transition="in" filter="fade">
                                      <p:cBhvr>
                                        <p:cTn id="20"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015279"/>
            <a:ext cx="8277344" cy="3168210"/>
          </a:xfrm>
        </p:spPr>
        <p:txBody>
          <a:bodyPr/>
          <a:lstStyle/>
          <a:p>
            <a:r>
              <a:rPr lang="en-US" dirty="0" smtClean="0"/>
              <a:t>RAR </a:t>
            </a:r>
            <a:r>
              <a:rPr lang="en-US" altLang="ja-JP" dirty="0" smtClean="0"/>
              <a:t>/ </a:t>
            </a:r>
            <a:r>
              <a:rPr lang="en-US" dirty="0" smtClean="0"/>
              <a:t>ZIP </a:t>
            </a:r>
            <a:r>
              <a:rPr lang="ja-JP" altLang="en-US" dirty="0" smtClean="0"/>
              <a:t>ファイルのサポート</a:t>
            </a:r>
            <a:endParaRPr lang="en-US" altLang="ja-JP" dirty="0" smtClean="0"/>
          </a:p>
          <a:p>
            <a:r>
              <a:rPr lang="ja-JP" altLang="en-US" dirty="0" smtClean="0"/>
              <a:t>共通フレームワークの活用</a:t>
            </a:r>
            <a:endParaRPr lang="en-US" dirty="0"/>
          </a:p>
          <a:p>
            <a:pPr lvl="1"/>
            <a:r>
              <a:rPr lang="en-US" altLang="ja-JP" dirty="0" smtClean="0"/>
              <a:t>API</a:t>
            </a:r>
            <a:endParaRPr lang="en-US" dirty="0" smtClean="0"/>
          </a:p>
          <a:p>
            <a:pPr lvl="1"/>
            <a:r>
              <a:rPr lang="en-US" altLang="ja-JP" dirty="0" err="1" smtClean="0"/>
              <a:t>Talos</a:t>
            </a:r>
            <a:r>
              <a:rPr lang="ja-JP" altLang="en-US" dirty="0" smtClean="0"/>
              <a:t>提供のカテゴリー情報、</a:t>
            </a:r>
            <a:r>
              <a:rPr lang="en-US" altLang="ja-JP" dirty="0" smtClean="0"/>
              <a:t>AVC</a:t>
            </a:r>
            <a:r>
              <a:rPr lang="ja-JP" altLang="en-US" dirty="0" smtClean="0"/>
              <a:t>、ウェブレピュテーション</a:t>
            </a:r>
            <a:endParaRPr lang="en-US" dirty="0" smtClean="0"/>
          </a:p>
          <a:p>
            <a:pPr lvl="1"/>
            <a:r>
              <a:rPr lang="en-US" altLang="ja-JP" dirty="0" smtClean="0"/>
              <a:t>AMP</a:t>
            </a:r>
            <a:r>
              <a:rPr lang="ja-JP" altLang="en-US" dirty="0" smtClean="0"/>
              <a:t>ファイルレトロスペクション、</a:t>
            </a:r>
            <a:r>
              <a:rPr lang="en-US" altLang="ja-JP" dirty="0" smtClean="0"/>
              <a:t>AMP TG</a:t>
            </a:r>
            <a:r>
              <a:rPr lang="ja-JP" altLang="en-US" dirty="0" smtClean="0"/>
              <a:t>サンドボックス</a:t>
            </a:r>
            <a:r>
              <a:rPr lang="en-US" altLang="ja-JP" dirty="0"/>
              <a:t> </a:t>
            </a:r>
            <a:r>
              <a:rPr lang="en-US" altLang="ja-JP" dirty="0" err="1" smtClean="0"/>
              <a:t>etc</a:t>
            </a:r>
            <a:endParaRPr lang="en-US" dirty="0" smtClean="0"/>
          </a:p>
          <a:p>
            <a:r>
              <a:rPr lang="en-US" altLang="ja-JP" dirty="0" smtClean="0"/>
              <a:t>AMP for Everywhere – CWS/WSA</a:t>
            </a:r>
            <a:r>
              <a:rPr lang="ja-JP" altLang="en-US" dirty="0" smtClean="0"/>
              <a:t>上の</a:t>
            </a:r>
            <a:r>
              <a:rPr lang="en-US" altLang="ja-JP" dirty="0" smtClean="0"/>
              <a:t> CTA</a:t>
            </a:r>
            <a:r>
              <a:rPr lang="ja-JP" altLang="en-US" dirty="0" smtClean="0"/>
              <a:t>で発見されたマルウェアは</a:t>
            </a:r>
            <a:r>
              <a:rPr lang="en-US" altLang="ja-JP" dirty="0" smtClean="0"/>
              <a:t>AMP</a:t>
            </a:r>
            <a:r>
              <a:rPr lang="ja-JP" altLang="en-US" dirty="0" smtClean="0"/>
              <a:t>コンソール上に表示される</a:t>
            </a:r>
            <a:endParaRPr lang="en-US" dirty="0" smtClean="0"/>
          </a:p>
        </p:txBody>
      </p:sp>
      <p:sp>
        <p:nvSpPr>
          <p:cNvPr id="2" name="Title 1"/>
          <p:cNvSpPr>
            <a:spLocks noGrp="1"/>
          </p:cNvSpPr>
          <p:nvPr>
            <p:ph type="title"/>
          </p:nvPr>
        </p:nvSpPr>
        <p:spPr/>
        <p:txBody>
          <a:bodyPr/>
          <a:lstStyle/>
          <a:p>
            <a:r>
              <a:rPr lang="en-US" dirty="0" smtClean="0"/>
              <a:t>AMP on CWS</a:t>
            </a:r>
            <a:endParaRPr lang="en-US" dirty="0"/>
          </a:p>
        </p:txBody>
      </p:sp>
      <p:sp>
        <p:nvSpPr>
          <p:cNvPr id="6" name="TextBox 5"/>
          <p:cNvSpPr txBox="1"/>
          <p:nvPr/>
        </p:nvSpPr>
        <p:spPr>
          <a:xfrm>
            <a:off x="7735986" y="170163"/>
            <a:ext cx="1329570" cy="274158"/>
          </a:xfrm>
          <a:prstGeom prst="rect">
            <a:avLst/>
          </a:prstGeom>
          <a:noFill/>
        </p:spPr>
        <p:txBody>
          <a:bodyPr wrap="square" lIns="68556" tIns="34279" rIns="68556" bIns="34279" rtlCol="0">
            <a:spAutoFit/>
          </a:bodyPr>
          <a:lstStyle/>
          <a:p>
            <a:pPr defTabSz="685577">
              <a:lnSpc>
                <a:spcPct val="80000"/>
              </a:lnSpc>
              <a:spcBef>
                <a:spcPct val="0"/>
              </a:spcBef>
            </a:pPr>
            <a:r>
              <a:rPr lang="en-GB" sz="1600" dirty="0" smtClean="0">
                <a:solidFill>
                  <a:srgbClr val="00A2BF"/>
                </a:solidFill>
                <a:latin typeface="+mj-lt"/>
                <a:ea typeface="+mj-ea"/>
                <a:cs typeface="CiscoSans"/>
              </a:rPr>
              <a:t>2H CY2016</a:t>
            </a:r>
            <a:endParaRPr lang="en-GB" sz="1600" dirty="0">
              <a:solidFill>
                <a:srgbClr val="00A2BF"/>
              </a:solidFill>
              <a:latin typeface="+mj-lt"/>
              <a:ea typeface="+mj-ea"/>
              <a:cs typeface="CiscoSans"/>
            </a:endParaRPr>
          </a:p>
        </p:txBody>
      </p:sp>
    </p:spTree>
    <p:extLst>
      <p:ext uri="{BB962C8B-B14F-4D97-AF65-F5344CB8AC3E}">
        <p14:creationId xmlns:p14="http://schemas.microsoft.com/office/powerpoint/2010/main" val="68342071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animEffect transition="in" filter="fade">
                                      <p:cBhvr>
                                        <p:cTn id="7" dur="500"/>
                                        <p:tgtEl>
                                          <p:spTgt spid="4">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7766" y="50003"/>
            <a:ext cx="8345488" cy="731837"/>
          </a:xfrm>
        </p:spPr>
        <p:txBody>
          <a:bodyPr/>
          <a:lstStyle/>
          <a:p>
            <a:r>
              <a:rPr lang="en-US" dirty="0" smtClean="0"/>
              <a:t>Cloud Web Security Roadmap</a:t>
            </a:r>
            <a:endParaRPr lang="en-US" dirty="0"/>
          </a:p>
        </p:txBody>
      </p:sp>
      <p:graphicFrame>
        <p:nvGraphicFramePr>
          <p:cNvPr id="24" name="Table 23"/>
          <p:cNvGraphicFramePr>
            <a:graphicFrameLocks noGrp="1"/>
          </p:cNvGraphicFramePr>
          <p:nvPr>
            <p:extLst>
              <p:ext uri="{D42A27DB-BD31-4B8C-83A1-F6EECF244321}">
                <p14:modId xmlns:p14="http://schemas.microsoft.com/office/powerpoint/2010/main" val="2647602871"/>
              </p:ext>
            </p:extLst>
          </p:nvPr>
        </p:nvGraphicFramePr>
        <p:xfrm>
          <a:off x="77801" y="585630"/>
          <a:ext cx="8862828" cy="4110826"/>
        </p:xfrm>
        <a:graphic>
          <a:graphicData uri="http://schemas.openxmlformats.org/drawingml/2006/table">
            <a:tbl>
              <a:tblPr firstRow="1" firstCol="1"/>
              <a:tblGrid>
                <a:gridCol w="1285073">
                  <a:extLst>
                    <a:ext uri="{9D8B030D-6E8A-4147-A177-3AD203B41FA5}">
                      <a16:colId xmlns="" xmlns:a16="http://schemas.microsoft.com/office/drawing/2014/main" val="20000"/>
                    </a:ext>
                  </a:extLst>
                </a:gridCol>
                <a:gridCol w="2405562">
                  <a:extLst>
                    <a:ext uri="{9D8B030D-6E8A-4147-A177-3AD203B41FA5}">
                      <a16:colId xmlns="" xmlns:a16="http://schemas.microsoft.com/office/drawing/2014/main" val="20001"/>
                    </a:ext>
                  </a:extLst>
                </a:gridCol>
                <a:gridCol w="2453169">
                  <a:extLst>
                    <a:ext uri="{9D8B030D-6E8A-4147-A177-3AD203B41FA5}">
                      <a16:colId xmlns="" xmlns:a16="http://schemas.microsoft.com/office/drawing/2014/main" val="20002"/>
                    </a:ext>
                  </a:extLst>
                </a:gridCol>
                <a:gridCol w="2719024">
                  <a:extLst>
                    <a:ext uri="{9D8B030D-6E8A-4147-A177-3AD203B41FA5}">
                      <a16:colId xmlns="" xmlns:a16="http://schemas.microsoft.com/office/drawing/2014/main" val="20003"/>
                    </a:ext>
                  </a:extLst>
                </a:gridCol>
              </a:tblGrid>
              <a:tr h="346331">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endParaRPr lang="en-US" sz="1200" dirty="0">
                        <a:solidFill>
                          <a:schemeClr val="bg1"/>
                        </a:solidFill>
                        <a:latin typeface="Franklin Gothic Book" charset="0"/>
                        <a:ea typeface="Franklin Gothic Book" charset="0"/>
                        <a:cs typeface="Franklin Gothic Book" charset="0"/>
                      </a:endParaRPr>
                    </a:p>
                  </a:txBody>
                  <a:tcPr marL="91416" marR="91416" marT="34281" marB="34281" anchor="ct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200" dirty="0" smtClean="0">
                          <a:solidFill>
                            <a:srgbClr val="000000"/>
                          </a:solidFill>
                          <a:latin typeface="Franklin Gothic Book" charset="0"/>
                          <a:ea typeface="Franklin Gothic Book" charset="0"/>
                          <a:cs typeface="Franklin Gothic Book" charset="0"/>
                        </a:rPr>
                        <a:t>Delivered (CY</a:t>
                      </a:r>
                      <a:r>
                        <a:rPr lang="en-US" sz="1200" baseline="0" dirty="0" smtClean="0">
                          <a:solidFill>
                            <a:srgbClr val="000000"/>
                          </a:solidFill>
                          <a:latin typeface="Franklin Gothic Book" charset="0"/>
                          <a:ea typeface="Franklin Gothic Book" charset="0"/>
                          <a:cs typeface="Franklin Gothic Book" charset="0"/>
                        </a:rPr>
                        <a:t>2015)</a:t>
                      </a:r>
                      <a:endParaRPr lang="en-US" sz="1200" dirty="0">
                        <a:solidFill>
                          <a:srgbClr val="000000"/>
                        </a:solidFill>
                        <a:latin typeface="Franklin Gothic Book" charset="0"/>
                        <a:ea typeface="Franklin Gothic Book" charset="0"/>
                        <a:cs typeface="Franklin Gothic Book" charset="0"/>
                      </a:endParaRPr>
                    </a:p>
                  </a:txBody>
                  <a:tcPr marL="91416" marR="91416" marT="34281" marB="3428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200" dirty="0" smtClean="0">
                          <a:solidFill>
                            <a:srgbClr val="000000"/>
                          </a:solidFill>
                          <a:latin typeface="Franklin Gothic Book" charset="0"/>
                          <a:ea typeface="Franklin Gothic Book" charset="0"/>
                          <a:cs typeface="Franklin Gothic Book" charset="0"/>
                        </a:rPr>
                        <a:t>Delivered (CY2016 Till</a:t>
                      </a:r>
                      <a:r>
                        <a:rPr lang="en-US" sz="1200" baseline="0" dirty="0" smtClean="0">
                          <a:solidFill>
                            <a:srgbClr val="000000"/>
                          </a:solidFill>
                          <a:latin typeface="Franklin Gothic Book" charset="0"/>
                          <a:ea typeface="Franklin Gothic Book" charset="0"/>
                          <a:cs typeface="Franklin Gothic Book" charset="0"/>
                        </a:rPr>
                        <a:t> Date)</a:t>
                      </a:r>
                      <a:endParaRPr lang="en-US" sz="1200" dirty="0">
                        <a:solidFill>
                          <a:srgbClr val="000000"/>
                        </a:solidFill>
                        <a:latin typeface="Franklin Gothic Book" charset="0"/>
                        <a:ea typeface="Franklin Gothic Book" charset="0"/>
                        <a:cs typeface="Franklin Gothic Book" charset="0"/>
                      </a:endParaRPr>
                    </a:p>
                  </a:txBody>
                  <a:tcPr marL="91416" marR="91416" marT="34281" marB="3428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US" sz="1200" dirty="0" smtClean="0">
                          <a:solidFill>
                            <a:schemeClr val="bg1"/>
                          </a:solidFill>
                          <a:latin typeface="Franklin Gothic Book" charset="0"/>
                          <a:ea typeface="Franklin Gothic Book" charset="0"/>
                          <a:cs typeface="Franklin Gothic Book" charset="0"/>
                        </a:rPr>
                        <a:t>Planned (Rest</a:t>
                      </a:r>
                      <a:r>
                        <a:rPr lang="en-US" sz="1200" baseline="0" dirty="0" smtClean="0">
                          <a:solidFill>
                            <a:schemeClr val="bg1"/>
                          </a:solidFill>
                          <a:latin typeface="Franklin Gothic Book" charset="0"/>
                          <a:ea typeface="Franklin Gothic Book" charset="0"/>
                          <a:cs typeface="Franklin Gothic Book" charset="0"/>
                        </a:rPr>
                        <a:t> of</a:t>
                      </a:r>
                      <a:r>
                        <a:rPr lang="en-US" sz="1200" dirty="0" smtClean="0">
                          <a:solidFill>
                            <a:schemeClr val="bg1"/>
                          </a:solidFill>
                          <a:latin typeface="Franklin Gothic Book" charset="0"/>
                          <a:ea typeface="Franklin Gothic Book" charset="0"/>
                          <a:cs typeface="Franklin Gothic Book" charset="0"/>
                        </a:rPr>
                        <a:t> CY2016)</a:t>
                      </a:r>
                      <a:endParaRPr lang="en-US" sz="1200" dirty="0">
                        <a:solidFill>
                          <a:schemeClr val="bg1"/>
                        </a:solidFill>
                        <a:latin typeface="Franklin Gothic Book" charset="0"/>
                        <a:ea typeface="Franklin Gothic Book" charset="0"/>
                        <a:cs typeface="Franklin Gothic Book" charset="0"/>
                      </a:endParaRPr>
                    </a:p>
                  </a:txBody>
                  <a:tcPr marL="91416" marR="91416" marT="34281" marB="3428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576DB"/>
                    </a:solidFill>
                  </a:tcPr>
                </a:tc>
                <a:extLst>
                  <a:ext uri="{0D108BD9-81ED-4DB2-BD59-A6C34878D82A}">
                    <a16:rowId xmlns="" xmlns:a16="http://schemas.microsoft.com/office/drawing/2014/main" val="10000"/>
                  </a:ext>
                </a:extLst>
              </a:tr>
              <a:tr h="2039839">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defTabSz="456917"/>
                      <a:r>
                        <a:rPr lang="en-US" sz="1100" dirty="0" smtClean="0">
                          <a:solidFill>
                            <a:schemeClr val="accent2"/>
                          </a:solidFill>
                          <a:latin typeface="Franklin Gothic Book" charset="0"/>
                          <a:ea typeface="Franklin Gothic Book" charset="0"/>
                          <a:cs typeface="Franklin Gothic Book" charset="0"/>
                        </a:rPr>
                        <a:t>Visibility-Driven</a:t>
                      </a:r>
                      <a:endParaRPr lang="en-US" sz="1100" dirty="0">
                        <a:solidFill>
                          <a:schemeClr val="accent2"/>
                        </a:solidFill>
                        <a:latin typeface="Franklin Gothic Book" charset="0"/>
                        <a:ea typeface="Franklin Gothic Book" charset="0"/>
                        <a:cs typeface="Franklin Gothic Book" charset="0"/>
                      </a:endParaRPr>
                    </a:p>
                  </a:txBody>
                  <a:tcPr marL="91416" marR="91416" marT="34281" marB="34281" anchor="ctr">
                    <a:lnL w="12700" cap="flat" cmpd="sng" algn="ctr">
                      <a:noFill/>
                      <a:prstDash val="solid"/>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New UI – Reporting, Dashboards</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Mobile Browser – IOS, Android</a:t>
                      </a:r>
                    </a:p>
                    <a:p>
                      <a:pPr marL="171450" indent="-171450">
                        <a:spcBef>
                          <a:spcPts val="300"/>
                        </a:spcBef>
                        <a:buFont typeface="Arial"/>
                        <a:buChar char="•"/>
                      </a:pPr>
                      <a:r>
                        <a:rPr lang="en-US" sz="1000" b="0" baseline="0" dirty="0" smtClean="0">
                          <a:solidFill>
                            <a:srgbClr val="0B0B0D"/>
                          </a:solidFill>
                          <a:latin typeface="Franklin Gothic Book" charset="0"/>
                          <a:ea typeface="Franklin Gothic Book" charset="0"/>
                          <a:cs typeface="Franklin Gothic Book" charset="0"/>
                        </a:rPr>
                        <a:t>Policy Backup &amp; Restore</a:t>
                      </a:r>
                    </a:p>
                    <a:p>
                      <a:pPr marL="171450" indent="-171450">
                        <a:spcBef>
                          <a:spcPts val="300"/>
                        </a:spcBef>
                        <a:buFont typeface="Arial"/>
                        <a:buChar char="•"/>
                      </a:pPr>
                      <a:r>
                        <a:rPr lang="en-US" sz="1000" b="0" baseline="0" dirty="0" smtClean="0">
                          <a:solidFill>
                            <a:srgbClr val="0B0B0D"/>
                          </a:solidFill>
                          <a:latin typeface="Franklin Gothic Book" charset="0"/>
                          <a:ea typeface="Franklin Gothic Book" charset="0"/>
                          <a:cs typeface="Franklin Gothic Book" charset="0"/>
                        </a:rPr>
                        <a:t>Service Status Portal – Phase 1</a:t>
                      </a:r>
                    </a:p>
                    <a:p>
                      <a:pPr marL="171450" marR="0" indent="-171450" algn="l" defTabSz="914247"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IP Surrogates - SAML</a:t>
                      </a:r>
                    </a:p>
                    <a:p>
                      <a:pPr marL="171450" indent="-171450">
                        <a:spcBef>
                          <a:spcPts val="300"/>
                        </a:spcBef>
                        <a:buFont typeface="Arial"/>
                        <a:buChar char="•"/>
                      </a:pPr>
                      <a:r>
                        <a:rPr lang="en-US" sz="1000" b="0" baseline="0" dirty="0" smtClean="0">
                          <a:solidFill>
                            <a:srgbClr val="0B0B0D"/>
                          </a:solidFill>
                          <a:latin typeface="Franklin Gothic Book" charset="0"/>
                          <a:ea typeface="Franklin Gothic Book" charset="0"/>
                          <a:cs typeface="Franklin Gothic Book" charset="0"/>
                        </a:rPr>
                        <a:t>Next Gen DCs across US, EU, ANZ, Copenhagen, Paris</a:t>
                      </a:r>
                    </a:p>
                    <a:p>
                      <a:pPr marL="171450" indent="-171450">
                        <a:spcBef>
                          <a:spcPts val="300"/>
                        </a:spcBef>
                        <a:buFont typeface="Arial"/>
                        <a:buChar char="•"/>
                      </a:pPr>
                      <a:r>
                        <a:rPr lang="en-US" sz="1000" b="0" baseline="0" dirty="0" smtClean="0">
                          <a:solidFill>
                            <a:srgbClr val="0B0B0D"/>
                          </a:solidFill>
                          <a:latin typeface="Franklin Gothic Book" charset="0"/>
                          <a:ea typeface="Franklin Gothic Book" charset="0"/>
                          <a:cs typeface="Franklin Gothic Book" charset="0"/>
                        </a:rPr>
                        <a:t>Instant Product Evaluations</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ADFS 3.0 and SAML CORS support</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Intelligent Traffic Redirection</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Service Status Portal – Phase 2</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Intermediate Certificates</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Next Gen DCs – Brazil, Toronto, Tokyo, Singapore</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New UI – Policy &amp; Workflows</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Secure ICAP for DLP</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IP Surrogates – </a:t>
                      </a:r>
                      <a:r>
                        <a:rPr lang="en-US" sz="1000" b="0" baseline="0" dirty="0" err="1" smtClean="0">
                          <a:solidFill>
                            <a:schemeClr val="tx2"/>
                          </a:solidFill>
                          <a:latin typeface="Franklin Gothic Book" charset="0"/>
                          <a:ea typeface="Franklin Gothic Book" charset="0"/>
                          <a:cs typeface="Franklin Gothic Book" charset="0"/>
                        </a:rPr>
                        <a:t>EasyID</a:t>
                      </a:r>
                      <a:endParaRPr lang="en-US" sz="1000" b="0" baseline="0" dirty="0" smtClean="0">
                        <a:solidFill>
                          <a:schemeClr val="tx2"/>
                        </a:solidFill>
                        <a:latin typeface="Franklin Gothic Book" charset="0"/>
                        <a:ea typeface="Franklin Gothic Book" charset="0"/>
                        <a:cs typeface="Franklin Gothic Book" charset="0"/>
                      </a:endParaRP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Mobile Chromebook support</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Japanese localization</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HTTP/2 support</a:t>
                      </a:r>
                    </a:p>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Office 365 support</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 xmlns:a16="http://schemas.microsoft.com/office/drawing/2014/main" val="10001"/>
                  </a:ext>
                </a:extLst>
              </a:tr>
              <a:tr h="710292">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defTabSz="456917"/>
                      <a:r>
                        <a:rPr lang="en-US" sz="1100" dirty="0" smtClean="0">
                          <a:solidFill>
                            <a:schemeClr val="accent2"/>
                          </a:solidFill>
                          <a:latin typeface="Franklin Gothic Book" charset="0"/>
                          <a:ea typeface="Franklin Gothic Book" charset="0"/>
                          <a:cs typeface="Franklin Gothic Book" charset="0"/>
                        </a:rPr>
                        <a:t>Threat Focused</a:t>
                      </a:r>
                      <a:endParaRPr lang="en-US" sz="1100" dirty="0">
                        <a:solidFill>
                          <a:schemeClr val="accent2"/>
                        </a:solidFill>
                        <a:latin typeface="Franklin Gothic Book" charset="0"/>
                        <a:ea typeface="Franklin Gothic Book" charset="0"/>
                        <a:cs typeface="Franklin Gothic Book" charset="0"/>
                      </a:endParaRPr>
                    </a:p>
                  </a:txBody>
                  <a:tcPr marL="91416" marR="91416" marT="34281" marB="34281" anchor="ctr">
                    <a:lnL w="12700" cap="flat" cmpd="sng" algn="ctr">
                      <a:noFill/>
                      <a:prstDash val="solid"/>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buFont typeface="Arial"/>
                        <a:buChar char="•"/>
                      </a:pPr>
                      <a:r>
                        <a:rPr lang="en-US" sz="1000" b="0" dirty="0" smtClean="0">
                          <a:solidFill>
                            <a:srgbClr val="0B0B0D"/>
                          </a:solidFill>
                          <a:latin typeface="Franklin Gothic Book" charset="0"/>
                          <a:ea typeface="Franklin Gothic Book" charset="0"/>
                          <a:cs typeface="Franklin Gothic Book" charset="0"/>
                        </a:rPr>
                        <a:t>AMP Support for EXE, PDF,</a:t>
                      </a:r>
                      <a:r>
                        <a:rPr lang="en-US" sz="1000" b="0" baseline="0" dirty="0" smtClean="0">
                          <a:solidFill>
                            <a:srgbClr val="0B0B0D"/>
                          </a:solidFill>
                          <a:latin typeface="Franklin Gothic Book" charset="0"/>
                          <a:ea typeface="Franklin Gothic Book" charset="0"/>
                          <a:cs typeface="Franklin Gothic Book" charset="0"/>
                        </a:rPr>
                        <a:t> MS Office</a:t>
                      </a:r>
                    </a:p>
                    <a:p>
                      <a:pPr marL="171450" indent="-171450">
                        <a:spcBef>
                          <a:spcPts val="300"/>
                        </a:spcBef>
                        <a:buFont typeface="Arial"/>
                        <a:buChar char="•"/>
                      </a:pPr>
                      <a:r>
                        <a:rPr lang="en-US" sz="1000" b="0" baseline="0" dirty="0" smtClean="0">
                          <a:solidFill>
                            <a:srgbClr val="0B0B0D"/>
                          </a:solidFill>
                          <a:latin typeface="Franklin Gothic Book" charset="0"/>
                          <a:ea typeface="Franklin Gothic Book" charset="0"/>
                          <a:cs typeface="Franklin Gothic Book" charset="0"/>
                        </a:rPr>
                        <a:t>CTA – UI, Efficacy, STIX/TAXII Export</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914247" rtl="0" eaLnBrk="1" fontAlgn="auto" latinLnBrk="0" hangingPunct="1">
                        <a:lnSpc>
                          <a:spcPct val="100000"/>
                        </a:lnSpc>
                        <a:spcBef>
                          <a:spcPts val="300"/>
                        </a:spcBef>
                        <a:spcAft>
                          <a:spcPts val="0"/>
                        </a:spcAft>
                        <a:buClrTx/>
                        <a:buSzTx/>
                        <a:buFont typeface="Arial"/>
                        <a:buChar char="•"/>
                        <a:tabLst/>
                        <a:defRPr/>
                      </a:pPr>
                      <a:endParaRPr lang="en-US" sz="1000" b="0" kern="1200" baseline="0" dirty="0" smtClean="0">
                        <a:solidFill>
                          <a:srgbClr val="0B0B0D"/>
                        </a:solidFill>
                        <a:latin typeface="Franklin Gothic Book" charset="0"/>
                        <a:ea typeface="Franklin Gothic Book" charset="0"/>
                        <a:cs typeface="Franklin Gothic Book" charset="0"/>
                      </a:endParaRP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914296" rtl="0" eaLnBrk="1" fontAlgn="auto" latinLnBrk="0" hangingPunct="1">
                        <a:lnSpc>
                          <a:spcPct val="100000"/>
                        </a:lnSpc>
                        <a:spcBef>
                          <a:spcPts val="300"/>
                        </a:spcBef>
                        <a:spcAft>
                          <a:spcPts val="0"/>
                        </a:spcAft>
                        <a:buClrTx/>
                        <a:buSzTx/>
                        <a:buFont typeface="Arial"/>
                        <a:buChar char="•"/>
                        <a:tabLst/>
                        <a:defRPr/>
                      </a:pPr>
                      <a:r>
                        <a:rPr lang="en-US" sz="1000" b="0" kern="1200" baseline="0" dirty="0" smtClean="0">
                          <a:solidFill>
                            <a:schemeClr val="tx2"/>
                          </a:solidFill>
                          <a:latin typeface="Franklin Gothic Book" charset="0"/>
                          <a:ea typeface="Franklin Gothic Book" charset="0"/>
                          <a:cs typeface="Franklin Gothic Book" charset="0"/>
                        </a:rPr>
                        <a:t>AMP File Support for ZIP/RAR</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 xmlns:a16="http://schemas.microsoft.com/office/drawing/2014/main" val="10002"/>
                  </a:ext>
                </a:extLst>
              </a:tr>
              <a:tr h="1014364">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defTabSz="456917"/>
                      <a:r>
                        <a:rPr lang="en-US" sz="1100" dirty="0" smtClean="0">
                          <a:solidFill>
                            <a:schemeClr val="accent2"/>
                          </a:solidFill>
                          <a:latin typeface="Franklin Gothic Book" charset="0"/>
                          <a:ea typeface="Franklin Gothic Book" charset="0"/>
                          <a:cs typeface="Franklin Gothic Book" charset="0"/>
                        </a:rPr>
                        <a:t>Platform Based </a:t>
                      </a:r>
                      <a:endParaRPr lang="en-US" sz="1100" dirty="0">
                        <a:solidFill>
                          <a:schemeClr val="accent2"/>
                        </a:solidFill>
                        <a:latin typeface="Franklin Gothic Book" charset="0"/>
                        <a:ea typeface="Franklin Gothic Book" charset="0"/>
                        <a:cs typeface="Franklin Gothic Book" charset="0"/>
                      </a:endParaRPr>
                    </a:p>
                  </a:txBody>
                  <a:tcPr marL="91416" marR="91416" marT="34281" marB="34281" anchor="ctr">
                    <a:lnL w="12700" cap="flat" cmpd="sng" algn="ctr">
                      <a:noFill/>
                      <a:prstDash val="solid"/>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Cloud-whitelisting for ISR’s / Browser</a:t>
                      </a:r>
                    </a:p>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Unified Reporting (CWS+WSA)</a:t>
                      </a:r>
                    </a:p>
                    <a:p>
                      <a:pPr marL="171450" marR="0" indent="-171450" algn="l" defTabSz="685891"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rgbClr val="0B0B0D"/>
                          </a:solidFill>
                          <a:latin typeface="Franklin Gothic Book" charset="0"/>
                          <a:ea typeface="Franklin Gothic Book" charset="0"/>
                          <a:cs typeface="Franklin Gothic Book" charset="0"/>
                        </a:rPr>
                        <a:t>ISR4K VPN Connector</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285750" marR="0" indent="-285750" algn="l" defTabSz="685891" rtl="0" eaLnBrk="1" fontAlgn="auto" latinLnBrk="0" hangingPunct="1">
                        <a:lnSpc>
                          <a:spcPct val="100000"/>
                        </a:lnSpc>
                        <a:spcBef>
                          <a:spcPts val="300"/>
                        </a:spcBef>
                        <a:spcAft>
                          <a:spcPts val="0"/>
                        </a:spcAft>
                        <a:buClrTx/>
                        <a:buSzTx/>
                        <a:buFont typeface="Arial" charset="0"/>
                        <a:buChar char="•"/>
                        <a:tabLst/>
                        <a:defRPr/>
                      </a:pPr>
                      <a:endParaRPr lang="en-US" sz="1000" b="0" baseline="0" dirty="0" smtClean="0">
                        <a:solidFill>
                          <a:srgbClr val="0B0B0D"/>
                        </a:solidFill>
                        <a:latin typeface="Franklin Gothic Book" charset="0"/>
                        <a:ea typeface="Franklin Gothic Book" charset="0"/>
                        <a:cs typeface="Franklin Gothic Book" charset="0"/>
                      </a:endParaRPr>
                    </a:p>
                    <a:p>
                      <a:pPr marL="177800" marR="0" indent="-177800" algn="l" defTabSz="685891" rtl="0" eaLnBrk="1" fontAlgn="auto" latinLnBrk="0" hangingPunct="1">
                        <a:lnSpc>
                          <a:spcPct val="100000"/>
                        </a:lnSpc>
                        <a:spcBef>
                          <a:spcPts val="300"/>
                        </a:spcBef>
                        <a:spcAft>
                          <a:spcPts val="0"/>
                        </a:spcAft>
                        <a:buClrTx/>
                        <a:buSzTx/>
                        <a:buFont typeface="Arial" charset="0"/>
                        <a:buChar char="•"/>
                        <a:tabLst/>
                        <a:defRPr/>
                      </a:pPr>
                      <a:r>
                        <a:rPr lang="en-US" sz="1000" b="0" baseline="0" dirty="0" smtClean="0">
                          <a:solidFill>
                            <a:srgbClr val="0B0B0D"/>
                          </a:solidFill>
                          <a:latin typeface="Franklin Gothic Book" charset="0"/>
                          <a:ea typeface="Franklin Gothic Book" charset="0"/>
                          <a:cs typeface="Franklin Gothic Book" charset="0"/>
                        </a:rPr>
                        <a:t>Hybrid Web Security – Phase 1</a:t>
                      </a:r>
                    </a:p>
                    <a:p>
                      <a:pPr marL="285750" marR="0" indent="-285750" algn="l" defTabSz="685891" rtl="0" eaLnBrk="1" fontAlgn="auto" latinLnBrk="0" hangingPunct="1">
                        <a:lnSpc>
                          <a:spcPct val="100000"/>
                        </a:lnSpc>
                        <a:spcBef>
                          <a:spcPts val="300"/>
                        </a:spcBef>
                        <a:spcAft>
                          <a:spcPts val="0"/>
                        </a:spcAft>
                        <a:buClrTx/>
                        <a:buSzTx/>
                        <a:buFont typeface="Arial" charset="0"/>
                        <a:buChar char="•"/>
                        <a:tabLst/>
                        <a:defRPr/>
                      </a:pPr>
                      <a:endParaRPr lang="en-US" sz="1000" b="0" baseline="0" dirty="0" smtClean="0">
                        <a:solidFill>
                          <a:srgbClr val="0B0B0D"/>
                        </a:solidFill>
                        <a:latin typeface="Franklin Gothic Book" charset="0"/>
                        <a:ea typeface="Franklin Gothic Book" charset="0"/>
                        <a:cs typeface="Franklin Gothic Book" charset="0"/>
                      </a:endParaRP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tc>
                  <a:txBody>
                    <a:bodyPr/>
                    <a:lstStyle/>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Hybrid Web Security – Phase 2</a:t>
                      </a:r>
                    </a:p>
                    <a:p>
                      <a:pPr marL="171450" marR="0" indent="-171450" algn="l" defTabSz="685777" rtl="0" eaLnBrk="1" fontAlgn="auto" latinLnBrk="0" hangingPunct="1">
                        <a:lnSpc>
                          <a:spcPct val="100000"/>
                        </a:lnSpc>
                        <a:spcBef>
                          <a:spcPts val="300"/>
                        </a:spcBef>
                        <a:spcAft>
                          <a:spcPts val="0"/>
                        </a:spcAft>
                        <a:buClrTx/>
                        <a:buSzTx/>
                        <a:buFont typeface="Arial"/>
                        <a:buChar char="•"/>
                        <a:tabLst/>
                        <a:defRPr/>
                      </a:pPr>
                      <a:r>
                        <a:rPr lang="en-US" sz="1000" b="0" baseline="0" dirty="0" smtClean="0">
                          <a:solidFill>
                            <a:schemeClr val="tx2"/>
                          </a:solidFill>
                          <a:latin typeface="Franklin Gothic Book" charset="0"/>
                          <a:ea typeface="Franklin Gothic Book" charset="0"/>
                          <a:cs typeface="Franklin Gothic Book" charset="0"/>
                        </a:rPr>
                        <a:t>Unified Reporting in the Cloud (CWS+WSA)</a:t>
                      </a:r>
                    </a:p>
                  </a:txBody>
                  <a:tcPr marL="91416" marR="91416" marT="34281" marB="34281" anchor="ctr">
                    <a:lnL w="12700" cap="flat" cmpd="sng" algn="ctr">
                      <a:solidFill>
                        <a:srgbClr val="3B3D3C">
                          <a:lumMod val="60000"/>
                          <a:lumOff val="40000"/>
                        </a:srgbClr>
                      </a:solidFill>
                      <a:prstDash val="sysDot"/>
                      <a:round/>
                      <a:headEnd type="none" w="med" len="med"/>
                      <a:tailEnd type="none" w="med" len="med"/>
                    </a:lnL>
                    <a:lnR w="12700" cap="flat" cmpd="sng" algn="ctr">
                      <a:solidFill>
                        <a:srgbClr val="3B3D3C">
                          <a:lumMod val="60000"/>
                          <a:lumOff val="40000"/>
                        </a:srgbClr>
                      </a:solidFill>
                      <a:prstDash val="sysDot"/>
                      <a:round/>
                      <a:headEnd type="none" w="med" len="med"/>
                      <a:tailEnd type="none" w="med" len="med"/>
                    </a:lnR>
                    <a:lnT w="12700" cap="flat" cmpd="sng" algn="ctr">
                      <a:solidFill>
                        <a:srgbClr val="3B3D3C">
                          <a:lumMod val="60000"/>
                          <a:lumOff val="40000"/>
                        </a:srgbClr>
                      </a:solidFill>
                      <a:prstDash val="sysDot"/>
                      <a:round/>
                      <a:headEnd type="none" w="med" len="med"/>
                      <a:tailEnd type="none" w="med" len="med"/>
                    </a:lnT>
                    <a:lnB w="12700" cap="flat" cmpd="sng" algn="ctr">
                      <a:solidFill>
                        <a:srgbClr val="3B3D3C">
                          <a:lumMod val="60000"/>
                          <a:lumOff val="40000"/>
                        </a:srgbClr>
                      </a:solidFill>
                      <a:prstDash val="sysDot"/>
                      <a:round/>
                      <a:headEnd type="none" w="med" len="med"/>
                      <a:tailEnd type="none" w="med" len="med"/>
                    </a:lnB>
                    <a:lnTlToBr w="12700" cmpd="sng">
                      <a:noFill/>
                      <a:prstDash val="solid"/>
                    </a:lnTlToBr>
                    <a:lnBlToTr w="12700" cmpd="sng">
                      <a:noFill/>
                      <a:prstDash val="solid"/>
                    </a:lnBlToTr>
                    <a:solidFill>
                      <a:schemeClr val="bg2">
                        <a:lumMod val="95000"/>
                      </a:schemeClr>
                    </a:solidFill>
                  </a:tcPr>
                </a:tc>
                <a:extLst>
                  <a:ext uri="{0D108BD9-81ED-4DB2-BD59-A6C34878D82A}">
                    <a16:rowId xmlns="" xmlns:a16="http://schemas.microsoft.com/office/drawing/2014/main" val="10003"/>
                  </a:ext>
                </a:extLst>
              </a:tr>
            </a:tbl>
          </a:graphicData>
        </a:graphic>
      </p:graphicFrame>
    </p:spTree>
    <p:extLst>
      <p:ext uri="{BB962C8B-B14F-4D97-AF65-F5344CB8AC3E}">
        <p14:creationId xmlns:p14="http://schemas.microsoft.com/office/powerpoint/2010/main" val="289379872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6644" y="2061714"/>
            <a:ext cx="7598042" cy="1907479"/>
          </a:xfrm>
        </p:spPr>
        <p:txBody>
          <a:bodyPr/>
          <a:lstStyle/>
          <a:p>
            <a:pPr marL="57136"/>
            <a:r>
              <a:rPr lang="en-US" sz="3200" dirty="0" smtClean="0">
                <a:solidFill>
                  <a:schemeClr val="tx1">
                    <a:lumMod val="50000"/>
                  </a:schemeClr>
                </a:solidFill>
              </a:rPr>
              <a:t>Web Security Update</a:t>
            </a:r>
            <a:r>
              <a:rPr lang="en-US" sz="3200" dirty="0">
                <a:solidFill>
                  <a:srgbClr val="FF0000"/>
                </a:solidFill>
              </a:rPr>
              <a:t/>
            </a:r>
            <a:br>
              <a:rPr lang="en-US" sz="3200" dirty="0">
                <a:solidFill>
                  <a:srgbClr val="FF0000"/>
                </a:solidFill>
              </a:rPr>
            </a:br>
            <a:r>
              <a:rPr lang="en-US" altLang="ja-JP" sz="1800" dirty="0">
                <a:solidFill>
                  <a:srgbClr val="FF0000"/>
                </a:solidFill>
              </a:rPr>
              <a:t>W</a:t>
            </a:r>
            <a:r>
              <a:rPr lang="en-US" altLang="ja-JP" sz="1800" dirty="0"/>
              <a:t>eb </a:t>
            </a:r>
            <a:r>
              <a:rPr lang="en-US" altLang="ja-JP" sz="1800" dirty="0">
                <a:solidFill>
                  <a:srgbClr val="FF0000"/>
                </a:solidFill>
              </a:rPr>
              <a:t>S</a:t>
            </a:r>
            <a:r>
              <a:rPr lang="en-US" altLang="ja-JP" sz="1800" dirty="0"/>
              <a:t>ecurity </a:t>
            </a:r>
            <a:r>
              <a:rPr lang="en-US" altLang="ja-JP" sz="1800" dirty="0">
                <a:solidFill>
                  <a:srgbClr val="FF0000"/>
                </a:solidFill>
              </a:rPr>
              <a:t>A</a:t>
            </a:r>
            <a:r>
              <a:rPr lang="en-US" altLang="ja-JP" sz="1800" dirty="0"/>
              <a:t>ppliance (</a:t>
            </a:r>
            <a:r>
              <a:rPr lang="ja-JP" altLang="en-US" sz="1800" dirty="0"/>
              <a:t>オンプレミス型ウェブプロキシ</a:t>
            </a:r>
            <a:r>
              <a:rPr lang="en-US" altLang="ja-JP" sz="1800" dirty="0" smtClean="0"/>
              <a:t>)</a:t>
            </a:r>
            <a:r>
              <a:rPr lang="en-US" sz="3200" dirty="0" smtClean="0">
                <a:solidFill>
                  <a:srgbClr val="FF0000"/>
                </a:solidFill>
              </a:rPr>
              <a:t/>
            </a:r>
            <a:br>
              <a:rPr lang="en-US" sz="3200" dirty="0" smtClean="0">
                <a:solidFill>
                  <a:srgbClr val="FF0000"/>
                </a:solidFill>
              </a:rPr>
            </a:br>
            <a:r>
              <a:rPr lang="en-US" altLang="ja-JP" sz="1800" dirty="0" smtClean="0">
                <a:solidFill>
                  <a:srgbClr val="FF0000"/>
                </a:solidFill>
              </a:rPr>
              <a:t>C</a:t>
            </a:r>
            <a:r>
              <a:rPr lang="en-US" altLang="ja-JP" sz="1800" dirty="0" smtClean="0"/>
              <a:t>loud </a:t>
            </a:r>
            <a:r>
              <a:rPr lang="en-US" altLang="ja-JP" sz="1800" dirty="0">
                <a:solidFill>
                  <a:srgbClr val="FF0000"/>
                </a:solidFill>
              </a:rPr>
              <a:t>W</a:t>
            </a:r>
            <a:r>
              <a:rPr lang="en-US" altLang="ja-JP" sz="1800" dirty="0"/>
              <a:t>eb </a:t>
            </a:r>
            <a:r>
              <a:rPr lang="en-US" altLang="ja-JP" sz="1800" dirty="0">
                <a:solidFill>
                  <a:srgbClr val="FF0000"/>
                </a:solidFill>
              </a:rPr>
              <a:t>S</a:t>
            </a:r>
            <a:r>
              <a:rPr lang="en-US" altLang="ja-JP" sz="1800" dirty="0"/>
              <a:t>ecurity (</a:t>
            </a:r>
            <a:r>
              <a:rPr lang="ja-JP" altLang="en-US" sz="1800" dirty="0"/>
              <a:t>クラウド型ウェブプロキシ</a:t>
            </a:r>
            <a:r>
              <a:rPr lang="en-US" altLang="ja-JP" sz="1800" dirty="0"/>
              <a:t>)</a:t>
            </a:r>
            <a:br>
              <a:rPr lang="en-US" altLang="ja-JP" sz="1800" dirty="0"/>
            </a:br>
            <a:r>
              <a:rPr lang="en-US" sz="1800" dirty="0" smtClean="0">
                <a:solidFill>
                  <a:srgbClr val="FF0000"/>
                </a:solidFill>
              </a:rPr>
              <a:t>C</a:t>
            </a:r>
            <a:r>
              <a:rPr lang="en-US" sz="1800" dirty="0" smtClean="0"/>
              <a:t>ognitive </a:t>
            </a:r>
            <a:r>
              <a:rPr lang="en-US" sz="1800" dirty="0">
                <a:solidFill>
                  <a:srgbClr val="FF0000"/>
                </a:solidFill>
              </a:rPr>
              <a:t>T</a:t>
            </a:r>
            <a:r>
              <a:rPr lang="en-US" sz="1800" dirty="0"/>
              <a:t>hreat </a:t>
            </a:r>
            <a:r>
              <a:rPr lang="en-US" sz="1800" dirty="0">
                <a:solidFill>
                  <a:srgbClr val="FF0000"/>
                </a:solidFill>
              </a:rPr>
              <a:t>A</a:t>
            </a:r>
            <a:r>
              <a:rPr lang="en-US" sz="1800" dirty="0"/>
              <a:t>nalytics </a:t>
            </a:r>
            <a:r>
              <a:rPr lang="en-US" altLang="ja-JP" sz="1800" dirty="0" smtClean="0"/>
              <a:t>(</a:t>
            </a:r>
            <a:r>
              <a:rPr lang="ja-JP" altLang="en-US" sz="1800" dirty="0"/>
              <a:t>振る舞い型の脅威検出システム</a:t>
            </a:r>
            <a:r>
              <a:rPr lang="en-US" altLang="ja-JP" sz="1800" dirty="0" smtClean="0"/>
              <a:t>)</a:t>
            </a:r>
            <a:r>
              <a:rPr lang="en-US" altLang="ja-JP" sz="1800" dirty="0"/>
              <a:t/>
            </a:r>
            <a:br>
              <a:rPr lang="en-US" altLang="ja-JP" sz="1800" dirty="0"/>
            </a:br>
            <a:endParaRPr lang="en-US" sz="3200" dirty="0"/>
          </a:p>
        </p:txBody>
      </p:sp>
      <p:sp>
        <p:nvSpPr>
          <p:cNvPr id="10" name="Rounded Rectangle 9"/>
          <p:cNvSpPr/>
          <p:nvPr/>
        </p:nvSpPr>
        <p:spPr>
          <a:xfrm>
            <a:off x="318015" y="3230477"/>
            <a:ext cx="6167120" cy="284480"/>
          </a:xfrm>
          <a:prstGeom prst="roundRect">
            <a:avLst/>
          </a:prstGeom>
          <a:solidFill>
            <a:srgbClr val="FF6600">
              <a:alpha val="37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941298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Rectangle 473"/>
          <p:cNvSpPr/>
          <p:nvPr/>
        </p:nvSpPr>
        <p:spPr>
          <a:xfrm>
            <a:off x="745971" y="2904259"/>
            <a:ext cx="8123223" cy="1648139"/>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fontAlgn="auto">
              <a:spcBef>
                <a:spcPts val="0"/>
              </a:spcBef>
              <a:spcAft>
                <a:spcPts val="0"/>
              </a:spcAft>
            </a:pPr>
            <a:endParaRPr lang="en-IN" sz="1400" dirty="0">
              <a:solidFill>
                <a:srgbClr val="FFFFFF"/>
              </a:solidFill>
              <a:latin typeface="+mj-lt"/>
              <a:cs typeface="Arial" panose="020B0604020202020204" pitchFamily="34" charset="0"/>
            </a:endParaRPr>
          </a:p>
        </p:txBody>
      </p:sp>
      <p:sp>
        <p:nvSpPr>
          <p:cNvPr id="158" name="Rectangle 157"/>
          <p:cNvSpPr/>
          <p:nvPr/>
        </p:nvSpPr>
        <p:spPr>
          <a:xfrm>
            <a:off x="745967" y="746273"/>
            <a:ext cx="8123224" cy="2153887"/>
          </a:xfrm>
          <a:prstGeom prst="rect">
            <a:avLst/>
          </a:prstGeom>
          <a:solidFill>
            <a:schemeClr val="bg1">
              <a:lumMod val="95000"/>
            </a:schemeClr>
          </a:solidFill>
          <a:ln w="3175" cap="flat" cmpd="sng" algn="ctr">
            <a:solidFill>
              <a:schemeClr val="bg1">
                <a:lumMod val="50000"/>
              </a:schemeClr>
            </a:solidFill>
            <a:prstDash val="solid"/>
          </a:ln>
          <a:effectLst/>
        </p:spPr>
        <p:txBody>
          <a:bodyPr lIns="91436" tIns="45718" rIns="91436" bIns="45718" rtlCol="0" anchor="ctr"/>
          <a:lstStyle/>
          <a:p>
            <a:pPr algn="ctr" defTabSz="1218173">
              <a:defRPr/>
            </a:pPr>
            <a:endParaRPr lang="en-US" sz="2400" kern="0">
              <a:solidFill>
                <a:prstClr val="white"/>
              </a:solidFill>
              <a:latin typeface="+mj-lt"/>
            </a:endParaRPr>
          </a:p>
        </p:txBody>
      </p:sp>
      <p:cxnSp>
        <p:nvCxnSpPr>
          <p:cNvPr id="469" name="Straight Connector 468"/>
          <p:cNvCxnSpPr/>
          <p:nvPr/>
        </p:nvCxnSpPr>
        <p:spPr>
          <a:xfrm>
            <a:off x="7108401" y="746273"/>
            <a:ext cx="0" cy="215798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p:nvPr/>
        </p:nvCxnSpPr>
        <p:spPr>
          <a:xfrm>
            <a:off x="3884344" y="746273"/>
            <a:ext cx="0" cy="215798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5" name="Rectangle 244"/>
          <p:cNvSpPr/>
          <p:nvPr/>
        </p:nvSpPr>
        <p:spPr>
          <a:xfrm>
            <a:off x="887858" y="23408"/>
            <a:ext cx="8256142" cy="502920"/>
          </a:xfrm>
          <a:prstGeom prst="rect">
            <a:avLst/>
          </a:prstGeom>
          <a:solidFill>
            <a:schemeClr val="accent1"/>
          </a:solidFill>
          <a:ln w="3175" cap="flat" cmpd="sng" algn="ctr">
            <a:solidFill>
              <a:srgbClr val="0079A4"/>
            </a:solidFill>
            <a:prstDash val="solid"/>
          </a:ln>
          <a:effectLst/>
        </p:spPr>
        <p:txBody>
          <a:bodyPr lIns="91436" tIns="45718" rIns="91436" bIns="45718" rtlCol="0" anchor="ctr"/>
          <a:lstStyle/>
          <a:p>
            <a:pPr algn="ctr" defTabSz="913630"/>
            <a:r>
              <a:rPr lang="en-US" sz="2400" kern="0" dirty="0">
                <a:solidFill>
                  <a:prstClr val="white"/>
                </a:solidFill>
                <a:latin typeface="+mj-lt"/>
              </a:rPr>
              <a:t>Cisco Web Security </a:t>
            </a:r>
          </a:p>
        </p:txBody>
      </p:sp>
      <p:sp>
        <p:nvSpPr>
          <p:cNvPr id="246" name="Rectangle 245"/>
          <p:cNvSpPr/>
          <p:nvPr/>
        </p:nvSpPr>
        <p:spPr>
          <a:xfrm>
            <a:off x="1" y="23407"/>
            <a:ext cx="894702" cy="502920"/>
          </a:xfrm>
          <a:prstGeom prst="rect">
            <a:avLst/>
          </a:prstGeom>
          <a:solidFill>
            <a:schemeClr val="tx2"/>
          </a:solidFill>
        </p:spPr>
        <p:txBody>
          <a:bodyPr wrap="square" lIns="68523" tIns="68523" rIns="68523" bIns="68523" anchor="ctr">
            <a:noAutofit/>
          </a:bodyPr>
          <a:lstStyle/>
          <a:p>
            <a:pPr algn="ctr" defTabSz="513921">
              <a:lnSpc>
                <a:spcPct val="95000"/>
              </a:lnSpc>
              <a:spcBef>
                <a:spcPts val="810"/>
              </a:spcBef>
              <a:buClr>
                <a:srgbClr val="D81F28"/>
              </a:buClr>
              <a:buSzPct val="90000"/>
            </a:pPr>
            <a:endParaRPr lang="en-US" sz="1500" kern="0" dirty="0">
              <a:solidFill>
                <a:srgbClr val="FFFFFF"/>
              </a:solidFill>
              <a:latin typeface="+mj-lt"/>
              <a:cs typeface="CiscoSans"/>
            </a:endParaRPr>
          </a:p>
        </p:txBody>
      </p:sp>
      <p:grpSp>
        <p:nvGrpSpPr>
          <p:cNvPr id="30" name="Group 261"/>
          <p:cNvGrpSpPr>
            <a:grpSpLocks noChangeAspect="1"/>
          </p:cNvGrpSpPr>
          <p:nvPr/>
        </p:nvGrpSpPr>
        <p:grpSpPr>
          <a:xfrm>
            <a:off x="8053299" y="59042"/>
            <a:ext cx="633498" cy="439719"/>
            <a:chOff x="8365057" y="228525"/>
            <a:chExt cx="582779" cy="404516"/>
          </a:xfrm>
        </p:grpSpPr>
        <p:sp>
          <p:nvSpPr>
            <p:cNvPr id="253" name="Oval 2"/>
            <p:cNvSpPr/>
            <p:nvPr/>
          </p:nvSpPr>
          <p:spPr bwMode="auto">
            <a:xfrm>
              <a:off x="8365057" y="228525"/>
              <a:ext cx="582779" cy="40451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53" tIns="41127" rIns="41127" bIns="82253" numCol="1" spcCol="0" rtlCol="0" fromWordArt="0" anchor="b" anchorCtr="0" forceAA="0" compatLnSpc="1">
              <a:prstTxWarp prst="textNoShape">
                <a:avLst/>
              </a:prstTxWarp>
              <a:noAutofit/>
            </a:bodyPr>
            <a:lstStyle/>
            <a:p>
              <a:pPr algn="ctr" defTabSz="822142">
                <a:defRPr/>
              </a:pPr>
              <a:endParaRPr lang="en-US" kern="0" spc="-45"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737" name="Group 253"/>
            <p:cNvGrpSpPr/>
            <p:nvPr/>
          </p:nvGrpSpPr>
          <p:grpSpPr>
            <a:xfrm>
              <a:off x="8455611" y="410086"/>
              <a:ext cx="375284" cy="116057"/>
              <a:chOff x="11164204" y="489310"/>
              <a:chExt cx="500378" cy="154743"/>
            </a:xfrm>
          </p:grpSpPr>
          <p:sp>
            <p:nvSpPr>
              <p:cNvPr id="255" name="Freeform 22"/>
              <p:cNvSpPr>
                <a:spLocks/>
              </p:cNvSpPr>
              <p:nvPr/>
            </p:nvSpPr>
            <p:spPr bwMode="auto">
              <a:xfrm rot="20679101">
                <a:off x="11198231" y="489310"/>
                <a:ext cx="97855" cy="104132"/>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6" name="Freeform 23"/>
              <p:cNvSpPr>
                <a:spLocks/>
              </p:cNvSpPr>
              <p:nvPr/>
            </p:nvSpPr>
            <p:spPr bwMode="auto">
              <a:xfrm rot="20679101">
                <a:off x="11164204" y="539921"/>
                <a:ext cx="97855" cy="104132"/>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7" name="Freeform 6"/>
              <p:cNvSpPr>
                <a:spLocks/>
              </p:cNvSpPr>
              <p:nvPr/>
            </p:nvSpPr>
            <p:spPr bwMode="auto">
              <a:xfrm>
                <a:off x="11302237" y="519616"/>
                <a:ext cx="108401" cy="11675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8" name="Freeform 7"/>
              <p:cNvSpPr>
                <a:spLocks/>
              </p:cNvSpPr>
              <p:nvPr/>
            </p:nvSpPr>
            <p:spPr bwMode="auto">
              <a:xfrm>
                <a:off x="11408562" y="521888"/>
                <a:ext cx="158237" cy="11211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9" name="Freeform 8"/>
              <p:cNvSpPr>
                <a:spLocks/>
              </p:cNvSpPr>
              <p:nvPr/>
            </p:nvSpPr>
            <p:spPr bwMode="auto">
              <a:xfrm>
                <a:off x="11562268" y="519616"/>
                <a:ext cx="102314" cy="11675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grpSp>
      </p:grpSp>
      <p:sp>
        <p:nvSpPr>
          <p:cNvPr id="247" name="Oval 2"/>
          <p:cNvSpPr/>
          <p:nvPr/>
        </p:nvSpPr>
        <p:spPr bwMode="auto">
          <a:xfrm>
            <a:off x="150398" y="69208"/>
            <a:ext cx="618034" cy="410787"/>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65" tIns="54834" rIns="54834" bIns="109665" numCol="1" spcCol="0" rtlCol="0" fromWordArt="0" anchor="b" anchorCtr="0" forceAA="0" compatLnSpc="1">
            <a:prstTxWarp prst="textNoShape">
              <a:avLst/>
            </a:prstTxWarp>
            <a:noAutofit/>
          </a:bodyPr>
          <a:lstStyle/>
          <a:p>
            <a:pPr algn="ctr" defTabSz="1096189">
              <a:defRPr/>
            </a:pPr>
            <a:endParaRPr lang="en-US" sz="2400" kern="0" spc="-6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8" name="Rectangle 247"/>
          <p:cNvSpPr/>
          <p:nvPr/>
        </p:nvSpPr>
        <p:spPr>
          <a:xfrm>
            <a:off x="154493" y="167209"/>
            <a:ext cx="633239" cy="311607"/>
          </a:xfrm>
          <a:prstGeom prst="rect">
            <a:avLst/>
          </a:prstGeom>
        </p:spPr>
        <p:txBody>
          <a:bodyPr wrap="none" lIns="91436" tIns="45718" rIns="91436" bIns="45718">
            <a:spAutoFit/>
          </a:bodyPr>
          <a:lstStyle/>
          <a:p>
            <a:pPr defTabSz="914103">
              <a:defRPr/>
            </a:pPr>
            <a:r>
              <a:rPr lang="en-US" sz="1400" kern="0" dirty="0">
                <a:ln w="3175">
                  <a:noFill/>
                </a:ln>
                <a:solidFill>
                  <a:srgbClr val="435153">
                    <a:lumMod val="50000"/>
                  </a:srgbClr>
                </a:solidFill>
                <a:latin typeface="+mj-lt"/>
                <a:cs typeface="Arial" charset="0"/>
              </a:rPr>
              <a:t>Talos</a:t>
            </a:r>
            <a:endParaRPr lang="en-US" kern="0" dirty="0">
              <a:solidFill>
                <a:srgbClr val="435153">
                  <a:lumMod val="50000"/>
                </a:srgbClr>
              </a:solidFill>
              <a:latin typeface="+mj-lt"/>
            </a:endParaRPr>
          </a:p>
        </p:txBody>
      </p:sp>
      <p:grpSp>
        <p:nvGrpSpPr>
          <p:cNvPr id="748" name="Group 79"/>
          <p:cNvGrpSpPr/>
          <p:nvPr/>
        </p:nvGrpSpPr>
        <p:grpSpPr>
          <a:xfrm>
            <a:off x="775280" y="168579"/>
            <a:ext cx="257417" cy="247198"/>
            <a:chOff x="775274" y="334231"/>
            <a:chExt cx="257417" cy="247198"/>
          </a:xfrm>
        </p:grpSpPr>
        <p:sp>
          <p:nvSpPr>
            <p:cNvPr id="249" name="Oval 248"/>
            <p:cNvSpPr/>
            <p:nvPr/>
          </p:nvSpPr>
          <p:spPr>
            <a:xfrm>
              <a:off x="775274" y="334231"/>
              <a:ext cx="257417" cy="247198"/>
            </a:xfrm>
            <a:prstGeom prst="ellipse">
              <a:avLst/>
            </a:prstGeom>
            <a:solidFill>
              <a:srgbClr val="0B0B0D"/>
            </a:solidFill>
            <a:ln w="9525" cap="flat" cmpd="sng" algn="ctr">
              <a:gradFill flip="none" rotWithShape="1">
                <a:gsLst>
                  <a:gs pos="0">
                    <a:srgbClr val="D81F28"/>
                  </a:gs>
                  <a:gs pos="96000">
                    <a:srgbClr val="00B0F0"/>
                  </a:gs>
                </a:gsLst>
                <a:lin ang="5400000" scaled="1"/>
                <a:tileRect/>
              </a:gradFill>
              <a:prstDash val="solid"/>
            </a:ln>
            <a:effectLst/>
          </p:spPr>
          <p:txBody>
            <a:bodyPr rtlCol="0" anchor="ctr"/>
            <a:lstStyle/>
            <a:p>
              <a:pPr algn="ctr" defTabSz="1218173">
                <a:defRPr/>
              </a:pPr>
              <a:endParaRPr lang="en-US" sz="2400" kern="0">
                <a:solidFill>
                  <a:prstClr val="white"/>
                </a:solidFill>
                <a:latin typeface="+mj-lt"/>
              </a:endParaRPr>
            </a:p>
          </p:txBody>
        </p:sp>
        <p:sp>
          <p:nvSpPr>
            <p:cNvPr id="250" name="Freeform 427"/>
            <p:cNvSpPr>
              <a:spLocks noEditPoints="1"/>
            </p:cNvSpPr>
            <p:nvPr/>
          </p:nvSpPr>
          <p:spPr bwMode="auto">
            <a:xfrm>
              <a:off x="818147" y="384494"/>
              <a:ext cx="76554" cy="159927"/>
            </a:xfrm>
            <a:custGeom>
              <a:avLst/>
              <a:gdLst>
                <a:gd name="T0" fmla="*/ 496 w 798"/>
                <a:gd name="T1" fmla="*/ 1229 h 1735"/>
                <a:gd name="T2" fmla="*/ 436 w 798"/>
                <a:gd name="T3" fmla="*/ 1169 h 1735"/>
                <a:gd name="T4" fmla="*/ 391 w 798"/>
                <a:gd name="T5" fmla="*/ 1110 h 1735"/>
                <a:gd name="T6" fmla="*/ 351 w 798"/>
                <a:gd name="T7" fmla="*/ 1037 h 1735"/>
                <a:gd name="T8" fmla="*/ 326 w 798"/>
                <a:gd name="T9" fmla="*/ 971 h 1735"/>
                <a:gd name="T10" fmla="*/ 307 w 798"/>
                <a:gd name="T11" fmla="*/ 882 h 1735"/>
                <a:gd name="T12" fmla="*/ 302 w 798"/>
                <a:gd name="T13" fmla="*/ 808 h 1735"/>
                <a:gd name="T14" fmla="*/ 304 w 798"/>
                <a:gd name="T15" fmla="*/ 752 h 1735"/>
                <a:gd name="T16" fmla="*/ 313 w 798"/>
                <a:gd name="T17" fmla="*/ 697 h 1735"/>
                <a:gd name="T18" fmla="*/ 327 w 798"/>
                <a:gd name="T19" fmla="*/ 642 h 1735"/>
                <a:gd name="T20" fmla="*/ 347 w 798"/>
                <a:gd name="T21" fmla="*/ 589 h 1735"/>
                <a:gd name="T22" fmla="*/ 397 w 798"/>
                <a:gd name="T23" fmla="*/ 497 h 1735"/>
                <a:gd name="T24" fmla="*/ 464 w 798"/>
                <a:gd name="T25" fmla="*/ 415 h 1735"/>
                <a:gd name="T26" fmla="*/ 577 w 798"/>
                <a:gd name="T27" fmla="*/ 328 h 1735"/>
                <a:gd name="T28" fmla="*/ 668 w 798"/>
                <a:gd name="T29" fmla="*/ 285 h 1735"/>
                <a:gd name="T30" fmla="*/ 723 w 798"/>
                <a:gd name="T31" fmla="*/ 236 h 1735"/>
                <a:gd name="T32" fmla="*/ 749 w 798"/>
                <a:gd name="T33" fmla="*/ 168 h 1735"/>
                <a:gd name="T34" fmla="*/ 739 w 798"/>
                <a:gd name="T35" fmla="*/ 95 h 1735"/>
                <a:gd name="T36" fmla="*/ 707 w 798"/>
                <a:gd name="T37" fmla="*/ 45 h 1735"/>
                <a:gd name="T38" fmla="*/ 646 w 798"/>
                <a:gd name="T39" fmla="*/ 7 h 1735"/>
                <a:gd name="T40" fmla="*/ 573 w 798"/>
                <a:gd name="T41" fmla="*/ 2 h 1735"/>
                <a:gd name="T42" fmla="*/ 463 w 798"/>
                <a:gd name="T43" fmla="*/ 47 h 1735"/>
                <a:gd name="T44" fmla="*/ 284 w 798"/>
                <a:gd name="T45" fmla="*/ 171 h 1735"/>
                <a:gd name="T46" fmla="*/ 173 w 798"/>
                <a:gd name="T47" fmla="*/ 293 h 1735"/>
                <a:gd name="T48" fmla="*/ 74 w 798"/>
                <a:gd name="T49" fmla="*/ 462 h 1735"/>
                <a:gd name="T50" fmla="*/ 71 w 798"/>
                <a:gd name="T51" fmla="*/ 469 h 1735"/>
                <a:gd name="T52" fmla="*/ 40 w 798"/>
                <a:gd name="T53" fmla="*/ 551 h 1735"/>
                <a:gd name="T54" fmla="*/ 18 w 798"/>
                <a:gd name="T55" fmla="*/ 636 h 1735"/>
                <a:gd name="T56" fmla="*/ 4 w 798"/>
                <a:gd name="T57" fmla="*/ 721 h 1735"/>
                <a:gd name="T58" fmla="*/ 0 w 798"/>
                <a:gd name="T59" fmla="*/ 813 h 1735"/>
                <a:gd name="T60" fmla="*/ 6 w 798"/>
                <a:gd name="T61" fmla="*/ 909 h 1735"/>
                <a:gd name="T62" fmla="*/ 20 w 798"/>
                <a:gd name="T63" fmla="*/ 986 h 1735"/>
                <a:gd name="T64" fmla="*/ 38 w 798"/>
                <a:gd name="T65" fmla="*/ 1059 h 1735"/>
                <a:gd name="T66" fmla="*/ 68 w 798"/>
                <a:gd name="T67" fmla="*/ 1142 h 1735"/>
                <a:gd name="T68" fmla="*/ 102 w 798"/>
                <a:gd name="T69" fmla="*/ 1214 h 1735"/>
                <a:gd name="T70" fmla="*/ 197 w 798"/>
                <a:gd name="T71" fmla="*/ 1355 h 1735"/>
                <a:gd name="T72" fmla="*/ 184 w 798"/>
                <a:gd name="T73" fmla="*/ 1610 h 1735"/>
                <a:gd name="T74" fmla="*/ 149 w 798"/>
                <a:gd name="T75" fmla="*/ 1659 h 1735"/>
                <a:gd name="T76" fmla="*/ 152 w 798"/>
                <a:gd name="T77" fmla="*/ 1707 h 1735"/>
                <a:gd name="T78" fmla="*/ 203 w 798"/>
                <a:gd name="T79" fmla="*/ 1733 h 1735"/>
                <a:gd name="T80" fmla="*/ 639 w 798"/>
                <a:gd name="T81" fmla="*/ 1734 h 1735"/>
                <a:gd name="T82" fmla="*/ 719 w 798"/>
                <a:gd name="T83" fmla="*/ 1706 h 1735"/>
                <a:gd name="T84" fmla="*/ 776 w 798"/>
                <a:gd name="T85" fmla="*/ 1642 h 1735"/>
                <a:gd name="T86" fmla="*/ 798 w 798"/>
                <a:gd name="T87" fmla="*/ 1559 h 1735"/>
                <a:gd name="T88" fmla="*/ 792 w 798"/>
                <a:gd name="T89" fmla="*/ 1127 h 1735"/>
                <a:gd name="T90" fmla="*/ 761 w 798"/>
                <a:gd name="T91" fmla="*/ 1085 h 1735"/>
                <a:gd name="T92" fmla="*/ 709 w 798"/>
                <a:gd name="T93" fmla="*/ 1093 h 1735"/>
                <a:gd name="T94" fmla="*/ 315 w 798"/>
                <a:gd name="T95" fmla="*/ 265 h 1735"/>
                <a:gd name="T96" fmla="*/ 437 w 798"/>
                <a:gd name="T97" fmla="*/ 166 h 1735"/>
                <a:gd name="T98" fmla="*/ 576 w 798"/>
                <a:gd name="T99" fmla="*/ 94 h 1735"/>
                <a:gd name="T100" fmla="*/ 622 w 798"/>
                <a:gd name="T101" fmla="*/ 95 h 1735"/>
                <a:gd name="T102" fmla="*/ 655 w 798"/>
                <a:gd name="T103" fmla="*/ 129 h 1735"/>
                <a:gd name="T104" fmla="*/ 658 w 798"/>
                <a:gd name="T105" fmla="*/ 163 h 1735"/>
                <a:gd name="T106" fmla="*/ 626 w 798"/>
                <a:gd name="T107" fmla="*/ 204 h 1735"/>
                <a:gd name="T108" fmla="*/ 532 w 798"/>
                <a:gd name="T109" fmla="*/ 250 h 1735"/>
                <a:gd name="T110" fmla="*/ 401 w 798"/>
                <a:gd name="T111" fmla="*/ 351 h 1735"/>
                <a:gd name="T112" fmla="*/ 369 w 798"/>
                <a:gd name="T113" fmla="*/ 367 h 1735"/>
                <a:gd name="T114" fmla="*/ 321 w 798"/>
                <a:gd name="T115" fmla="*/ 355 h 1735"/>
                <a:gd name="T116" fmla="*/ 302 w 798"/>
                <a:gd name="T117" fmla="*/ 331 h 1735"/>
                <a:gd name="T118" fmla="*/ 307 w 798"/>
                <a:gd name="T119" fmla="*/ 274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5">
                  <a:moveTo>
                    <a:pt x="672" y="1122"/>
                  </a:moveTo>
                  <a:lnTo>
                    <a:pt x="535" y="1259"/>
                  </a:lnTo>
                  <a:lnTo>
                    <a:pt x="535" y="1259"/>
                  </a:lnTo>
                  <a:lnTo>
                    <a:pt x="515" y="1245"/>
                  </a:lnTo>
                  <a:lnTo>
                    <a:pt x="496" y="1229"/>
                  </a:lnTo>
                  <a:lnTo>
                    <a:pt x="477" y="1212"/>
                  </a:lnTo>
                  <a:lnTo>
                    <a:pt x="459" y="1195"/>
                  </a:lnTo>
                  <a:lnTo>
                    <a:pt x="459" y="1195"/>
                  </a:lnTo>
                  <a:lnTo>
                    <a:pt x="436" y="1169"/>
                  </a:lnTo>
                  <a:lnTo>
                    <a:pt x="436" y="1169"/>
                  </a:lnTo>
                  <a:lnTo>
                    <a:pt x="424" y="1154"/>
                  </a:lnTo>
                  <a:lnTo>
                    <a:pt x="411" y="1138"/>
                  </a:lnTo>
                  <a:lnTo>
                    <a:pt x="411" y="1138"/>
                  </a:lnTo>
                  <a:lnTo>
                    <a:pt x="401" y="1124"/>
                  </a:lnTo>
                  <a:lnTo>
                    <a:pt x="391" y="1110"/>
                  </a:lnTo>
                  <a:lnTo>
                    <a:pt x="391" y="1110"/>
                  </a:lnTo>
                  <a:lnTo>
                    <a:pt x="376" y="1085"/>
                  </a:lnTo>
                  <a:lnTo>
                    <a:pt x="362" y="1060"/>
                  </a:lnTo>
                  <a:lnTo>
                    <a:pt x="362" y="1060"/>
                  </a:lnTo>
                  <a:lnTo>
                    <a:pt x="351" y="1037"/>
                  </a:lnTo>
                  <a:lnTo>
                    <a:pt x="351" y="1037"/>
                  </a:lnTo>
                  <a:lnTo>
                    <a:pt x="340" y="1010"/>
                  </a:lnTo>
                  <a:lnTo>
                    <a:pt x="330" y="982"/>
                  </a:lnTo>
                  <a:lnTo>
                    <a:pt x="330" y="982"/>
                  </a:lnTo>
                  <a:lnTo>
                    <a:pt x="326" y="971"/>
                  </a:lnTo>
                  <a:lnTo>
                    <a:pt x="326" y="971"/>
                  </a:lnTo>
                  <a:lnTo>
                    <a:pt x="317" y="936"/>
                  </a:lnTo>
                  <a:lnTo>
                    <a:pt x="310" y="901"/>
                  </a:lnTo>
                  <a:lnTo>
                    <a:pt x="310" y="901"/>
                  </a:lnTo>
                  <a:lnTo>
                    <a:pt x="307" y="882"/>
                  </a:lnTo>
                  <a:lnTo>
                    <a:pt x="307" y="882"/>
                  </a:lnTo>
                  <a:lnTo>
                    <a:pt x="303" y="846"/>
                  </a:lnTo>
                  <a:lnTo>
                    <a:pt x="302" y="827"/>
                  </a:lnTo>
                  <a:lnTo>
                    <a:pt x="302" y="808"/>
                  </a:lnTo>
                  <a:lnTo>
                    <a:pt x="302" y="808"/>
                  </a:lnTo>
                  <a:lnTo>
                    <a:pt x="302" y="806"/>
                  </a:lnTo>
                  <a:lnTo>
                    <a:pt x="302" y="806"/>
                  </a:lnTo>
                  <a:lnTo>
                    <a:pt x="303" y="778"/>
                  </a:lnTo>
                  <a:lnTo>
                    <a:pt x="304" y="752"/>
                  </a:lnTo>
                  <a:lnTo>
                    <a:pt x="304" y="752"/>
                  </a:lnTo>
                  <a:lnTo>
                    <a:pt x="308" y="726"/>
                  </a:lnTo>
                  <a:lnTo>
                    <a:pt x="308" y="726"/>
                  </a:lnTo>
                  <a:lnTo>
                    <a:pt x="310" y="712"/>
                  </a:lnTo>
                  <a:lnTo>
                    <a:pt x="313" y="697"/>
                  </a:lnTo>
                  <a:lnTo>
                    <a:pt x="313" y="697"/>
                  </a:lnTo>
                  <a:lnTo>
                    <a:pt x="315" y="687"/>
                  </a:lnTo>
                  <a:lnTo>
                    <a:pt x="318" y="676"/>
                  </a:lnTo>
                  <a:lnTo>
                    <a:pt x="318" y="676"/>
                  </a:lnTo>
                  <a:lnTo>
                    <a:pt x="323" y="659"/>
                  </a:lnTo>
                  <a:lnTo>
                    <a:pt x="327" y="642"/>
                  </a:lnTo>
                  <a:lnTo>
                    <a:pt x="327" y="642"/>
                  </a:lnTo>
                  <a:lnTo>
                    <a:pt x="333" y="627"/>
                  </a:lnTo>
                  <a:lnTo>
                    <a:pt x="333" y="627"/>
                  </a:lnTo>
                  <a:lnTo>
                    <a:pt x="339" y="608"/>
                  </a:lnTo>
                  <a:lnTo>
                    <a:pt x="347" y="589"/>
                  </a:lnTo>
                  <a:lnTo>
                    <a:pt x="347" y="589"/>
                  </a:lnTo>
                  <a:lnTo>
                    <a:pt x="358" y="565"/>
                  </a:lnTo>
                  <a:lnTo>
                    <a:pt x="369" y="542"/>
                  </a:lnTo>
                  <a:lnTo>
                    <a:pt x="383" y="519"/>
                  </a:lnTo>
                  <a:lnTo>
                    <a:pt x="397" y="497"/>
                  </a:lnTo>
                  <a:lnTo>
                    <a:pt x="412" y="475"/>
                  </a:lnTo>
                  <a:lnTo>
                    <a:pt x="429" y="454"/>
                  </a:lnTo>
                  <a:lnTo>
                    <a:pt x="446" y="435"/>
                  </a:lnTo>
                  <a:lnTo>
                    <a:pt x="464" y="415"/>
                  </a:lnTo>
                  <a:lnTo>
                    <a:pt x="464" y="415"/>
                  </a:lnTo>
                  <a:lnTo>
                    <a:pt x="486" y="395"/>
                  </a:lnTo>
                  <a:lnTo>
                    <a:pt x="507" y="376"/>
                  </a:lnTo>
                  <a:lnTo>
                    <a:pt x="530" y="359"/>
                  </a:lnTo>
                  <a:lnTo>
                    <a:pt x="553" y="343"/>
                  </a:lnTo>
                  <a:lnTo>
                    <a:pt x="577" y="328"/>
                  </a:lnTo>
                  <a:lnTo>
                    <a:pt x="602" y="314"/>
                  </a:lnTo>
                  <a:lnTo>
                    <a:pt x="627" y="302"/>
                  </a:lnTo>
                  <a:lnTo>
                    <a:pt x="654" y="291"/>
                  </a:lnTo>
                  <a:lnTo>
                    <a:pt x="654" y="291"/>
                  </a:lnTo>
                  <a:lnTo>
                    <a:pt x="668" y="285"/>
                  </a:lnTo>
                  <a:lnTo>
                    <a:pt x="682" y="277"/>
                  </a:lnTo>
                  <a:lnTo>
                    <a:pt x="693" y="268"/>
                  </a:lnTo>
                  <a:lnTo>
                    <a:pt x="704" y="258"/>
                  </a:lnTo>
                  <a:lnTo>
                    <a:pt x="714" y="247"/>
                  </a:lnTo>
                  <a:lnTo>
                    <a:pt x="723" y="236"/>
                  </a:lnTo>
                  <a:lnTo>
                    <a:pt x="730" y="223"/>
                  </a:lnTo>
                  <a:lnTo>
                    <a:pt x="737" y="210"/>
                  </a:lnTo>
                  <a:lnTo>
                    <a:pt x="742" y="197"/>
                  </a:lnTo>
                  <a:lnTo>
                    <a:pt x="746" y="183"/>
                  </a:lnTo>
                  <a:lnTo>
                    <a:pt x="749" y="168"/>
                  </a:lnTo>
                  <a:lnTo>
                    <a:pt x="750" y="154"/>
                  </a:lnTo>
                  <a:lnTo>
                    <a:pt x="749" y="140"/>
                  </a:lnTo>
                  <a:lnTo>
                    <a:pt x="747" y="125"/>
                  </a:lnTo>
                  <a:lnTo>
                    <a:pt x="744" y="110"/>
                  </a:lnTo>
                  <a:lnTo>
                    <a:pt x="739" y="95"/>
                  </a:lnTo>
                  <a:lnTo>
                    <a:pt x="739" y="95"/>
                  </a:lnTo>
                  <a:lnTo>
                    <a:pt x="732" y="82"/>
                  </a:lnTo>
                  <a:lnTo>
                    <a:pt x="725" y="68"/>
                  </a:lnTo>
                  <a:lnTo>
                    <a:pt x="716" y="56"/>
                  </a:lnTo>
                  <a:lnTo>
                    <a:pt x="707" y="45"/>
                  </a:lnTo>
                  <a:lnTo>
                    <a:pt x="696" y="35"/>
                  </a:lnTo>
                  <a:lnTo>
                    <a:pt x="685" y="27"/>
                  </a:lnTo>
                  <a:lnTo>
                    <a:pt x="672" y="18"/>
                  </a:lnTo>
                  <a:lnTo>
                    <a:pt x="659" y="12"/>
                  </a:lnTo>
                  <a:lnTo>
                    <a:pt x="646" y="7"/>
                  </a:lnTo>
                  <a:lnTo>
                    <a:pt x="632" y="3"/>
                  </a:lnTo>
                  <a:lnTo>
                    <a:pt x="617" y="1"/>
                  </a:lnTo>
                  <a:lnTo>
                    <a:pt x="603" y="0"/>
                  </a:lnTo>
                  <a:lnTo>
                    <a:pt x="588" y="0"/>
                  </a:lnTo>
                  <a:lnTo>
                    <a:pt x="573" y="2"/>
                  </a:lnTo>
                  <a:lnTo>
                    <a:pt x="558" y="5"/>
                  </a:lnTo>
                  <a:lnTo>
                    <a:pt x="544" y="10"/>
                  </a:lnTo>
                  <a:lnTo>
                    <a:pt x="544" y="10"/>
                  </a:lnTo>
                  <a:lnTo>
                    <a:pt x="503" y="28"/>
                  </a:lnTo>
                  <a:lnTo>
                    <a:pt x="463" y="47"/>
                  </a:lnTo>
                  <a:lnTo>
                    <a:pt x="425" y="67"/>
                  </a:lnTo>
                  <a:lnTo>
                    <a:pt x="388" y="91"/>
                  </a:lnTo>
                  <a:lnTo>
                    <a:pt x="352" y="115"/>
                  </a:lnTo>
                  <a:lnTo>
                    <a:pt x="317" y="143"/>
                  </a:lnTo>
                  <a:lnTo>
                    <a:pt x="284" y="171"/>
                  </a:lnTo>
                  <a:lnTo>
                    <a:pt x="252" y="202"/>
                  </a:lnTo>
                  <a:lnTo>
                    <a:pt x="252" y="202"/>
                  </a:lnTo>
                  <a:lnTo>
                    <a:pt x="224" y="231"/>
                  </a:lnTo>
                  <a:lnTo>
                    <a:pt x="197" y="261"/>
                  </a:lnTo>
                  <a:lnTo>
                    <a:pt x="173" y="293"/>
                  </a:lnTo>
                  <a:lnTo>
                    <a:pt x="150" y="324"/>
                  </a:lnTo>
                  <a:lnTo>
                    <a:pt x="129" y="358"/>
                  </a:lnTo>
                  <a:lnTo>
                    <a:pt x="108" y="392"/>
                  </a:lnTo>
                  <a:lnTo>
                    <a:pt x="90" y="426"/>
                  </a:lnTo>
                  <a:lnTo>
                    <a:pt x="74" y="462"/>
                  </a:lnTo>
                  <a:lnTo>
                    <a:pt x="74" y="462"/>
                  </a:lnTo>
                  <a:lnTo>
                    <a:pt x="72" y="466"/>
                  </a:lnTo>
                  <a:lnTo>
                    <a:pt x="72" y="466"/>
                  </a:lnTo>
                  <a:lnTo>
                    <a:pt x="71" y="469"/>
                  </a:lnTo>
                  <a:lnTo>
                    <a:pt x="71" y="469"/>
                  </a:lnTo>
                  <a:lnTo>
                    <a:pt x="57" y="502"/>
                  </a:lnTo>
                  <a:lnTo>
                    <a:pt x="45" y="535"/>
                  </a:lnTo>
                  <a:lnTo>
                    <a:pt x="45" y="535"/>
                  </a:lnTo>
                  <a:lnTo>
                    <a:pt x="40" y="551"/>
                  </a:lnTo>
                  <a:lnTo>
                    <a:pt x="40" y="551"/>
                  </a:lnTo>
                  <a:lnTo>
                    <a:pt x="31" y="583"/>
                  </a:lnTo>
                  <a:lnTo>
                    <a:pt x="23" y="615"/>
                  </a:lnTo>
                  <a:lnTo>
                    <a:pt x="23" y="615"/>
                  </a:lnTo>
                  <a:lnTo>
                    <a:pt x="21" y="625"/>
                  </a:lnTo>
                  <a:lnTo>
                    <a:pt x="18" y="636"/>
                  </a:lnTo>
                  <a:lnTo>
                    <a:pt x="18" y="636"/>
                  </a:lnTo>
                  <a:lnTo>
                    <a:pt x="13" y="668"/>
                  </a:lnTo>
                  <a:lnTo>
                    <a:pt x="7" y="701"/>
                  </a:lnTo>
                  <a:lnTo>
                    <a:pt x="7" y="701"/>
                  </a:lnTo>
                  <a:lnTo>
                    <a:pt x="4" y="721"/>
                  </a:lnTo>
                  <a:lnTo>
                    <a:pt x="4" y="721"/>
                  </a:lnTo>
                  <a:lnTo>
                    <a:pt x="1" y="764"/>
                  </a:lnTo>
                  <a:lnTo>
                    <a:pt x="0" y="808"/>
                  </a:lnTo>
                  <a:lnTo>
                    <a:pt x="0" y="808"/>
                  </a:lnTo>
                  <a:lnTo>
                    <a:pt x="0" y="813"/>
                  </a:lnTo>
                  <a:lnTo>
                    <a:pt x="0" y="813"/>
                  </a:lnTo>
                  <a:lnTo>
                    <a:pt x="1" y="849"/>
                  </a:lnTo>
                  <a:lnTo>
                    <a:pt x="4" y="884"/>
                  </a:lnTo>
                  <a:lnTo>
                    <a:pt x="4" y="884"/>
                  </a:lnTo>
                  <a:lnTo>
                    <a:pt x="6" y="909"/>
                  </a:lnTo>
                  <a:lnTo>
                    <a:pt x="6" y="909"/>
                  </a:lnTo>
                  <a:lnTo>
                    <a:pt x="11" y="936"/>
                  </a:lnTo>
                  <a:lnTo>
                    <a:pt x="15" y="963"/>
                  </a:lnTo>
                  <a:lnTo>
                    <a:pt x="15" y="963"/>
                  </a:lnTo>
                  <a:lnTo>
                    <a:pt x="20" y="986"/>
                  </a:lnTo>
                  <a:lnTo>
                    <a:pt x="20" y="986"/>
                  </a:lnTo>
                  <a:lnTo>
                    <a:pt x="27" y="1020"/>
                  </a:lnTo>
                  <a:lnTo>
                    <a:pt x="36" y="1053"/>
                  </a:lnTo>
                  <a:lnTo>
                    <a:pt x="36" y="1053"/>
                  </a:lnTo>
                  <a:lnTo>
                    <a:pt x="38" y="1059"/>
                  </a:lnTo>
                  <a:lnTo>
                    <a:pt x="38" y="1059"/>
                  </a:lnTo>
                  <a:lnTo>
                    <a:pt x="50" y="1097"/>
                  </a:lnTo>
                  <a:lnTo>
                    <a:pt x="65" y="1134"/>
                  </a:lnTo>
                  <a:lnTo>
                    <a:pt x="65" y="1134"/>
                  </a:lnTo>
                  <a:lnTo>
                    <a:pt x="68" y="1142"/>
                  </a:lnTo>
                  <a:lnTo>
                    <a:pt x="68" y="1142"/>
                  </a:lnTo>
                  <a:lnTo>
                    <a:pt x="83" y="1175"/>
                  </a:lnTo>
                  <a:lnTo>
                    <a:pt x="100" y="1209"/>
                  </a:lnTo>
                  <a:lnTo>
                    <a:pt x="100" y="1209"/>
                  </a:lnTo>
                  <a:lnTo>
                    <a:pt x="102" y="1214"/>
                  </a:lnTo>
                  <a:lnTo>
                    <a:pt x="102" y="1214"/>
                  </a:lnTo>
                  <a:lnTo>
                    <a:pt x="123" y="1251"/>
                  </a:lnTo>
                  <a:lnTo>
                    <a:pt x="146" y="1286"/>
                  </a:lnTo>
                  <a:lnTo>
                    <a:pt x="171" y="1322"/>
                  </a:lnTo>
                  <a:lnTo>
                    <a:pt x="197" y="1355"/>
                  </a:lnTo>
                  <a:lnTo>
                    <a:pt x="225" y="1387"/>
                  </a:lnTo>
                  <a:lnTo>
                    <a:pt x="254" y="1418"/>
                  </a:lnTo>
                  <a:lnTo>
                    <a:pt x="286" y="1448"/>
                  </a:lnTo>
                  <a:lnTo>
                    <a:pt x="318" y="1476"/>
                  </a:lnTo>
                  <a:lnTo>
                    <a:pt x="184" y="1610"/>
                  </a:lnTo>
                  <a:lnTo>
                    <a:pt x="184" y="1610"/>
                  </a:lnTo>
                  <a:lnTo>
                    <a:pt x="173" y="1623"/>
                  </a:lnTo>
                  <a:lnTo>
                    <a:pt x="162" y="1635"/>
                  </a:lnTo>
                  <a:lnTo>
                    <a:pt x="155" y="1647"/>
                  </a:lnTo>
                  <a:lnTo>
                    <a:pt x="149" y="1659"/>
                  </a:lnTo>
                  <a:lnTo>
                    <a:pt x="146" y="1670"/>
                  </a:lnTo>
                  <a:lnTo>
                    <a:pt x="145" y="1680"/>
                  </a:lnTo>
                  <a:lnTo>
                    <a:pt x="145" y="1689"/>
                  </a:lnTo>
                  <a:lnTo>
                    <a:pt x="148" y="1698"/>
                  </a:lnTo>
                  <a:lnTo>
                    <a:pt x="152" y="1707"/>
                  </a:lnTo>
                  <a:lnTo>
                    <a:pt x="158" y="1714"/>
                  </a:lnTo>
                  <a:lnTo>
                    <a:pt x="167" y="1720"/>
                  </a:lnTo>
                  <a:lnTo>
                    <a:pt x="177" y="1726"/>
                  </a:lnTo>
                  <a:lnTo>
                    <a:pt x="189" y="1730"/>
                  </a:lnTo>
                  <a:lnTo>
                    <a:pt x="203" y="1733"/>
                  </a:lnTo>
                  <a:lnTo>
                    <a:pt x="219" y="1735"/>
                  </a:lnTo>
                  <a:lnTo>
                    <a:pt x="236" y="1735"/>
                  </a:lnTo>
                  <a:lnTo>
                    <a:pt x="620" y="1735"/>
                  </a:lnTo>
                  <a:lnTo>
                    <a:pt x="620" y="1735"/>
                  </a:lnTo>
                  <a:lnTo>
                    <a:pt x="639" y="1734"/>
                  </a:lnTo>
                  <a:lnTo>
                    <a:pt x="656" y="1732"/>
                  </a:lnTo>
                  <a:lnTo>
                    <a:pt x="673" y="1727"/>
                  </a:lnTo>
                  <a:lnTo>
                    <a:pt x="690" y="1722"/>
                  </a:lnTo>
                  <a:lnTo>
                    <a:pt x="705" y="1714"/>
                  </a:lnTo>
                  <a:lnTo>
                    <a:pt x="719" y="1706"/>
                  </a:lnTo>
                  <a:lnTo>
                    <a:pt x="732" y="1695"/>
                  </a:lnTo>
                  <a:lnTo>
                    <a:pt x="746" y="1683"/>
                  </a:lnTo>
                  <a:lnTo>
                    <a:pt x="757" y="1671"/>
                  </a:lnTo>
                  <a:lnTo>
                    <a:pt x="767" y="1658"/>
                  </a:lnTo>
                  <a:lnTo>
                    <a:pt x="776" y="1642"/>
                  </a:lnTo>
                  <a:lnTo>
                    <a:pt x="783" y="1627"/>
                  </a:lnTo>
                  <a:lnTo>
                    <a:pt x="790" y="1611"/>
                  </a:lnTo>
                  <a:lnTo>
                    <a:pt x="794" y="1594"/>
                  </a:lnTo>
                  <a:lnTo>
                    <a:pt x="797" y="1576"/>
                  </a:lnTo>
                  <a:lnTo>
                    <a:pt x="798" y="1559"/>
                  </a:lnTo>
                  <a:lnTo>
                    <a:pt x="798" y="1174"/>
                  </a:lnTo>
                  <a:lnTo>
                    <a:pt x="798" y="1174"/>
                  </a:lnTo>
                  <a:lnTo>
                    <a:pt x="797" y="1157"/>
                  </a:lnTo>
                  <a:lnTo>
                    <a:pt x="795" y="1140"/>
                  </a:lnTo>
                  <a:lnTo>
                    <a:pt x="792" y="1127"/>
                  </a:lnTo>
                  <a:lnTo>
                    <a:pt x="788" y="1115"/>
                  </a:lnTo>
                  <a:lnTo>
                    <a:pt x="782" y="1105"/>
                  </a:lnTo>
                  <a:lnTo>
                    <a:pt x="776" y="1097"/>
                  </a:lnTo>
                  <a:lnTo>
                    <a:pt x="769" y="1089"/>
                  </a:lnTo>
                  <a:lnTo>
                    <a:pt x="761" y="1085"/>
                  </a:lnTo>
                  <a:lnTo>
                    <a:pt x="752" y="1083"/>
                  </a:lnTo>
                  <a:lnTo>
                    <a:pt x="743" y="1082"/>
                  </a:lnTo>
                  <a:lnTo>
                    <a:pt x="731" y="1083"/>
                  </a:lnTo>
                  <a:lnTo>
                    <a:pt x="721" y="1087"/>
                  </a:lnTo>
                  <a:lnTo>
                    <a:pt x="709" y="1093"/>
                  </a:lnTo>
                  <a:lnTo>
                    <a:pt x="698" y="1101"/>
                  </a:lnTo>
                  <a:lnTo>
                    <a:pt x="686" y="1110"/>
                  </a:lnTo>
                  <a:lnTo>
                    <a:pt x="672" y="1122"/>
                  </a:lnTo>
                  <a:lnTo>
                    <a:pt x="672" y="1122"/>
                  </a:lnTo>
                  <a:close/>
                  <a:moveTo>
                    <a:pt x="315" y="265"/>
                  </a:moveTo>
                  <a:lnTo>
                    <a:pt x="315" y="265"/>
                  </a:lnTo>
                  <a:lnTo>
                    <a:pt x="344" y="238"/>
                  </a:lnTo>
                  <a:lnTo>
                    <a:pt x="374" y="212"/>
                  </a:lnTo>
                  <a:lnTo>
                    <a:pt x="405" y="189"/>
                  </a:lnTo>
                  <a:lnTo>
                    <a:pt x="437" y="166"/>
                  </a:lnTo>
                  <a:lnTo>
                    <a:pt x="470" y="146"/>
                  </a:lnTo>
                  <a:lnTo>
                    <a:pt x="505" y="127"/>
                  </a:lnTo>
                  <a:lnTo>
                    <a:pt x="541" y="109"/>
                  </a:lnTo>
                  <a:lnTo>
                    <a:pt x="576" y="94"/>
                  </a:lnTo>
                  <a:lnTo>
                    <a:pt x="576" y="94"/>
                  </a:lnTo>
                  <a:lnTo>
                    <a:pt x="583" y="92"/>
                  </a:lnTo>
                  <a:lnTo>
                    <a:pt x="589" y="91"/>
                  </a:lnTo>
                  <a:lnTo>
                    <a:pt x="600" y="90"/>
                  </a:lnTo>
                  <a:lnTo>
                    <a:pt x="612" y="92"/>
                  </a:lnTo>
                  <a:lnTo>
                    <a:pt x="622" y="95"/>
                  </a:lnTo>
                  <a:lnTo>
                    <a:pt x="633" y="101"/>
                  </a:lnTo>
                  <a:lnTo>
                    <a:pt x="642" y="108"/>
                  </a:lnTo>
                  <a:lnTo>
                    <a:pt x="649" y="117"/>
                  </a:lnTo>
                  <a:lnTo>
                    <a:pt x="652" y="122"/>
                  </a:lnTo>
                  <a:lnTo>
                    <a:pt x="655" y="129"/>
                  </a:lnTo>
                  <a:lnTo>
                    <a:pt x="655" y="129"/>
                  </a:lnTo>
                  <a:lnTo>
                    <a:pt x="657" y="134"/>
                  </a:lnTo>
                  <a:lnTo>
                    <a:pt x="658" y="140"/>
                  </a:lnTo>
                  <a:lnTo>
                    <a:pt x="659" y="152"/>
                  </a:lnTo>
                  <a:lnTo>
                    <a:pt x="658" y="163"/>
                  </a:lnTo>
                  <a:lnTo>
                    <a:pt x="654" y="175"/>
                  </a:lnTo>
                  <a:lnTo>
                    <a:pt x="649" y="185"/>
                  </a:lnTo>
                  <a:lnTo>
                    <a:pt x="641" y="194"/>
                  </a:lnTo>
                  <a:lnTo>
                    <a:pt x="632" y="201"/>
                  </a:lnTo>
                  <a:lnTo>
                    <a:pt x="626" y="204"/>
                  </a:lnTo>
                  <a:lnTo>
                    <a:pt x="620" y="206"/>
                  </a:lnTo>
                  <a:lnTo>
                    <a:pt x="620" y="206"/>
                  </a:lnTo>
                  <a:lnTo>
                    <a:pt x="590" y="219"/>
                  </a:lnTo>
                  <a:lnTo>
                    <a:pt x="560" y="234"/>
                  </a:lnTo>
                  <a:lnTo>
                    <a:pt x="532" y="250"/>
                  </a:lnTo>
                  <a:lnTo>
                    <a:pt x="503" y="267"/>
                  </a:lnTo>
                  <a:lnTo>
                    <a:pt x="477" y="286"/>
                  </a:lnTo>
                  <a:lnTo>
                    <a:pt x="450" y="306"/>
                  </a:lnTo>
                  <a:lnTo>
                    <a:pt x="425" y="328"/>
                  </a:lnTo>
                  <a:lnTo>
                    <a:pt x="401" y="351"/>
                  </a:lnTo>
                  <a:lnTo>
                    <a:pt x="401" y="351"/>
                  </a:lnTo>
                  <a:lnTo>
                    <a:pt x="396" y="355"/>
                  </a:lnTo>
                  <a:lnTo>
                    <a:pt x="391" y="359"/>
                  </a:lnTo>
                  <a:lnTo>
                    <a:pt x="381" y="364"/>
                  </a:lnTo>
                  <a:lnTo>
                    <a:pt x="369" y="367"/>
                  </a:lnTo>
                  <a:lnTo>
                    <a:pt x="358" y="368"/>
                  </a:lnTo>
                  <a:lnTo>
                    <a:pt x="347" y="367"/>
                  </a:lnTo>
                  <a:lnTo>
                    <a:pt x="336" y="364"/>
                  </a:lnTo>
                  <a:lnTo>
                    <a:pt x="325" y="359"/>
                  </a:lnTo>
                  <a:lnTo>
                    <a:pt x="321" y="355"/>
                  </a:lnTo>
                  <a:lnTo>
                    <a:pt x="315" y="351"/>
                  </a:lnTo>
                  <a:lnTo>
                    <a:pt x="315" y="351"/>
                  </a:lnTo>
                  <a:lnTo>
                    <a:pt x="311" y="347"/>
                  </a:lnTo>
                  <a:lnTo>
                    <a:pt x="307" y="342"/>
                  </a:lnTo>
                  <a:lnTo>
                    <a:pt x="302" y="331"/>
                  </a:lnTo>
                  <a:lnTo>
                    <a:pt x="299" y="319"/>
                  </a:lnTo>
                  <a:lnTo>
                    <a:pt x="298" y="308"/>
                  </a:lnTo>
                  <a:lnTo>
                    <a:pt x="299" y="297"/>
                  </a:lnTo>
                  <a:lnTo>
                    <a:pt x="302" y="286"/>
                  </a:lnTo>
                  <a:lnTo>
                    <a:pt x="307" y="274"/>
                  </a:lnTo>
                  <a:lnTo>
                    <a:pt x="311" y="270"/>
                  </a:lnTo>
                  <a:lnTo>
                    <a:pt x="315" y="265"/>
                  </a:lnTo>
                  <a:lnTo>
                    <a:pt x="315" y="265"/>
                  </a:lnTo>
                  <a:close/>
                </a:path>
              </a:pathLst>
            </a:custGeom>
            <a:solidFill>
              <a:schemeClr val="accent4"/>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sp>
          <p:nvSpPr>
            <p:cNvPr id="251" name="Freeform 428"/>
            <p:cNvSpPr>
              <a:spLocks noEditPoints="1"/>
            </p:cNvSpPr>
            <p:nvPr/>
          </p:nvSpPr>
          <p:spPr bwMode="auto">
            <a:xfrm>
              <a:off x="906117" y="373530"/>
              <a:ext cx="78883" cy="159927"/>
            </a:xfrm>
            <a:custGeom>
              <a:avLst/>
              <a:gdLst>
                <a:gd name="T0" fmla="*/ 794 w 798"/>
                <a:gd name="T1" fmla="*/ 850 h 1736"/>
                <a:gd name="T2" fmla="*/ 783 w 798"/>
                <a:gd name="T3" fmla="*/ 772 h 1736"/>
                <a:gd name="T4" fmla="*/ 762 w 798"/>
                <a:gd name="T5" fmla="*/ 681 h 1736"/>
                <a:gd name="T6" fmla="*/ 731 w 798"/>
                <a:gd name="T7" fmla="*/ 594 h 1736"/>
                <a:gd name="T8" fmla="*/ 697 w 798"/>
                <a:gd name="T9" fmla="*/ 522 h 1736"/>
                <a:gd name="T10" fmla="*/ 602 w 798"/>
                <a:gd name="T11" fmla="*/ 380 h 1736"/>
                <a:gd name="T12" fmla="*/ 614 w 798"/>
                <a:gd name="T13" fmla="*/ 125 h 1736"/>
                <a:gd name="T14" fmla="*/ 649 w 798"/>
                <a:gd name="T15" fmla="*/ 76 h 1736"/>
                <a:gd name="T16" fmla="*/ 647 w 798"/>
                <a:gd name="T17" fmla="*/ 28 h 1736"/>
                <a:gd name="T18" fmla="*/ 596 w 798"/>
                <a:gd name="T19" fmla="*/ 2 h 1736"/>
                <a:gd name="T20" fmla="*/ 160 w 798"/>
                <a:gd name="T21" fmla="*/ 1 h 1736"/>
                <a:gd name="T22" fmla="*/ 79 w 798"/>
                <a:gd name="T23" fmla="*/ 29 h 1736"/>
                <a:gd name="T24" fmla="*/ 23 w 798"/>
                <a:gd name="T25" fmla="*/ 93 h 1736"/>
                <a:gd name="T26" fmla="*/ 0 w 798"/>
                <a:gd name="T27" fmla="*/ 177 h 1736"/>
                <a:gd name="T28" fmla="*/ 6 w 798"/>
                <a:gd name="T29" fmla="*/ 608 h 1736"/>
                <a:gd name="T30" fmla="*/ 38 w 798"/>
                <a:gd name="T31" fmla="*/ 650 h 1736"/>
                <a:gd name="T32" fmla="*/ 89 w 798"/>
                <a:gd name="T33" fmla="*/ 642 h 1736"/>
                <a:gd name="T34" fmla="*/ 263 w 798"/>
                <a:gd name="T35" fmla="*/ 476 h 1736"/>
                <a:gd name="T36" fmla="*/ 339 w 798"/>
                <a:gd name="T37" fmla="*/ 539 h 1736"/>
                <a:gd name="T38" fmla="*/ 387 w 798"/>
                <a:gd name="T39" fmla="*/ 596 h 1736"/>
                <a:gd name="T40" fmla="*/ 436 w 798"/>
                <a:gd name="T41" fmla="*/ 675 h 1736"/>
                <a:gd name="T42" fmla="*/ 468 w 798"/>
                <a:gd name="T43" fmla="*/ 753 h 1736"/>
                <a:gd name="T44" fmla="*/ 489 w 798"/>
                <a:gd name="T45" fmla="*/ 834 h 1736"/>
                <a:gd name="T46" fmla="*/ 496 w 798"/>
                <a:gd name="T47" fmla="*/ 908 h 1736"/>
                <a:gd name="T48" fmla="*/ 494 w 798"/>
                <a:gd name="T49" fmla="*/ 983 h 1736"/>
                <a:gd name="T50" fmla="*/ 486 w 798"/>
                <a:gd name="T51" fmla="*/ 1038 h 1736"/>
                <a:gd name="T52" fmla="*/ 471 w 798"/>
                <a:gd name="T53" fmla="*/ 1093 h 1736"/>
                <a:gd name="T54" fmla="*/ 452 w 798"/>
                <a:gd name="T55" fmla="*/ 1146 h 1736"/>
                <a:gd name="T56" fmla="*/ 401 w 798"/>
                <a:gd name="T57" fmla="*/ 1238 h 1736"/>
                <a:gd name="T58" fmla="*/ 334 w 798"/>
                <a:gd name="T59" fmla="*/ 1320 h 1736"/>
                <a:gd name="T60" fmla="*/ 221 w 798"/>
                <a:gd name="T61" fmla="*/ 1407 h 1736"/>
                <a:gd name="T62" fmla="*/ 131 w 798"/>
                <a:gd name="T63" fmla="*/ 1450 h 1736"/>
                <a:gd name="T64" fmla="*/ 76 w 798"/>
                <a:gd name="T65" fmla="*/ 1499 h 1736"/>
                <a:gd name="T66" fmla="*/ 50 w 798"/>
                <a:gd name="T67" fmla="*/ 1567 h 1736"/>
                <a:gd name="T68" fmla="*/ 59 w 798"/>
                <a:gd name="T69" fmla="*/ 1640 h 1736"/>
                <a:gd name="T70" fmla="*/ 92 w 798"/>
                <a:gd name="T71" fmla="*/ 1690 h 1736"/>
                <a:gd name="T72" fmla="*/ 153 w 798"/>
                <a:gd name="T73" fmla="*/ 1728 h 1736"/>
                <a:gd name="T74" fmla="*/ 226 w 798"/>
                <a:gd name="T75" fmla="*/ 1734 h 1736"/>
                <a:gd name="T76" fmla="*/ 335 w 798"/>
                <a:gd name="T77" fmla="*/ 1689 h 1736"/>
                <a:gd name="T78" fmla="*/ 514 w 798"/>
                <a:gd name="T79" fmla="*/ 1563 h 1736"/>
                <a:gd name="T80" fmla="*/ 625 w 798"/>
                <a:gd name="T81" fmla="*/ 1442 h 1736"/>
                <a:gd name="T82" fmla="*/ 725 w 798"/>
                <a:gd name="T83" fmla="*/ 1273 h 1736"/>
                <a:gd name="T84" fmla="*/ 728 w 798"/>
                <a:gd name="T85" fmla="*/ 1266 h 1736"/>
                <a:gd name="T86" fmla="*/ 759 w 798"/>
                <a:gd name="T87" fmla="*/ 1184 h 1736"/>
                <a:gd name="T88" fmla="*/ 780 w 798"/>
                <a:gd name="T89" fmla="*/ 1099 h 1736"/>
                <a:gd name="T90" fmla="*/ 794 w 798"/>
                <a:gd name="T91" fmla="*/ 1015 h 1736"/>
                <a:gd name="T92" fmla="*/ 798 w 798"/>
                <a:gd name="T93" fmla="*/ 923 h 1736"/>
                <a:gd name="T94" fmla="*/ 424 w 798"/>
                <a:gd name="T95" fmla="*/ 1523 h 1736"/>
                <a:gd name="T96" fmla="*/ 258 w 798"/>
                <a:gd name="T97" fmla="*/ 1626 h 1736"/>
                <a:gd name="T98" fmla="*/ 198 w 798"/>
                <a:gd name="T99" fmla="*/ 1645 h 1736"/>
                <a:gd name="T100" fmla="*/ 149 w 798"/>
                <a:gd name="T101" fmla="*/ 1618 h 1736"/>
                <a:gd name="T102" fmla="*/ 140 w 798"/>
                <a:gd name="T103" fmla="*/ 1595 h 1736"/>
                <a:gd name="T104" fmla="*/ 157 w 798"/>
                <a:gd name="T105" fmla="*/ 1542 h 1736"/>
                <a:gd name="T106" fmla="*/ 208 w 798"/>
                <a:gd name="T107" fmla="*/ 1516 h 1736"/>
                <a:gd name="T108" fmla="*/ 348 w 798"/>
                <a:gd name="T109" fmla="*/ 1429 h 1736"/>
                <a:gd name="T110" fmla="*/ 407 w 798"/>
                <a:gd name="T111" fmla="*/ 1376 h 1736"/>
                <a:gd name="T112" fmla="*/ 463 w 798"/>
                <a:gd name="T113" fmla="*/ 1371 h 1736"/>
                <a:gd name="T114" fmla="*/ 487 w 798"/>
                <a:gd name="T115" fmla="*/ 1389 h 1736"/>
                <a:gd name="T116" fmla="*/ 500 w 798"/>
                <a:gd name="T117" fmla="*/ 1438 h 1736"/>
                <a:gd name="T118" fmla="*/ 483 w 798"/>
                <a:gd name="T119" fmla="*/ 1470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6">
                  <a:moveTo>
                    <a:pt x="798" y="923"/>
                  </a:moveTo>
                  <a:lnTo>
                    <a:pt x="798" y="923"/>
                  </a:lnTo>
                  <a:lnTo>
                    <a:pt x="797" y="886"/>
                  </a:lnTo>
                  <a:lnTo>
                    <a:pt x="794" y="850"/>
                  </a:lnTo>
                  <a:lnTo>
                    <a:pt x="794" y="850"/>
                  </a:lnTo>
                  <a:lnTo>
                    <a:pt x="792" y="827"/>
                  </a:lnTo>
                  <a:lnTo>
                    <a:pt x="792" y="827"/>
                  </a:lnTo>
                  <a:lnTo>
                    <a:pt x="787" y="799"/>
                  </a:lnTo>
                  <a:lnTo>
                    <a:pt x="783" y="772"/>
                  </a:lnTo>
                  <a:lnTo>
                    <a:pt x="783" y="772"/>
                  </a:lnTo>
                  <a:lnTo>
                    <a:pt x="779" y="749"/>
                  </a:lnTo>
                  <a:lnTo>
                    <a:pt x="779" y="749"/>
                  </a:lnTo>
                  <a:lnTo>
                    <a:pt x="771" y="715"/>
                  </a:lnTo>
                  <a:lnTo>
                    <a:pt x="762" y="681"/>
                  </a:lnTo>
                  <a:lnTo>
                    <a:pt x="762" y="681"/>
                  </a:lnTo>
                  <a:lnTo>
                    <a:pt x="761" y="677"/>
                  </a:lnTo>
                  <a:lnTo>
                    <a:pt x="761" y="677"/>
                  </a:lnTo>
                  <a:lnTo>
                    <a:pt x="748" y="638"/>
                  </a:lnTo>
                  <a:lnTo>
                    <a:pt x="733" y="601"/>
                  </a:lnTo>
                  <a:lnTo>
                    <a:pt x="731" y="594"/>
                  </a:lnTo>
                  <a:lnTo>
                    <a:pt x="731" y="594"/>
                  </a:lnTo>
                  <a:lnTo>
                    <a:pt x="716" y="560"/>
                  </a:lnTo>
                  <a:lnTo>
                    <a:pt x="699" y="525"/>
                  </a:lnTo>
                  <a:lnTo>
                    <a:pt x="699" y="525"/>
                  </a:lnTo>
                  <a:lnTo>
                    <a:pt x="697" y="522"/>
                  </a:lnTo>
                  <a:lnTo>
                    <a:pt x="697" y="522"/>
                  </a:lnTo>
                  <a:lnTo>
                    <a:pt x="675" y="484"/>
                  </a:lnTo>
                  <a:lnTo>
                    <a:pt x="653" y="449"/>
                  </a:lnTo>
                  <a:lnTo>
                    <a:pt x="628" y="414"/>
                  </a:lnTo>
                  <a:lnTo>
                    <a:pt x="602" y="380"/>
                  </a:lnTo>
                  <a:lnTo>
                    <a:pt x="573" y="348"/>
                  </a:lnTo>
                  <a:lnTo>
                    <a:pt x="544" y="317"/>
                  </a:lnTo>
                  <a:lnTo>
                    <a:pt x="513" y="287"/>
                  </a:lnTo>
                  <a:lnTo>
                    <a:pt x="479" y="260"/>
                  </a:lnTo>
                  <a:lnTo>
                    <a:pt x="614" y="125"/>
                  </a:lnTo>
                  <a:lnTo>
                    <a:pt x="614" y="125"/>
                  </a:lnTo>
                  <a:lnTo>
                    <a:pt x="626" y="112"/>
                  </a:lnTo>
                  <a:lnTo>
                    <a:pt x="635" y="100"/>
                  </a:lnTo>
                  <a:lnTo>
                    <a:pt x="644" y="87"/>
                  </a:lnTo>
                  <a:lnTo>
                    <a:pt x="649" y="76"/>
                  </a:lnTo>
                  <a:lnTo>
                    <a:pt x="653" y="65"/>
                  </a:lnTo>
                  <a:lnTo>
                    <a:pt x="654" y="55"/>
                  </a:lnTo>
                  <a:lnTo>
                    <a:pt x="654" y="46"/>
                  </a:lnTo>
                  <a:lnTo>
                    <a:pt x="651" y="36"/>
                  </a:lnTo>
                  <a:lnTo>
                    <a:pt x="647" y="28"/>
                  </a:lnTo>
                  <a:lnTo>
                    <a:pt x="640" y="21"/>
                  </a:lnTo>
                  <a:lnTo>
                    <a:pt x="631" y="15"/>
                  </a:lnTo>
                  <a:lnTo>
                    <a:pt x="621" y="9"/>
                  </a:lnTo>
                  <a:lnTo>
                    <a:pt x="609" y="5"/>
                  </a:lnTo>
                  <a:lnTo>
                    <a:pt x="596" y="2"/>
                  </a:lnTo>
                  <a:lnTo>
                    <a:pt x="579" y="0"/>
                  </a:lnTo>
                  <a:lnTo>
                    <a:pt x="562" y="0"/>
                  </a:lnTo>
                  <a:lnTo>
                    <a:pt x="178" y="0"/>
                  </a:lnTo>
                  <a:lnTo>
                    <a:pt x="178" y="0"/>
                  </a:lnTo>
                  <a:lnTo>
                    <a:pt x="160" y="1"/>
                  </a:lnTo>
                  <a:lnTo>
                    <a:pt x="142" y="3"/>
                  </a:lnTo>
                  <a:lnTo>
                    <a:pt x="126" y="7"/>
                  </a:lnTo>
                  <a:lnTo>
                    <a:pt x="109" y="13"/>
                  </a:lnTo>
                  <a:lnTo>
                    <a:pt x="94" y="21"/>
                  </a:lnTo>
                  <a:lnTo>
                    <a:pt x="79" y="29"/>
                  </a:lnTo>
                  <a:lnTo>
                    <a:pt x="65" y="40"/>
                  </a:lnTo>
                  <a:lnTo>
                    <a:pt x="53" y="52"/>
                  </a:lnTo>
                  <a:lnTo>
                    <a:pt x="41" y="64"/>
                  </a:lnTo>
                  <a:lnTo>
                    <a:pt x="31" y="78"/>
                  </a:lnTo>
                  <a:lnTo>
                    <a:pt x="23" y="93"/>
                  </a:lnTo>
                  <a:lnTo>
                    <a:pt x="14" y="108"/>
                  </a:lnTo>
                  <a:lnTo>
                    <a:pt x="8" y="124"/>
                  </a:lnTo>
                  <a:lnTo>
                    <a:pt x="4" y="142"/>
                  </a:lnTo>
                  <a:lnTo>
                    <a:pt x="1" y="159"/>
                  </a:lnTo>
                  <a:lnTo>
                    <a:pt x="0" y="177"/>
                  </a:lnTo>
                  <a:lnTo>
                    <a:pt x="0" y="561"/>
                  </a:lnTo>
                  <a:lnTo>
                    <a:pt x="0" y="561"/>
                  </a:lnTo>
                  <a:lnTo>
                    <a:pt x="1" y="579"/>
                  </a:lnTo>
                  <a:lnTo>
                    <a:pt x="3" y="594"/>
                  </a:lnTo>
                  <a:lnTo>
                    <a:pt x="6" y="608"/>
                  </a:lnTo>
                  <a:lnTo>
                    <a:pt x="10" y="620"/>
                  </a:lnTo>
                  <a:lnTo>
                    <a:pt x="15" y="630"/>
                  </a:lnTo>
                  <a:lnTo>
                    <a:pt x="23" y="638"/>
                  </a:lnTo>
                  <a:lnTo>
                    <a:pt x="30" y="645"/>
                  </a:lnTo>
                  <a:lnTo>
                    <a:pt x="38" y="650"/>
                  </a:lnTo>
                  <a:lnTo>
                    <a:pt x="46" y="653"/>
                  </a:lnTo>
                  <a:lnTo>
                    <a:pt x="56" y="653"/>
                  </a:lnTo>
                  <a:lnTo>
                    <a:pt x="66" y="652"/>
                  </a:lnTo>
                  <a:lnTo>
                    <a:pt x="78" y="647"/>
                  </a:lnTo>
                  <a:lnTo>
                    <a:pt x="89" y="642"/>
                  </a:lnTo>
                  <a:lnTo>
                    <a:pt x="101" y="634"/>
                  </a:lnTo>
                  <a:lnTo>
                    <a:pt x="113" y="625"/>
                  </a:lnTo>
                  <a:lnTo>
                    <a:pt x="126" y="613"/>
                  </a:lnTo>
                  <a:lnTo>
                    <a:pt x="263" y="476"/>
                  </a:lnTo>
                  <a:lnTo>
                    <a:pt x="263" y="476"/>
                  </a:lnTo>
                  <a:lnTo>
                    <a:pt x="284" y="490"/>
                  </a:lnTo>
                  <a:lnTo>
                    <a:pt x="303" y="506"/>
                  </a:lnTo>
                  <a:lnTo>
                    <a:pt x="321" y="522"/>
                  </a:lnTo>
                  <a:lnTo>
                    <a:pt x="339" y="539"/>
                  </a:lnTo>
                  <a:lnTo>
                    <a:pt x="339" y="539"/>
                  </a:lnTo>
                  <a:lnTo>
                    <a:pt x="351" y="553"/>
                  </a:lnTo>
                  <a:lnTo>
                    <a:pt x="362" y="566"/>
                  </a:lnTo>
                  <a:lnTo>
                    <a:pt x="362" y="566"/>
                  </a:lnTo>
                  <a:lnTo>
                    <a:pt x="375" y="581"/>
                  </a:lnTo>
                  <a:lnTo>
                    <a:pt x="387" y="596"/>
                  </a:lnTo>
                  <a:lnTo>
                    <a:pt x="387" y="596"/>
                  </a:lnTo>
                  <a:lnTo>
                    <a:pt x="408" y="627"/>
                  </a:lnTo>
                  <a:lnTo>
                    <a:pt x="408" y="627"/>
                  </a:lnTo>
                  <a:lnTo>
                    <a:pt x="422" y="651"/>
                  </a:lnTo>
                  <a:lnTo>
                    <a:pt x="436" y="675"/>
                  </a:lnTo>
                  <a:lnTo>
                    <a:pt x="436" y="675"/>
                  </a:lnTo>
                  <a:lnTo>
                    <a:pt x="447" y="698"/>
                  </a:lnTo>
                  <a:lnTo>
                    <a:pt x="447" y="698"/>
                  </a:lnTo>
                  <a:lnTo>
                    <a:pt x="458" y="725"/>
                  </a:lnTo>
                  <a:lnTo>
                    <a:pt x="468" y="753"/>
                  </a:lnTo>
                  <a:lnTo>
                    <a:pt x="468" y="753"/>
                  </a:lnTo>
                  <a:lnTo>
                    <a:pt x="472" y="764"/>
                  </a:lnTo>
                  <a:lnTo>
                    <a:pt x="472" y="764"/>
                  </a:lnTo>
                  <a:lnTo>
                    <a:pt x="482" y="798"/>
                  </a:lnTo>
                  <a:lnTo>
                    <a:pt x="489" y="834"/>
                  </a:lnTo>
                  <a:lnTo>
                    <a:pt x="489" y="834"/>
                  </a:lnTo>
                  <a:lnTo>
                    <a:pt x="491" y="853"/>
                  </a:lnTo>
                  <a:lnTo>
                    <a:pt x="491" y="853"/>
                  </a:lnTo>
                  <a:lnTo>
                    <a:pt x="495" y="889"/>
                  </a:lnTo>
                  <a:lnTo>
                    <a:pt x="496" y="908"/>
                  </a:lnTo>
                  <a:lnTo>
                    <a:pt x="497" y="927"/>
                  </a:lnTo>
                  <a:lnTo>
                    <a:pt x="497" y="927"/>
                  </a:lnTo>
                  <a:lnTo>
                    <a:pt x="497" y="927"/>
                  </a:lnTo>
                  <a:lnTo>
                    <a:pt x="496" y="956"/>
                  </a:lnTo>
                  <a:lnTo>
                    <a:pt x="494" y="983"/>
                  </a:lnTo>
                  <a:lnTo>
                    <a:pt x="494" y="983"/>
                  </a:lnTo>
                  <a:lnTo>
                    <a:pt x="491" y="1007"/>
                  </a:lnTo>
                  <a:lnTo>
                    <a:pt x="491" y="1007"/>
                  </a:lnTo>
                  <a:lnTo>
                    <a:pt x="488" y="1023"/>
                  </a:lnTo>
                  <a:lnTo>
                    <a:pt x="486" y="1038"/>
                  </a:lnTo>
                  <a:lnTo>
                    <a:pt x="486" y="1038"/>
                  </a:lnTo>
                  <a:lnTo>
                    <a:pt x="480" y="1059"/>
                  </a:lnTo>
                  <a:lnTo>
                    <a:pt x="480" y="1059"/>
                  </a:lnTo>
                  <a:lnTo>
                    <a:pt x="476" y="1076"/>
                  </a:lnTo>
                  <a:lnTo>
                    <a:pt x="471" y="1093"/>
                  </a:lnTo>
                  <a:lnTo>
                    <a:pt x="471" y="1093"/>
                  </a:lnTo>
                  <a:lnTo>
                    <a:pt x="466" y="1108"/>
                  </a:lnTo>
                  <a:lnTo>
                    <a:pt x="466" y="1108"/>
                  </a:lnTo>
                  <a:lnTo>
                    <a:pt x="459" y="1127"/>
                  </a:lnTo>
                  <a:lnTo>
                    <a:pt x="452" y="1146"/>
                  </a:lnTo>
                  <a:lnTo>
                    <a:pt x="452" y="1146"/>
                  </a:lnTo>
                  <a:lnTo>
                    <a:pt x="441" y="1170"/>
                  </a:lnTo>
                  <a:lnTo>
                    <a:pt x="428" y="1193"/>
                  </a:lnTo>
                  <a:lnTo>
                    <a:pt x="415" y="1216"/>
                  </a:lnTo>
                  <a:lnTo>
                    <a:pt x="401" y="1238"/>
                  </a:lnTo>
                  <a:lnTo>
                    <a:pt x="386" y="1259"/>
                  </a:lnTo>
                  <a:lnTo>
                    <a:pt x="369" y="1281"/>
                  </a:lnTo>
                  <a:lnTo>
                    <a:pt x="352" y="1300"/>
                  </a:lnTo>
                  <a:lnTo>
                    <a:pt x="334" y="1320"/>
                  </a:lnTo>
                  <a:lnTo>
                    <a:pt x="334" y="1320"/>
                  </a:lnTo>
                  <a:lnTo>
                    <a:pt x="313" y="1340"/>
                  </a:lnTo>
                  <a:lnTo>
                    <a:pt x="291" y="1358"/>
                  </a:lnTo>
                  <a:lnTo>
                    <a:pt x="268" y="1376"/>
                  </a:lnTo>
                  <a:lnTo>
                    <a:pt x="245" y="1392"/>
                  </a:lnTo>
                  <a:lnTo>
                    <a:pt x="221" y="1407"/>
                  </a:lnTo>
                  <a:lnTo>
                    <a:pt x="196" y="1421"/>
                  </a:lnTo>
                  <a:lnTo>
                    <a:pt x="170" y="1433"/>
                  </a:lnTo>
                  <a:lnTo>
                    <a:pt x="145" y="1444"/>
                  </a:lnTo>
                  <a:lnTo>
                    <a:pt x="145" y="1444"/>
                  </a:lnTo>
                  <a:lnTo>
                    <a:pt x="131" y="1450"/>
                  </a:lnTo>
                  <a:lnTo>
                    <a:pt x="117" y="1458"/>
                  </a:lnTo>
                  <a:lnTo>
                    <a:pt x="105" y="1468"/>
                  </a:lnTo>
                  <a:lnTo>
                    <a:pt x="94" y="1477"/>
                  </a:lnTo>
                  <a:lnTo>
                    <a:pt x="85" y="1488"/>
                  </a:lnTo>
                  <a:lnTo>
                    <a:pt x="76" y="1499"/>
                  </a:lnTo>
                  <a:lnTo>
                    <a:pt x="67" y="1511"/>
                  </a:lnTo>
                  <a:lnTo>
                    <a:pt x="61" y="1525"/>
                  </a:lnTo>
                  <a:lnTo>
                    <a:pt x="56" y="1538"/>
                  </a:lnTo>
                  <a:lnTo>
                    <a:pt x="52" y="1552"/>
                  </a:lnTo>
                  <a:lnTo>
                    <a:pt x="50" y="1567"/>
                  </a:lnTo>
                  <a:lnTo>
                    <a:pt x="49" y="1581"/>
                  </a:lnTo>
                  <a:lnTo>
                    <a:pt x="49" y="1596"/>
                  </a:lnTo>
                  <a:lnTo>
                    <a:pt x="51" y="1610"/>
                  </a:lnTo>
                  <a:lnTo>
                    <a:pt x="54" y="1626"/>
                  </a:lnTo>
                  <a:lnTo>
                    <a:pt x="59" y="1640"/>
                  </a:lnTo>
                  <a:lnTo>
                    <a:pt x="59" y="1640"/>
                  </a:lnTo>
                  <a:lnTo>
                    <a:pt x="65" y="1654"/>
                  </a:lnTo>
                  <a:lnTo>
                    <a:pt x="74" y="1668"/>
                  </a:lnTo>
                  <a:lnTo>
                    <a:pt x="82" y="1679"/>
                  </a:lnTo>
                  <a:lnTo>
                    <a:pt x="92" y="1690"/>
                  </a:lnTo>
                  <a:lnTo>
                    <a:pt x="102" y="1700"/>
                  </a:lnTo>
                  <a:lnTo>
                    <a:pt x="114" y="1709"/>
                  </a:lnTo>
                  <a:lnTo>
                    <a:pt x="127" y="1716"/>
                  </a:lnTo>
                  <a:lnTo>
                    <a:pt x="140" y="1723"/>
                  </a:lnTo>
                  <a:lnTo>
                    <a:pt x="153" y="1728"/>
                  </a:lnTo>
                  <a:lnTo>
                    <a:pt x="167" y="1732"/>
                  </a:lnTo>
                  <a:lnTo>
                    <a:pt x="182" y="1735"/>
                  </a:lnTo>
                  <a:lnTo>
                    <a:pt x="196" y="1736"/>
                  </a:lnTo>
                  <a:lnTo>
                    <a:pt x="210" y="1735"/>
                  </a:lnTo>
                  <a:lnTo>
                    <a:pt x="226" y="1734"/>
                  </a:lnTo>
                  <a:lnTo>
                    <a:pt x="240" y="1730"/>
                  </a:lnTo>
                  <a:lnTo>
                    <a:pt x="255" y="1725"/>
                  </a:lnTo>
                  <a:lnTo>
                    <a:pt x="255" y="1725"/>
                  </a:lnTo>
                  <a:lnTo>
                    <a:pt x="296" y="1708"/>
                  </a:lnTo>
                  <a:lnTo>
                    <a:pt x="335" y="1689"/>
                  </a:lnTo>
                  <a:lnTo>
                    <a:pt x="373" y="1668"/>
                  </a:lnTo>
                  <a:lnTo>
                    <a:pt x="410" y="1644"/>
                  </a:lnTo>
                  <a:lnTo>
                    <a:pt x="447" y="1620"/>
                  </a:lnTo>
                  <a:lnTo>
                    <a:pt x="482" y="1593"/>
                  </a:lnTo>
                  <a:lnTo>
                    <a:pt x="514" y="1563"/>
                  </a:lnTo>
                  <a:lnTo>
                    <a:pt x="547" y="1533"/>
                  </a:lnTo>
                  <a:lnTo>
                    <a:pt x="547" y="1533"/>
                  </a:lnTo>
                  <a:lnTo>
                    <a:pt x="574" y="1504"/>
                  </a:lnTo>
                  <a:lnTo>
                    <a:pt x="601" y="1474"/>
                  </a:lnTo>
                  <a:lnTo>
                    <a:pt x="625" y="1442"/>
                  </a:lnTo>
                  <a:lnTo>
                    <a:pt x="649" y="1410"/>
                  </a:lnTo>
                  <a:lnTo>
                    <a:pt x="670" y="1377"/>
                  </a:lnTo>
                  <a:lnTo>
                    <a:pt x="691" y="1343"/>
                  </a:lnTo>
                  <a:lnTo>
                    <a:pt x="708" y="1308"/>
                  </a:lnTo>
                  <a:lnTo>
                    <a:pt x="725" y="1273"/>
                  </a:lnTo>
                  <a:lnTo>
                    <a:pt x="725" y="1273"/>
                  </a:lnTo>
                  <a:lnTo>
                    <a:pt x="727" y="1269"/>
                  </a:lnTo>
                  <a:lnTo>
                    <a:pt x="727" y="1269"/>
                  </a:lnTo>
                  <a:lnTo>
                    <a:pt x="728" y="1266"/>
                  </a:lnTo>
                  <a:lnTo>
                    <a:pt x="728" y="1266"/>
                  </a:lnTo>
                  <a:lnTo>
                    <a:pt x="742" y="1233"/>
                  </a:lnTo>
                  <a:lnTo>
                    <a:pt x="754" y="1198"/>
                  </a:lnTo>
                  <a:lnTo>
                    <a:pt x="754" y="1198"/>
                  </a:lnTo>
                  <a:lnTo>
                    <a:pt x="759" y="1184"/>
                  </a:lnTo>
                  <a:lnTo>
                    <a:pt x="759" y="1184"/>
                  </a:lnTo>
                  <a:lnTo>
                    <a:pt x="768" y="1151"/>
                  </a:lnTo>
                  <a:lnTo>
                    <a:pt x="776" y="1118"/>
                  </a:lnTo>
                  <a:lnTo>
                    <a:pt x="776" y="1118"/>
                  </a:lnTo>
                  <a:lnTo>
                    <a:pt x="778" y="1109"/>
                  </a:lnTo>
                  <a:lnTo>
                    <a:pt x="780" y="1099"/>
                  </a:lnTo>
                  <a:lnTo>
                    <a:pt x="780" y="1099"/>
                  </a:lnTo>
                  <a:lnTo>
                    <a:pt x="786" y="1066"/>
                  </a:lnTo>
                  <a:lnTo>
                    <a:pt x="791" y="1031"/>
                  </a:lnTo>
                  <a:lnTo>
                    <a:pt x="791" y="1031"/>
                  </a:lnTo>
                  <a:lnTo>
                    <a:pt x="794" y="1015"/>
                  </a:lnTo>
                  <a:lnTo>
                    <a:pt x="794" y="1015"/>
                  </a:lnTo>
                  <a:lnTo>
                    <a:pt x="797" y="971"/>
                  </a:lnTo>
                  <a:lnTo>
                    <a:pt x="798" y="927"/>
                  </a:lnTo>
                  <a:lnTo>
                    <a:pt x="798" y="927"/>
                  </a:lnTo>
                  <a:lnTo>
                    <a:pt x="798" y="923"/>
                  </a:lnTo>
                  <a:lnTo>
                    <a:pt x="798" y="923"/>
                  </a:lnTo>
                  <a:close/>
                  <a:moveTo>
                    <a:pt x="483" y="1470"/>
                  </a:moveTo>
                  <a:lnTo>
                    <a:pt x="483" y="1470"/>
                  </a:lnTo>
                  <a:lnTo>
                    <a:pt x="454" y="1497"/>
                  </a:lnTo>
                  <a:lnTo>
                    <a:pt x="424" y="1523"/>
                  </a:lnTo>
                  <a:lnTo>
                    <a:pt x="393" y="1546"/>
                  </a:lnTo>
                  <a:lnTo>
                    <a:pt x="361" y="1569"/>
                  </a:lnTo>
                  <a:lnTo>
                    <a:pt x="328" y="1589"/>
                  </a:lnTo>
                  <a:lnTo>
                    <a:pt x="294" y="1608"/>
                  </a:lnTo>
                  <a:lnTo>
                    <a:pt x="258" y="1626"/>
                  </a:lnTo>
                  <a:lnTo>
                    <a:pt x="221" y="1641"/>
                  </a:lnTo>
                  <a:lnTo>
                    <a:pt x="221" y="1641"/>
                  </a:lnTo>
                  <a:lnTo>
                    <a:pt x="216" y="1643"/>
                  </a:lnTo>
                  <a:lnTo>
                    <a:pt x="210" y="1644"/>
                  </a:lnTo>
                  <a:lnTo>
                    <a:pt x="198" y="1645"/>
                  </a:lnTo>
                  <a:lnTo>
                    <a:pt x="187" y="1644"/>
                  </a:lnTo>
                  <a:lnTo>
                    <a:pt x="176" y="1640"/>
                  </a:lnTo>
                  <a:lnTo>
                    <a:pt x="165" y="1635"/>
                  </a:lnTo>
                  <a:lnTo>
                    <a:pt x="156" y="1627"/>
                  </a:lnTo>
                  <a:lnTo>
                    <a:pt x="149" y="1618"/>
                  </a:lnTo>
                  <a:lnTo>
                    <a:pt x="146" y="1612"/>
                  </a:lnTo>
                  <a:lnTo>
                    <a:pt x="144" y="1607"/>
                  </a:lnTo>
                  <a:lnTo>
                    <a:pt x="144" y="1607"/>
                  </a:lnTo>
                  <a:lnTo>
                    <a:pt x="142" y="1601"/>
                  </a:lnTo>
                  <a:lnTo>
                    <a:pt x="140" y="1595"/>
                  </a:lnTo>
                  <a:lnTo>
                    <a:pt x="140" y="1583"/>
                  </a:lnTo>
                  <a:lnTo>
                    <a:pt x="141" y="1572"/>
                  </a:lnTo>
                  <a:lnTo>
                    <a:pt x="144" y="1560"/>
                  </a:lnTo>
                  <a:lnTo>
                    <a:pt x="150" y="1550"/>
                  </a:lnTo>
                  <a:lnTo>
                    <a:pt x="157" y="1542"/>
                  </a:lnTo>
                  <a:lnTo>
                    <a:pt x="166" y="1534"/>
                  </a:lnTo>
                  <a:lnTo>
                    <a:pt x="171" y="1531"/>
                  </a:lnTo>
                  <a:lnTo>
                    <a:pt x="178" y="1529"/>
                  </a:lnTo>
                  <a:lnTo>
                    <a:pt x="178" y="1529"/>
                  </a:lnTo>
                  <a:lnTo>
                    <a:pt x="208" y="1516"/>
                  </a:lnTo>
                  <a:lnTo>
                    <a:pt x="238" y="1501"/>
                  </a:lnTo>
                  <a:lnTo>
                    <a:pt x="267" y="1485"/>
                  </a:lnTo>
                  <a:lnTo>
                    <a:pt x="295" y="1468"/>
                  </a:lnTo>
                  <a:lnTo>
                    <a:pt x="322" y="1449"/>
                  </a:lnTo>
                  <a:lnTo>
                    <a:pt x="348" y="1429"/>
                  </a:lnTo>
                  <a:lnTo>
                    <a:pt x="373" y="1407"/>
                  </a:lnTo>
                  <a:lnTo>
                    <a:pt x="398" y="1384"/>
                  </a:lnTo>
                  <a:lnTo>
                    <a:pt x="398" y="1384"/>
                  </a:lnTo>
                  <a:lnTo>
                    <a:pt x="402" y="1380"/>
                  </a:lnTo>
                  <a:lnTo>
                    <a:pt x="407" y="1376"/>
                  </a:lnTo>
                  <a:lnTo>
                    <a:pt x="417" y="1371"/>
                  </a:lnTo>
                  <a:lnTo>
                    <a:pt x="428" y="1368"/>
                  </a:lnTo>
                  <a:lnTo>
                    <a:pt x="440" y="1367"/>
                  </a:lnTo>
                  <a:lnTo>
                    <a:pt x="452" y="1368"/>
                  </a:lnTo>
                  <a:lnTo>
                    <a:pt x="463" y="1371"/>
                  </a:lnTo>
                  <a:lnTo>
                    <a:pt x="473" y="1376"/>
                  </a:lnTo>
                  <a:lnTo>
                    <a:pt x="478" y="1380"/>
                  </a:lnTo>
                  <a:lnTo>
                    <a:pt x="483" y="1384"/>
                  </a:lnTo>
                  <a:lnTo>
                    <a:pt x="483" y="1384"/>
                  </a:lnTo>
                  <a:lnTo>
                    <a:pt x="487" y="1389"/>
                  </a:lnTo>
                  <a:lnTo>
                    <a:pt x="491" y="1393"/>
                  </a:lnTo>
                  <a:lnTo>
                    <a:pt x="496" y="1404"/>
                  </a:lnTo>
                  <a:lnTo>
                    <a:pt x="500" y="1416"/>
                  </a:lnTo>
                  <a:lnTo>
                    <a:pt x="501" y="1427"/>
                  </a:lnTo>
                  <a:lnTo>
                    <a:pt x="500" y="1438"/>
                  </a:lnTo>
                  <a:lnTo>
                    <a:pt x="496" y="1449"/>
                  </a:lnTo>
                  <a:lnTo>
                    <a:pt x="491" y="1459"/>
                  </a:lnTo>
                  <a:lnTo>
                    <a:pt x="487" y="1465"/>
                  </a:lnTo>
                  <a:lnTo>
                    <a:pt x="483" y="1470"/>
                  </a:lnTo>
                  <a:lnTo>
                    <a:pt x="483" y="1470"/>
                  </a:lnTo>
                  <a:close/>
                </a:path>
              </a:pathLst>
            </a:custGeom>
            <a:solidFill>
              <a:schemeClr val="accent5"/>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grpSp>
      <p:grpSp>
        <p:nvGrpSpPr>
          <p:cNvPr id="804" name="Group 452"/>
          <p:cNvGrpSpPr/>
          <p:nvPr/>
        </p:nvGrpSpPr>
        <p:grpSpPr>
          <a:xfrm>
            <a:off x="1248373" y="58768"/>
            <a:ext cx="1600337" cy="436202"/>
            <a:chOff x="1058898" y="186328"/>
            <a:chExt cx="1855141" cy="505654"/>
          </a:xfrm>
          <a:effectLst/>
        </p:grpSpPr>
        <p:sp>
          <p:nvSpPr>
            <p:cNvPr id="454" name="Freeform 453"/>
            <p:cNvSpPr/>
            <p:nvPr/>
          </p:nvSpPr>
          <p:spPr>
            <a:xfrm>
              <a:off x="2412434" y="186328"/>
              <a:ext cx="501605" cy="505654"/>
            </a:xfrm>
            <a:custGeom>
              <a:avLst/>
              <a:gdLst>
                <a:gd name="connsiteX0" fmla="*/ 452960 w 501605"/>
                <a:gd name="connsiteY0" fmla="*/ 229818 h 505654"/>
                <a:gd name="connsiteX1" fmla="*/ 367081 w 501605"/>
                <a:gd name="connsiteY1" fmla="*/ 239377 h 505654"/>
                <a:gd name="connsiteX2" fmla="*/ 356323 w 501605"/>
                <a:gd name="connsiteY2" fmla="*/ 305199 h 505654"/>
                <a:gd name="connsiteX3" fmla="*/ 428564 w 501605"/>
                <a:gd name="connsiteY3" fmla="*/ 346540 h 505654"/>
                <a:gd name="connsiteX4" fmla="*/ 452960 w 501605"/>
                <a:gd name="connsiteY4" fmla="*/ 229818 h 505654"/>
                <a:gd name="connsiteX5" fmla="*/ 248779 w 501605"/>
                <a:gd name="connsiteY5" fmla="*/ 227417 h 505654"/>
                <a:gd name="connsiteX6" fmla="*/ 223368 w 501605"/>
                <a:gd name="connsiteY6" fmla="*/ 252828 h 505654"/>
                <a:gd name="connsiteX7" fmla="*/ 248779 w 501605"/>
                <a:gd name="connsiteY7" fmla="*/ 278239 h 505654"/>
                <a:gd name="connsiteX8" fmla="*/ 274190 w 501605"/>
                <a:gd name="connsiteY8" fmla="*/ 252828 h 505654"/>
                <a:gd name="connsiteX9" fmla="*/ 248779 w 501605"/>
                <a:gd name="connsiteY9" fmla="*/ 227417 h 505654"/>
                <a:gd name="connsiteX10" fmla="*/ 248778 w 501605"/>
                <a:gd name="connsiteY10" fmla="*/ 199164 h 505654"/>
                <a:gd name="connsiteX11" fmla="*/ 302442 w 501605"/>
                <a:gd name="connsiteY11" fmla="*/ 252827 h 505654"/>
                <a:gd name="connsiteX12" fmla="*/ 248778 w 501605"/>
                <a:gd name="connsiteY12" fmla="*/ 306490 h 505654"/>
                <a:gd name="connsiteX13" fmla="*/ 195115 w 501605"/>
                <a:gd name="connsiteY13" fmla="*/ 252827 h 505654"/>
                <a:gd name="connsiteX14" fmla="*/ 248778 w 501605"/>
                <a:gd name="connsiteY14" fmla="*/ 199164 h 505654"/>
                <a:gd name="connsiteX15" fmla="*/ 248778 w 501605"/>
                <a:gd name="connsiteY15" fmla="*/ 172268 h 505654"/>
                <a:gd name="connsiteX16" fmla="*/ 168219 w 501605"/>
                <a:gd name="connsiteY16" fmla="*/ 252827 h 505654"/>
                <a:gd name="connsiteX17" fmla="*/ 248778 w 501605"/>
                <a:gd name="connsiteY17" fmla="*/ 333386 h 505654"/>
                <a:gd name="connsiteX18" fmla="*/ 329337 w 501605"/>
                <a:gd name="connsiteY18" fmla="*/ 252827 h 505654"/>
                <a:gd name="connsiteX19" fmla="*/ 248778 w 501605"/>
                <a:gd name="connsiteY19" fmla="*/ 172268 h 505654"/>
                <a:gd name="connsiteX20" fmla="*/ 441058 w 501605"/>
                <a:gd name="connsiteY20" fmla="*/ 167875 h 505654"/>
                <a:gd name="connsiteX21" fmla="*/ 359176 w 501605"/>
                <a:gd name="connsiteY21" fmla="*/ 199205 h 505654"/>
                <a:gd name="connsiteX22" fmla="*/ 366035 w 501605"/>
                <a:gd name="connsiteY22" fmla="*/ 222131 h 505654"/>
                <a:gd name="connsiteX23" fmla="*/ 451669 w 501605"/>
                <a:gd name="connsiteY23" fmla="*/ 203344 h 505654"/>
                <a:gd name="connsiteX24" fmla="*/ 441058 w 501605"/>
                <a:gd name="connsiteY24" fmla="*/ 167875 h 505654"/>
                <a:gd name="connsiteX25" fmla="*/ 248778 w 501605"/>
                <a:gd name="connsiteY25" fmla="*/ 0 h 505654"/>
                <a:gd name="connsiteX26" fmla="*/ 501605 w 501605"/>
                <a:gd name="connsiteY26" fmla="*/ 252827 h 505654"/>
                <a:gd name="connsiteX27" fmla="*/ 248778 w 501605"/>
                <a:gd name="connsiteY27" fmla="*/ 505654 h 505654"/>
                <a:gd name="connsiteX28" fmla="*/ 150367 w 501605"/>
                <a:gd name="connsiteY28" fmla="*/ 485786 h 505654"/>
                <a:gd name="connsiteX29" fmla="*/ 121352 w 501605"/>
                <a:gd name="connsiteY29" fmla="*/ 470037 h 505654"/>
                <a:gd name="connsiteX30" fmla="*/ 132673 w 501605"/>
                <a:gd name="connsiteY30" fmla="*/ 453246 h 505654"/>
                <a:gd name="connsiteX31" fmla="*/ 139416 w 501605"/>
                <a:gd name="connsiteY31" fmla="*/ 419845 h 505654"/>
                <a:gd name="connsiteX32" fmla="*/ 139416 w 501605"/>
                <a:gd name="connsiteY32" fmla="*/ 318583 h 505654"/>
                <a:gd name="connsiteX33" fmla="*/ 53606 w 501605"/>
                <a:gd name="connsiteY33" fmla="*/ 232773 h 505654"/>
                <a:gd name="connsiteX34" fmla="*/ 0 w 501605"/>
                <a:gd name="connsiteY34" fmla="*/ 232773 h 505654"/>
                <a:gd name="connsiteX35" fmla="*/ 15820 w 501605"/>
                <a:gd name="connsiteY35" fmla="*/ 154416 h 505654"/>
                <a:gd name="connsiteX36" fmla="*/ 248778 w 501605"/>
                <a:gd name="connsiteY36" fmla="*/ 0 h 50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05" h="505654">
                  <a:moveTo>
                    <a:pt x="452960" y="229818"/>
                  </a:moveTo>
                  <a:lnTo>
                    <a:pt x="367081" y="239377"/>
                  </a:lnTo>
                  <a:cubicBezTo>
                    <a:pt x="370067" y="261317"/>
                    <a:pt x="367053" y="284116"/>
                    <a:pt x="356323" y="305199"/>
                  </a:cubicBezTo>
                  <a:lnTo>
                    <a:pt x="428564" y="346540"/>
                  </a:lnTo>
                  <a:cubicBezTo>
                    <a:pt x="444412" y="309348"/>
                    <a:pt x="456830" y="273869"/>
                    <a:pt x="452960" y="229818"/>
                  </a:cubicBezTo>
                  <a:close/>
                  <a:moveTo>
                    <a:pt x="248779" y="227417"/>
                  </a:moveTo>
                  <a:cubicBezTo>
                    <a:pt x="234745" y="227417"/>
                    <a:pt x="223368" y="238794"/>
                    <a:pt x="223368" y="252828"/>
                  </a:cubicBezTo>
                  <a:cubicBezTo>
                    <a:pt x="223368" y="266862"/>
                    <a:pt x="234745" y="278239"/>
                    <a:pt x="248779" y="278239"/>
                  </a:cubicBezTo>
                  <a:cubicBezTo>
                    <a:pt x="262813" y="278239"/>
                    <a:pt x="274190" y="266862"/>
                    <a:pt x="274190" y="252828"/>
                  </a:cubicBezTo>
                  <a:cubicBezTo>
                    <a:pt x="274190" y="238794"/>
                    <a:pt x="262813" y="227417"/>
                    <a:pt x="248779" y="227417"/>
                  </a:cubicBezTo>
                  <a:close/>
                  <a:moveTo>
                    <a:pt x="248778" y="199164"/>
                  </a:moveTo>
                  <a:cubicBezTo>
                    <a:pt x="278416" y="199164"/>
                    <a:pt x="302442" y="223190"/>
                    <a:pt x="302442" y="252827"/>
                  </a:cubicBezTo>
                  <a:cubicBezTo>
                    <a:pt x="302442" y="282464"/>
                    <a:pt x="278416" y="306490"/>
                    <a:pt x="248778" y="306490"/>
                  </a:cubicBezTo>
                  <a:cubicBezTo>
                    <a:pt x="219141" y="306490"/>
                    <a:pt x="195115" y="282464"/>
                    <a:pt x="195115" y="252827"/>
                  </a:cubicBezTo>
                  <a:cubicBezTo>
                    <a:pt x="195115" y="223190"/>
                    <a:pt x="219141" y="199164"/>
                    <a:pt x="248778" y="199164"/>
                  </a:cubicBezTo>
                  <a:close/>
                  <a:moveTo>
                    <a:pt x="248778" y="172268"/>
                  </a:moveTo>
                  <a:cubicBezTo>
                    <a:pt x="204287" y="172268"/>
                    <a:pt x="168219" y="208335"/>
                    <a:pt x="168219" y="252827"/>
                  </a:cubicBezTo>
                  <a:cubicBezTo>
                    <a:pt x="168219" y="297319"/>
                    <a:pt x="204287" y="333386"/>
                    <a:pt x="248778" y="333386"/>
                  </a:cubicBezTo>
                  <a:cubicBezTo>
                    <a:pt x="293270" y="333386"/>
                    <a:pt x="329337" y="297319"/>
                    <a:pt x="329337" y="252827"/>
                  </a:cubicBezTo>
                  <a:cubicBezTo>
                    <a:pt x="329337" y="208335"/>
                    <a:pt x="293270" y="172268"/>
                    <a:pt x="248778" y="172268"/>
                  </a:cubicBezTo>
                  <a:close/>
                  <a:moveTo>
                    <a:pt x="441058" y="167875"/>
                  </a:moveTo>
                  <a:lnTo>
                    <a:pt x="359176" y="199205"/>
                  </a:lnTo>
                  <a:cubicBezTo>
                    <a:pt x="364034" y="206847"/>
                    <a:pt x="366320" y="214489"/>
                    <a:pt x="366035" y="222131"/>
                  </a:cubicBezTo>
                  <a:lnTo>
                    <a:pt x="451669" y="203344"/>
                  </a:lnTo>
                  <a:cubicBezTo>
                    <a:pt x="448775" y="191521"/>
                    <a:pt x="446524" y="179698"/>
                    <a:pt x="441058" y="167875"/>
                  </a:cubicBezTo>
                  <a:close/>
                  <a:moveTo>
                    <a:pt x="248778" y="0"/>
                  </a:moveTo>
                  <a:cubicBezTo>
                    <a:pt x="388410" y="0"/>
                    <a:pt x="501605" y="113195"/>
                    <a:pt x="501605" y="252827"/>
                  </a:cubicBezTo>
                  <a:cubicBezTo>
                    <a:pt x="501605" y="392459"/>
                    <a:pt x="388410" y="505654"/>
                    <a:pt x="248778" y="505654"/>
                  </a:cubicBezTo>
                  <a:cubicBezTo>
                    <a:pt x="213870" y="505654"/>
                    <a:pt x="180614" y="498579"/>
                    <a:pt x="150367" y="485786"/>
                  </a:cubicBezTo>
                  <a:lnTo>
                    <a:pt x="121352" y="470037"/>
                  </a:lnTo>
                  <a:lnTo>
                    <a:pt x="132673" y="453246"/>
                  </a:lnTo>
                  <a:cubicBezTo>
                    <a:pt x="137015" y="442980"/>
                    <a:pt x="139416" y="431693"/>
                    <a:pt x="139416" y="419845"/>
                  </a:cubicBezTo>
                  <a:lnTo>
                    <a:pt x="139416" y="318583"/>
                  </a:lnTo>
                  <a:cubicBezTo>
                    <a:pt x="139416" y="271191"/>
                    <a:pt x="100998" y="232773"/>
                    <a:pt x="53606" y="232773"/>
                  </a:cubicBezTo>
                  <a:lnTo>
                    <a:pt x="0" y="232773"/>
                  </a:lnTo>
                  <a:lnTo>
                    <a:pt x="15820" y="154416"/>
                  </a:lnTo>
                  <a:cubicBezTo>
                    <a:pt x="54201" y="63672"/>
                    <a:pt x="144054" y="0"/>
                    <a:pt x="248778"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algn="ctr"/>
              <a:endParaRPr lang="en-US" sz="800" b="1" dirty="0">
                <a:latin typeface="+mj-lt"/>
                <a:cs typeface="Arial" panose="020B0604020202020204" pitchFamily="34" charset="0"/>
              </a:endParaRPr>
            </a:p>
          </p:txBody>
        </p:sp>
        <p:sp>
          <p:nvSpPr>
            <p:cNvPr id="455" name="Rectangle 454"/>
            <p:cNvSpPr/>
            <p:nvPr/>
          </p:nvSpPr>
          <p:spPr>
            <a:xfrm>
              <a:off x="2465232" y="298791"/>
              <a:ext cx="378611" cy="2585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algn="ctr"/>
              <a:r>
                <a:rPr lang="en-US" sz="800" b="1" dirty="0">
                  <a:solidFill>
                    <a:srgbClr val="577190"/>
                  </a:solidFill>
                  <a:latin typeface="+mj-lt"/>
                  <a:cs typeface="Arial" panose="020B0604020202020204" pitchFamily="34" charset="0"/>
                </a:rPr>
                <a:t>WSAv</a:t>
              </a:r>
            </a:p>
          </p:txBody>
        </p:sp>
        <p:sp>
          <p:nvSpPr>
            <p:cNvPr id="456" name="Freeform 455"/>
            <p:cNvSpPr/>
            <p:nvPr/>
          </p:nvSpPr>
          <p:spPr>
            <a:xfrm>
              <a:off x="1058898" y="431270"/>
              <a:ext cx="1478095" cy="260712"/>
            </a:xfrm>
            <a:custGeom>
              <a:avLst/>
              <a:gdLst>
                <a:gd name="connsiteX0" fmla="*/ 1114121 w 2382618"/>
                <a:gd name="connsiteY0" fmla="*/ 172782 h 462280"/>
                <a:gd name="connsiteX1" fmla="*/ 1072907 w 2382618"/>
                <a:gd name="connsiteY1" fmla="*/ 213996 h 462280"/>
                <a:gd name="connsiteX2" fmla="*/ 1072907 w 2382618"/>
                <a:gd name="connsiteY2" fmla="*/ 248285 h 462280"/>
                <a:gd name="connsiteX3" fmla="*/ 1114121 w 2382618"/>
                <a:gd name="connsiteY3" fmla="*/ 289499 h 462280"/>
                <a:gd name="connsiteX4" fmla="*/ 2103111 w 2382618"/>
                <a:gd name="connsiteY4" fmla="*/ 289499 h 462280"/>
                <a:gd name="connsiteX5" fmla="*/ 2144325 w 2382618"/>
                <a:gd name="connsiteY5" fmla="*/ 248285 h 462280"/>
                <a:gd name="connsiteX6" fmla="*/ 2144325 w 2382618"/>
                <a:gd name="connsiteY6" fmla="*/ 213996 h 462280"/>
                <a:gd name="connsiteX7" fmla="*/ 2103111 w 2382618"/>
                <a:gd name="connsiteY7" fmla="*/ 172782 h 462280"/>
                <a:gd name="connsiteX8" fmla="*/ 300516 w 2382618"/>
                <a:gd name="connsiteY8" fmla="*/ 172720 h 462280"/>
                <a:gd name="connsiteX9" fmla="*/ 242096 w 2382618"/>
                <a:gd name="connsiteY9" fmla="*/ 231140 h 462280"/>
                <a:gd name="connsiteX10" fmla="*/ 300516 w 2382618"/>
                <a:gd name="connsiteY10" fmla="*/ 289560 h 462280"/>
                <a:gd name="connsiteX11" fmla="*/ 358936 w 2382618"/>
                <a:gd name="connsiteY11" fmla="*/ 231140 h 462280"/>
                <a:gd name="connsiteX12" fmla="*/ 300516 w 2382618"/>
                <a:gd name="connsiteY12" fmla="*/ 172720 h 462280"/>
                <a:gd name="connsiteX13" fmla="*/ 122768 w 2382618"/>
                <a:gd name="connsiteY13" fmla="*/ 0 h 462280"/>
                <a:gd name="connsiteX14" fmla="*/ 2259850 w 2382618"/>
                <a:gd name="connsiteY14" fmla="*/ 0 h 462280"/>
                <a:gd name="connsiteX15" fmla="*/ 2382618 w 2382618"/>
                <a:gd name="connsiteY15" fmla="*/ 122768 h 462280"/>
                <a:gd name="connsiteX16" fmla="*/ 2382618 w 2382618"/>
                <a:gd name="connsiteY16" fmla="*/ 339512 h 462280"/>
                <a:gd name="connsiteX17" fmla="*/ 2259850 w 2382618"/>
                <a:gd name="connsiteY17" fmla="*/ 462280 h 462280"/>
                <a:gd name="connsiteX18" fmla="*/ 122768 w 2382618"/>
                <a:gd name="connsiteY18" fmla="*/ 462280 h 462280"/>
                <a:gd name="connsiteX19" fmla="*/ 0 w 2382618"/>
                <a:gd name="connsiteY19" fmla="*/ 339512 h 462280"/>
                <a:gd name="connsiteX20" fmla="*/ 0 w 2382618"/>
                <a:gd name="connsiteY20" fmla="*/ 122768 h 462280"/>
                <a:gd name="connsiteX21" fmla="*/ 122768 w 2382618"/>
                <a:gd name="connsiteY21" fmla="*/ 0 h 46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2618" h="462280">
                  <a:moveTo>
                    <a:pt x="1114121" y="172782"/>
                  </a:moveTo>
                  <a:cubicBezTo>
                    <a:pt x="1091359" y="172782"/>
                    <a:pt x="1072907" y="191234"/>
                    <a:pt x="1072907" y="213996"/>
                  </a:cubicBezTo>
                  <a:lnTo>
                    <a:pt x="1072907" y="248285"/>
                  </a:lnTo>
                  <a:cubicBezTo>
                    <a:pt x="1072907" y="271047"/>
                    <a:pt x="1091359" y="289499"/>
                    <a:pt x="1114121" y="289499"/>
                  </a:cubicBezTo>
                  <a:lnTo>
                    <a:pt x="2103111" y="289499"/>
                  </a:lnTo>
                  <a:cubicBezTo>
                    <a:pt x="2125873" y="289499"/>
                    <a:pt x="2144325" y="271047"/>
                    <a:pt x="2144325" y="248285"/>
                  </a:cubicBezTo>
                  <a:lnTo>
                    <a:pt x="2144325" y="213996"/>
                  </a:lnTo>
                  <a:cubicBezTo>
                    <a:pt x="2144325" y="191234"/>
                    <a:pt x="2125873" y="172782"/>
                    <a:pt x="2103111" y="172782"/>
                  </a:cubicBezTo>
                  <a:close/>
                  <a:moveTo>
                    <a:pt x="300516" y="172720"/>
                  </a:moveTo>
                  <a:cubicBezTo>
                    <a:pt x="268252" y="172720"/>
                    <a:pt x="242096" y="198876"/>
                    <a:pt x="242096" y="231140"/>
                  </a:cubicBezTo>
                  <a:cubicBezTo>
                    <a:pt x="242096" y="263404"/>
                    <a:pt x="268252" y="289560"/>
                    <a:pt x="300516" y="289560"/>
                  </a:cubicBezTo>
                  <a:cubicBezTo>
                    <a:pt x="332780" y="289560"/>
                    <a:pt x="358936" y="263404"/>
                    <a:pt x="358936" y="231140"/>
                  </a:cubicBezTo>
                  <a:cubicBezTo>
                    <a:pt x="358936" y="198876"/>
                    <a:pt x="332780" y="172720"/>
                    <a:pt x="300516" y="172720"/>
                  </a:cubicBezTo>
                  <a:close/>
                  <a:moveTo>
                    <a:pt x="122768" y="0"/>
                  </a:moveTo>
                  <a:lnTo>
                    <a:pt x="2259850" y="0"/>
                  </a:lnTo>
                  <a:cubicBezTo>
                    <a:pt x="2327653" y="0"/>
                    <a:pt x="2382618" y="54965"/>
                    <a:pt x="2382618" y="122768"/>
                  </a:cubicBezTo>
                  <a:lnTo>
                    <a:pt x="2382618" y="339512"/>
                  </a:lnTo>
                  <a:cubicBezTo>
                    <a:pt x="2382618" y="407315"/>
                    <a:pt x="2327653" y="462280"/>
                    <a:pt x="2259850" y="462280"/>
                  </a:cubicBezTo>
                  <a:lnTo>
                    <a:pt x="122768" y="462280"/>
                  </a:lnTo>
                  <a:cubicBezTo>
                    <a:pt x="54965" y="462280"/>
                    <a:pt x="0" y="407315"/>
                    <a:pt x="0" y="339512"/>
                  </a:cubicBezTo>
                  <a:lnTo>
                    <a:pt x="0" y="122768"/>
                  </a:lnTo>
                  <a:cubicBezTo>
                    <a:pt x="0" y="54965"/>
                    <a:pt x="54965" y="0"/>
                    <a:pt x="122768"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solidFill>
                    <a:srgbClr val="577190"/>
                  </a:solidFill>
                  <a:latin typeface="+mj-lt"/>
                  <a:cs typeface="Arial" panose="020B0604020202020204" pitchFamily="34" charset="0"/>
                </a:rPr>
                <a:t>WSA</a:t>
              </a:r>
            </a:p>
          </p:txBody>
        </p:sp>
      </p:grpSp>
      <p:sp>
        <p:nvSpPr>
          <p:cNvPr id="464" name="Freeform 463"/>
          <p:cNvSpPr>
            <a:spLocks/>
          </p:cNvSpPr>
          <p:nvPr/>
        </p:nvSpPr>
        <p:spPr bwMode="auto">
          <a:xfrm>
            <a:off x="8085366" y="1239117"/>
            <a:ext cx="655189" cy="1203308"/>
          </a:xfrm>
          <a:custGeom>
            <a:avLst/>
            <a:gdLst>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65340 h 665340"/>
              <a:gd name="connsiteX6" fmla="*/ 0 w 761971"/>
              <a:gd name="connsiteY6" fmla="*/ 66534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50336 h 665340"/>
              <a:gd name="connsiteX6" fmla="*/ 0 w 761971"/>
              <a:gd name="connsiteY6" fmla="*/ 665340 h 665340"/>
              <a:gd name="connsiteX7" fmla="*/ 0 w 761971"/>
              <a:gd name="connsiteY7" fmla="*/ 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0028 w 761971"/>
              <a:gd name="connsiteY5" fmla="*/ 652211 h 665340"/>
              <a:gd name="connsiteX6" fmla="*/ 0 w 761971"/>
              <a:gd name="connsiteY6" fmla="*/ 665340 h 665340"/>
              <a:gd name="connsiteX7" fmla="*/ 0 w 761971"/>
              <a:gd name="connsiteY7" fmla="*/ 0 h 66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71" h="665340">
                <a:moveTo>
                  <a:pt x="0" y="0"/>
                </a:moveTo>
                <a:lnTo>
                  <a:pt x="182340" y="3210"/>
                </a:lnTo>
                <a:lnTo>
                  <a:pt x="370242" y="5806"/>
                </a:lnTo>
                <a:lnTo>
                  <a:pt x="563325" y="8470"/>
                </a:lnTo>
                <a:lnTo>
                  <a:pt x="761971" y="10792"/>
                </a:lnTo>
                <a:cubicBezTo>
                  <a:pt x="761323" y="224598"/>
                  <a:pt x="760676" y="438405"/>
                  <a:pt x="760028" y="652211"/>
                </a:cubicBezTo>
                <a:lnTo>
                  <a:pt x="0" y="665340"/>
                </a:lnTo>
                <a:lnTo>
                  <a:pt x="0" y="0"/>
                </a:ln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a typeface="+mn-ea"/>
              <a:cs typeface="+mn-cs"/>
            </a:endParaRPr>
          </a:p>
        </p:txBody>
      </p:sp>
      <p:sp>
        <p:nvSpPr>
          <p:cNvPr id="529" name="Rectangle 528"/>
          <p:cNvSpPr/>
          <p:nvPr/>
        </p:nvSpPr>
        <p:spPr>
          <a:xfrm>
            <a:off x="5843944" y="3958567"/>
            <a:ext cx="3025246" cy="510465"/>
          </a:xfrm>
          <a:prstGeom prst="rect">
            <a:avLst/>
          </a:prstGeom>
          <a:solidFill>
            <a:schemeClr val="bg1">
              <a:lumMod val="95000"/>
            </a:schemeClr>
          </a:solidFill>
          <a:ln w="3175" cap="flat" cmpd="sng" algn="ctr">
            <a:solidFill>
              <a:schemeClr val="bg1">
                <a:lumMod val="65000"/>
              </a:schemeClr>
            </a:solidFill>
            <a:prstDash val="solid"/>
          </a:ln>
          <a:effectLst/>
        </p:spPr>
        <p:txBody>
          <a:bodyPr lIns="91436" tIns="45718" rIns="91436" bIns="45718" rtlCol="0" anchor="t"/>
          <a:lstStyle/>
          <a:p>
            <a:pPr defTabSz="1218173">
              <a:defRPr/>
            </a:pPr>
            <a:r>
              <a:rPr lang="en-US" sz="1000" kern="0" dirty="0">
                <a:solidFill>
                  <a:srgbClr val="676767">
                    <a:lumMod val="75000"/>
                  </a:srgbClr>
                </a:solidFill>
                <a:latin typeface="+mj-lt"/>
              </a:rPr>
              <a:t>Key:</a:t>
            </a:r>
          </a:p>
        </p:txBody>
      </p:sp>
      <p:sp>
        <p:nvSpPr>
          <p:cNvPr id="231" name="Rectangle 230"/>
          <p:cNvSpPr/>
          <p:nvPr/>
        </p:nvSpPr>
        <p:spPr>
          <a:xfrm>
            <a:off x="5843950" y="2942415"/>
            <a:ext cx="3025245" cy="990942"/>
          </a:xfrm>
          <a:prstGeom prst="rect">
            <a:avLst/>
          </a:prstGeom>
          <a:solidFill>
            <a:schemeClr val="bg1">
              <a:lumMod val="95000"/>
            </a:schemeClr>
          </a:solidFill>
          <a:ln w="635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4" name="Rectangle 3"/>
          <p:cNvSpPr/>
          <p:nvPr/>
        </p:nvSpPr>
        <p:spPr>
          <a:xfrm rot="204779">
            <a:off x="977182" y="772472"/>
            <a:ext cx="2673314" cy="261042"/>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tx2">
                    <a:lumMod val="75000"/>
                  </a:schemeClr>
                </a:solidFill>
                <a:latin typeface="+mj-lt"/>
              </a:rPr>
              <a:t>Before</a:t>
            </a:r>
          </a:p>
        </p:txBody>
      </p:sp>
      <p:sp>
        <p:nvSpPr>
          <p:cNvPr id="2" name="Freeform 13"/>
          <p:cNvSpPr>
            <a:spLocks/>
          </p:cNvSpPr>
          <p:nvPr/>
        </p:nvSpPr>
        <p:spPr bwMode="auto">
          <a:xfrm>
            <a:off x="989889" y="2463389"/>
            <a:ext cx="7760205" cy="257844"/>
          </a:xfrm>
          <a:custGeom>
            <a:avLst/>
            <a:gdLst>
              <a:gd name="T0" fmla="*/ 13526 w 13526"/>
              <a:gd name="T1" fmla="*/ 13 h 467"/>
              <a:gd name="T2" fmla="*/ 13126 w 13526"/>
              <a:gd name="T3" fmla="*/ 7 h 467"/>
              <a:gd name="T4" fmla="*/ 12300 w 13526"/>
              <a:gd name="T5" fmla="*/ 1 h 467"/>
              <a:gd name="T6" fmla="*/ 11798 w 13526"/>
              <a:gd name="T7" fmla="*/ 0 h 467"/>
              <a:gd name="T8" fmla="*/ 11400 w 13526"/>
              <a:gd name="T9" fmla="*/ 1 h 467"/>
              <a:gd name="T10" fmla="*/ 10582 w 13526"/>
              <a:gd name="T11" fmla="*/ 7 h 467"/>
              <a:gd name="T12" fmla="*/ 10104 w 13526"/>
              <a:gd name="T13" fmla="*/ 13 h 467"/>
              <a:gd name="T14" fmla="*/ 9704 w 13526"/>
              <a:gd name="T15" fmla="*/ 19 h 467"/>
              <a:gd name="T16" fmla="*/ 8886 w 13526"/>
              <a:gd name="T17" fmla="*/ 34 h 467"/>
              <a:gd name="T18" fmla="*/ 8411 w 13526"/>
              <a:gd name="T19" fmla="*/ 46 h 467"/>
              <a:gd name="T20" fmla="*/ 8009 w 13526"/>
              <a:gd name="T21" fmla="*/ 55 h 467"/>
              <a:gd name="T22" fmla="*/ 7191 w 13526"/>
              <a:gd name="T23" fmla="*/ 80 h 467"/>
              <a:gd name="T24" fmla="*/ 6717 w 13526"/>
              <a:gd name="T25" fmla="*/ 95 h 467"/>
              <a:gd name="T26" fmla="*/ 6314 w 13526"/>
              <a:gd name="T27" fmla="*/ 110 h 467"/>
              <a:gd name="T28" fmla="*/ 5495 w 13526"/>
              <a:gd name="T29" fmla="*/ 141 h 467"/>
              <a:gd name="T30" fmla="*/ 5023 w 13526"/>
              <a:gd name="T31" fmla="*/ 160 h 467"/>
              <a:gd name="T32" fmla="*/ 4617 w 13526"/>
              <a:gd name="T33" fmla="*/ 178 h 467"/>
              <a:gd name="T34" fmla="*/ 3799 w 13526"/>
              <a:gd name="T35" fmla="*/ 217 h 467"/>
              <a:gd name="T36" fmla="*/ 3329 w 13526"/>
              <a:gd name="T37" fmla="*/ 240 h 467"/>
              <a:gd name="T38" fmla="*/ 2918 w 13526"/>
              <a:gd name="T39" fmla="*/ 261 h 467"/>
              <a:gd name="T40" fmla="*/ 2099 w 13526"/>
              <a:gd name="T41" fmla="*/ 306 h 467"/>
              <a:gd name="T42" fmla="*/ 1636 w 13526"/>
              <a:gd name="T43" fmla="*/ 332 h 467"/>
              <a:gd name="T44" fmla="*/ 1032 w 13526"/>
              <a:gd name="T45" fmla="*/ 369 h 467"/>
              <a:gd name="T46" fmla="*/ 201 w 13526"/>
              <a:gd name="T47" fmla="*/ 423 h 467"/>
              <a:gd name="T48" fmla="*/ 0 w 13526"/>
              <a:gd name="T49" fmla="*/ 437 h 467"/>
              <a:gd name="T50" fmla="*/ 4 w 13526"/>
              <a:gd name="T51" fmla="*/ 466 h 467"/>
              <a:gd name="T52" fmla="*/ 203 w 13526"/>
              <a:gd name="T53" fmla="*/ 453 h 467"/>
              <a:gd name="T54" fmla="*/ 1034 w 13526"/>
              <a:gd name="T55" fmla="*/ 399 h 467"/>
              <a:gd name="T56" fmla="*/ 1697 w 13526"/>
              <a:gd name="T57" fmla="*/ 359 h 467"/>
              <a:gd name="T58" fmla="*/ 2101 w 13526"/>
              <a:gd name="T59" fmla="*/ 336 h 467"/>
              <a:gd name="T60" fmla="*/ 2920 w 13526"/>
              <a:gd name="T61" fmla="*/ 291 h 467"/>
              <a:gd name="T62" fmla="*/ 3391 w 13526"/>
              <a:gd name="T63" fmla="*/ 267 h 467"/>
              <a:gd name="T64" fmla="*/ 3801 w 13526"/>
              <a:gd name="T65" fmla="*/ 247 h 467"/>
              <a:gd name="T66" fmla="*/ 4619 w 13526"/>
              <a:gd name="T67" fmla="*/ 208 h 467"/>
              <a:gd name="T68" fmla="*/ 5084 w 13526"/>
              <a:gd name="T69" fmla="*/ 188 h 467"/>
              <a:gd name="T70" fmla="*/ 5496 w 13526"/>
              <a:gd name="T71" fmla="*/ 171 h 467"/>
              <a:gd name="T72" fmla="*/ 6315 w 13526"/>
              <a:gd name="T73" fmla="*/ 140 h 467"/>
              <a:gd name="T74" fmla="*/ 6778 w 13526"/>
              <a:gd name="T75" fmla="*/ 124 h 467"/>
              <a:gd name="T76" fmla="*/ 7192 w 13526"/>
              <a:gd name="T77" fmla="*/ 110 h 467"/>
              <a:gd name="T78" fmla="*/ 8010 w 13526"/>
              <a:gd name="T79" fmla="*/ 85 h 467"/>
              <a:gd name="T80" fmla="*/ 8471 w 13526"/>
              <a:gd name="T81" fmla="*/ 74 h 467"/>
              <a:gd name="T82" fmla="*/ 8887 w 13526"/>
              <a:gd name="T83" fmla="*/ 64 h 467"/>
              <a:gd name="T84" fmla="*/ 9705 w 13526"/>
              <a:gd name="T85" fmla="*/ 49 h 467"/>
              <a:gd name="T86" fmla="*/ 10165 w 13526"/>
              <a:gd name="T87" fmla="*/ 42 h 467"/>
              <a:gd name="T88" fmla="*/ 10582 w 13526"/>
              <a:gd name="T89" fmla="*/ 37 h 467"/>
              <a:gd name="T90" fmla="*/ 11400 w 13526"/>
              <a:gd name="T91" fmla="*/ 31 h 467"/>
              <a:gd name="T92" fmla="*/ 11877 w 13526"/>
              <a:gd name="T93" fmla="*/ 30 h 467"/>
              <a:gd name="T94" fmla="*/ 12300 w 13526"/>
              <a:gd name="T95" fmla="*/ 31 h 467"/>
              <a:gd name="T96" fmla="*/ 13126 w 13526"/>
              <a:gd name="T97" fmla="*/ 37 h 467"/>
              <a:gd name="T98" fmla="*/ 13526 w 13526"/>
              <a:gd name="T99" fmla="*/ 4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26" h="467">
                <a:moveTo>
                  <a:pt x="13526" y="13"/>
                </a:moveTo>
                <a:lnTo>
                  <a:pt x="13526" y="13"/>
                </a:lnTo>
                <a:lnTo>
                  <a:pt x="13526" y="13"/>
                </a:lnTo>
                <a:lnTo>
                  <a:pt x="13126" y="7"/>
                </a:lnTo>
                <a:lnTo>
                  <a:pt x="12718" y="3"/>
                </a:lnTo>
                <a:lnTo>
                  <a:pt x="12300" y="1"/>
                </a:lnTo>
                <a:lnTo>
                  <a:pt x="11877" y="0"/>
                </a:lnTo>
                <a:lnTo>
                  <a:pt x="11798" y="0"/>
                </a:lnTo>
                <a:lnTo>
                  <a:pt x="11798" y="0"/>
                </a:lnTo>
                <a:lnTo>
                  <a:pt x="11400" y="1"/>
                </a:lnTo>
                <a:lnTo>
                  <a:pt x="10994" y="3"/>
                </a:lnTo>
                <a:lnTo>
                  <a:pt x="10582" y="7"/>
                </a:lnTo>
                <a:lnTo>
                  <a:pt x="10164" y="12"/>
                </a:lnTo>
                <a:lnTo>
                  <a:pt x="10104" y="13"/>
                </a:lnTo>
                <a:lnTo>
                  <a:pt x="10104" y="13"/>
                </a:lnTo>
                <a:lnTo>
                  <a:pt x="9704" y="19"/>
                </a:lnTo>
                <a:lnTo>
                  <a:pt x="9298" y="25"/>
                </a:lnTo>
                <a:lnTo>
                  <a:pt x="8886" y="34"/>
                </a:lnTo>
                <a:lnTo>
                  <a:pt x="8471" y="44"/>
                </a:lnTo>
                <a:lnTo>
                  <a:pt x="8411" y="46"/>
                </a:lnTo>
                <a:lnTo>
                  <a:pt x="8411" y="46"/>
                </a:lnTo>
                <a:lnTo>
                  <a:pt x="8009" y="55"/>
                </a:lnTo>
                <a:lnTo>
                  <a:pt x="7602" y="67"/>
                </a:lnTo>
                <a:lnTo>
                  <a:pt x="7191" y="80"/>
                </a:lnTo>
                <a:lnTo>
                  <a:pt x="6777" y="94"/>
                </a:lnTo>
                <a:lnTo>
                  <a:pt x="6717" y="95"/>
                </a:lnTo>
                <a:lnTo>
                  <a:pt x="6717" y="95"/>
                </a:lnTo>
                <a:lnTo>
                  <a:pt x="6314" y="110"/>
                </a:lnTo>
                <a:lnTo>
                  <a:pt x="5905" y="125"/>
                </a:lnTo>
                <a:lnTo>
                  <a:pt x="5495" y="141"/>
                </a:lnTo>
                <a:lnTo>
                  <a:pt x="5083" y="158"/>
                </a:lnTo>
                <a:lnTo>
                  <a:pt x="5023" y="160"/>
                </a:lnTo>
                <a:lnTo>
                  <a:pt x="5023" y="160"/>
                </a:lnTo>
                <a:lnTo>
                  <a:pt x="4617" y="178"/>
                </a:lnTo>
                <a:lnTo>
                  <a:pt x="4208" y="198"/>
                </a:lnTo>
                <a:lnTo>
                  <a:pt x="3799" y="217"/>
                </a:lnTo>
                <a:lnTo>
                  <a:pt x="3389" y="237"/>
                </a:lnTo>
                <a:lnTo>
                  <a:pt x="3329" y="240"/>
                </a:lnTo>
                <a:lnTo>
                  <a:pt x="3329" y="240"/>
                </a:lnTo>
                <a:lnTo>
                  <a:pt x="2918" y="261"/>
                </a:lnTo>
                <a:lnTo>
                  <a:pt x="2508" y="283"/>
                </a:lnTo>
                <a:lnTo>
                  <a:pt x="2099" y="306"/>
                </a:lnTo>
                <a:lnTo>
                  <a:pt x="1696" y="329"/>
                </a:lnTo>
                <a:lnTo>
                  <a:pt x="1636" y="332"/>
                </a:lnTo>
                <a:lnTo>
                  <a:pt x="1636" y="332"/>
                </a:lnTo>
                <a:lnTo>
                  <a:pt x="1032" y="369"/>
                </a:lnTo>
                <a:lnTo>
                  <a:pt x="550" y="400"/>
                </a:lnTo>
                <a:lnTo>
                  <a:pt x="201" y="423"/>
                </a:lnTo>
                <a:lnTo>
                  <a:pt x="2" y="437"/>
                </a:lnTo>
                <a:lnTo>
                  <a:pt x="0" y="437"/>
                </a:lnTo>
                <a:lnTo>
                  <a:pt x="0" y="467"/>
                </a:lnTo>
                <a:lnTo>
                  <a:pt x="4" y="466"/>
                </a:lnTo>
                <a:lnTo>
                  <a:pt x="4" y="466"/>
                </a:lnTo>
                <a:lnTo>
                  <a:pt x="203" y="453"/>
                </a:lnTo>
                <a:lnTo>
                  <a:pt x="552" y="430"/>
                </a:lnTo>
                <a:lnTo>
                  <a:pt x="1034" y="399"/>
                </a:lnTo>
                <a:lnTo>
                  <a:pt x="1637" y="362"/>
                </a:lnTo>
                <a:lnTo>
                  <a:pt x="1697" y="359"/>
                </a:lnTo>
                <a:lnTo>
                  <a:pt x="1697" y="359"/>
                </a:lnTo>
                <a:lnTo>
                  <a:pt x="2101" y="336"/>
                </a:lnTo>
                <a:lnTo>
                  <a:pt x="2509" y="313"/>
                </a:lnTo>
                <a:lnTo>
                  <a:pt x="2920" y="291"/>
                </a:lnTo>
                <a:lnTo>
                  <a:pt x="3331" y="269"/>
                </a:lnTo>
                <a:lnTo>
                  <a:pt x="3391" y="267"/>
                </a:lnTo>
                <a:lnTo>
                  <a:pt x="3391" y="267"/>
                </a:lnTo>
                <a:lnTo>
                  <a:pt x="3801" y="247"/>
                </a:lnTo>
                <a:lnTo>
                  <a:pt x="4210" y="226"/>
                </a:lnTo>
                <a:lnTo>
                  <a:pt x="4619" y="208"/>
                </a:lnTo>
                <a:lnTo>
                  <a:pt x="5024" y="190"/>
                </a:lnTo>
                <a:lnTo>
                  <a:pt x="5084" y="188"/>
                </a:lnTo>
                <a:lnTo>
                  <a:pt x="5084" y="188"/>
                </a:lnTo>
                <a:lnTo>
                  <a:pt x="5496" y="171"/>
                </a:lnTo>
                <a:lnTo>
                  <a:pt x="5906" y="155"/>
                </a:lnTo>
                <a:lnTo>
                  <a:pt x="6315" y="140"/>
                </a:lnTo>
                <a:lnTo>
                  <a:pt x="6718" y="125"/>
                </a:lnTo>
                <a:lnTo>
                  <a:pt x="6778" y="124"/>
                </a:lnTo>
                <a:lnTo>
                  <a:pt x="6778" y="124"/>
                </a:lnTo>
                <a:lnTo>
                  <a:pt x="7192" y="110"/>
                </a:lnTo>
                <a:lnTo>
                  <a:pt x="7602" y="97"/>
                </a:lnTo>
                <a:lnTo>
                  <a:pt x="8010" y="85"/>
                </a:lnTo>
                <a:lnTo>
                  <a:pt x="8411" y="76"/>
                </a:lnTo>
                <a:lnTo>
                  <a:pt x="8471" y="74"/>
                </a:lnTo>
                <a:lnTo>
                  <a:pt x="8471" y="74"/>
                </a:lnTo>
                <a:lnTo>
                  <a:pt x="8887" y="64"/>
                </a:lnTo>
                <a:lnTo>
                  <a:pt x="9299" y="55"/>
                </a:lnTo>
                <a:lnTo>
                  <a:pt x="9705" y="49"/>
                </a:lnTo>
                <a:lnTo>
                  <a:pt x="10105" y="43"/>
                </a:lnTo>
                <a:lnTo>
                  <a:pt x="10165" y="42"/>
                </a:lnTo>
                <a:lnTo>
                  <a:pt x="10165" y="42"/>
                </a:lnTo>
                <a:lnTo>
                  <a:pt x="10582" y="37"/>
                </a:lnTo>
                <a:lnTo>
                  <a:pt x="10994" y="33"/>
                </a:lnTo>
                <a:lnTo>
                  <a:pt x="11400" y="31"/>
                </a:lnTo>
                <a:lnTo>
                  <a:pt x="11798" y="30"/>
                </a:lnTo>
                <a:lnTo>
                  <a:pt x="11877" y="30"/>
                </a:lnTo>
                <a:lnTo>
                  <a:pt x="11877" y="30"/>
                </a:lnTo>
                <a:lnTo>
                  <a:pt x="12300" y="31"/>
                </a:lnTo>
                <a:lnTo>
                  <a:pt x="12716" y="33"/>
                </a:lnTo>
                <a:lnTo>
                  <a:pt x="13126" y="37"/>
                </a:lnTo>
                <a:lnTo>
                  <a:pt x="13525" y="43"/>
                </a:lnTo>
                <a:lnTo>
                  <a:pt x="13526" y="43"/>
                </a:lnTo>
                <a:lnTo>
                  <a:pt x="13526" y="13"/>
                </a:lnTo>
                <a:close/>
              </a:path>
            </a:pathLst>
          </a:custGeom>
          <a:solidFill>
            <a:schemeClr val="accent3"/>
          </a:solidFill>
          <a:ln>
            <a:noFill/>
          </a:ln>
        </p:spPr>
        <p:txBody>
          <a:bodyPr vert="horz" wrap="square" lIns="91412" tIns="45706" rIns="91412" bIns="45706" numCol="1" anchor="t" anchorCtr="0" compatLnSpc="1">
            <a:prstTxWarp prst="textNoShape">
              <a:avLst/>
            </a:prstTxWarp>
          </a:bodyPr>
          <a:lstStyle/>
          <a:p>
            <a:pPr defTabSz="914103"/>
            <a:endParaRPr lang="en-US" kern="0">
              <a:solidFill>
                <a:srgbClr val="FFFFFF"/>
              </a:solidFill>
              <a:latin typeface="+mj-lt"/>
            </a:endParaRPr>
          </a:p>
        </p:txBody>
      </p:sp>
      <p:sp>
        <p:nvSpPr>
          <p:cNvPr id="3" name="Freeform 14"/>
          <p:cNvSpPr>
            <a:spLocks/>
          </p:cNvSpPr>
          <p:nvPr/>
        </p:nvSpPr>
        <p:spPr bwMode="auto">
          <a:xfrm>
            <a:off x="989889" y="938362"/>
            <a:ext cx="7760205" cy="250131"/>
          </a:xfrm>
          <a:custGeom>
            <a:avLst/>
            <a:gdLst>
              <a:gd name="T0" fmla="*/ 13526 w 13526"/>
              <a:gd name="T1" fmla="*/ 422 h 453"/>
              <a:gd name="T2" fmla="*/ 12812 w 13526"/>
              <a:gd name="T3" fmla="*/ 423 h 453"/>
              <a:gd name="T4" fmla="*/ 12334 w 13526"/>
              <a:gd name="T5" fmla="*/ 422 h 453"/>
              <a:gd name="T6" fmla="*/ 11798 w 13526"/>
              <a:gd name="T7" fmla="*/ 421 h 453"/>
              <a:gd name="T8" fmla="*/ 11386 w 13526"/>
              <a:gd name="T9" fmla="*/ 419 h 453"/>
              <a:gd name="T10" fmla="*/ 10568 w 13526"/>
              <a:gd name="T11" fmla="*/ 413 h 453"/>
              <a:gd name="T12" fmla="*/ 10105 w 13526"/>
              <a:gd name="T13" fmla="*/ 408 h 453"/>
              <a:gd name="T14" fmla="*/ 9692 w 13526"/>
              <a:gd name="T15" fmla="*/ 403 h 453"/>
              <a:gd name="T16" fmla="*/ 8873 w 13526"/>
              <a:gd name="T17" fmla="*/ 391 h 453"/>
              <a:gd name="T18" fmla="*/ 8411 w 13526"/>
              <a:gd name="T19" fmla="*/ 384 h 453"/>
              <a:gd name="T20" fmla="*/ 7997 w 13526"/>
              <a:gd name="T21" fmla="*/ 375 h 453"/>
              <a:gd name="T22" fmla="*/ 7179 w 13526"/>
              <a:gd name="T23" fmla="*/ 357 h 453"/>
              <a:gd name="T24" fmla="*/ 6717 w 13526"/>
              <a:gd name="T25" fmla="*/ 345 h 453"/>
              <a:gd name="T26" fmla="*/ 6302 w 13526"/>
              <a:gd name="T27" fmla="*/ 334 h 453"/>
              <a:gd name="T28" fmla="*/ 5484 w 13526"/>
              <a:gd name="T29" fmla="*/ 307 h 453"/>
              <a:gd name="T30" fmla="*/ 5024 w 13526"/>
              <a:gd name="T31" fmla="*/ 291 h 453"/>
              <a:gd name="T32" fmla="*/ 4606 w 13526"/>
              <a:gd name="T33" fmla="*/ 275 h 453"/>
              <a:gd name="T34" fmla="*/ 3788 w 13526"/>
              <a:gd name="T35" fmla="*/ 241 h 453"/>
              <a:gd name="T36" fmla="*/ 3331 w 13526"/>
              <a:gd name="T37" fmla="*/ 219 h 453"/>
              <a:gd name="T38" fmla="*/ 2906 w 13526"/>
              <a:gd name="T39" fmla="*/ 198 h 453"/>
              <a:gd name="T40" fmla="*/ 2088 w 13526"/>
              <a:gd name="T41" fmla="*/ 152 h 453"/>
              <a:gd name="T42" fmla="*/ 1637 w 13526"/>
              <a:gd name="T43" fmla="*/ 124 h 453"/>
              <a:gd name="T44" fmla="*/ 1314 w 13526"/>
              <a:gd name="T45" fmla="*/ 103 h 453"/>
              <a:gd name="T46" fmla="*/ 772 w 13526"/>
              <a:gd name="T47" fmla="*/ 64 h 453"/>
              <a:gd name="T48" fmla="*/ 366 w 13526"/>
              <a:gd name="T49" fmla="*/ 32 h 453"/>
              <a:gd name="T50" fmla="*/ 5 w 13526"/>
              <a:gd name="T51" fmla="*/ 0 h 453"/>
              <a:gd name="T52" fmla="*/ 0 w 13526"/>
              <a:gd name="T53" fmla="*/ 30 h 453"/>
              <a:gd name="T54" fmla="*/ 2 w 13526"/>
              <a:gd name="T55" fmla="*/ 30 h 453"/>
              <a:gd name="T56" fmla="*/ 363 w 13526"/>
              <a:gd name="T57" fmla="*/ 62 h 453"/>
              <a:gd name="T58" fmla="*/ 770 w 13526"/>
              <a:gd name="T59" fmla="*/ 94 h 453"/>
              <a:gd name="T60" fmla="*/ 1312 w 13526"/>
              <a:gd name="T61" fmla="*/ 133 h 453"/>
              <a:gd name="T62" fmla="*/ 1696 w 13526"/>
              <a:gd name="T63" fmla="*/ 158 h 453"/>
              <a:gd name="T64" fmla="*/ 2086 w 13526"/>
              <a:gd name="T65" fmla="*/ 182 h 453"/>
              <a:gd name="T66" fmla="*/ 2905 w 13526"/>
              <a:gd name="T67" fmla="*/ 228 h 453"/>
              <a:gd name="T68" fmla="*/ 3389 w 13526"/>
              <a:gd name="T69" fmla="*/ 251 h 453"/>
              <a:gd name="T70" fmla="*/ 3787 w 13526"/>
              <a:gd name="T71" fmla="*/ 270 h 453"/>
              <a:gd name="T72" fmla="*/ 4605 w 13526"/>
              <a:gd name="T73" fmla="*/ 305 h 453"/>
              <a:gd name="T74" fmla="*/ 5083 w 13526"/>
              <a:gd name="T75" fmla="*/ 323 h 453"/>
              <a:gd name="T76" fmla="*/ 5483 w 13526"/>
              <a:gd name="T77" fmla="*/ 337 h 453"/>
              <a:gd name="T78" fmla="*/ 6301 w 13526"/>
              <a:gd name="T79" fmla="*/ 363 h 453"/>
              <a:gd name="T80" fmla="*/ 6777 w 13526"/>
              <a:gd name="T81" fmla="*/ 376 h 453"/>
              <a:gd name="T82" fmla="*/ 7178 w 13526"/>
              <a:gd name="T83" fmla="*/ 387 h 453"/>
              <a:gd name="T84" fmla="*/ 7997 w 13526"/>
              <a:gd name="T85" fmla="*/ 405 h 453"/>
              <a:gd name="T86" fmla="*/ 8470 w 13526"/>
              <a:gd name="T87" fmla="*/ 415 h 453"/>
              <a:gd name="T88" fmla="*/ 8873 w 13526"/>
              <a:gd name="T89" fmla="*/ 421 h 453"/>
              <a:gd name="T90" fmla="*/ 9691 w 13526"/>
              <a:gd name="T91" fmla="*/ 433 h 453"/>
              <a:gd name="T92" fmla="*/ 10164 w 13526"/>
              <a:gd name="T93" fmla="*/ 439 h 453"/>
              <a:gd name="T94" fmla="*/ 10568 w 13526"/>
              <a:gd name="T95" fmla="*/ 443 h 453"/>
              <a:gd name="T96" fmla="*/ 11386 w 13526"/>
              <a:gd name="T97" fmla="*/ 449 h 453"/>
              <a:gd name="T98" fmla="*/ 11858 w 13526"/>
              <a:gd name="T99" fmla="*/ 451 h 453"/>
              <a:gd name="T100" fmla="*/ 12334 w 13526"/>
              <a:gd name="T101" fmla="*/ 452 h 453"/>
              <a:gd name="T102" fmla="*/ 12812 w 13526"/>
              <a:gd name="T103" fmla="*/ 453 h 453"/>
              <a:gd name="T104" fmla="*/ 13526 w 13526"/>
              <a:gd name="T105" fmla="*/ 452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26" h="453">
                <a:moveTo>
                  <a:pt x="13526" y="422"/>
                </a:moveTo>
                <a:lnTo>
                  <a:pt x="13526" y="422"/>
                </a:lnTo>
                <a:lnTo>
                  <a:pt x="13526" y="422"/>
                </a:lnTo>
                <a:lnTo>
                  <a:pt x="12812" y="423"/>
                </a:lnTo>
                <a:lnTo>
                  <a:pt x="12812" y="423"/>
                </a:lnTo>
                <a:lnTo>
                  <a:pt x="12334" y="422"/>
                </a:lnTo>
                <a:lnTo>
                  <a:pt x="11858" y="421"/>
                </a:lnTo>
                <a:lnTo>
                  <a:pt x="11798" y="421"/>
                </a:lnTo>
                <a:lnTo>
                  <a:pt x="11798" y="421"/>
                </a:lnTo>
                <a:lnTo>
                  <a:pt x="11386" y="419"/>
                </a:lnTo>
                <a:lnTo>
                  <a:pt x="10975" y="416"/>
                </a:lnTo>
                <a:lnTo>
                  <a:pt x="10568" y="413"/>
                </a:lnTo>
                <a:lnTo>
                  <a:pt x="10165" y="409"/>
                </a:lnTo>
                <a:lnTo>
                  <a:pt x="10105" y="408"/>
                </a:lnTo>
                <a:lnTo>
                  <a:pt x="10105" y="408"/>
                </a:lnTo>
                <a:lnTo>
                  <a:pt x="9692" y="403"/>
                </a:lnTo>
                <a:lnTo>
                  <a:pt x="9280" y="398"/>
                </a:lnTo>
                <a:lnTo>
                  <a:pt x="8873" y="391"/>
                </a:lnTo>
                <a:lnTo>
                  <a:pt x="8471" y="385"/>
                </a:lnTo>
                <a:lnTo>
                  <a:pt x="8411" y="384"/>
                </a:lnTo>
                <a:lnTo>
                  <a:pt x="8411" y="384"/>
                </a:lnTo>
                <a:lnTo>
                  <a:pt x="7997" y="375"/>
                </a:lnTo>
                <a:lnTo>
                  <a:pt x="7586" y="367"/>
                </a:lnTo>
                <a:lnTo>
                  <a:pt x="7179" y="357"/>
                </a:lnTo>
                <a:lnTo>
                  <a:pt x="6777" y="346"/>
                </a:lnTo>
                <a:lnTo>
                  <a:pt x="6717" y="345"/>
                </a:lnTo>
                <a:lnTo>
                  <a:pt x="6717" y="345"/>
                </a:lnTo>
                <a:lnTo>
                  <a:pt x="6302" y="334"/>
                </a:lnTo>
                <a:lnTo>
                  <a:pt x="5890" y="321"/>
                </a:lnTo>
                <a:lnTo>
                  <a:pt x="5484" y="307"/>
                </a:lnTo>
                <a:lnTo>
                  <a:pt x="5084" y="293"/>
                </a:lnTo>
                <a:lnTo>
                  <a:pt x="5024" y="291"/>
                </a:lnTo>
                <a:lnTo>
                  <a:pt x="5024" y="291"/>
                </a:lnTo>
                <a:lnTo>
                  <a:pt x="4606" y="275"/>
                </a:lnTo>
                <a:lnTo>
                  <a:pt x="4194" y="258"/>
                </a:lnTo>
                <a:lnTo>
                  <a:pt x="3788" y="241"/>
                </a:lnTo>
                <a:lnTo>
                  <a:pt x="3391" y="221"/>
                </a:lnTo>
                <a:lnTo>
                  <a:pt x="3331" y="219"/>
                </a:lnTo>
                <a:lnTo>
                  <a:pt x="3331" y="219"/>
                </a:lnTo>
                <a:lnTo>
                  <a:pt x="2906" y="198"/>
                </a:lnTo>
                <a:lnTo>
                  <a:pt x="2491" y="175"/>
                </a:lnTo>
                <a:lnTo>
                  <a:pt x="2088" y="152"/>
                </a:lnTo>
                <a:lnTo>
                  <a:pt x="1697" y="128"/>
                </a:lnTo>
                <a:lnTo>
                  <a:pt x="1637" y="124"/>
                </a:lnTo>
                <a:lnTo>
                  <a:pt x="1637" y="124"/>
                </a:lnTo>
                <a:lnTo>
                  <a:pt x="1314" y="103"/>
                </a:lnTo>
                <a:lnTo>
                  <a:pt x="1026" y="82"/>
                </a:lnTo>
                <a:lnTo>
                  <a:pt x="772" y="64"/>
                </a:lnTo>
                <a:lnTo>
                  <a:pt x="552" y="47"/>
                </a:lnTo>
                <a:lnTo>
                  <a:pt x="366" y="32"/>
                </a:lnTo>
                <a:lnTo>
                  <a:pt x="212" y="19"/>
                </a:lnTo>
                <a:lnTo>
                  <a:pt x="5" y="0"/>
                </a:lnTo>
                <a:lnTo>
                  <a:pt x="0" y="0"/>
                </a:lnTo>
                <a:lnTo>
                  <a:pt x="0" y="30"/>
                </a:lnTo>
                <a:lnTo>
                  <a:pt x="2" y="30"/>
                </a:lnTo>
                <a:lnTo>
                  <a:pt x="2" y="30"/>
                </a:lnTo>
                <a:lnTo>
                  <a:pt x="210" y="49"/>
                </a:lnTo>
                <a:lnTo>
                  <a:pt x="363" y="62"/>
                </a:lnTo>
                <a:lnTo>
                  <a:pt x="550" y="77"/>
                </a:lnTo>
                <a:lnTo>
                  <a:pt x="770" y="94"/>
                </a:lnTo>
                <a:lnTo>
                  <a:pt x="1023" y="112"/>
                </a:lnTo>
                <a:lnTo>
                  <a:pt x="1312" y="133"/>
                </a:lnTo>
                <a:lnTo>
                  <a:pt x="1636" y="154"/>
                </a:lnTo>
                <a:lnTo>
                  <a:pt x="1696" y="158"/>
                </a:lnTo>
                <a:lnTo>
                  <a:pt x="1696" y="158"/>
                </a:lnTo>
                <a:lnTo>
                  <a:pt x="2086" y="182"/>
                </a:lnTo>
                <a:lnTo>
                  <a:pt x="2490" y="205"/>
                </a:lnTo>
                <a:lnTo>
                  <a:pt x="2905" y="228"/>
                </a:lnTo>
                <a:lnTo>
                  <a:pt x="3329" y="249"/>
                </a:lnTo>
                <a:lnTo>
                  <a:pt x="3389" y="251"/>
                </a:lnTo>
                <a:lnTo>
                  <a:pt x="3389" y="251"/>
                </a:lnTo>
                <a:lnTo>
                  <a:pt x="3787" y="270"/>
                </a:lnTo>
                <a:lnTo>
                  <a:pt x="4192" y="288"/>
                </a:lnTo>
                <a:lnTo>
                  <a:pt x="4605" y="305"/>
                </a:lnTo>
                <a:lnTo>
                  <a:pt x="5023" y="321"/>
                </a:lnTo>
                <a:lnTo>
                  <a:pt x="5083" y="323"/>
                </a:lnTo>
                <a:lnTo>
                  <a:pt x="5083" y="323"/>
                </a:lnTo>
                <a:lnTo>
                  <a:pt x="5483" y="337"/>
                </a:lnTo>
                <a:lnTo>
                  <a:pt x="5890" y="351"/>
                </a:lnTo>
                <a:lnTo>
                  <a:pt x="6301" y="363"/>
                </a:lnTo>
                <a:lnTo>
                  <a:pt x="6717" y="375"/>
                </a:lnTo>
                <a:lnTo>
                  <a:pt x="6777" y="376"/>
                </a:lnTo>
                <a:lnTo>
                  <a:pt x="6777" y="376"/>
                </a:lnTo>
                <a:lnTo>
                  <a:pt x="7178" y="387"/>
                </a:lnTo>
                <a:lnTo>
                  <a:pt x="7585" y="397"/>
                </a:lnTo>
                <a:lnTo>
                  <a:pt x="7997" y="405"/>
                </a:lnTo>
                <a:lnTo>
                  <a:pt x="8410" y="414"/>
                </a:lnTo>
                <a:lnTo>
                  <a:pt x="8470" y="415"/>
                </a:lnTo>
                <a:lnTo>
                  <a:pt x="8470" y="415"/>
                </a:lnTo>
                <a:lnTo>
                  <a:pt x="8873" y="421"/>
                </a:lnTo>
                <a:lnTo>
                  <a:pt x="9280" y="428"/>
                </a:lnTo>
                <a:lnTo>
                  <a:pt x="9691" y="433"/>
                </a:lnTo>
                <a:lnTo>
                  <a:pt x="10104" y="438"/>
                </a:lnTo>
                <a:lnTo>
                  <a:pt x="10164" y="439"/>
                </a:lnTo>
                <a:lnTo>
                  <a:pt x="10164" y="439"/>
                </a:lnTo>
                <a:lnTo>
                  <a:pt x="10568" y="443"/>
                </a:lnTo>
                <a:lnTo>
                  <a:pt x="10975" y="446"/>
                </a:lnTo>
                <a:lnTo>
                  <a:pt x="11386" y="449"/>
                </a:lnTo>
                <a:lnTo>
                  <a:pt x="11798" y="451"/>
                </a:lnTo>
                <a:lnTo>
                  <a:pt x="11858" y="451"/>
                </a:lnTo>
                <a:lnTo>
                  <a:pt x="11858" y="451"/>
                </a:lnTo>
                <a:lnTo>
                  <a:pt x="12334" y="452"/>
                </a:lnTo>
                <a:lnTo>
                  <a:pt x="12812" y="453"/>
                </a:lnTo>
                <a:lnTo>
                  <a:pt x="12812" y="453"/>
                </a:lnTo>
                <a:lnTo>
                  <a:pt x="13526" y="452"/>
                </a:lnTo>
                <a:lnTo>
                  <a:pt x="13526" y="452"/>
                </a:lnTo>
                <a:lnTo>
                  <a:pt x="13526" y="422"/>
                </a:lnTo>
                <a:close/>
              </a:path>
            </a:pathLst>
          </a:custGeom>
          <a:solidFill>
            <a:schemeClr val="accent3"/>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5" name="Rectangle 4"/>
          <p:cNvSpPr/>
          <p:nvPr/>
        </p:nvSpPr>
        <p:spPr>
          <a:xfrm>
            <a:off x="7259026" y="970517"/>
            <a:ext cx="1309564" cy="179947"/>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accent6">
                    <a:lumMod val="75000"/>
                  </a:schemeClr>
                </a:solidFill>
                <a:latin typeface="+mj-lt"/>
              </a:rPr>
              <a:t>After</a:t>
            </a:r>
          </a:p>
        </p:txBody>
      </p:sp>
      <p:sp>
        <p:nvSpPr>
          <p:cNvPr id="6" name="Rectangle 5"/>
          <p:cNvSpPr/>
          <p:nvPr/>
        </p:nvSpPr>
        <p:spPr>
          <a:xfrm rot="60000">
            <a:off x="3898016" y="898228"/>
            <a:ext cx="3182153" cy="255898"/>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accent5">
                    <a:lumMod val="75000"/>
                  </a:schemeClr>
                </a:solidFill>
                <a:latin typeface="+mj-lt"/>
              </a:rPr>
              <a:t>During</a:t>
            </a:r>
          </a:p>
        </p:txBody>
      </p:sp>
      <p:sp>
        <p:nvSpPr>
          <p:cNvPr id="7" name="Freeform 6"/>
          <p:cNvSpPr>
            <a:spLocks/>
          </p:cNvSpPr>
          <p:nvPr/>
        </p:nvSpPr>
        <p:spPr bwMode="auto">
          <a:xfrm>
            <a:off x="989886" y="993459"/>
            <a:ext cx="937468" cy="1672677"/>
          </a:xfrm>
          <a:custGeom>
            <a:avLst/>
            <a:gdLst>
              <a:gd name="T0" fmla="*/ 0 w 1634"/>
              <a:gd name="T1" fmla="*/ 3036 h 3036"/>
              <a:gd name="T2" fmla="*/ 0 w 1634"/>
              <a:gd name="T3" fmla="*/ 3036 h 3036"/>
              <a:gd name="T4" fmla="*/ 210 w 1634"/>
              <a:gd name="T5" fmla="*/ 3021 h 3036"/>
              <a:gd name="T6" fmla="*/ 559 w 1634"/>
              <a:gd name="T7" fmla="*/ 2997 h 3036"/>
              <a:gd name="T8" fmla="*/ 1037 w 1634"/>
              <a:gd name="T9" fmla="*/ 2967 h 3036"/>
              <a:gd name="T10" fmla="*/ 1634 w 1634"/>
              <a:gd name="T11" fmla="*/ 2931 h 3036"/>
              <a:gd name="T12" fmla="*/ 1634 w 1634"/>
              <a:gd name="T13" fmla="*/ 124 h 3036"/>
              <a:gd name="T14" fmla="*/ 1634 w 1634"/>
              <a:gd name="T15" fmla="*/ 124 h 3036"/>
              <a:gd name="T16" fmla="*/ 1307 w 1634"/>
              <a:gd name="T17" fmla="*/ 103 h 3036"/>
              <a:gd name="T18" fmla="*/ 1015 w 1634"/>
              <a:gd name="T19" fmla="*/ 83 h 3036"/>
              <a:gd name="T20" fmla="*/ 758 w 1634"/>
              <a:gd name="T21" fmla="*/ 64 h 3036"/>
              <a:gd name="T22" fmla="*/ 537 w 1634"/>
              <a:gd name="T23" fmla="*/ 46 h 3036"/>
              <a:gd name="T24" fmla="*/ 350 w 1634"/>
              <a:gd name="T25" fmla="*/ 31 h 3036"/>
              <a:gd name="T26" fmla="*/ 199 w 1634"/>
              <a:gd name="T27" fmla="*/ 19 h 3036"/>
              <a:gd name="T28" fmla="*/ 0 w 1634"/>
              <a:gd name="T29" fmla="*/ 0 h 3036"/>
              <a:gd name="T30" fmla="*/ 0 w 1634"/>
              <a:gd name="T31"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4" h="3036">
                <a:moveTo>
                  <a:pt x="0" y="3036"/>
                </a:moveTo>
                <a:lnTo>
                  <a:pt x="0" y="3036"/>
                </a:lnTo>
                <a:lnTo>
                  <a:pt x="210" y="3021"/>
                </a:lnTo>
                <a:lnTo>
                  <a:pt x="559" y="2997"/>
                </a:lnTo>
                <a:lnTo>
                  <a:pt x="1037" y="2967"/>
                </a:lnTo>
                <a:lnTo>
                  <a:pt x="1634" y="2931"/>
                </a:lnTo>
                <a:lnTo>
                  <a:pt x="1634" y="124"/>
                </a:lnTo>
                <a:lnTo>
                  <a:pt x="1634" y="124"/>
                </a:lnTo>
                <a:lnTo>
                  <a:pt x="1307" y="103"/>
                </a:lnTo>
                <a:lnTo>
                  <a:pt x="1015" y="83"/>
                </a:lnTo>
                <a:lnTo>
                  <a:pt x="758" y="64"/>
                </a:lnTo>
                <a:lnTo>
                  <a:pt x="537" y="46"/>
                </a:lnTo>
                <a:lnTo>
                  <a:pt x="350" y="31"/>
                </a:lnTo>
                <a:lnTo>
                  <a:pt x="199" y="19"/>
                </a:lnTo>
                <a:lnTo>
                  <a:pt x="0" y="0"/>
                </a:lnTo>
                <a:lnTo>
                  <a:pt x="0" y="3036"/>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8" name="Freeform 7"/>
          <p:cNvSpPr>
            <a:spLocks/>
          </p:cNvSpPr>
          <p:nvPr/>
        </p:nvSpPr>
        <p:spPr bwMode="auto">
          <a:xfrm>
            <a:off x="3905558" y="1155439"/>
            <a:ext cx="937468" cy="1356435"/>
          </a:xfrm>
          <a:custGeom>
            <a:avLst/>
            <a:gdLst>
              <a:gd name="T0" fmla="*/ 1634 w 1634"/>
              <a:gd name="T1" fmla="*/ 53 h 2463"/>
              <a:gd name="T2" fmla="*/ 1634 w 1634"/>
              <a:gd name="T3" fmla="*/ 53 h 2463"/>
              <a:gd name="T4" fmla="*/ 1204 w 1634"/>
              <a:gd name="T5" fmla="*/ 40 h 2463"/>
              <a:gd name="T6" fmla="*/ 788 w 1634"/>
              <a:gd name="T7" fmla="*/ 27 h 2463"/>
              <a:gd name="T8" fmla="*/ 387 w 1634"/>
              <a:gd name="T9" fmla="*/ 14 h 2463"/>
              <a:gd name="T10" fmla="*/ 0 w 1634"/>
              <a:gd name="T11" fmla="*/ 0 h 2463"/>
              <a:gd name="T12" fmla="*/ 0 w 1634"/>
              <a:gd name="T13" fmla="*/ 2463 h 2463"/>
              <a:gd name="T14" fmla="*/ 0 w 1634"/>
              <a:gd name="T15" fmla="*/ 2463 h 2463"/>
              <a:gd name="T16" fmla="*/ 396 w 1634"/>
              <a:gd name="T17" fmla="*/ 2447 h 2463"/>
              <a:gd name="T18" fmla="*/ 801 w 1634"/>
              <a:gd name="T19" fmla="*/ 2431 h 2463"/>
              <a:gd name="T20" fmla="*/ 1214 w 1634"/>
              <a:gd name="T21" fmla="*/ 2415 h 2463"/>
              <a:gd name="T22" fmla="*/ 1634 w 1634"/>
              <a:gd name="T23" fmla="*/ 2401 h 2463"/>
              <a:gd name="T24" fmla="*/ 1634 w 1634"/>
              <a:gd name="T25" fmla="*/ 53 h 2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463">
                <a:moveTo>
                  <a:pt x="1634" y="53"/>
                </a:moveTo>
                <a:lnTo>
                  <a:pt x="1634" y="53"/>
                </a:lnTo>
                <a:lnTo>
                  <a:pt x="1204" y="40"/>
                </a:lnTo>
                <a:lnTo>
                  <a:pt x="788" y="27"/>
                </a:lnTo>
                <a:lnTo>
                  <a:pt x="387" y="14"/>
                </a:lnTo>
                <a:lnTo>
                  <a:pt x="0" y="0"/>
                </a:lnTo>
                <a:lnTo>
                  <a:pt x="0" y="2463"/>
                </a:lnTo>
                <a:lnTo>
                  <a:pt x="0" y="2463"/>
                </a:lnTo>
                <a:lnTo>
                  <a:pt x="396" y="2447"/>
                </a:lnTo>
                <a:lnTo>
                  <a:pt x="801" y="2431"/>
                </a:lnTo>
                <a:lnTo>
                  <a:pt x="1214" y="2415"/>
                </a:lnTo>
                <a:lnTo>
                  <a:pt x="1634" y="2401"/>
                </a:lnTo>
                <a:lnTo>
                  <a:pt x="1634" y="53"/>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9" name="Freeform 8"/>
          <p:cNvSpPr>
            <a:spLocks/>
          </p:cNvSpPr>
          <p:nvPr/>
        </p:nvSpPr>
        <p:spPr bwMode="auto">
          <a:xfrm>
            <a:off x="1961778" y="1063979"/>
            <a:ext cx="937468" cy="1542654"/>
          </a:xfrm>
          <a:custGeom>
            <a:avLst/>
            <a:gdLst>
              <a:gd name="T0" fmla="*/ 1634 w 1634"/>
              <a:gd name="T1" fmla="*/ 91 h 2799"/>
              <a:gd name="T2" fmla="*/ 1634 w 1634"/>
              <a:gd name="T3" fmla="*/ 91 h 2799"/>
              <a:gd name="T4" fmla="*/ 1175 w 1634"/>
              <a:gd name="T5" fmla="*/ 67 h 2799"/>
              <a:gd name="T6" fmla="*/ 750 w 1634"/>
              <a:gd name="T7" fmla="*/ 44 h 2799"/>
              <a:gd name="T8" fmla="*/ 358 w 1634"/>
              <a:gd name="T9" fmla="*/ 21 h 2799"/>
              <a:gd name="T10" fmla="*/ 0 w 1634"/>
              <a:gd name="T11" fmla="*/ 0 h 2799"/>
              <a:gd name="T12" fmla="*/ 0 w 1634"/>
              <a:gd name="T13" fmla="*/ 2799 h 2799"/>
              <a:gd name="T14" fmla="*/ 0 w 1634"/>
              <a:gd name="T15" fmla="*/ 2799 h 2799"/>
              <a:gd name="T16" fmla="*/ 368 w 1634"/>
              <a:gd name="T17" fmla="*/ 2777 h 2799"/>
              <a:gd name="T18" fmla="*/ 764 w 1634"/>
              <a:gd name="T19" fmla="*/ 2756 h 2799"/>
              <a:gd name="T20" fmla="*/ 1186 w 1634"/>
              <a:gd name="T21" fmla="*/ 2732 h 2799"/>
              <a:gd name="T22" fmla="*/ 1634 w 1634"/>
              <a:gd name="T23" fmla="*/ 2710 h 2799"/>
              <a:gd name="T24" fmla="*/ 1634 w 1634"/>
              <a:gd name="T25" fmla="*/ 91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799">
                <a:moveTo>
                  <a:pt x="1634" y="91"/>
                </a:moveTo>
                <a:lnTo>
                  <a:pt x="1634" y="91"/>
                </a:lnTo>
                <a:lnTo>
                  <a:pt x="1175" y="67"/>
                </a:lnTo>
                <a:lnTo>
                  <a:pt x="750" y="44"/>
                </a:lnTo>
                <a:lnTo>
                  <a:pt x="358" y="21"/>
                </a:lnTo>
                <a:lnTo>
                  <a:pt x="0" y="0"/>
                </a:lnTo>
                <a:lnTo>
                  <a:pt x="0" y="2799"/>
                </a:lnTo>
                <a:lnTo>
                  <a:pt x="0" y="2799"/>
                </a:lnTo>
                <a:lnTo>
                  <a:pt x="368" y="2777"/>
                </a:lnTo>
                <a:lnTo>
                  <a:pt x="764" y="2756"/>
                </a:lnTo>
                <a:lnTo>
                  <a:pt x="1186" y="2732"/>
                </a:lnTo>
                <a:lnTo>
                  <a:pt x="1634" y="2710"/>
                </a:lnTo>
                <a:lnTo>
                  <a:pt x="1634" y="91"/>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10" name="Freeform 9"/>
          <p:cNvSpPr>
            <a:spLocks/>
          </p:cNvSpPr>
          <p:nvPr/>
        </p:nvSpPr>
        <p:spPr bwMode="auto">
          <a:xfrm>
            <a:off x="2933668" y="1115772"/>
            <a:ext cx="937468" cy="1440177"/>
          </a:xfrm>
          <a:custGeom>
            <a:avLst/>
            <a:gdLst>
              <a:gd name="T0" fmla="*/ 1634 w 1634"/>
              <a:gd name="T1" fmla="*/ 69 h 2614"/>
              <a:gd name="T2" fmla="*/ 1634 w 1634"/>
              <a:gd name="T3" fmla="*/ 69 h 2614"/>
              <a:gd name="T4" fmla="*/ 1196 w 1634"/>
              <a:gd name="T5" fmla="*/ 52 h 2614"/>
              <a:gd name="T6" fmla="*/ 777 w 1634"/>
              <a:gd name="T7" fmla="*/ 35 h 2614"/>
              <a:gd name="T8" fmla="*/ 378 w 1634"/>
              <a:gd name="T9" fmla="*/ 18 h 2614"/>
              <a:gd name="T10" fmla="*/ 0 w 1634"/>
              <a:gd name="T11" fmla="*/ 0 h 2614"/>
              <a:gd name="T12" fmla="*/ 0 w 1634"/>
              <a:gd name="T13" fmla="*/ 2614 h 2614"/>
              <a:gd name="T14" fmla="*/ 0 w 1634"/>
              <a:gd name="T15" fmla="*/ 2614 h 2614"/>
              <a:gd name="T16" fmla="*/ 387 w 1634"/>
              <a:gd name="T17" fmla="*/ 2594 h 2614"/>
              <a:gd name="T18" fmla="*/ 789 w 1634"/>
              <a:gd name="T19" fmla="*/ 2575 h 2614"/>
              <a:gd name="T20" fmla="*/ 1205 w 1634"/>
              <a:gd name="T21" fmla="*/ 2556 h 2614"/>
              <a:gd name="T22" fmla="*/ 1634 w 1634"/>
              <a:gd name="T23" fmla="*/ 2538 h 2614"/>
              <a:gd name="T24" fmla="*/ 1634 w 1634"/>
              <a:gd name="T25" fmla="*/ 69 h 2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614">
                <a:moveTo>
                  <a:pt x="1634" y="69"/>
                </a:moveTo>
                <a:lnTo>
                  <a:pt x="1634" y="69"/>
                </a:lnTo>
                <a:lnTo>
                  <a:pt x="1196" y="52"/>
                </a:lnTo>
                <a:lnTo>
                  <a:pt x="777" y="35"/>
                </a:lnTo>
                <a:lnTo>
                  <a:pt x="378" y="18"/>
                </a:lnTo>
                <a:lnTo>
                  <a:pt x="0" y="0"/>
                </a:lnTo>
                <a:lnTo>
                  <a:pt x="0" y="2614"/>
                </a:lnTo>
                <a:lnTo>
                  <a:pt x="0" y="2614"/>
                </a:lnTo>
                <a:lnTo>
                  <a:pt x="387" y="2594"/>
                </a:lnTo>
                <a:lnTo>
                  <a:pt x="789" y="2575"/>
                </a:lnTo>
                <a:lnTo>
                  <a:pt x="1205" y="2556"/>
                </a:lnTo>
                <a:lnTo>
                  <a:pt x="1634" y="2538"/>
                </a:lnTo>
                <a:lnTo>
                  <a:pt x="1634" y="69"/>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20" name="Freeform 19"/>
          <p:cNvSpPr>
            <a:spLocks/>
          </p:cNvSpPr>
          <p:nvPr/>
        </p:nvSpPr>
        <p:spPr bwMode="auto">
          <a:xfrm>
            <a:off x="4878224" y="1184088"/>
            <a:ext cx="714308" cy="1292525"/>
          </a:xfrm>
          <a:custGeom>
            <a:avLst/>
            <a:gdLst>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65340 h 665340"/>
              <a:gd name="connsiteX6" fmla="*/ 0 w 761971"/>
              <a:gd name="connsiteY6" fmla="*/ 66534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50336 h 665340"/>
              <a:gd name="connsiteX6" fmla="*/ 0 w 761971"/>
              <a:gd name="connsiteY6" fmla="*/ 665340 h 665340"/>
              <a:gd name="connsiteX7" fmla="*/ 0 w 761971"/>
              <a:gd name="connsiteY7" fmla="*/ 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0028 w 761971"/>
              <a:gd name="connsiteY5" fmla="*/ 652211 h 665340"/>
              <a:gd name="connsiteX6" fmla="*/ 0 w 761971"/>
              <a:gd name="connsiteY6" fmla="*/ 665340 h 665340"/>
              <a:gd name="connsiteX7" fmla="*/ 0 w 761971"/>
              <a:gd name="connsiteY7" fmla="*/ 0 h 66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71" h="665340">
                <a:moveTo>
                  <a:pt x="0" y="0"/>
                </a:moveTo>
                <a:lnTo>
                  <a:pt x="182340" y="3210"/>
                </a:lnTo>
                <a:lnTo>
                  <a:pt x="370242" y="5806"/>
                </a:lnTo>
                <a:lnTo>
                  <a:pt x="563325" y="8470"/>
                </a:lnTo>
                <a:lnTo>
                  <a:pt x="761971" y="10792"/>
                </a:lnTo>
                <a:cubicBezTo>
                  <a:pt x="761323" y="224598"/>
                  <a:pt x="760676" y="438405"/>
                  <a:pt x="760028" y="652211"/>
                </a:cubicBezTo>
                <a:lnTo>
                  <a:pt x="0" y="665340"/>
                </a:lnTo>
                <a:lnTo>
                  <a:pt x="0" y="0"/>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a typeface="+mn-ea"/>
              <a:cs typeface="+mn-cs"/>
            </a:endParaRPr>
          </a:p>
        </p:txBody>
      </p:sp>
      <p:sp>
        <p:nvSpPr>
          <p:cNvPr id="31" name="Freeform 30"/>
          <p:cNvSpPr>
            <a:spLocks/>
          </p:cNvSpPr>
          <p:nvPr/>
        </p:nvSpPr>
        <p:spPr bwMode="auto">
          <a:xfrm>
            <a:off x="6376215" y="1219347"/>
            <a:ext cx="703953" cy="603954"/>
          </a:xfrm>
          <a:custGeom>
            <a:avLst/>
            <a:gdLst>
              <a:gd name="connsiteX0" fmla="*/ 0 w 750924"/>
              <a:gd name="connsiteY0" fmla="*/ 0 h 644253"/>
              <a:gd name="connsiteX1" fmla="*/ 182446 w 750924"/>
              <a:gd name="connsiteY1" fmla="*/ 1770 h 644253"/>
              <a:gd name="connsiteX2" fmla="*/ 368569 w 750924"/>
              <a:gd name="connsiteY2" fmla="*/ 3539 h 644253"/>
              <a:gd name="connsiteX3" fmla="*/ 557908 w 750924"/>
              <a:gd name="connsiteY3" fmla="*/ 5898 h 644253"/>
              <a:gd name="connsiteX4" fmla="*/ 750924 w 750924"/>
              <a:gd name="connsiteY4" fmla="*/ 7078 h 644253"/>
              <a:gd name="connsiteX5" fmla="*/ 750924 w 750924"/>
              <a:gd name="connsiteY5" fmla="*/ 644253 h 644253"/>
              <a:gd name="connsiteX6" fmla="*/ 0 w 750924"/>
              <a:gd name="connsiteY6" fmla="*/ 644253 h 644253"/>
              <a:gd name="connsiteX7" fmla="*/ 0 w 750924"/>
              <a:gd name="connsiteY7" fmla="*/ 0 h 64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924" h="644253">
                <a:moveTo>
                  <a:pt x="0" y="0"/>
                </a:moveTo>
                <a:lnTo>
                  <a:pt x="182446" y="1770"/>
                </a:lnTo>
                <a:lnTo>
                  <a:pt x="368569" y="3539"/>
                </a:lnTo>
                <a:lnTo>
                  <a:pt x="557908" y="5898"/>
                </a:lnTo>
                <a:lnTo>
                  <a:pt x="750924" y="7078"/>
                </a:lnTo>
                <a:lnTo>
                  <a:pt x="750924" y="644253"/>
                </a:lnTo>
                <a:lnTo>
                  <a:pt x="0" y="644253"/>
                </a:lnTo>
                <a:lnTo>
                  <a:pt x="0" y="0"/>
                </a:lnTo>
                <a:close/>
              </a:path>
            </a:pathLst>
          </a:custGeom>
          <a:solidFill>
            <a:schemeClr val="tx2">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r>
              <a:rPr lang="ja-JP" altLang="en-US" sz="700" kern="0" dirty="0" smtClean="0">
                <a:solidFill>
                  <a:schemeClr val="bg1"/>
                </a:solidFill>
                <a:latin typeface="+mj-lt"/>
              </a:rPr>
              <a:t>アウトブレイク</a:t>
            </a:r>
            <a:endParaRPr lang="en-US" altLang="ja-JP" sz="700" kern="0" dirty="0" smtClean="0">
              <a:solidFill>
                <a:schemeClr val="bg1"/>
              </a:solidFill>
              <a:latin typeface="+mj-lt"/>
            </a:endParaRPr>
          </a:p>
          <a:p>
            <a:pPr algn="ctr" defTabSz="914103"/>
            <a:r>
              <a:rPr lang="ja-JP" altLang="en-US" sz="700" kern="0" dirty="0" smtClean="0">
                <a:solidFill>
                  <a:schemeClr val="bg1"/>
                </a:solidFill>
                <a:latin typeface="+mj-lt"/>
              </a:rPr>
              <a:t>インテリジェンス</a:t>
            </a:r>
            <a:endParaRPr lang="en-US" sz="700" kern="0" dirty="0">
              <a:solidFill>
                <a:schemeClr val="bg1"/>
              </a:solidFill>
              <a:latin typeface="+mj-lt"/>
            </a:endParaRPr>
          </a:p>
        </p:txBody>
      </p:sp>
      <p:sp>
        <p:nvSpPr>
          <p:cNvPr id="13" name="Freeform 12"/>
          <p:cNvSpPr>
            <a:spLocks/>
          </p:cNvSpPr>
          <p:nvPr/>
        </p:nvSpPr>
        <p:spPr bwMode="auto">
          <a:xfrm>
            <a:off x="5627731" y="1206126"/>
            <a:ext cx="713493" cy="1242938"/>
          </a:xfrm>
          <a:custGeom>
            <a:avLst/>
            <a:gdLst>
              <a:gd name="T0" fmla="*/ 1634 w 1634"/>
              <a:gd name="T1" fmla="*/ 24 h 2257"/>
              <a:gd name="T2" fmla="*/ 1634 w 1634"/>
              <a:gd name="T3" fmla="*/ 24 h 2257"/>
              <a:gd name="T4" fmla="*/ 1211 w 1634"/>
              <a:gd name="T5" fmla="*/ 19 h 2257"/>
              <a:gd name="T6" fmla="*/ 799 w 1634"/>
              <a:gd name="T7" fmla="*/ 13 h 2257"/>
              <a:gd name="T8" fmla="*/ 394 w 1634"/>
              <a:gd name="T9" fmla="*/ 7 h 2257"/>
              <a:gd name="T10" fmla="*/ 0 w 1634"/>
              <a:gd name="T11" fmla="*/ 0 h 2257"/>
              <a:gd name="T12" fmla="*/ 0 w 1634"/>
              <a:gd name="T13" fmla="*/ 2257 h 2257"/>
              <a:gd name="T14" fmla="*/ 0 w 1634"/>
              <a:gd name="T15" fmla="*/ 2257 h 2257"/>
              <a:gd name="T16" fmla="*/ 405 w 1634"/>
              <a:gd name="T17" fmla="*/ 2249 h 2257"/>
              <a:gd name="T18" fmla="*/ 813 w 1634"/>
              <a:gd name="T19" fmla="*/ 2240 h 2257"/>
              <a:gd name="T20" fmla="*/ 1222 w 1634"/>
              <a:gd name="T21" fmla="*/ 2233 h 2257"/>
              <a:gd name="T22" fmla="*/ 1634 w 1634"/>
              <a:gd name="T23" fmla="*/ 2226 h 2257"/>
              <a:gd name="T24" fmla="*/ 1634 w 1634"/>
              <a:gd name="T25" fmla="*/ 24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257">
                <a:moveTo>
                  <a:pt x="1634" y="24"/>
                </a:moveTo>
                <a:lnTo>
                  <a:pt x="1634" y="24"/>
                </a:lnTo>
                <a:lnTo>
                  <a:pt x="1211" y="19"/>
                </a:lnTo>
                <a:lnTo>
                  <a:pt x="799" y="13"/>
                </a:lnTo>
                <a:lnTo>
                  <a:pt x="394" y="7"/>
                </a:lnTo>
                <a:lnTo>
                  <a:pt x="0" y="0"/>
                </a:lnTo>
                <a:lnTo>
                  <a:pt x="0" y="2257"/>
                </a:lnTo>
                <a:lnTo>
                  <a:pt x="0" y="2257"/>
                </a:lnTo>
                <a:lnTo>
                  <a:pt x="405" y="2249"/>
                </a:lnTo>
                <a:lnTo>
                  <a:pt x="813" y="2240"/>
                </a:lnTo>
                <a:lnTo>
                  <a:pt x="1222" y="2233"/>
                </a:lnTo>
                <a:lnTo>
                  <a:pt x="1634" y="2226"/>
                </a:lnTo>
                <a:lnTo>
                  <a:pt x="1634" y="24"/>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15" name="Rectangle 846"/>
          <p:cNvSpPr/>
          <p:nvPr/>
        </p:nvSpPr>
        <p:spPr>
          <a:xfrm>
            <a:off x="7144607" y="1230891"/>
            <a:ext cx="89390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a:solidFill>
                <a:srgbClr val="FFFFFF"/>
              </a:solidFill>
              <a:latin typeface="+mj-lt"/>
              <a:ea typeface="+mn-ea"/>
              <a:cs typeface="+mn-cs"/>
            </a:endParaRPr>
          </a:p>
        </p:txBody>
      </p:sp>
      <p:sp>
        <p:nvSpPr>
          <p:cNvPr id="71" name="Freeform 12"/>
          <p:cNvSpPr>
            <a:spLocks/>
          </p:cNvSpPr>
          <p:nvPr/>
        </p:nvSpPr>
        <p:spPr bwMode="auto">
          <a:xfrm>
            <a:off x="5647838" y="1232129"/>
            <a:ext cx="670538" cy="1192600"/>
          </a:xfrm>
          <a:custGeom>
            <a:avLst/>
            <a:gdLst>
              <a:gd name="T0" fmla="*/ 1634 w 1634"/>
              <a:gd name="T1" fmla="*/ 24 h 2257"/>
              <a:gd name="T2" fmla="*/ 1634 w 1634"/>
              <a:gd name="T3" fmla="*/ 24 h 2257"/>
              <a:gd name="T4" fmla="*/ 1211 w 1634"/>
              <a:gd name="T5" fmla="*/ 19 h 2257"/>
              <a:gd name="T6" fmla="*/ 799 w 1634"/>
              <a:gd name="T7" fmla="*/ 13 h 2257"/>
              <a:gd name="T8" fmla="*/ 394 w 1634"/>
              <a:gd name="T9" fmla="*/ 7 h 2257"/>
              <a:gd name="T10" fmla="*/ 0 w 1634"/>
              <a:gd name="T11" fmla="*/ 0 h 2257"/>
              <a:gd name="T12" fmla="*/ 0 w 1634"/>
              <a:gd name="T13" fmla="*/ 2257 h 2257"/>
              <a:gd name="T14" fmla="*/ 0 w 1634"/>
              <a:gd name="T15" fmla="*/ 2257 h 2257"/>
              <a:gd name="T16" fmla="*/ 405 w 1634"/>
              <a:gd name="T17" fmla="*/ 2249 h 2257"/>
              <a:gd name="T18" fmla="*/ 813 w 1634"/>
              <a:gd name="T19" fmla="*/ 2240 h 2257"/>
              <a:gd name="T20" fmla="*/ 1222 w 1634"/>
              <a:gd name="T21" fmla="*/ 2233 h 2257"/>
              <a:gd name="T22" fmla="*/ 1634 w 1634"/>
              <a:gd name="T23" fmla="*/ 2226 h 2257"/>
              <a:gd name="T24" fmla="*/ 1634 w 1634"/>
              <a:gd name="T25" fmla="*/ 24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257">
                <a:moveTo>
                  <a:pt x="1634" y="24"/>
                </a:moveTo>
                <a:lnTo>
                  <a:pt x="1634" y="24"/>
                </a:lnTo>
                <a:lnTo>
                  <a:pt x="1211" y="19"/>
                </a:lnTo>
                <a:lnTo>
                  <a:pt x="799" y="13"/>
                </a:lnTo>
                <a:lnTo>
                  <a:pt x="394" y="7"/>
                </a:lnTo>
                <a:lnTo>
                  <a:pt x="0" y="0"/>
                </a:lnTo>
                <a:lnTo>
                  <a:pt x="0" y="2257"/>
                </a:lnTo>
                <a:lnTo>
                  <a:pt x="0" y="2257"/>
                </a:lnTo>
                <a:lnTo>
                  <a:pt x="405" y="2249"/>
                </a:lnTo>
                <a:lnTo>
                  <a:pt x="813" y="2240"/>
                </a:lnTo>
                <a:lnTo>
                  <a:pt x="1222" y="2233"/>
                </a:lnTo>
                <a:lnTo>
                  <a:pt x="1634" y="2226"/>
                </a:lnTo>
                <a:lnTo>
                  <a:pt x="1634" y="24"/>
                </a:lnTo>
                <a:close/>
              </a:path>
            </a:pathLst>
          </a:custGeom>
          <a:noFill/>
          <a:ln w="6350" cap="flat" cmpd="sng" algn="ctr">
            <a:solidFill>
              <a:srgbClr val="2F2E7E">
                <a:lumMod val="60000"/>
                <a:lumOff val="40000"/>
              </a:srgbClr>
            </a:solidFill>
            <a:prstDash val="solid"/>
          </a:ln>
          <a:effectLst/>
        </p:spPr>
        <p:txBody>
          <a:bodyPr lIns="91436" tIns="45718" rIns="91436" bIns="45718" rtlCol="0" anchor="ctr"/>
          <a:lstStyle/>
          <a:p>
            <a:pPr algn="ctr" defTabSz="913905">
              <a:defRPr/>
            </a:pPr>
            <a:endParaRPr lang="en-US" kern="0" dirty="0">
              <a:solidFill>
                <a:prstClr val="white"/>
              </a:solidFill>
              <a:latin typeface="+mj-lt"/>
            </a:endParaRPr>
          </a:p>
        </p:txBody>
      </p:sp>
      <p:grpSp>
        <p:nvGrpSpPr>
          <p:cNvPr id="11" name="Group 71"/>
          <p:cNvGrpSpPr/>
          <p:nvPr/>
        </p:nvGrpSpPr>
        <p:grpSpPr>
          <a:xfrm>
            <a:off x="6059704" y="1216647"/>
            <a:ext cx="274062" cy="152148"/>
            <a:chOff x="5700396" y="1157737"/>
            <a:chExt cx="292348" cy="162300"/>
          </a:xfrm>
        </p:grpSpPr>
        <p:sp>
          <p:nvSpPr>
            <p:cNvPr id="73" name="Freeform 10"/>
            <p:cNvSpPr>
              <a:spLocks/>
            </p:cNvSpPr>
            <p:nvPr/>
          </p:nvSpPr>
          <p:spPr bwMode="auto">
            <a:xfrm>
              <a:off x="5700396" y="1157737"/>
              <a:ext cx="292348" cy="162300"/>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2276 w 342349"/>
                <a:gd name="connsiteY0" fmla="*/ 0 h 190059"/>
                <a:gd name="connsiteX1" fmla="*/ 342349 w 342349"/>
                <a:gd name="connsiteY1" fmla="*/ 10831 h 190059"/>
                <a:gd name="connsiteX2" fmla="*/ 340676 w 342349"/>
                <a:gd name="connsiteY2" fmla="*/ 190059 h 190059"/>
                <a:gd name="connsiteX3" fmla="*/ 0 w 342349"/>
                <a:gd name="connsiteY3" fmla="*/ 190059 h 190059"/>
                <a:gd name="connsiteX4" fmla="*/ 2276 w 342349"/>
                <a:gd name="connsiteY4" fmla="*/ 0 h 19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90059">
                  <a:moveTo>
                    <a:pt x="2276" y="0"/>
                  </a:moveTo>
                  <a:lnTo>
                    <a:pt x="342349" y="10831"/>
                  </a:lnTo>
                  <a:cubicBezTo>
                    <a:pt x="341791" y="71131"/>
                    <a:pt x="341234" y="129759"/>
                    <a:pt x="340676" y="190059"/>
                  </a:cubicBezTo>
                  <a:lnTo>
                    <a:pt x="0" y="190059"/>
                  </a:lnTo>
                  <a:cubicBezTo>
                    <a:pt x="759" y="126706"/>
                    <a:pt x="1517" y="63353"/>
                    <a:pt x="2276" y="0"/>
                  </a:cubicBezTo>
                  <a:close/>
                </a:path>
              </a:pathLst>
            </a:custGeom>
            <a:solidFill>
              <a:schemeClr val="accent5">
                <a:lumMod val="75000"/>
              </a:schemeClr>
            </a:solidFill>
            <a:ln w="6350" cap="flat" cmpd="sng" algn="ctr">
              <a:solidFill>
                <a:schemeClr val="bg1"/>
              </a:solidFill>
              <a:prstDash val="solid"/>
            </a:ln>
            <a:effectLst/>
          </p:spPr>
          <p:txBody>
            <a:bodyPr rtlCol="0" anchor="ctr"/>
            <a:lstStyle/>
            <a:p>
              <a:pPr algn="ctr" defTabSz="913905">
                <a:defRPr/>
              </a:pPr>
              <a:endParaRPr lang="en-US" kern="0" dirty="0">
                <a:solidFill>
                  <a:prstClr val="white"/>
                </a:solidFill>
                <a:latin typeface="+mj-lt"/>
              </a:endParaRPr>
            </a:p>
          </p:txBody>
        </p:sp>
        <p:sp>
          <p:nvSpPr>
            <p:cNvPr id="74" name="Freeform 65"/>
            <p:cNvSpPr>
              <a:spLocks noEditPoints="1"/>
            </p:cNvSpPr>
            <p:nvPr/>
          </p:nvSpPr>
          <p:spPr bwMode="auto">
            <a:xfrm>
              <a:off x="5737677" y="1198196"/>
              <a:ext cx="77757" cy="83319"/>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75" name="Freeform 66"/>
            <p:cNvSpPr>
              <a:spLocks/>
            </p:cNvSpPr>
            <p:nvPr/>
          </p:nvSpPr>
          <p:spPr bwMode="auto">
            <a:xfrm>
              <a:off x="5813967" y="1198196"/>
              <a:ext cx="74821" cy="83319"/>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76" name="Freeform 67"/>
            <p:cNvSpPr>
              <a:spLocks noEditPoints="1"/>
            </p:cNvSpPr>
            <p:nvPr/>
          </p:nvSpPr>
          <p:spPr bwMode="auto">
            <a:xfrm>
              <a:off x="5894724" y="1198196"/>
              <a:ext cx="59308" cy="83319"/>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grpSp>
      <p:grpSp>
        <p:nvGrpSpPr>
          <p:cNvPr id="17" name="Group 82"/>
          <p:cNvGrpSpPr/>
          <p:nvPr/>
        </p:nvGrpSpPr>
        <p:grpSpPr>
          <a:xfrm>
            <a:off x="7517776" y="1615118"/>
            <a:ext cx="147558" cy="154724"/>
            <a:chOff x="10092081" y="2069227"/>
            <a:chExt cx="208717" cy="227899"/>
          </a:xfrm>
          <a:noFill/>
        </p:grpSpPr>
        <p:sp>
          <p:nvSpPr>
            <p:cNvPr id="84" name="Rectangle 50"/>
            <p:cNvSpPr/>
            <p:nvPr/>
          </p:nvSpPr>
          <p:spPr>
            <a:xfrm>
              <a:off x="10092081" y="2069228"/>
              <a:ext cx="86508" cy="9515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5" name="Rectangle 50"/>
            <p:cNvSpPr/>
            <p:nvPr/>
          </p:nvSpPr>
          <p:spPr>
            <a:xfrm rot="5400000">
              <a:off x="10209966" y="2073552"/>
              <a:ext cx="95157" cy="8650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6" name="Rectangle 50"/>
            <p:cNvSpPr/>
            <p:nvPr/>
          </p:nvSpPr>
          <p:spPr>
            <a:xfrm flipV="1">
              <a:off x="10092081" y="2198709"/>
              <a:ext cx="86508" cy="9515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7" name="Rectangle 50"/>
            <p:cNvSpPr/>
            <p:nvPr/>
          </p:nvSpPr>
          <p:spPr>
            <a:xfrm rot="16200000" flipV="1">
              <a:off x="10209966" y="2206294"/>
              <a:ext cx="95157" cy="8650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8" name="Rounded Rectangle 87"/>
            <p:cNvSpPr/>
            <p:nvPr/>
          </p:nvSpPr>
          <p:spPr>
            <a:xfrm>
              <a:off x="10151696" y="2136757"/>
              <a:ext cx="87367" cy="96103"/>
            </a:xfrm>
            <a:prstGeom prst="roundRect">
              <a:avLst>
                <a:gd name="adj" fmla="val 4739"/>
              </a:avLst>
            </a:prstGeom>
            <a:grpFill/>
            <a:ln w="6350" cap="flat" cmpd="sng" algn="ctr">
              <a:solidFill>
                <a:schemeClr val="bg1"/>
              </a:solid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03">
                <a:defRPr/>
              </a:pPr>
              <a:endParaRPr lang="en-US" kern="0">
                <a:solidFill>
                  <a:srgbClr val="8E909E"/>
                </a:solidFill>
                <a:latin typeface="+mj-lt"/>
              </a:endParaRPr>
            </a:p>
          </p:txBody>
        </p:sp>
      </p:grpSp>
      <p:sp>
        <p:nvSpPr>
          <p:cNvPr id="89" name="Rectangle 88"/>
          <p:cNvSpPr/>
          <p:nvPr/>
        </p:nvSpPr>
        <p:spPr>
          <a:xfrm>
            <a:off x="7181180" y="1270087"/>
            <a:ext cx="820765" cy="547084"/>
          </a:xfrm>
          <a:prstGeom prst="rect">
            <a:avLst/>
          </a:prstGeom>
          <a:noFill/>
          <a:ln w="6350" cap="flat" cmpd="sng" algn="ctr">
            <a:solidFill>
              <a:schemeClr val="bg1"/>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0" name="Rectangle 89"/>
          <p:cNvSpPr/>
          <p:nvPr/>
        </p:nvSpPr>
        <p:spPr>
          <a:xfrm>
            <a:off x="7181179" y="1838750"/>
            <a:ext cx="820765" cy="548278"/>
          </a:xfrm>
          <a:prstGeom prst="rect">
            <a:avLst/>
          </a:prstGeom>
          <a:noFill/>
          <a:ln w="6350" cap="flat" cmpd="sng" algn="ctr">
            <a:solidFill>
              <a:schemeClr val="bg1"/>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1" name="Freeform 6"/>
          <p:cNvSpPr>
            <a:spLocks noChangeAspect="1" noEditPoints="1"/>
          </p:cNvSpPr>
          <p:nvPr/>
        </p:nvSpPr>
        <p:spPr bwMode="auto">
          <a:xfrm>
            <a:off x="7409014" y="2204046"/>
            <a:ext cx="365090" cy="130391"/>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bg1"/>
          </a:solidFill>
        </p:spPr>
        <p:txBody>
          <a:bodyPr wrap="square" lIns="182776" tIns="182776" rIns="182776" bIns="182776" anchor="ctr">
            <a:noAutofit/>
          </a:bodyPr>
          <a:lstStyle/>
          <a:p>
            <a:pPr algn="ctr" defTabSz="685433">
              <a:lnSpc>
                <a:spcPct val="95000"/>
              </a:lnSpc>
              <a:spcBef>
                <a:spcPts val="1080"/>
              </a:spcBef>
              <a:buClr>
                <a:srgbClr val="D81F28"/>
              </a:buClr>
              <a:buSzPct val="90000"/>
              <a:defRPr/>
            </a:pPr>
            <a:endParaRPr lang="en-US" sz="2200" kern="0">
              <a:solidFill>
                <a:srgbClr val="FFFFFF"/>
              </a:solidFill>
              <a:latin typeface="+mj-lt"/>
              <a:cs typeface="CiscoSans"/>
            </a:endParaRPr>
          </a:p>
        </p:txBody>
      </p:sp>
      <p:sp>
        <p:nvSpPr>
          <p:cNvPr id="184" name="Freeform 7"/>
          <p:cNvSpPr>
            <a:spLocks noEditPoints="1"/>
          </p:cNvSpPr>
          <p:nvPr/>
        </p:nvSpPr>
        <p:spPr bwMode="auto">
          <a:xfrm rot="2700000">
            <a:off x="6660975" y="1565142"/>
            <a:ext cx="122003" cy="243239"/>
          </a:xfrm>
          <a:custGeom>
            <a:avLst/>
            <a:gdLst>
              <a:gd name="T0" fmla="*/ 155 w 155"/>
              <a:gd name="T1" fmla="*/ 78 h 296"/>
              <a:gd name="T2" fmla="*/ 78 w 155"/>
              <a:gd name="T3" fmla="*/ 0 h 296"/>
              <a:gd name="T4" fmla="*/ 0 w 155"/>
              <a:gd name="T5" fmla="*/ 78 h 296"/>
              <a:gd name="T6" fmla="*/ 66 w 155"/>
              <a:gd name="T7" fmla="*/ 155 h 296"/>
              <a:gd name="T8" fmla="*/ 65 w 155"/>
              <a:gd name="T9" fmla="*/ 177 h 296"/>
              <a:gd name="T10" fmla="*/ 56 w 155"/>
              <a:gd name="T11" fmla="*/ 177 h 296"/>
              <a:gd name="T12" fmla="*/ 55 w 155"/>
              <a:gd name="T13" fmla="*/ 273 h 296"/>
              <a:gd name="T14" fmla="*/ 77 w 155"/>
              <a:gd name="T15" fmla="*/ 295 h 296"/>
              <a:gd name="T16" fmla="*/ 99 w 155"/>
              <a:gd name="T17" fmla="*/ 274 h 296"/>
              <a:gd name="T18" fmla="*/ 100 w 155"/>
              <a:gd name="T19" fmla="*/ 178 h 296"/>
              <a:gd name="T20" fmla="*/ 90 w 155"/>
              <a:gd name="T21" fmla="*/ 178 h 296"/>
              <a:gd name="T22" fmla="*/ 90 w 155"/>
              <a:gd name="T23" fmla="*/ 155 h 296"/>
              <a:gd name="T24" fmla="*/ 155 w 155"/>
              <a:gd name="T25" fmla="*/ 78 h 296"/>
              <a:gd name="T26" fmla="*/ 23 w 155"/>
              <a:gd name="T27" fmla="*/ 78 h 296"/>
              <a:gd name="T28" fmla="*/ 78 w 155"/>
              <a:gd name="T29" fmla="*/ 23 h 296"/>
              <a:gd name="T30" fmla="*/ 133 w 155"/>
              <a:gd name="T31" fmla="*/ 78 h 296"/>
              <a:gd name="T32" fmla="*/ 78 w 155"/>
              <a:gd name="T33" fmla="*/ 134 h 296"/>
              <a:gd name="T34" fmla="*/ 23 w 155"/>
              <a:gd name="T3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96">
                <a:moveTo>
                  <a:pt x="155" y="78"/>
                </a:moveTo>
                <a:cubicBezTo>
                  <a:pt x="155" y="35"/>
                  <a:pt x="120" y="0"/>
                  <a:pt x="78" y="0"/>
                </a:cubicBezTo>
                <a:cubicBezTo>
                  <a:pt x="35" y="0"/>
                  <a:pt x="0" y="35"/>
                  <a:pt x="0" y="78"/>
                </a:cubicBezTo>
                <a:cubicBezTo>
                  <a:pt x="0" y="117"/>
                  <a:pt x="29" y="149"/>
                  <a:pt x="66" y="155"/>
                </a:cubicBezTo>
                <a:cubicBezTo>
                  <a:pt x="65" y="177"/>
                  <a:pt x="65" y="177"/>
                  <a:pt x="65" y="177"/>
                </a:cubicBezTo>
                <a:cubicBezTo>
                  <a:pt x="56" y="177"/>
                  <a:pt x="56" y="177"/>
                  <a:pt x="56" y="177"/>
                </a:cubicBezTo>
                <a:cubicBezTo>
                  <a:pt x="55" y="273"/>
                  <a:pt x="55" y="273"/>
                  <a:pt x="55" y="273"/>
                </a:cubicBezTo>
                <a:cubicBezTo>
                  <a:pt x="55" y="285"/>
                  <a:pt x="65" y="295"/>
                  <a:pt x="77" y="295"/>
                </a:cubicBezTo>
                <a:cubicBezTo>
                  <a:pt x="89" y="296"/>
                  <a:pt x="99" y="286"/>
                  <a:pt x="99" y="274"/>
                </a:cubicBezTo>
                <a:cubicBezTo>
                  <a:pt x="100" y="178"/>
                  <a:pt x="100" y="178"/>
                  <a:pt x="100" y="178"/>
                </a:cubicBezTo>
                <a:cubicBezTo>
                  <a:pt x="90" y="178"/>
                  <a:pt x="90" y="178"/>
                  <a:pt x="90" y="178"/>
                </a:cubicBezTo>
                <a:cubicBezTo>
                  <a:pt x="90" y="155"/>
                  <a:pt x="90" y="155"/>
                  <a:pt x="90" y="155"/>
                </a:cubicBezTo>
                <a:cubicBezTo>
                  <a:pt x="127" y="149"/>
                  <a:pt x="155" y="117"/>
                  <a:pt x="155" y="78"/>
                </a:cubicBezTo>
                <a:close/>
                <a:moveTo>
                  <a:pt x="23" y="78"/>
                </a:moveTo>
                <a:cubicBezTo>
                  <a:pt x="23" y="48"/>
                  <a:pt x="47" y="23"/>
                  <a:pt x="78" y="23"/>
                </a:cubicBezTo>
                <a:cubicBezTo>
                  <a:pt x="108" y="23"/>
                  <a:pt x="133" y="48"/>
                  <a:pt x="133" y="78"/>
                </a:cubicBezTo>
                <a:cubicBezTo>
                  <a:pt x="133" y="109"/>
                  <a:pt x="108" y="134"/>
                  <a:pt x="78" y="134"/>
                </a:cubicBezTo>
                <a:cubicBezTo>
                  <a:pt x="47" y="134"/>
                  <a:pt x="23" y="109"/>
                  <a:pt x="23" y="78"/>
                </a:cubicBezTo>
                <a:close/>
              </a:path>
            </a:pathLst>
          </a:custGeom>
          <a:solidFill>
            <a:schemeClr val="bg1"/>
          </a:solidFill>
          <a:ln>
            <a:noFill/>
          </a:ln>
          <a:extLst/>
        </p:spPr>
        <p:txBody>
          <a:bodyPr vert="horz" wrap="square" lIns="91412" tIns="45706" rIns="91412" bIns="45706" numCol="1" anchor="t" anchorCtr="0" compatLnSpc="1">
            <a:prstTxWarp prst="textNoShape">
              <a:avLst/>
            </a:prstTxWarp>
          </a:bodyPr>
          <a:lstStyle/>
          <a:p>
            <a:pPr defTabSz="913962">
              <a:defRPr/>
            </a:pPr>
            <a:endParaRPr lang="en-US" kern="0">
              <a:solidFill>
                <a:srgbClr val="0096D6"/>
              </a:solidFill>
              <a:latin typeface="+mj-lt"/>
            </a:endParaRPr>
          </a:p>
        </p:txBody>
      </p:sp>
      <p:grpSp>
        <p:nvGrpSpPr>
          <p:cNvPr id="18" name="Group 184"/>
          <p:cNvGrpSpPr/>
          <p:nvPr/>
        </p:nvGrpSpPr>
        <p:grpSpPr>
          <a:xfrm>
            <a:off x="5848662" y="1939464"/>
            <a:ext cx="286846" cy="118924"/>
            <a:chOff x="7883133" y="2552030"/>
            <a:chExt cx="382221" cy="165018"/>
          </a:xfrm>
          <a:solidFill>
            <a:schemeClr val="bg1"/>
          </a:solidFill>
        </p:grpSpPr>
        <p:sp>
          <p:nvSpPr>
            <p:cNvPr id="186" name="Freeform 6"/>
            <p:cNvSpPr>
              <a:spLocks/>
            </p:cNvSpPr>
            <p:nvPr/>
          </p:nvSpPr>
          <p:spPr bwMode="auto">
            <a:xfrm>
              <a:off x="7883133" y="2552031"/>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sp>
          <p:nvSpPr>
            <p:cNvPr id="187" name="Freeform 6"/>
            <p:cNvSpPr>
              <a:spLocks/>
            </p:cNvSpPr>
            <p:nvPr/>
          </p:nvSpPr>
          <p:spPr bwMode="auto">
            <a:xfrm>
              <a:off x="7982566" y="2552030"/>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sp>
          <p:nvSpPr>
            <p:cNvPr id="188" name="Freeform 6"/>
            <p:cNvSpPr>
              <a:spLocks/>
            </p:cNvSpPr>
            <p:nvPr/>
          </p:nvSpPr>
          <p:spPr bwMode="auto">
            <a:xfrm>
              <a:off x="8082000" y="2552031"/>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grpSp>
      <p:grpSp>
        <p:nvGrpSpPr>
          <p:cNvPr id="19" name="Group 188"/>
          <p:cNvGrpSpPr/>
          <p:nvPr/>
        </p:nvGrpSpPr>
        <p:grpSpPr>
          <a:xfrm>
            <a:off x="5063805" y="1825554"/>
            <a:ext cx="339463" cy="238229"/>
            <a:chOff x="6872947" y="2523365"/>
            <a:chExt cx="383907" cy="269420"/>
          </a:xfrm>
          <a:solidFill>
            <a:schemeClr val="bg1"/>
          </a:solidFill>
        </p:grpSpPr>
        <p:sp>
          <p:nvSpPr>
            <p:cNvPr id="190" name="Freeform 7"/>
            <p:cNvSpPr>
              <a:spLocks/>
            </p:cNvSpPr>
            <p:nvPr/>
          </p:nvSpPr>
          <p:spPr bwMode="auto">
            <a:xfrm>
              <a:off x="7031995" y="2655333"/>
              <a:ext cx="137109" cy="137452"/>
            </a:xfrm>
            <a:custGeom>
              <a:avLst/>
              <a:gdLst/>
              <a:ahLst/>
              <a:cxnLst/>
              <a:rect l="l" t="t" r="r" b="b"/>
              <a:pathLst>
                <a:path w="281913" h="282618">
                  <a:moveTo>
                    <a:pt x="141765" y="51523"/>
                  </a:moveTo>
                  <a:lnTo>
                    <a:pt x="132619" y="51876"/>
                  </a:lnTo>
                  <a:lnTo>
                    <a:pt x="123473" y="53288"/>
                  </a:lnTo>
                  <a:lnTo>
                    <a:pt x="114678" y="55405"/>
                  </a:lnTo>
                  <a:lnTo>
                    <a:pt x="106588" y="58581"/>
                  </a:lnTo>
                  <a:lnTo>
                    <a:pt x="98497" y="62463"/>
                  </a:lnTo>
                  <a:lnTo>
                    <a:pt x="90758" y="66698"/>
                  </a:lnTo>
                  <a:lnTo>
                    <a:pt x="83722" y="71991"/>
                  </a:lnTo>
                  <a:lnTo>
                    <a:pt x="77390" y="78343"/>
                  </a:lnTo>
                  <a:lnTo>
                    <a:pt x="71410" y="84695"/>
                  </a:lnTo>
                  <a:lnTo>
                    <a:pt x="66134" y="91753"/>
                  </a:lnTo>
                  <a:lnTo>
                    <a:pt x="61560" y="99164"/>
                  </a:lnTo>
                  <a:lnTo>
                    <a:pt x="58043" y="107281"/>
                  </a:lnTo>
                  <a:lnTo>
                    <a:pt x="54877" y="115750"/>
                  </a:lnTo>
                  <a:lnTo>
                    <a:pt x="52766" y="124573"/>
                  </a:lnTo>
                  <a:lnTo>
                    <a:pt x="51007" y="133395"/>
                  </a:lnTo>
                  <a:lnTo>
                    <a:pt x="50655" y="142923"/>
                  </a:lnTo>
                  <a:lnTo>
                    <a:pt x="51359" y="153863"/>
                  </a:lnTo>
                  <a:lnTo>
                    <a:pt x="53470" y="164803"/>
                  </a:lnTo>
                  <a:lnTo>
                    <a:pt x="56636" y="175037"/>
                  </a:lnTo>
                  <a:lnTo>
                    <a:pt x="61209" y="184565"/>
                  </a:lnTo>
                  <a:lnTo>
                    <a:pt x="66485" y="193740"/>
                  </a:lnTo>
                  <a:lnTo>
                    <a:pt x="72817" y="202210"/>
                  </a:lnTo>
                  <a:lnTo>
                    <a:pt x="80204" y="209621"/>
                  </a:lnTo>
                  <a:lnTo>
                    <a:pt x="88025" y="216102"/>
                  </a:lnTo>
                  <a:lnTo>
                    <a:pt x="88082" y="216016"/>
                  </a:lnTo>
                  <a:lnTo>
                    <a:pt x="93711" y="220245"/>
                  </a:lnTo>
                  <a:lnTo>
                    <a:pt x="100043" y="223769"/>
                  </a:lnTo>
                  <a:lnTo>
                    <a:pt x="106375" y="226588"/>
                  </a:lnTo>
                  <a:lnTo>
                    <a:pt x="113410" y="229055"/>
                  </a:lnTo>
                  <a:lnTo>
                    <a:pt x="119742" y="231169"/>
                  </a:lnTo>
                  <a:lnTo>
                    <a:pt x="127130" y="232579"/>
                  </a:lnTo>
                  <a:lnTo>
                    <a:pt x="134165" y="233636"/>
                  </a:lnTo>
                  <a:lnTo>
                    <a:pt x="141553" y="233988"/>
                  </a:lnTo>
                  <a:lnTo>
                    <a:pt x="151051" y="233636"/>
                  </a:lnTo>
                  <a:lnTo>
                    <a:pt x="160197" y="231874"/>
                  </a:lnTo>
                  <a:lnTo>
                    <a:pt x="168640" y="229759"/>
                  </a:lnTo>
                  <a:lnTo>
                    <a:pt x="177434" y="226588"/>
                  </a:lnTo>
                  <a:lnTo>
                    <a:pt x="185525" y="223064"/>
                  </a:lnTo>
                  <a:lnTo>
                    <a:pt x="192561" y="218483"/>
                  </a:lnTo>
                  <a:lnTo>
                    <a:pt x="199597" y="213197"/>
                  </a:lnTo>
                  <a:lnTo>
                    <a:pt x="205929" y="207206"/>
                  </a:lnTo>
                  <a:lnTo>
                    <a:pt x="212261" y="200511"/>
                  </a:lnTo>
                  <a:lnTo>
                    <a:pt x="217537" y="193816"/>
                  </a:lnTo>
                  <a:lnTo>
                    <a:pt x="221759" y="186063"/>
                  </a:lnTo>
                  <a:lnTo>
                    <a:pt x="225628" y="177958"/>
                  </a:lnTo>
                  <a:lnTo>
                    <a:pt x="228794" y="169853"/>
                  </a:lnTo>
                  <a:lnTo>
                    <a:pt x="230905" y="161043"/>
                  </a:lnTo>
                  <a:lnTo>
                    <a:pt x="232312" y="151881"/>
                  </a:lnTo>
                  <a:lnTo>
                    <a:pt x="232664" y="142719"/>
                  </a:lnTo>
                  <a:lnTo>
                    <a:pt x="231960" y="130385"/>
                  </a:lnTo>
                  <a:lnTo>
                    <a:pt x="229498" y="118756"/>
                  </a:lnTo>
                  <a:lnTo>
                    <a:pt x="225980" y="107832"/>
                  </a:lnTo>
                  <a:lnTo>
                    <a:pt x="221055" y="97613"/>
                  </a:lnTo>
                  <a:lnTo>
                    <a:pt x="214371" y="87746"/>
                  </a:lnTo>
                  <a:lnTo>
                    <a:pt x="207336" y="79288"/>
                  </a:lnTo>
                  <a:lnTo>
                    <a:pt x="198893" y="71536"/>
                  </a:lnTo>
                  <a:lnTo>
                    <a:pt x="189395" y="65193"/>
                  </a:lnTo>
                  <a:lnTo>
                    <a:pt x="189411" y="65169"/>
                  </a:lnTo>
                  <a:lnTo>
                    <a:pt x="184330" y="62110"/>
                  </a:lnTo>
                  <a:lnTo>
                    <a:pt x="178701" y="58934"/>
                  </a:lnTo>
                  <a:lnTo>
                    <a:pt x="173073" y="57169"/>
                  </a:lnTo>
                  <a:lnTo>
                    <a:pt x="167444" y="55052"/>
                  </a:lnTo>
                  <a:lnTo>
                    <a:pt x="161113" y="53288"/>
                  </a:lnTo>
                  <a:lnTo>
                    <a:pt x="154781" y="52229"/>
                  </a:lnTo>
                  <a:lnTo>
                    <a:pt x="148449" y="51876"/>
                  </a:lnTo>
                  <a:close/>
                  <a:moveTo>
                    <a:pt x="134378" y="0"/>
                  </a:moveTo>
                  <a:lnTo>
                    <a:pt x="147393" y="0"/>
                  </a:lnTo>
                  <a:lnTo>
                    <a:pt x="151615" y="33172"/>
                  </a:lnTo>
                  <a:lnTo>
                    <a:pt x="154429" y="33525"/>
                  </a:lnTo>
                  <a:lnTo>
                    <a:pt x="156891" y="33878"/>
                  </a:lnTo>
                  <a:lnTo>
                    <a:pt x="159705" y="34231"/>
                  </a:lnTo>
                  <a:lnTo>
                    <a:pt x="162168" y="34584"/>
                  </a:lnTo>
                  <a:lnTo>
                    <a:pt x="164982" y="34937"/>
                  </a:lnTo>
                  <a:lnTo>
                    <a:pt x="167444" y="35996"/>
                  </a:lnTo>
                  <a:lnTo>
                    <a:pt x="169907" y="36348"/>
                  </a:lnTo>
                  <a:lnTo>
                    <a:pt x="172369" y="37054"/>
                  </a:lnTo>
                  <a:lnTo>
                    <a:pt x="188903" y="8117"/>
                  </a:lnTo>
                  <a:lnTo>
                    <a:pt x="200863" y="13057"/>
                  </a:lnTo>
                  <a:lnTo>
                    <a:pt x="192069" y="45524"/>
                  </a:lnTo>
                  <a:lnTo>
                    <a:pt x="194179" y="46582"/>
                  </a:lnTo>
                  <a:lnTo>
                    <a:pt x="196290" y="47641"/>
                  </a:lnTo>
                  <a:lnTo>
                    <a:pt x="197697" y="49053"/>
                  </a:lnTo>
                  <a:lnTo>
                    <a:pt x="199808" y="50111"/>
                  </a:lnTo>
                  <a:lnTo>
                    <a:pt x="199772" y="50165"/>
                  </a:lnTo>
                  <a:lnTo>
                    <a:pt x="202059" y="51802"/>
                  </a:lnTo>
                  <a:lnTo>
                    <a:pt x="204873" y="53564"/>
                  </a:lnTo>
                  <a:lnTo>
                    <a:pt x="207336" y="55326"/>
                  </a:lnTo>
                  <a:lnTo>
                    <a:pt x="209798" y="57440"/>
                  </a:lnTo>
                  <a:lnTo>
                    <a:pt x="236182" y="36649"/>
                  </a:lnTo>
                  <a:lnTo>
                    <a:pt x="244976" y="46164"/>
                  </a:lnTo>
                  <a:lnTo>
                    <a:pt x="224573" y="72241"/>
                  </a:lnTo>
                  <a:lnTo>
                    <a:pt x="227739" y="76469"/>
                  </a:lnTo>
                  <a:lnTo>
                    <a:pt x="230905" y="81050"/>
                  </a:lnTo>
                  <a:lnTo>
                    <a:pt x="233719" y="85279"/>
                  </a:lnTo>
                  <a:lnTo>
                    <a:pt x="236533" y="90213"/>
                  </a:lnTo>
                  <a:lnTo>
                    <a:pt x="268545" y="81403"/>
                  </a:lnTo>
                  <a:lnTo>
                    <a:pt x="273119" y="93032"/>
                  </a:lnTo>
                  <a:lnTo>
                    <a:pt x="244624" y="109594"/>
                  </a:lnTo>
                  <a:lnTo>
                    <a:pt x="245680" y="114880"/>
                  </a:lnTo>
                  <a:lnTo>
                    <a:pt x="247087" y="120166"/>
                  </a:lnTo>
                  <a:lnTo>
                    <a:pt x="247790" y="125452"/>
                  </a:lnTo>
                  <a:lnTo>
                    <a:pt x="248494" y="130738"/>
                  </a:lnTo>
                  <a:lnTo>
                    <a:pt x="281913" y="134966"/>
                  </a:lnTo>
                  <a:lnTo>
                    <a:pt x="281913" y="148005"/>
                  </a:lnTo>
                  <a:lnTo>
                    <a:pt x="248494" y="151881"/>
                  </a:lnTo>
                  <a:lnTo>
                    <a:pt x="247790" y="157167"/>
                  </a:lnTo>
                  <a:lnTo>
                    <a:pt x="247087" y="162453"/>
                  </a:lnTo>
                  <a:lnTo>
                    <a:pt x="245680" y="167739"/>
                  </a:lnTo>
                  <a:lnTo>
                    <a:pt x="244273" y="172672"/>
                  </a:lnTo>
                  <a:lnTo>
                    <a:pt x="273119" y="189234"/>
                  </a:lnTo>
                  <a:lnTo>
                    <a:pt x="268545" y="201568"/>
                  </a:lnTo>
                  <a:lnTo>
                    <a:pt x="236182" y="192406"/>
                  </a:lnTo>
                  <a:lnTo>
                    <a:pt x="233719" y="196987"/>
                  </a:lnTo>
                  <a:lnTo>
                    <a:pt x="230905" y="201568"/>
                  </a:lnTo>
                  <a:lnTo>
                    <a:pt x="227387" y="205797"/>
                  </a:lnTo>
                  <a:lnTo>
                    <a:pt x="224221" y="210026"/>
                  </a:lnTo>
                  <a:lnTo>
                    <a:pt x="244976" y="236807"/>
                  </a:lnTo>
                  <a:lnTo>
                    <a:pt x="236182" y="245617"/>
                  </a:lnTo>
                  <a:lnTo>
                    <a:pt x="209446" y="224826"/>
                  </a:lnTo>
                  <a:lnTo>
                    <a:pt x="207336" y="226588"/>
                  </a:lnTo>
                  <a:lnTo>
                    <a:pt x="204873" y="228350"/>
                  </a:lnTo>
                  <a:lnTo>
                    <a:pt x="202763" y="229759"/>
                  </a:lnTo>
                  <a:lnTo>
                    <a:pt x="200652" y="231521"/>
                  </a:lnTo>
                  <a:lnTo>
                    <a:pt x="198893" y="232579"/>
                  </a:lnTo>
                  <a:lnTo>
                    <a:pt x="196430" y="234341"/>
                  </a:lnTo>
                  <a:lnTo>
                    <a:pt x="194320" y="235398"/>
                  </a:lnTo>
                  <a:lnTo>
                    <a:pt x="191857" y="236807"/>
                  </a:lnTo>
                  <a:lnTo>
                    <a:pt x="200652" y="269227"/>
                  </a:lnTo>
                  <a:lnTo>
                    <a:pt x="188691" y="274513"/>
                  </a:lnTo>
                  <a:lnTo>
                    <a:pt x="172158" y="244912"/>
                  </a:lnTo>
                  <a:lnTo>
                    <a:pt x="169695" y="245617"/>
                  </a:lnTo>
                  <a:lnTo>
                    <a:pt x="166881" y="245969"/>
                  </a:lnTo>
                  <a:lnTo>
                    <a:pt x="164419" y="247027"/>
                  </a:lnTo>
                  <a:lnTo>
                    <a:pt x="161956" y="247379"/>
                  </a:lnTo>
                  <a:lnTo>
                    <a:pt x="159142" y="247731"/>
                  </a:lnTo>
                  <a:lnTo>
                    <a:pt x="156679" y="248084"/>
                  </a:lnTo>
                  <a:lnTo>
                    <a:pt x="153865" y="248436"/>
                  </a:lnTo>
                  <a:lnTo>
                    <a:pt x="151403" y="248789"/>
                  </a:lnTo>
                  <a:lnTo>
                    <a:pt x="147181" y="282618"/>
                  </a:lnTo>
                  <a:lnTo>
                    <a:pt x="134165" y="282618"/>
                  </a:lnTo>
                  <a:lnTo>
                    <a:pt x="129944" y="248789"/>
                  </a:lnTo>
                  <a:lnTo>
                    <a:pt x="127482" y="248436"/>
                  </a:lnTo>
                  <a:lnTo>
                    <a:pt x="124667" y="248084"/>
                  </a:lnTo>
                  <a:lnTo>
                    <a:pt x="122205" y="247731"/>
                  </a:lnTo>
                  <a:lnTo>
                    <a:pt x="119742" y="247379"/>
                  </a:lnTo>
                  <a:lnTo>
                    <a:pt x="116928" y="247027"/>
                  </a:lnTo>
                  <a:lnTo>
                    <a:pt x="114466" y="245969"/>
                  </a:lnTo>
                  <a:lnTo>
                    <a:pt x="112003" y="245617"/>
                  </a:lnTo>
                  <a:lnTo>
                    <a:pt x="109541" y="244912"/>
                  </a:lnTo>
                  <a:lnTo>
                    <a:pt x="92655" y="274513"/>
                  </a:lnTo>
                  <a:lnTo>
                    <a:pt x="80695" y="269227"/>
                  </a:lnTo>
                  <a:lnTo>
                    <a:pt x="89841" y="236807"/>
                  </a:lnTo>
                  <a:lnTo>
                    <a:pt x="87027" y="235045"/>
                  </a:lnTo>
                  <a:lnTo>
                    <a:pt x="84213" y="233636"/>
                  </a:lnTo>
                  <a:lnTo>
                    <a:pt x="81750" y="231521"/>
                  </a:lnTo>
                  <a:lnTo>
                    <a:pt x="79241" y="229950"/>
                  </a:lnTo>
                  <a:lnTo>
                    <a:pt x="79149" y="230089"/>
                  </a:lnTo>
                  <a:lnTo>
                    <a:pt x="77390" y="229030"/>
                  </a:lnTo>
                  <a:lnTo>
                    <a:pt x="75631" y="227619"/>
                  </a:lnTo>
                  <a:lnTo>
                    <a:pt x="74224" y="226560"/>
                  </a:lnTo>
                  <a:lnTo>
                    <a:pt x="72465" y="225148"/>
                  </a:lnTo>
                  <a:lnTo>
                    <a:pt x="45731" y="245969"/>
                  </a:lnTo>
                  <a:lnTo>
                    <a:pt x="36936" y="237147"/>
                  </a:lnTo>
                  <a:lnTo>
                    <a:pt x="56987" y="210327"/>
                  </a:lnTo>
                  <a:lnTo>
                    <a:pt x="53821" y="205739"/>
                  </a:lnTo>
                  <a:lnTo>
                    <a:pt x="51007" y="201857"/>
                  </a:lnTo>
                  <a:lnTo>
                    <a:pt x="48193" y="197269"/>
                  </a:lnTo>
                  <a:lnTo>
                    <a:pt x="45379" y="192682"/>
                  </a:lnTo>
                  <a:lnTo>
                    <a:pt x="13367" y="201857"/>
                  </a:lnTo>
                  <a:lnTo>
                    <a:pt x="8443" y="189506"/>
                  </a:lnTo>
                  <a:lnTo>
                    <a:pt x="37640" y="172920"/>
                  </a:lnTo>
                  <a:lnTo>
                    <a:pt x="36585" y="167979"/>
                  </a:lnTo>
                  <a:lnTo>
                    <a:pt x="35177" y="162686"/>
                  </a:lnTo>
                  <a:lnTo>
                    <a:pt x="34474" y="157392"/>
                  </a:lnTo>
                  <a:lnTo>
                    <a:pt x="33770" y="152099"/>
                  </a:lnTo>
                  <a:lnTo>
                    <a:pt x="0" y="148217"/>
                  </a:lnTo>
                  <a:lnTo>
                    <a:pt x="0" y="135160"/>
                  </a:lnTo>
                  <a:lnTo>
                    <a:pt x="33770" y="130572"/>
                  </a:lnTo>
                  <a:lnTo>
                    <a:pt x="34122" y="125278"/>
                  </a:lnTo>
                  <a:lnTo>
                    <a:pt x="35177" y="119985"/>
                  </a:lnTo>
                  <a:lnTo>
                    <a:pt x="36233" y="115044"/>
                  </a:lnTo>
                  <a:lnTo>
                    <a:pt x="37640" y="109751"/>
                  </a:lnTo>
                  <a:lnTo>
                    <a:pt x="8443" y="93165"/>
                  </a:lnTo>
                  <a:lnTo>
                    <a:pt x="13367" y="81519"/>
                  </a:lnTo>
                  <a:lnTo>
                    <a:pt x="45379" y="90342"/>
                  </a:lnTo>
                  <a:lnTo>
                    <a:pt x="47841" y="85401"/>
                  </a:lnTo>
                  <a:lnTo>
                    <a:pt x="50655" y="81166"/>
                  </a:lnTo>
                  <a:lnTo>
                    <a:pt x="53821" y="76932"/>
                  </a:lnTo>
                  <a:lnTo>
                    <a:pt x="56987" y="72344"/>
                  </a:lnTo>
                  <a:lnTo>
                    <a:pt x="36936" y="46230"/>
                  </a:lnTo>
                  <a:lnTo>
                    <a:pt x="45731" y="36701"/>
                  </a:lnTo>
                  <a:lnTo>
                    <a:pt x="72114" y="57522"/>
                  </a:lnTo>
                  <a:lnTo>
                    <a:pt x="74224" y="55758"/>
                  </a:lnTo>
                  <a:lnTo>
                    <a:pt x="76335" y="54346"/>
                  </a:lnTo>
                  <a:lnTo>
                    <a:pt x="78094" y="52582"/>
                  </a:lnTo>
                  <a:lnTo>
                    <a:pt x="80556" y="50817"/>
                  </a:lnTo>
                  <a:lnTo>
                    <a:pt x="82667" y="49759"/>
                  </a:lnTo>
                  <a:lnTo>
                    <a:pt x="85129" y="47994"/>
                  </a:lnTo>
                  <a:lnTo>
                    <a:pt x="87240" y="46935"/>
                  </a:lnTo>
                  <a:lnTo>
                    <a:pt x="89702" y="45524"/>
                  </a:lnTo>
                  <a:lnTo>
                    <a:pt x="80908" y="13057"/>
                  </a:lnTo>
                  <a:lnTo>
                    <a:pt x="92868" y="8117"/>
                  </a:lnTo>
                  <a:lnTo>
                    <a:pt x="109402" y="37054"/>
                  </a:lnTo>
                  <a:lnTo>
                    <a:pt x="111864" y="36348"/>
                  </a:lnTo>
                  <a:lnTo>
                    <a:pt x="114327" y="35996"/>
                  </a:lnTo>
                  <a:lnTo>
                    <a:pt x="117141" y="34937"/>
                  </a:lnTo>
                  <a:lnTo>
                    <a:pt x="119603" y="34584"/>
                  </a:lnTo>
                  <a:lnTo>
                    <a:pt x="122417" y="34231"/>
                  </a:lnTo>
                  <a:lnTo>
                    <a:pt x="124880" y="33878"/>
                  </a:lnTo>
                  <a:lnTo>
                    <a:pt x="127694" y="33525"/>
                  </a:lnTo>
                  <a:lnTo>
                    <a:pt x="130156" y="33172"/>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1" name="Freeform 11"/>
            <p:cNvSpPr>
              <a:spLocks/>
            </p:cNvSpPr>
            <p:nvPr/>
          </p:nvSpPr>
          <p:spPr bwMode="auto">
            <a:xfrm>
              <a:off x="7092322" y="2523365"/>
              <a:ext cx="164532" cy="164189"/>
            </a:xfrm>
            <a:custGeom>
              <a:avLst/>
              <a:gdLst/>
              <a:ahLst/>
              <a:cxnLst/>
              <a:rect l="l" t="t" r="r" b="b"/>
              <a:pathLst>
                <a:path w="338297" h="337591">
                  <a:moveTo>
                    <a:pt x="164083" y="61316"/>
                  </a:moveTo>
                  <a:lnTo>
                    <a:pt x="153144" y="62373"/>
                  </a:lnTo>
                  <a:lnTo>
                    <a:pt x="142558" y="64840"/>
                  </a:lnTo>
                  <a:lnTo>
                    <a:pt x="132325" y="67659"/>
                  </a:lnTo>
                  <a:lnTo>
                    <a:pt x="122444" y="71888"/>
                  </a:lnTo>
                  <a:lnTo>
                    <a:pt x="113623" y="77174"/>
                  </a:lnTo>
                  <a:lnTo>
                    <a:pt x="104801" y="82812"/>
                  </a:lnTo>
                  <a:lnTo>
                    <a:pt x="96685" y="89860"/>
                  </a:lnTo>
                  <a:lnTo>
                    <a:pt x="89275" y="96908"/>
                  </a:lnTo>
                  <a:lnTo>
                    <a:pt x="82218" y="105013"/>
                  </a:lnTo>
                  <a:lnTo>
                    <a:pt x="76219" y="114175"/>
                  </a:lnTo>
                  <a:lnTo>
                    <a:pt x="71279" y="123337"/>
                  </a:lnTo>
                  <a:lnTo>
                    <a:pt x="67044" y="133557"/>
                  </a:lnTo>
                  <a:lnTo>
                    <a:pt x="63516" y="144128"/>
                  </a:lnTo>
                  <a:lnTo>
                    <a:pt x="61752" y="155052"/>
                  </a:lnTo>
                  <a:lnTo>
                    <a:pt x="60340" y="168443"/>
                  </a:lnTo>
                  <a:lnTo>
                    <a:pt x="60693" y="181482"/>
                  </a:lnTo>
                  <a:lnTo>
                    <a:pt x="62810" y="193815"/>
                  </a:lnTo>
                  <a:lnTo>
                    <a:pt x="66692" y="206502"/>
                  </a:lnTo>
                  <a:lnTo>
                    <a:pt x="71279" y="218483"/>
                  </a:lnTo>
                  <a:lnTo>
                    <a:pt x="77630" y="229407"/>
                  </a:lnTo>
                  <a:lnTo>
                    <a:pt x="84688" y="239274"/>
                  </a:lnTo>
                  <a:lnTo>
                    <a:pt x="93509" y="248789"/>
                  </a:lnTo>
                  <a:lnTo>
                    <a:pt x="93464" y="248838"/>
                  </a:lnTo>
                  <a:lnTo>
                    <a:pt x="99760" y="254427"/>
                  </a:lnTo>
                  <a:lnTo>
                    <a:pt x="106111" y="259713"/>
                  </a:lnTo>
                  <a:lnTo>
                    <a:pt x="113169" y="264294"/>
                  </a:lnTo>
                  <a:lnTo>
                    <a:pt x="120932" y="268170"/>
                  </a:lnTo>
                  <a:lnTo>
                    <a:pt x="128695" y="272046"/>
                  </a:lnTo>
                  <a:lnTo>
                    <a:pt x="136811" y="274865"/>
                  </a:lnTo>
                  <a:lnTo>
                    <a:pt x="145279" y="277332"/>
                  </a:lnTo>
                  <a:lnTo>
                    <a:pt x="154101" y="278742"/>
                  </a:lnTo>
                  <a:lnTo>
                    <a:pt x="165746" y="280151"/>
                  </a:lnTo>
                  <a:lnTo>
                    <a:pt x="176684" y="279447"/>
                  </a:lnTo>
                  <a:lnTo>
                    <a:pt x="187270" y="278389"/>
                  </a:lnTo>
                  <a:lnTo>
                    <a:pt x="197856" y="276275"/>
                  </a:lnTo>
                  <a:lnTo>
                    <a:pt x="207737" y="273103"/>
                  </a:lnTo>
                  <a:lnTo>
                    <a:pt x="217617" y="269227"/>
                  </a:lnTo>
                  <a:lnTo>
                    <a:pt x="226791" y="264294"/>
                  </a:lnTo>
                  <a:lnTo>
                    <a:pt x="235966" y="257951"/>
                  </a:lnTo>
                  <a:lnTo>
                    <a:pt x="244082" y="251608"/>
                  </a:lnTo>
                  <a:lnTo>
                    <a:pt x="251492" y="244207"/>
                  </a:lnTo>
                  <a:lnTo>
                    <a:pt x="258196" y="236102"/>
                  </a:lnTo>
                  <a:lnTo>
                    <a:pt x="263842" y="227293"/>
                  </a:lnTo>
                  <a:lnTo>
                    <a:pt x="269135" y="217778"/>
                  </a:lnTo>
                  <a:lnTo>
                    <a:pt x="273370" y="208263"/>
                  </a:lnTo>
                  <a:lnTo>
                    <a:pt x="276546" y="197692"/>
                  </a:lnTo>
                  <a:lnTo>
                    <a:pt x="278663" y="186768"/>
                  </a:lnTo>
                  <a:lnTo>
                    <a:pt x="279721" y="171967"/>
                  </a:lnTo>
                  <a:lnTo>
                    <a:pt x="279016" y="157871"/>
                  </a:lnTo>
                  <a:lnTo>
                    <a:pt x="276546" y="144128"/>
                  </a:lnTo>
                  <a:lnTo>
                    <a:pt x="272311" y="131090"/>
                  </a:lnTo>
                  <a:lnTo>
                    <a:pt x="266312" y="118404"/>
                  </a:lnTo>
                  <a:lnTo>
                    <a:pt x="259608" y="106775"/>
                  </a:lnTo>
                  <a:lnTo>
                    <a:pt x="250433" y="96203"/>
                  </a:lnTo>
                  <a:lnTo>
                    <a:pt x="240906" y="86688"/>
                  </a:lnTo>
                  <a:lnTo>
                    <a:pt x="240944" y="86647"/>
                  </a:lnTo>
                  <a:lnTo>
                    <a:pt x="234656" y="82460"/>
                  </a:lnTo>
                  <a:lnTo>
                    <a:pt x="228657" y="78231"/>
                  </a:lnTo>
                  <a:lnTo>
                    <a:pt x="222305" y="74355"/>
                  </a:lnTo>
                  <a:lnTo>
                    <a:pt x="215601" y="71183"/>
                  </a:lnTo>
                  <a:lnTo>
                    <a:pt x="208897" y="68012"/>
                  </a:lnTo>
                  <a:lnTo>
                    <a:pt x="201486" y="65897"/>
                  </a:lnTo>
                  <a:lnTo>
                    <a:pt x="193723" y="63783"/>
                  </a:lnTo>
                  <a:lnTo>
                    <a:pt x="185960" y="62373"/>
                  </a:lnTo>
                  <a:lnTo>
                    <a:pt x="175021" y="61316"/>
                  </a:lnTo>
                  <a:close/>
                  <a:moveTo>
                    <a:pt x="185960" y="0"/>
                  </a:moveTo>
                  <a:lnTo>
                    <a:pt x="201486" y="2467"/>
                  </a:lnTo>
                  <a:lnTo>
                    <a:pt x="200781" y="42640"/>
                  </a:lnTo>
                  <a:lnTo>
                    <a:pt x="203956" y="43344"/>
                  </a:lnTo>
                  <a:lnTo>
                    <a:pt x="207132" y="44401"/>
                  </a:lnTo>
                  <a:lnTo>
                    <a:pt x="209955" y="45106"/>
                  </a:lnTo>
                  <a:lnTo>
                    <a:pt x="213131" y="46163"/>
                  </a:lnTo>
                  <a:lnTo>
                    <a:pt x="215954" y="47573"/>
                  </a:lnTo>
                  <a:lnTo>
                    <a:pt x="218777" y="48630"/>
                  </a:lnTo>
                  <a:lnTo>
                    <a:pt x="221600" y="50040"/>
                  </a:lnTo>
                  <a:lnTo>
                    <a:pt x="224776" y="51097"/>
                  </a:lnTo>
                  <a:lnTo>
                    <a:pt x="249476" y="19382"/>
                  </a:lnTo>
                  <a:lnTo>
                    <a:pt x="262885" y="27487"/>
                  </a:lnTo>
                  <a:lnTo>
                    <a:pt x="246653" y="64135"/>
                  </a:lnTo>
                  <a:lnTo>
                    <a:pt x="249123" y="65897"/>
                  </a:lnTo>
                  <a:lnTo>
                    <a:pt x="250888" y="67307"/>
                  </a:lnTo>
                  <a:lnTo>
                    <a:pt x="253005" y="69421"/>
                  </a:lnTo>
                  <a:lnTo>
                    <a:pt x="255122" y="71183"/>
                  </a:lnTo>
                  <a:lnTo>
                    <a:pt x="255081" y="71228"/>
                  </a:lnTo>
                  <a:lnTo>
                    <a:pt x="257844" y="73297"/>
                  </a:lnTo>
                  <a:lnTo>
                    <a:pt x="260314" y="75764"/>
                  </a:lnTo>
                  <a:lnTo>
                    <a:pt x="263137" y="78231"/>
                  </a:lnTo>
                  <a:lnTo>
                    <a:pt x="265607" y="81050"/>
                  </a:lnTo>
                  <a:lnTo>
                    <a:pt x="300540" y="61316"/>
                  </a:lnTo>
                  <a:lnTo>
                    <a:pt x="309715" y="74002"/>
                  </a:lnTo>
                  <a:lnTo>
                    <a:pt x="281133" y="101841"/>
                  </a:lnTo>
                  <a:lnTo>
                    <a:pt x="284309" y="107479"/>
                  </a:lnTo>
                  <a:lnTo>
                    <a:pt x="287131" y="113118"/>
                  </a:lnTo>
                  <a:lnTo>
                    <a:pt x="289602" y="118756"/>
                  </a:lnTo>
                  <a:lnTo>
                    <a:pt x="292072" y="125099"/>
                  </a:lnTo>
                  <a:lnTo>
                    <a:pt x="331945" y="119813"/>
                  </a:lnTo>
                  <a:lnTo>
                    <a:pt x="335474" y="134966"/>
                  </a:lnTo>
                  <a:lnTo>
                    <a:pt x="298070" y="149766"/>
                  </a:lnTo>
                  <a:lnTo>
                    <a:pt x="298776" y="155757"/>
                  </a:lnTo>
                  <a:lnTo>
                    <a:pt x="299129" y="162453"/>
                  </a:lnTo>
                  <a:lnTo>
                    <a:pt x="299129" y="168443"/>
                  </a:lnTo>
                  <a:lnTo>
                    <a:pt x="299129" y="174786"/>
                  </a:lnTo>
                  <a:lnTo>
                    <a:pt x="338297" y="185710"/>
                  </a:lnTo>
                  <a:lnTo>
                    <a:pt x="335827" y="201216"/>
                  </a:lnTo>
                  <a:lnTo>
                    <a:pt x="295600" y="200511"/>
                  </a:lnTo>
                  <a:lnTo>
                    <a:pt x="293836" y="206501"/>
                  </a:lnTo>
                  <a:lnTo>
                    <a:pt x="292072" y="212492"/>
                  </a:lnTo>
                  <a:lnTo>
                    <a:pt x="289602" y="218835"/>
                  </a:lnTo>
                  <a:lnTo>
                    <a:pt x="287131" y="224473"/>
                  </a:lnTo>
                  <a:lnTo>
                    <a:pt x="318889" y="249141"/>
                  </a:lnTo>
                  <a:lnTo>
                    <a:pt x="311126" y="262532"/>
                  </a:lnTo>
                  <a:lnTo>
                    <a:pt x="273723" y="246322"/>
                  </a:lnTo>
                  <a:lnTo>
                    <a:pt x="271605" y="248788"/>
                  </a:lnTo>
                  <a:lnTo>
                    <a:pt x="270194" y="251255"/>
                  </a:lnTo>
                  <a:lnTo>
                    <a:pt x="268077" y="253722"/>
                  </a:lnTo>
                  <a:lnTo>
                    <a:pt x="265960" y="256189"/>
                  </a:lnTo>
                  <a:lnTo>
                    <a:pt x="263489" y="258655"/>
                  </a:lnTo>
                  <a:lnTo>
                    <a:pt x="261372" y="260417"/>
                  </a:lnTo>
                  <a:lnTo>
                    <a:pt x="258902" y="262884"/>
                  </a:lnTo>
                  <a:lnTo>
                    <a:pt x="256785" y="264998"/>
                  </a:lnTo>
                  <a:lnTo>
                    <a:pt x="276898" y="299885"/>
                  </a:lnTo>
                  <a:lnTo>
                    <a:pt x="264195" y="309400"/>
                  </a:lnTo>
                  <a:lnTo>
                    <a:pt x="235966" y="280151"/>
                  </a:lnTo>
                  <a:lnTo>
                    <a:pt x="233496" y="281561"/>
                  </a:lnTo>
                  <a:lnTo>
                    <a:pt x="230673" y="282970"/>
                  </a:lnTo>
                  <a:lnTo>
                    <a:pt x="227850" y="284380"/>
                  </a:lnTo>
                  <a:lnTo>
                    <a:pt x="225027" y="285790"/>
                  </a:lnTo>
                  <a:lnTo>
                    <a:pt x="222204" y="286847"/>
                  </a:lnTo>
                  <a:lnTo>
                    <a:pt x="219381" y="288256"/>
                  </a:lnTo>
                  <a:lnTo>
                    <a:pt x="215853" y="289313"/>
                  </a:lnTo>
                  <a:lnTo>
                    <a:pt x="213030" y="290723"/>
                  </a:lnTo>
                  <a:lnTo>
                    <a:pt x="218323" y="331248"/>
                  </a:lnTo>
                  <a:lnTo>
                    <a:pt x="202797" y="334772"/>
                  </a:lnTo>
                  <a:lnTo>
                    <a:pt x="188329" y="297066"/>
                  </a:lnTo>
                  <a:lnTo>
                    <a:pt x="185153" y="297418"/>
                  </a:lnTo>
                  <a:lnTo>
                    <a:pt x="182330" y="297771"/>
                  </a:lnTo>
                  <a:lnTo>
                    <a:pt x="179155" y="298123"/>
                  </a:lnTo>
                  <a:lnTo>
                    <a:pt x="175626" y="298123"/>
                  </a:lnTo>
                  <a:lnTo>
                    <a:pt x="172803" y="298123"/>
                  </a:lnTo>
                  <a:lnTo>
                    <a:pt x="169627" y="298123"/>
                  </a:lnTo>
                  <a:lnTo>
                    <a:pt x="166451" y="298123"/>
                  </a:lnTo>
                  <a:lnTo>
                    <a:pt x="163276" y="298123"/>
                  </a:lnTo>
                  <a:lnTo>
                    <a:pt x="152337" y="337591"/>
                  </a:lnTo>
                  <a:lnTo>
                    <a:pt x="136811" y="335124"/>
                  </a:lnTo>
                  <a:lnTo>
                    <a:pt x="137516" y="294599"/>
                  </a:lnTo>
                  <a:lnTo>
                    <a:pt x="134693" y="293895"/>
                  </a:lnTo>
                  <a:lnTo>
                    <a:pt x="131518" y="292837"/>
                  </a:lnTo>
                  <a:lnTo>
                    <a:pt x="128695" y="292133"/>
                  </a:lnTo>
                  <a:lnTo>
                    <a:pt x="125519" y="291075"/>
                  </a:lnTo>
                  <a:lnTo>
                    <a:pt x="122343" y="289666"/>
                  </a:lnTo>
                  <a:lnTo>
                    <a:pt x="119520" y="288609"/>
                  </a:lnTo>
                  <a:lnTo>
                    <a:pt x="116697" y="287199"/>
                  </a:lnTo>
                  <a:lnTo>
                    <a:pt x="113874" y="286142"/>
                  </a:lnTo>
                  <a:lnTo>
                    <a:pt x="88821" y="318210"/>
                  </a:lnTo>
                  <a:lnTo>
                    <a:pt x="75412" y="310457"/>
                  </a:lnTo>
                  <a:lnTo>
                    <a:pt x="91644" y="273103"/>
                  </a:lnTo>
                  <a:lnTo>
                    <a:pt x="88821" y="270989"/>
                  </a:lnTo>
                  <a:lnTo>
                    <a:pt x="85998" y="268522"/>
                  </a:lnTo>
                  <a:lnTo>
                    <a:pt x="83175" y="266056"/>
                  </a:lnTo>
                  <a:lnTo>
                    <a:pt x="80352" y="263237"/>
                  </a:lnTo>
                  <a:lnTo>
                    <a:pt x="80394" y="263190"/>
                  </a:lnTo>
                  <a:lnTo>
                    <a:pt x="78689" y="261827"/>
                  </a:lnTo>
                  <a:lnTo>
                    <a:pt x="76572" y="260065"/>
                  </a:lnTo>
                  <a:lnTo>
                    <a:pt x="75160" y="257951"/>
                  </a:lnTo>
                  <a:lnTo>
                    <a:pt x="73043" y="256541"/>
                  </a:lnTo>
                  <a:lnTo>
                    <a:pt x="37757" y="276275"/>
                  </a:lnTo>
                  <a:lnTo>
                    <a:pt x="28229" y="264294"/>
                  </a:lnTo>
                  <a:lnTo>
                    <a:pt x="57517" y="235750"/>
                  </a:lnTo>
                  <a:lnTo>
                    <a:pt x="54694" y="230464"/>
                  </a:lnTo>
                  <a:lnTo>
                    <a:pt x="51871" y="224826"/>
                  </a:lnTo>
                  <a:lnTo>
                    <a:pt x="49401" y="219188"/>
                  </a:lnTo>
                  <a:lnTo>
                    <a:pt x="46931" y="213197"/>
                  </a:lnTo>
                  <a:lnTo>
                    <a:pt x="6352" y="218483"/>
                  </a:lnTo>
                  <a:lnTo>
                    <a:pt x="2823" y="202978"/>
                  </a:lnTo>
                  <a:lnTo>
                    <a:pt x="40580" y="188177"/>
                  </a:lnTo>
                  <a:lnTo>
                    <a:pt x="39874" y="182187"/>
                  </a:lnTo>
                  <a:lnTo>
                    <a:pt x="39168" y="175844"/>
                  </a:lnTo>
                  <a:lnTo>
                    <a:pt x="39168" y="169500"/>
                  </a:lnTo>
                  <a:lnTo>
                    <a:pt x="39168" y="163157"/>
                  </a:lnTo>
                  <a:lnTo>
                    <a:pt x="0" y="152233"/>
                  </a:lnTo>
                  <a:lnTo>
                    <a:pt x="2470" y="136728"/>
                  </a:lnTo>
                  <a:lnTo>
                    <a:pt x="43050" y="137433"/>
                  </a:lnTo>
                  <a:lnTo>
                    <a:pt x="44461" y="131442"/>
                  </a:lnTo>
                  <a:lnTo>
                    <a:pt x="46578" y="125452"/>
                  </a:lnTo>
                  <a:lnTo>
                    <a:pt x="48695" y="119461"/>
                  </a:lnTo>
                  <a:lnTo>
                    <a:pt x="51166" y="113470"/>
                  </a:lnTo>
                  <a:lnTo>
                    <a:pt x="19408" y="88803"/>
                  </a:lnTo>
                  <a:lnTo>
                    <a:pt x="27171" y="75412"/>
                  </a:lnTo>
                  <a:lnTo>
                    <a:pt x="64222" y="91622"/>
                  </a:lnTo>
                  <a:lnTo>
                    <a:pt x="65986" y="89155"/>
                  </a:lnTo>
                  <a:lnTo>
                    <a:pt x="68103" y="86336"/>
                  </a:lnTo>
                  <a:lnTo>
                    <a:pt x="70220" y="83869"/>
                  </a:lnTo>
                  <a:lnTo>
                    <a:pt x="72337" y="81403"/>
                  </a:lnTo>
                  <a:lnTo>
                    <a:pt x="74808" y="79641"/>
                  </a:lnTo>
                  <a:lnTo>
                    <a:pt x="76572" y="77174"/>
                  </a:lnTo>
                  <a:lnTo>
                    <a:pt x="78689" y="74707"/>
                  </a:lnTo>
                  <a:lnTo>
                    <a:pt x="81159" y="72593"/>
                  </a:lnTo>
                  <a:lnTo>
                    <a:pt x="61399" y="37706"/>
                  </a:lnTo>
                  <a:lnTo>
                    <a:pt x="73749" y="28544"/>
                  </a:lnTo>
                  <a:lnTo>
                    <a:pt x="101978" y="57088"/>
                  </a:lnTo>
                  <a:lnTo>
                    <a:pt x="104801" y="55678"/>
                  </a:lnTo>
                  <a:lnTo>
                    <a:pt x="107624" y="54268"/>
                  </a:lnTo>
                  <a:lnTo>
                    <a:pt x="110447" y="52859"/>
                  </a:lnTo>
                  <a:lnTo>
                    <a:pt x="113270" y="51097"/>
                  </a:lnTo>
                  <a:lnTo>
                    <a:pt x="116093" y="50040"/>
                  </a:lnTo>
                  <a:lnTo>
                    <a:pt x="118916" y="48630"/>
                  </a:lnTo>
                  <a:lnTo>
                    <a:pt x="122092" y="47573"/>
                  </a:lnTo>
                  <a:lnTo>
                    <a:pt x="124914" y="46163"/>
                  </a:lnTo>
                  <a:lnTo>
                    <a:pt x="119622" y="6343"/>
                  </a:lnTo>
                  <a:lnTo>
                    <a:pt x="135148" y="2819"/>
                  </a:lnTo>
                  <a:lnTo>
                    <a:pt x="149968" y="40173"/>
                  </a:lnTo>
                  <a:lnTo>
                    <a:pt x="153144" y="39820"/>
                  </a:lnTo>
                  <a:lnTo>
                    <a:pt x="155967" y="39468"/>
                  </a:lnTo>
                  <a:lnTo>
                    <a:pt x="159142" y="39116"/>
                  </a:lnTo>
                  <a:lnTo>
                    <a:pt x="162318" y="38411"/>
                  </a:lnTo>
                  <a:lnTo>
                    <a:pt x="165847" y="38411"/>
                  </a:lnTo>
                  <a:lnTo>
                    <a:pt x="169023" y="38411"/>
                  </a:lnTo>
                  <a:lnTo>
                    <a:pt x="172198" y="38411"/>
                  </a:lnTo>
                  <a:lnTo>
                    <a:pt x="175374" y="38411"/>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2" name="Freeform 15"/>
            <p:cNvSpPr>
              <a:spLocks/>
            </p:cNvSpPr>
            <p:nvPr/>
          </p:nvSpPr>
          <p:spPr bwMode="auto">
            <a:xfrm>
              <a:off x="6872947" y="2538790"/>
              <a:ext cx="196066" cy="193667"/>
            </a:xfrm>
            <a:custGeom>
              <a:avLst/>
              <a:gdLst/>
              <a:ahLst/>
              <a:cxnLst/>
              <a:rect l="l" t="t" r="r" b="b"/>
              <a:pathLst>
                <a:path w="403136" h="398203">
                  <a:moveTo>
                    <a:pt x="201831" y="59258"/>
                  </a:moveTo>
                  <a:lnTo>
                    <a:pt x="187364" y="59963"/>
                  </a:lnTo>
                  <a:lnTo>
                    <a:pt x="173250" y="62080"/>
                  </a:lnTo>
                  <a:lnTo>
                    <a:pt x="159136" y="65960"/>
                  </a:lnTo>
                  <a:lnTo>
                    <a:pt x="146434" y="70545"/>
                  </a:lnTo>
                  <a:lnTo>
                    <a:pt x="133731" y="76894"/>
                  </a:lnTo>
                  <a:lnTo>
                    <a:pt x="122087" y="83596"/>
                  </a:lnTo>
                  <a:lnTo>
                    <a:pt x="110443" y="92061"/>
                  </a:lnTo>
                  <a:lnTo>
                    <a:pt x="100210" y="101232"/>
                  </a:lnTo>
                  <a:lnTo>
                    <a:pt x="91389" y="111461"/>
                  </a:lnTo>
                  <a:lnTo>
                    <a:pt x="82920" y="122395"/>
                  </a:lnTo>
                  <a:lnTo>
                    <a:pt x="75863" y="134035"/>
                  </a:lnTo>
                  <a:lnTo>
                    <a:pt x="69865" y="146733"/>
                  </a:lnTo>
                  <a:lnTo>
                    <a:pt x="64925" y="159784"/>
                  </a:lnTo>
                  <a:lnTo>
                    <a:pt x="61396" y="173540"/>
                  </a:lnTo>
                  <a:lnTo>
                    <a:pt x="59279" y="187649"/>
                  </a:lnTo>
                  <a:lnTo>
                    <a:pt x="58574" y="202464"/>
                  </a:lnTo>
                  <a:lnTo>
                    <a:pt x="58926" y="213398"/>
                  </a:lnTo>
                  <a:lnTo>
                    <a:pt x="59985" y="223980"/>
                  </a:lnTo>
                  <a:lnTo>
                    <a:pt x="62102" y="234209"/>
                  </a:lnTo>
                  <a:lnTo>
                    <a:pt x="64925" y="244438"/>
                  </a:lnTo>
                  <a:lnTo>
                    <a:pt x="68101" y="254667"/>
                  </a:lnTo>
                  <a:lnTo>
                    <a:pt x="72688" y="264191"/>
                  </a:lnTo>
                  <a:lnTo>
                    <a:pt x="77628" y="273361"/>
                  </a:lnTo>
                  <a:lnTo>
                    <a:pt x="82920" y="281827"/>
                  </a:lnTo>
                  <a:lnTo>
                    <a:pt x="88919" y="290292"/>
                  </a:lnTo>
                  <a:lnTo>
                    <a:pt x="95976" y="298052"/>
                  </a:lnTo>
                  <a:lnTo>
                    <a:pt x="102680" y="305812"/>
                  </a:lnTo>
                  <a:lnTo>
                    <a:pt x="110443" y="312514"/>
                  </a:lnTo>
                  <a:lnTo>
                    <a:pt x="118558" y="318863"/>
                  </a:lnTo>
                  <a:lnTo>
                    <a:pt x="127732" y="324506"/>
                  </a:lnTo>
                  <a:lnTo>
                    <a:pt x="136554" y="329445"/>
                  </a:lnTo>
                  <a:lnTo>
                    <a:pt x="145728" y="334030"/>
                  </a:lnTo>
                  <a:lnTo>
                    <a:pt x="145687" y="334128"/>
                  </a:lnTo>
                  <a:lnTo>
                    <a:pt x="152210" y="336534"/>
                  </a:lnTo>
                  <a:lnTo>
                    <a:pt x="158544" y="338649"/>
                  </a:lnTo>
                  <a:lnTo>
                    <a:pt x="165583" y="340763"/>
                  </a:lnTo>
                  <a:lnTo>
                    <a:pt x="172270" y="342525"/>
                  </a:lnTo>
                  <a:lnTo>
                    <a:pt x="179660" y="343582"/>
                  </a:lnTo>
                  <a:lnTo>
                    <a:pt x="187051" y="344640"/>
                  </a:lnTo>
                  <a:lnTo>
                    <a:pt x="194441" y="345344"/>
                  </a:lnTo>
                  <a:lnTo>
                    <a:pt x="201480" y="345344"/>
                  </a:lnTo>
                  <a:lnTo>
                    <a:pt x="216261" y="344640"/>
                  </a:lnTo>
                  <a:lnTo>
                    <a:pt x="230338" y="342525"/>
                  </a:lnTo>
                  <a:lnTo>
                    <a:pt x="244064" y="338649"/>
                  </a:lnTo>
                  <a:lnTo>
                    <a:pt x="257085" y="334068"/>
                  </a:lnTo>
                  <a:lnTo>
                    <a:pt x="269754" y="327725"/>
                  </a:lnTo>
                  <a:lnTo>
                    <a:pt x="281368" y="321029"/>
                  </a:lnTo>
                  <a:lnTo>
                    <a:pt x="292278" y="312572"/>
                  </a:lnTo>
                  <a:lnTo>
                    <a:pt x="302484" y="303410"/>
                  </a:lnTo>
                  <a:lnTo>
                    <a:pt x="311282" y="293190"/>
                  </a:lnTo>
                  <a:lnTo>
                    <a:pt x="320080" y="282266"/>
                  </a:lnTo>
                  <a:lnTo>
                    <a:pt x="326767" y="270637"/>
                  </a:lnTo>
                  <a:lnTo>
                    <a:pt x="333102" y="257951"/>
                  </a:lnTo>
                  <a:lnTo>
                    <a:pt x="337677" y="244912"/>
                  </a:lnTo>
                  <a:lnTo>
                    <a:pt x="341548" y="231169"/>
                  </a:lnTo>
                  <a:lnTo>
                    <a:pt x="343308" y="217073"/>
                  </a:lnTo>
                  <a:lnTo>
                    <a:pt x="344364" y="202625"/>
                  </a:lnTo>
                  <a:lnTo>
                    <a:pt x="344012" y="191349"/>
                  </a:lnTo>
                  <a:lnTo>
                    <a:pt x="342604" y="180425"/>
                  </a:lnTo>
                  <a:lnTo>
                    <a:pt x="340492" y="169853"/>
                  </a:lnTo>
                  <a:lnTo>
                    <a:pt x="337677" y="159986"/>
                  </a:lnTo>
                  <a:lnTo>
                    <a:pt x="334510" y="150119"/>
                  </a:lnTo>
                  <a:lnTo>
                    <a:pt x="329934" y="140252"/>
                  </a:lnTo>
                  <a:lnTo>
                    <a:pt x="325711" y="131442"/>
                  </a:lnTo>
                  <a:lnTo>
                    <a:pt x="320080" y="122632"/>
                  </a:lnTo>
                  <a:lnTo>
                    <a:pt x="313746" y="114527"/>
                  </a:lnTo>
                  <a:lnTo>
                    <a:pt x="307411" y="106422"/>
                  </a:lnTo>
                  <a:lnTo>
                    <a:pt x="300020" y="99022"/>
                  </a:lnTo>
                  <a:lnTo>
                    <a:pt x="292278" y="91974"/>
                  </a:lnTo>
                  <a:lnTo>
                    <a:pt x="284183" y="85983"/>
                  </a:lnTo>
                  <a:lnTo>
                    <a:pt x="275737" y="80345"/>
                  </a:lnTo>
                  <a:lnTo>
                    <a:pt x="266587" y="75412"/>
                  </a:lnTo>
                  <a:lnTo>
                    <a:pt x="257085" y="70831"/>
                  </a:lnTo>
                  <a:lnTo>
                    <a:pt x="257261" y="70421"/>
                  </a:lnTo>
                  <a:lnTo>
                    <a:pt x="251230" y="68076"/>
                  </a:lnTo>
                  <a:lnTo>
                    <a:pt x="244526" y="65960"/>
                  </a:lnTo>
                  <a:lnTo>
                    <a:pt x="237822" y="63843"/>
                  </a:lnTo>
                  <a:lnTo>
                    <a:pt x="230765" y="62080"/>
                  </a:lnTo>
                  <a:lnTo>
                    <a:pt x="223355" y="61021"/>
                  </a:lnTo>
                  <a:lnTo>
                    <a:pt x="216651" y="59963"/>
                  </a:lnTo>
                  <a:lnTo>
                    <a:pt x="209241" y="59258"/>
                  </a:lnTo>
                  <a:close/>
                  <a:moveTo>
                    <a:pt x="172545" y="0"/>
                  </a:moveTo>
                  <a:lnTo>
                    <a:pt x="185247" y="26807"/>
                  </a:lnTo>
                  <a:lnTo>
                    <a:pt x="189834" y="26454"/>
                  </a:lnTo>
                  <a:lnTo>
                    <a:pt x="194069" y="26102"/>
                  </a:lnTo>
                  <a:lnTo>
                    <a:pt x="198303" y="26102"/>
                  </a:lnTo>
                  <a:lnTo>
                    <a:pt x="202890" y="26102"/>
                  </a:lnTo>
                  <a:lnTo>
                    <a:pt x="206771" y="26102"/>
                  </a:lnTo>
                  <a:lnTo>
                    <a:pt x="211358" y="26454"/>
                  </a:lnTo>
                  <a:lnTo>
                    <a:pt x="215240" y="26454"/>
                  </a:lnTo>
                  <a:lnTo>
                    <a:pt x="219827" y="26807"/>
                  </a:lnTo>
                  <a:lnTo>
                    <a:pt x="232882" y="1058"/>
                  </a:lnTo>
                  <a:lnTo>
                    <a:pt x="253700" y="5291"/>
                  </a:lnTo>
                  <a:lnTo>
                    <a:pt x="253700" y="33862"/>
                  </a:lnTo>
                  <a:lnTo>
                    <a:pt x="255465" y="34567"/>
                  </a:lnTo>
                  <a:lnTo>
                    <a:pt x="257934" y="35273"/>
                  </a:lnTo>
                  <a:lnTo>
                    <a:pt x="260051" y="35978"/>
                  </a:lnTo>
                  <a:lnTo>
                    <a:pt x="262169" y="37036"/>
                  </a:lnTo>
                  <a:lnTo>
                    <a:pt x="264286" y="37742"/>
                  </a:lnTo>
                  <a:lnTo>
                    <a:pt x="266403" y="38447"/>
                  </a:lnTo>
                  <a:lnTo>
                    <a:pt x="268520" y="39505"/>
                  </a:lnTo>
                  <a:lnTo>
                    <a:pt x="270637" y="40211"/>
                  </a:lnTo>
                  <a:lnTo>
                    <a:pt x="270452" y="40640"/>
                  </a:lnTo>
                  <a:lnTo>
                    <a:pt x="272218" y="41230"/>
                  </a:lnTo>
                  <a:lnTo>
                    <a:pt x="273625" y="42287"/>
                  </a:lnTo>
                  <a:lnTo>
                    <a:pt x="275737" y="42992"/>
                  </a:lnTo>
                  <a:lnTo>
                    <a:pt x="277497" y="43696"/>
                  </a:lnTo>
                  <a:lnTo>
                    <a:pt x="279608" y="44754"/>
                  </a:lnTo>
                  <a:lnTo>
                    <a:pt x="281016" y="45811"/>
                  </a:lnTo>
                  <a:lnTo>
                    <a:pt x="283128" y="46516"/>
                  </a:lnTo>
                  <a:lnTo>
                    <a:pt x="284535" y="47573"/>
                  </a:lnTo>
                  <a:lnTo>
                    <a:pt x="305651" y="28191"/>
                  </a:lnTo>
                  <a:lnTo>
                    <a:pt x="323248" y="39820"/>
                  </a:lnTo>
                  <a:lnTo>
                    <a:pt x="313042" y="66954"/>
                  </a:lnTo>
                  <a:lnTo>
                    <a:pt x="316209" y="69773"/>
                  </a:lnTo>
                  <a:lnTo>
                    <a:pt x="319728" y="72593"/>
                  </a:lnTo>
                  <a:lnTo>
                    <a:pt x="322544" y="75412"/>
                  </a:lnTo>
                  <a:lnTo>
                    <a:pt x="325711" y="78231"/>
                  </a:lnTo>
                  <a:lnTo>
                    <a:pt x="328527" y="81402"/>
                  </a:lnTo>
                  <a:lnTo>
                    <a:pt x="331342" y="84926"/>
                  </a:lnTo>
                  <a:lnTo>
                    <a:pt x="334158" y="88098"/>
                  </a:lnTo>
                  <a:lnTo>
                    <a:pt x="336973" y="91269"/>
                  </a:lnTo>
                  <a:lnTo>
                    <a:pt x="364072" y="81050"/>
                  </a:lnTo>
                  <a:lnTo>
                    <a:pt x="375333" y="98670"/>
                  </a:lnTo>
                  <a:lnTo>
                    <a:pt x="355977" y="120166"/>
                  </a:lnTo>
                  <a:lnTo>
                    <a:pt x="357737" y="123689"/>
                  </a:lnTo>
                  <a:lnTo>
                    <a:pt x="359849" y="127918"/>
                  </a:lnTo>
                  <a:lnTo>
                    <a:pt x="361256" y="131794"/>
                  </a:lnTo>
                  <a:lnTo>
                    <a:pt x="363016" y="135318"/>
                  </a:lnTo>
                  <a:lnTo>
                    <a:pt x="364424" y="139547"/>
                  </a:lnTo>
                  <a:lnTo>
                    <a:pt x="365831" y="143776"/>
                  </a:lnTo>
                  <a:lnTo>
                    <a:pt x="367239" y="147652"/>
                  </a:lnTo>
                  <a:lnTo>
                    <a:pt x="368647" y="151881"/>
                  </a:lnTo>
                  <a:lnTo>
                    <a:pt x="398913" y="152233"/>
                  </a:lnTo>
                  <a:lnTo>
                    <a:pt x="403136" y="172672"/>
                  </a:lnTo>
                  <a:lnTo>
                    <a:pt x="374630" y="185358"/>
                  </a:lnTo>
                  <a:lnTo>
                    <a:pt x="375333" y="194168"/>
                  </a:lnTo>
                  <a:lnTo>
                    <a:pt x="375333" y="202978"/>
                  </a:lnTo>
                  <a:lnTo>
                    <a:pt x="374982" y="211435"/>
                  </a:lnTo>
                  <a:lnTo>
                    <a:pt x="374278" y="219540"/>
                  </a:lnTo>
                  <a:lnTo>
                    <a:pt x="400321" y="231169"/>
                  </a:lnTo>
                  <a:lnTo>
                    <a:pt x="396097" y="251608"/>
                  </a:lnTo>
                  <a:lnTo>
                    <a:pt x="367943" y="253017"/>
                  </a:lnTo>
                  <a:lnTo>
                    <a:pt x="366535" y="257246"/>
                  </a:lnTo>
                  <a:lnTo>
                    <a:pt x="365127" y="260770"/>
                  </a:lnTo>
                  <a:lnTo>
                    <a:pt x="363720" y="264999"/>
                  </a:lnTo>
                  <a:lnTo>
                    <a:pt x="361960" y="268875"/>
                  </a:lnTo>
                  <a:lnTo>
                    <a:pt x="360552" y="273104"/>
                  </a:lnTo>
                  <a:lnTo>
                    <a:pt x="358441" y="276628"/>
                  </a:lnTo>
                  <a:lnTo>
                    <a:pt x="356681" y="280856"/>
                  </a:lnTo>
                  <a:lnTo>
                    <a:pt x="354921" y="284380"/>
                  </a:lnTo>
                  <a:lnTo>
                    <a:pt x="372166" y="304819"/>
                  </a:lnTo>
                  <a:lnTo>
                    <a:pt x="360904" y="322086"/>
                  </a:lnTo>
                  <a:lnTo>
                    <a:pt x="335213" y="312924"/>
                  </a:lnTo>
                  <a:lnTo>
                    <a:pt x="332398" y="316096"/>
                  </a:lnTo>
                  <a:lnTo>
                    <a:pt x="329582" y="319267"/>
                  </a:lnTo>
                  <a:lnTo>
                    <a:pt x="326767" y="322086"/>
                  </a:lnTo>
                  <a:lnTo>
                    <a:pt x="323952" y="325258"/>
                  </a:lnTo>
                  <a:lnTo>
                    <a:pt x="320784" y="328429"/>
                  </a:lnTo>
                  <a:lnTo>
                    <a:pt x="317617" y="331249"/>
                  </a:lnTo>
                  <a:lnTo>
                    <a:pt x="314449" y="334068"/>
                  </a:lnTo>
                  <a:lnTo>
                    <a:pt x="310930" y="336887"/>
                  </a:lnTo>
                  <a:lnTo>
                    <a:pt x="321136" y="364373"/>
                  </a:lnTo>
                  <a:lnTo>
                    <a:pt x="303892" y="375650"/>
                  </a:lnTo>
                  <a:lnTo>
                    <a:pt x="282424" y="355564"/>
                  </a:lnTo>
                  <a:lnTo>
                    <a:pt x="278553" y="357326"/>
                  </a:lnTo>
                  <a:lnTo>
                    <a:pt x="275033" y="359088"/>
                  </a:lnTo>
                  <a:lnTo>
                    <a:pt x="270810" y="361202"/>
                  </a:lnTo>
                  <a:lnTo>
                    <a:pt x="267291" y="362612"/>
                  </a:lnTo>
                  <a:lnTo>
                    <a:pt x="263068" y="364373"/>
                  </a:lnTo>
                  <a:lnTo>
                    <a:pt x="259196" y="365431"/>
                  </a:lnTo>
                  <a:lnTo>
                    <a:pt x="254973" y="367193"/>
                  </a:lnTo>
                  <a:lnTo>
                    <a:pt x="251102" y="368602"/>
                  </a:lnTo>
                  <a:lnTo>
                    <a:pt x="247935" y="393270"/>
                  </a:lnTo>
                  <a:lnTo>
                    <a:pt x="227523" y="397146"/>
                  </a:lnTo>
                  <a:lnTo>
                    <a:pt x="216965" y="374945"/>
                  </a:lnTo>
                  <a:lnTo>
                    <a:pt x="213094" y="375298"/>
                  </a:lnTo>
                  <a:lnTo>
                    <a:pt x="208519" y="375650"/>
                  </a:lnTo>
                  <a:lnTo>
                    <a:pt x="204295" y="375650"/>
                  </a:lnTo>
                  <a:lnTo>
                    <a:pt x="200424" y="375650"/>
                  </a:lnTo>
                  <a:lnTo>
                    <a:pt x="195849" y="375650"/>
                  </a:lnTo>
                  <a:lnTo>
                    <a:pt x="191978" y="375298"/>
                  </a:lnTo>
                  <a:lnTo>
                    <a:pt x="187403" y="375298"/>
                  </a:lnTo>
                  <a:lnTo>
                    <a:pt x="183531" y="374945"/>
                  </a:lnTo>
                  <a:lnTo>
                    <a:pt x="171214" y="398203"/>
                  </a:lnTo>
                  <a:lnTo>
                    <a:pt x="150802" y="393974"/>
                  </a:lnTo>
                  <a:lnTo>
                    <a:pt x="149746" y="367897"/>
                  </a:lnTo>
                  <a:lnTo>
                    <a:pt x="147635" y="367193"/>
                  </a:lnTo>
                  <a:lnTo>
                    <a:pt x="145523" y="366488"/>
                  </a:lnTo>
                  <a:lnTo>
                    <a:pt x="143763" y="366135"/>
                  </a:lnTo>
                  <a:lnTo>
                    <a:pt x="142004" y="365078"/>
                  </a:lnTo>
                  <a:lnTo>
                    <a:pt x="139892" y="364373"/>
                  </a:lnTo>
                  <a:lnTo>
                    <a:pt x="138132" y="363669"/>
                  </a:lnTo>
                  <a:lnTo>
                    <a:pt x="136021" y="362612"/>
                  </a:lnTo>
                  <a:lnTo>
                    <a:pt x="133909" y="361907"/>
                  </a:lnTo>
                  <a:lnTo>
                    <a:pt x="133935" y="361845"/>
                  </a:lnTo>
                  <a:lnTo>
                    <a:pt x="131967" y="361190"/>
                  </a:lnTo>
                  <a:lnTo>
                    <a:pt x="130202" y="360132"/>
                  </a:lnTo>
                  <a:lnTo>
                    <a:pt x="128085" y="359426"/>
                  </a:lnTo>
                  <a:lnTo>
                    <a:pt x="126321" y="358721"/>
                  </a:lnTo>
                  <a:lnTo>
                    <a:pt x="124204" y="357310"/>
                  </a:lnTo>
                  <a:lnTo>
                    <a:pt x="122440" y="356604"/>
                  </a:lnTo>
                  <a:lnTo>
                    <a:pt x="120675" y="355899"/>
                  </a:lnTo>
                  <a:lnTo>
                    <a:pt x="118558" y="354488"/>
                  </a:lnTo>
                  <a:lnTo>
                    <a:pt x="96682" y="373535"/>
                  </a:lnTo>
                  <a:lnTo>
                    <a:pt x="79745" y="361895"/>
                  </a:lnTo>
                  <a:lnTo>
                    <a:pt x="89977" y="335441"/>
                  </a:lnTo>
                  <a:lnTo>
                    <a:pt x="86449" y="332619"/>
                  </a:lnTo>
                  <a:lnTo>
                    <a:pt x="83273" y="329797"/>
                  </a:lnTo>
                  <a:lnTo>
                    <a:pt x="80450" y="326976"/>
                  </a:lnTo>
                  <a:lnTo>
                    <a:pt x="77275" y="324154"/>
                  </a:lnTo>
                  <a:lnTo>
                    <a:pt x="74452" y="320979"/>
                  </a:lnTo>
                  <a:lnTo>
                    <a:pt x="71629" y="318157"/>
                  </a:lnTo>
                  <a:lnTo>
                    <a:pt x="68806" y="314983"/>
                  </a:lnTo>
                  <a:lnTo>
                    <a:pt x="65983" y="311456"/>
                  </a:lnTo>
                  <a:lnTo>
                    <a:pt x="39520" y="320627"/>
                  </a:lnTo>
                  <a:lnTo>
                    <a:pt x="27876" y="302990"/>
                  </a:lnTo>
                  <a:lnTo>
                    <a:pt x="46577" y="282885"/>
                  </a:lnTo>
                  <a:lnTo>
                    <a:pt x="44812" y="279005"/>
                  </a:lnTo>
                  <a:lnTo>
                    <a:pt x="43048" y="275125"/>
                  </a:lnTo>
                  <a:lnTo>
                    <a:pt x="41284" y="271245"/>
                  </a:lnTo>
                  <a:lnTo>
                    <a:pt x="39872" y="267365"/>
                  </a:lnTo>
                  <a:lnTo>
                    <a:pt x="38108" y="263132"/>
                  </a:lnTo>
                  <a:lnTo>
                    <a:pt x="36697" y="259252"/>
                  </a:lnTo>
                  <a:lnTo>
                    <a:pt x="35285" y="255020"/>
                  </a:lnTo>
                  <a:lnTo>
                    <a:pt x="34227" y="251140"/>
                  </a:lnTo>
                  <a:lnTo>
                    <a:pt x="4234" y="250082"/>
                  </a:lnTo>
                  <a:lnTo>
                    <a:pt x="0" y="229976"/>
                  </a:lnTo>
                  <a:lnTo>
                    <a:pt x="27170" y="217631"/>
                  </a:lnTo>
                  <a:lnTo>
                    <a:pt x="26817" y="209166"/>
                  </a:lnTo>
                  <a:lnTo>
                    <a:pt x="26817" y="200700"/>
                  </a:lnTo>
                  <a:lnTo>
                    <a:pt x="26817" y="192235"/>
                  </a:lnTo>
                  <a:lnTo>
                    <a:pt x="27170" y="183769"/>
                  </a:lnTo>
                  <a:lnTo>
                    <a:pt x="0" y="169661"/>
                  </a:lnTo>
                  <a:lnTo>
                    <a:pt x="4234" y="149203"/>
                  </a:lnTo>
                  <a:lnTo>
                    <a:pt x="34227" y="149908"/>
                  </a:lnTo>
                  <a:lnTo>
                    <a:pt x="35285" y="145675"/>
                  </a:lnTo>
                  <a:lnTo>
                    <a:pt x="37050" y="141795"/>
                  </a:lnTo>
                  <a:lnTo>
                    <a:pt x="38108" y="137563"/>
                  </a:lnTo>
                  <a:lnTo>
                    <a:pt x="39872" y="133683"/>
                  </a:lnTo>
                  <a:lnTo>
                    <a:pt x="41990" y="130155"/>
                  </a:lnTo>
                  <a:lnTo>
                    <a:pt x="43401" y="125923"/>
                  </a:lnTo>
                  <a:lnTo>
                    <a:pt x="45518" y="121690"/>
                  </a:lnTo>
                  <a:lnTo>
                    <a:pt x="47635" y="118163"/>
                  </a:lnTo>
                  <a:lnTo>
                    <a:pt x="25053" y="94530"/>
                  </a:lnTo>
                  <a:lnTo>
                    <a:pt x="37050" y="77599"/>
                  </a:lnTo>
                  <a:lnTo>
                    <a:pt x="66689" y="89592"/>
                  </a:lnTo>
                  <a:lnTo>
                    <a:pt x="69512" y="86418"/>
                  </a:lnTo>
                  <a:lnTo>
                    <a:pt x="72335" y="83243"/>
                  </a:lnTo>
                  <a:lnTo>
                    <a:pt x="75158" y="80069"/>
                  </a:lnTo>
                  <a:lnTo>
                    <a:pt x="78333" y="76894"/>
                  </a:lnTo>
                  <a:lnTo>
                    <a:pt x="81156" y="74072"/>
                  </a:lnTo>
                  <a:lnTo>
                    <a:pt x="84685" y="71250"/>
                  </a:lnTo>
                  <a:lnTo>
                    <a:pt x="87860" y="68076"/>
                  </a:lnTo>
                  <a:lnTo>
                    <a:pt x="91036" y="65254"/>
                  </a:lnTo>
                  <a:lnTo>
                    <a:pt x="78686" y="35978"/>
                  </a:lnTo>
                  <a:lnTo>
                    <a:pt x="96329" y="24338"/>
                  </a:lnTo>
                  <a:lnTo>
                    <a:pt x="119617" y="46207"/>
                  </a:lnTo>
                  <a:lnTo>
                    <a:pt x="123145" y="44443"/>
                  </a:lnTo>
                  <a:lnTo>
                    <a:pt x="127027" y="42680"/>
                  </a:lnTo>
                  <a:lnTo>
                    <a:pt x="131261" y="40563"/>
                  </a:lnTo>
                  <a:lnTo>
                    <a:pt x="134789" y="39153"/>
                  </a:lnTo>
                  <a:lnTo>
                    <a:pt x="139024" y="37389"/>
                  </a:lnTo>
                  <a:lnTo>
                    <a:pt x="142905" y="35978"/>
                  </a:lnTo>
                  <a:lnTo>
                    <a:pt x="147492" y="34567"/>
                  </a:lnTo>
                  <a:lnTo>
                    <a:pt x="151726" y="33156"/>
                  </a:lnTo>
                  <a:lnTo>
                    <a:pt x="152079" y="3880"/>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3" name="Oval 192"/>
            <p:cNvSpPr/>
            <p:nvPr/>
          </p:nvSpPr>
          <p:spPr>
            <a:xfrm>
              <a:off x="6937388" y="2602031"/>
              <a:ext cx="67184" cy="67184"/>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sp>
          <p:nvSpPr>
            <p:cNvPr id="194" name="Oval 193"/>
            <p:cNvSpPr/>
            <p:nvPr/>
          </p:nvSpPr>
          <p:spPr>
            <a:xfrm>
              <a:off x="7150422" y="2581294"/>
              <a:ext cx="48331" cy="48331"/>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sp>
          <p:nvSpPr>
            <p:cNvPr id="195" name="Oval 194"/>
            <p:cNvSpPr/>
            <p:nvPr/>
          </p:nvSpPr>
          <p:spPr>
            <a:xfrm>
              <a:off x="7081354" y="2704863"/>
              <a:ext cx="38391" cy="38391"/>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grpSp>
      <p:sp>
        <p:nvSpPr>
          <p:cNvPr id="196" name="Rectangle 195"/>
          <p:cNvSpPr/>
          <p:nvPr/>
        </p:nvSpPr>
        <p:spPr bwMode="auto">
          <a:xfrm>
            <a:off x="6146602" y="3120134"/>
            <a:ext cx="1189065" cy="3934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491">
              <a:defRPr/>
            </a:pPr>
            <a:endParaRPr lang="en-US" sz="2200" kern="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latin typeface="+mj-lt"/>
              <a:cs typeface="Arial" charset="0"/>
            </a:endParaRPr>
          </a:p>
        </p:txBody>
      </p:sp>
      <p:sp>
        <p:nvSpPr>
          <p:cNvPr id="197" name="Rectangle 196"/>
          <p:cNvSpPr/>
          <p:nvPr/>
        </p:nvSpPr>
        <p:spPr>
          <a:xfrm>
            <a:off x="7535301" y="3055567"/>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defRPr/>
            </a:pPr>
            <a:r>
              <a:rPr lang="en-US" sz="1200" kern="0" dirty="0">
                <a:solidFill>
                  <a:prstClr val="white"/>
                </a:solidFill>
                <a:latin typeface="+mj-lt"/>
              </a:rPr>
              <a:t>Reporting</a:t>
            </a:r>
          </a:p>
        </p:txBody>
      </p:sp>
      <p:sp>
        <p:nvSpPr>
          <p:cNvPr id="198" name="Rectangle 197"/>
          <p:cNvSpPr/>
          <p:nvPr/>
        </p:nvSpPr>
        <p:spPr>
          <a:xfrm>
            <a:off x="7531387" y="3634690"/>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r>
              <a:rPr lang="en-US" sz="1200" kern="0" dirty="0">
                <a:solidFill>
                  <a:prstClr val="white"/>
                </a:solidFill>
                <a:latin typeface="+mj-lt"/>
              </a:rPr>
              <a:t>Log Extraction</a:t>
            </a:r>
          </a:p>
        </p:txBody>
      </p:sp>
      <p:sp>
        <p:nvSpPr>
          <p:cNvPr id="199" name="Rectangle 198"/>
          <p:cNvSpPr/>
          <p:nvPr/>
        </p:nvSpPr>
        <p:spPr>
          <a:xfrm>
            <a:off x="7535301" y="3345130"/>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r>
              <a:rPr lang="en-US" sz="1200" kern="0" dirty="0">
                <a:solidFill>
                  <a:prstClr val="white"/>
                </a:solidFill>
                <a:latin typeface="+mj-lt"/>
              </a:rPr>
              <a:t>Management </a:t>
            </a:r>
          </a:p>
        </p:txBody>
      </p:sp>
      <p:grpSp>
        <p:nvGrpSpPr>
          <p:cNvPr id="22" name="Group 239"/>
          <p:cNvGrpSpPr/>
          <p:nvPr/>
        </p:nvGrpSpPr>
        <p:grpSpPr>
          <a:xfrm>
            <a:off x="7164477" y="4218180"/>
            <a:ext cx="211134" cy="202752"/>
            <a:chOff x="7259132" y="4715728"/>
            <a:chExt cx="220784" cy="212019"/>
          </a:xfrm>
        </p:grpSpPr>
        <p:sp>
          <p:nvSpPr>
            <p:cNvPr id="200" name="Oval 199"/>
            <p:cNvSpPr/>
            <p:nvPr/>
          </p:nvSpPr>
          <p:spPr>
            <a:xfrm>
              <a:off x="7259132" y="4715728"/>
              <a:ext cx="220784" cy="212019"/>
            </a:xfrm>
            <a:prstGeom prst="ellipse">
              <a:avLst/>
            </a:prstGeom>
            <a:gradFill>
              <a:gsLst>
                <a:gs pos="0">
                  <a:srgbClr val="D81F28">
                    <a:lumMod val="75000"/>
                  </a:srgbClr>
                </a:gs>
                <a:gs pos="100000">
                  <a:srgbClr val="D81F28"/>
                </a:gs>
              </a:gsLst>
              <a:lin ang="13500000" scaled="1"/>
            </a:gradFill>
            <a:ln w="28575"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23" name="Group 238"/>
            <p:cNvGrpSpPr/>
            <p:nvPr/>
          </p:nvGrpSpPr>
          <p:grpSpPr>
            <a:xfrm>
              <a:off x="7299297" y="4776279"/>
              <a:ext cx="136590" cy="96536"/>
              <a:chOff x="7299297" y="4776279"/>
              <a:chExt cx="136590" cy="96536"/>
            </a:xfrm>
          </p:grpSpPr>
          <p:sp>
            <p:nvSpPr>
              <p:cNvPr id="201" name="Rectangle 49"/>
              <p:cNvSpPr>
                <a:spLocks noChangeArrowheads="1"/>
              </p:cNvSpPr>
              <p:nvPr/>
            </p:nvSpPr>
            <p:spPr bwMode="auto">
              <a:xfrm>
                <a:off x="7299297" y="4842512"/>
                <a:ext cx="91059"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2" name="Rectangle 50"/>
              <p:cNvSpPr>
                <a:spLocks noChangeArrowheads="1"/>
              </p:cNvSpPr>
              <p:nvPr/>
            </p:nvSpPr>
            <p:spPr bwMode="auto">
              <a:xfrm>
                <a:off x="7344828" y="4809180"/>
                <a:ext cx="91059"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3" name="Rectangle 51"/>
              <p:cNvSpPr>
                <a:spLocks noChangeArrowheads="1"/>
              </p:cNvSpPr>
              <p:nvPr/>
            </p:nvSpPr>
            <p:spPr bwMode="auto">
              <a:xfrm>
                <a:off x="7394414" y="4842512"/>
                <a:ext cx="41472"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4" name="Rectangle 52"/>
              <p:cNvSpPr>
                <a:spLocks noChangeArrowheads="1"/>
              </p:cNvSpPr>
              <p:nvPr/>
            </p:nvSpPr>
            <p:spPr bwMode="auto">
              <a:xfrm>
                <a:off x="7394414" y="4776279"/>
                <a:ext cx="41472"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5" name="Rectangle 53"/>
              <p:cNvSpPr>
                <a:spLocks noChangeArrowheads="1"/>
              </p:cNvSpPr>
              <p:nvPr/>
            </p:nvSpPr>
            <p:spPr bwMode="auto">
              <a:xfrm>
                <a:off x="7299297" y="4809180"/>
                <a:ext cx="41023"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6" name="Rectangle 54"/>
              <p:cNvSpPr>
                <a:spLocks noChangeArrowheads="1"/>
              </p:cNvSpPr>
              <p:nvPr/>
            </p:nvSpPr>
            <p:spPr bwMode="auto">
              <a:xfrm>
                <a:off x="7299297" y="4776279"/>
                <a:ext cx="91059"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24" name="Group 237"/>
          <p:cNvGrpSpPr/>
          <p:nvPr/>
        </p:nvGrpSpPr>
        <p:grpSpPr>
          <a:xfrm>
            <a:off x="7811887" y="4218180"/>
            <a:ext cx="211134" cy="202752"/>
            <a:chOff x="7870353" y="4715728"/>
            <a:chExt cx="220784" cy="212019"/>
          </a:xfrm>
        </p:grpSpPr>
        <p:sp>
          <p:nvSpPr>
            <p:cNvPr id="207" name="Oval 206"/>
            <p:cNvSpPr/>
            <p:nvPr/>
          </p:nvSpPr>
          <p:spPr>
            <a:xfrm>
              <a:off x="7870353" y="4715728"/>
              <a:ext cx="220784" cy="212019"/>
            </a:xfrm>
            <a:prstGeom prst="ellipse">
              <a:avLst/>
            </a:prstGeom>
            <a:gradFill>
              <a:gsLst>
                <a:gs pos="0">
                  <a:srgbClr val="D81F28">
                    <a:lumMod val="75000"/>
                  </a:srgbClr>
                </a:gs>
                <a:gs pos="100000">
                  <a:srgbClr val="D81F28"/>
                </a:gs>
              </a:gsLst>
              <a:lin ang="13500000" scaled="1"/>
            </a:gradFill>
            <a:ln w="28575"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26" name="Group 236"/>
            <p:cNvGrpSpPr/>
            <p:nvPr/>
          </p:nvGrpSpPr>
          <p:grpSpPr>
            <a:xfrm>
              <a:off x="7910519" y="4776279"/>
              <a:ext cx="136589" cy="96536"/>
              <a:chOff x="7910519" y="4776279"/>
              <a:chExt cx="136589" cy="96536"/>
            </a:xfrm>
          </p:grpSpPr>
          <p:sp>
            <p:nvSpPr>
              <p:cNvPr id="208" name="Rectangle 49"/>
              <p:cNvSpPr>
                <a:spLocks noChangeArrowheads="1"/>
              </p:cNvSpPr>
              <p:nvPr/>
            </p:nvSpPr>
            <p:spPr bwMode="auto">
              <a:xfrm>
                <a:off x="7910519" y="4842512"/>
                <a:ext cx="91059" cy="30303"/>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9" name="Rectangle 50"/>
              <p:cNvSpPr>
                <a:spLocks noChangeArrowheads="1"/>
              </p:cNvSpPr>
              <p:nvPr/>
            </p:nvSpPr>
            <p:spPr bwMode="auto">
              <a:xfrm>
                <a:off x="7956049" y="4809180"/>
                <a:ext cx="91059" cy="30303"/>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0" name="Rectangle 51"/>
              <p:cNvSpPr>
                <a:spLocks noChangeArrowheads="1"/>
              </p:cNvSpPr>
              <p:nvPr/>
            </p:nvSpPr>
            <p:spPr bwMode="auto">
              <a:xfrm>
                <a:off x="8005636" y="4842512"/>
                <a:ext cx="41472"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1" name="Rectangle 52"/>
              <p:cNvSpPr>
                <a:spLocks noChangeArrowheads="1"/>
              </p:cNvSpPr>
              <p:nvPr/>
            </p:nvSpPr>
            <p:spPr bwMode="auto">
              <a:xfrm>
                <a:off x="8005636" y="4776279"/>
                <a:ext cx="41472"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2" name="Rectangle 53"/>
              <p:cNvSpPr>
                <a:spLocks noChangeArrowheads="1"/>
              </p:cNvSpPr>
              <p:nvPr/>
            </p:nvSpPr>
            <p:spPr bwMode="auto">
              <a:xfrm>
                <a:off x="7910519" y="4809180"/>
                <a:ext cx="41023"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3" name="Rectangle 54"/>
              <p:cNvSpPr>
                <a:spLocks noChangeArrowheads="1"/>
              </p:cNvSpPr>
              <p:nvPr/>
            </p:nvSpPr>
            <p:spPr bwMode="auto">
              <a:xfrm>
                <a:off x="7910519" y="4776279"/>
                <a:ext cx="91059" cy="29870"/>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27" name="Group 241"/>
          <p:cNvGrpSpPr/>
          <p:nvPr/>
        </p:nvGrpSpPr>
        <p:grpSpPr>
          <a:xfrm>
            <a:off x="5906178" y="4218180"/>
            <a:ext cx="211134" cy="202752"/>
            <a:chOff x="5943322" y="4715728"/>
            <a:chExt cx="220784" cy="212019"/>
          </a:xfrm>
          <a:solidFill>
            <a:schemeClr val="accent4"/>
          </a:solidFill>
        </p:grpSpPr>
        <p:sp>
          <p:nvSpPr>
            <p:cNvPr id="214" name="Oval 213"/>
            <p:cNvSpPr/>
            <p:nvPr/>
          </p:nvSpPr>
          <p:spPr>
            <a:xfrm>
              <a:off x="5943322" y="4715728"/>
              <a:ext cx="220784" cy="212019"/>
            </a:xfrm>
            <a:prstGeom prst="ellipse">
              <a:avLst/>
            </a:prstGeom>
            <a:grpFill/>
            <a:ln w="38100"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sp>
          <p:nvSpPr>
            <p:cNvPr id="215" name="Freeform 8"/>
            <p:cNvSpPr>
              <a:spLocks/>
            </p:cNvSpPr>
            <p:nvPr/>
          </p:nvSpPr>
          <p:spPr bwMode="auto">
            <a:xfrm>
              <a:off x="6000729" y="4781541"/>
              <a:ext cx="109832" cy="8164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000000"/>
                </a:solidFill>
                <a:latin typeface="+mj-lt"/>
              </a:endParaRPr>
            </a:p>
          </p:txBody>
        </p:sp>
      </p:grpSp>
      <p:grpSp>
        <p:nvGrpSpPr>
          <p:cNvPr id="29" name="Group 240"/>
          <p:cNvGrpSpPr/>
          <p:nvPr/>
        </p:nvGrpSpPr>
        <p:grpSpPr>
          <a:xfrm>
            <a:off x="6551804" y="4218180"/>
            <a:ext cx="211134" cy="202752"/>
            <a:chOff x="6618456" y="4715728"/>
            <a:chExt cx="220784" cy="212019"/>
          </a:xfrm>
        </p:grpSpPr>
        <p:sp>
          <p:nvSpPr>
            <p:cNvPr id="216" name="Oval 215"/>
            <p:cNvSpPr/>
            <p:nvPr/>
          </p:nvSpPr>
          <p:spPr>
            <a:xfrm>
              <a:off x="6618456" y="4715728"/>
              <a:ext cx="220784" cy="212019"/>
            </a:xfrm>
            <a:prstGeom prst="ellipse">
              <a:avLst/>
            </a:prstGeom>
            <a:solidFill>
              <a:schemeClr val="accent5"/>
            </a:solidFill>
            <a:ln w="38100"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sp>
          <p:nvSpPr>
            <p:cNvPr id="217" name="Freeform 216"/>
            <p:cNvSpPr>
              <a:spLocks noEditPoints="1"/>
            </p:cNvSpPr>
            <p:nvPr/>
          </p:nvSpPr>
          <p:spPr bwMode="auto">
            <a:xfrm>
              <a:off x="6658413" y="4762802"/>
              <a:ext cx="140869" cy="117869"/>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218" name="Rounded Rectangle 191"/>
          <p:cNvSpPr/>
          <p:nvPr/>
        </p:nvSpPr>
        <p:spPr>
          <a:xfrm>
            <a:off x="6121811"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Allow</a:t>
            </a:r>
          </a:p>
        </p:txBody>
      </p:sp>
      <p:sp>
        <p:nvSpPr>
          <p:cNvPr id="219" name="Rounded Rectangle 191"/>
          <p:cNvSpPr/>
          <p:nvPr/>
        </p:nvSpPr>
        <p:spPr>
          <a:xfrm>
            <a:off x="6712614"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Warn</a:t>
            </a:r>
          </a:p>
        </p:txBody>
      </p:sp>
      <p:sp>
        <p:nvSpPr>
          <p:cNvPr id="220" name="Rounded Rectangle 191"/>
          <p:cNvSpPr/>
          <p:nvPr/>
        </p:nvSpPr>
        <p:spPr>
          <a:xfrm>
            <a:off x="7333998"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Block</a:t>
            </a:r>
          </a:p>
        </p:txBody>
      </p:sp>
      <p:sp>
        <p:nvSpPr>
          <p:cNvPr id="221" name="Rounded Rectangle 191"/>
          <p:cNvSpPr/>
          <p:nvPr/>
        </p:nvSpPr>
        <p:spPr>
          <a:xfrm>
            <a:off x="7960119" y="4185177"/>
            <a:ext cx="780437"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Partial Block</a:t>
            </a:r>
          </a:p>
        </p:txBody>
      </p:sp>
      <p:sp>
        <p:nvSpPr>
          <p:cNvPr id="222" name="Down Arrow 221"/>
          <p:cNvSpPr/>
          <p:nvPr/>
        </p:nvSpPr>
        <p:spPr>
          <a:xfrm>
            <a:off x="7977037" y="2476615"/>
            <a:ext cx="144248" cy="559335"/>
          </a:xfrm>
          <a:prstGeom prst="downArrow">
            <a:avLst/>
          </a:prstGeom>
          <a:solidFill>
            <a:schemeClr val="accent3"/>
          </a:solidFill>
          <a:ln w="25400" cap="flat" cmpd="sng" algn="ctr">
            <a:noFill/>
            <a:prstDash val="solid"/>
          </a:ln>
          <a:effectLst/>
        </p:spPr>
        <p:txBody>
          <a:bodyPr lIns="91436" tIns="45718" rIns="91436" bIns="45718" rtlCol="0" anchor="ctr"/>
          <a:lstStyle/>
          <a:p>
            <a:pPr algn="ctr" defTabSz="1218173">
              <a:defRPr/>
            </a:pPr>
            <a:endParaRPr lang="en-US" sz="2400" kern="0">
              <a:solidFill>
                <a:prstClr val="white"/>
              </a:solidFill>
              <a:latin typeface="+mj-lt"/>
            </a:endParaRPr>
          </a:p>
        </p:txBody>
      </p:sp>
      <p:sp>
        <p:nvSpPr>
          <p:cNvPr id="224" name="Rectangle 223"/>
          <p:cNvSpPr/>
          <p:nvPr/>
        </p:nvSpPr>
        <p:spPr bwMode="auto">
          <a:xfrm>
            <a:off x="5843950" y="2942417"/>
            <a:ext cx="524867" cy="524867"/>
          </a:xfrm>
          <a:prstGeom prst="rect">
            <a:avLst/>
          </a:prstGeom>
          <a:solidFill>
            <a:schemeClr val="accent3">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b" anchorCtr="0" forceAA="0" compatLnSpc="1">
            <a:prstTxWarp prst="textNoShape">
              <a:avLst/>
            </a:prstTxWarp>
            <a:noAutofit/>
          </a:bodyPr>
          <a:lstStyle/>
          <a:p>
            <a:pPr algn="ctr" defTabSz="913491">
              <a:defRPr/>
            </a:pPr>
            <a:r>
              <a:rPr lang="en-US" sz="1000" kern="0" spc="-100" dirty="0">
                <a:ln w="3175">
                  <a:noFill/>
                </a:ln>
                <a:solidFill>
                  <a:srgbClr val="FFFFFF"/>
                </a:solidFill>
                <a:latin typeface="+mj-lt"/>
                <a:cs typeface="Arial" charset="0"/>
              </a:rPr>
              <a:t>HQ</a:t>
            </a:r>
            <a:endParaRPr lang="en-US" sz="1100" kern="0" spc="-100" dirty="0">
              <a:ln w="3175">
                <a:noFill/>
              </a:ln>
              <a:solidFill>
                <a:srgbClr val="FFFFFF"/>
              </a:solidFill>
              <a:latin typeface="+mj-lt"/>
              <a:cs typeface="Arial" charset="0"/>
            </a:endParaRPr>
          </a:p>
        </p:txBody>
      </p:sp>
      <p:sp>
        <p:nvSpPr>
          <p:cNvPr id="225" name="Freeform 263"/>
          <p:cNvSpPr>
            <a:spLocks/>
          </p:cNvSpPr>
          <p:nvPr/>
        </p:nvSpPr>
        <p:spPr bwMode="auto">
          <a:xfrm>
            <a:off x="5963925" y="2987003"/>
            <a:ext cx="271936" cy="266065"/>
          </a:xfrm>
          <a:custGeom>
            <a:avLst/>
            <a:gdLst>
              <a:gd name="T0" fmla="*/ 35 w 425"/>
              <a:gd name="T1" fmla="*/ 392 h 431"/>
              <a:gd name="T2" fmla="*/ 35 w 425"/>
              <a:gd name="T3" fmla="*/ 127 h 431"/>
              <a:gd name="T4" fmla="*/ 213 w 425"/>
              <a:gd name="T5" fmla="*/ 0 h 431"/>
              <a:gd name="T6" fmla="*/ 391 w 425"/>
              <a:gd name="T7" fmla="*/ 127 h 431"/>
              <a:gd name="T8" fmla="*/ 391 w 425"/>
              <a:gd name="T9" fmla="*/ 162 h 431"/>
              <a:gd name="T10" fmla="*/ 213 w 425"/>
              <a:gd name="T11" fmla="*/ 59 h 431"/>
              <a:gd name="T12" fmla="*/ 213 w 425"/>
              <a:gd name="T13" fmla="*/ 96 h 431"/>
              <a:gd name="T14" fmla="*/ 391 w 425"/>
              <a:gd name="T15" fmla="*/ 191 h 431"/>
              <a:gd name="T16" fmla="*/ 391 w 425"/>
              <a:gd name="T17" fmla="*/ 230 h 431"/>
              <a:gd name="T18" fmla="*/ 213 w 425"/>
              <a:gd name="T19" fmla="*/ 160 h 431"/>
              <a:gd name="T20" fmla="*/ 213 w 425"/>
              <a:gd name="T21" fmla="*/ 194 h 431"/>
              <a:gd name="T22" fmla="*/ 391 w 425"/>
              <a:gd name="T23" fmla="*/ 257 h 431"/>
              <a:gd name="T24" fmla="*/ 391 w 425"/>
              <a:gd name="T25" fmla="*/ 298 h 431"/>
              <a:gd name="T26" fmla="*/ 213 w 425"/>
              <a:gd name="T27" fmla="*/ 260 h 431"/>
              <a:gd name="T28" fmla="*/ 213 w 425"/>
              <a:gd name="T29" fmla="*/ 292 h 431"/>
              <a:gd name="T30" fmla="*/ 391 w 425"/>
              <a:gd name="T31" fmla="*/ 325 h 431"/>
              <a:gd name="T32" fmla="*/ 391 w 425"/>
              <a:gd name="T33" fmla="*/ 365 h 431"/>
              <a:gd name="T34" fmla="*/ 213 w 425"/>
              <a:gd name="T35" fmla="*/ 359 h 431"/>
              <a:gd name="T36" fmla="*/ 213 w 425"/>
              <a:gd name="T37" fmla="*/ 392 h 431"/>
              <a:gd name="T38" fmla="*/ 425 w 425"/>
              <a:gd name="T39" fmla="*/ 392 h 431"/>
              <a:gd name="T40" fmla="*/ 425 w 425"/>
              <a:gd name="T41" fmla="*/ 431 h 431"/>
              <a:gd name="T42" fmla="*/ 0 w 425"/>
              <a:gd name="T43" fmla="*/ 431 h 431"/>
              <a:gd name="T44" fmla="*/ 0 w 425"/>
              <a:gd name="T45" fmla="*/ 392 h 431"/>
              <a:gd name="T46" fmla="*/ 35 w 425"/>
              <a:gd name="T47" fmla="*/ 392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31">
                <a:moveTo>
                  <a:pt x="35" y="392"/>
                </a:moveTo>
                <a:lnTo>
                  <a:pt x="35" y="127"/>
                </a:lnTo>
                <a:lnTo>
                  <a:pt x="213" y="0"/>
                </a:lnTo>
                <a:lnTo>
                  <a:pt x="391" y="127"/>
                </a:lnTo>
                <a:lnTo>
                  <a:pt x="391" y="162"/>
                </a:lnTo>
                <a:lnTo>
                  <a:pt x="213" y="59"/>
                </a:lnTo>
                <a:lnTo>
                  <a:pt x="213" y="96"/>
                </a:lnTo>
                <a:lnTo>
                  <a:pt x="391" y="191"/>
                </a:lnTo>
                <a:lnTo>
                  <a:pt x="391" y="230"/>
                </a:lnTo>
                <a:lnTo>
                  <a:pt x="213" y="160"/>
                </a:lnTo>
                <a:lnTo>
                  <a:pt x="213" y="194"/>
                </a:lnTo>
                <a:lnTo>
                  <a:pt x="391" y="257"/>
                </a:lnTo>
                <a:lnTo>
                  <a:pt x="391" y="298"/>
                </a:lnTo>
                <a:lnTo>
                  <a:pt x="213" y="260"/>
                </a:lnTo>
                <a:lnTo>
                  <a:pt x="213" y="292"/>
                </a:lnTo>
                <a:lnTo>
                  <a:pt x="391" y="325"/>
                </a:lnTo>
                <a:lnTo>
                  <a:pt x="391" y="365"/>
                </a:lnTo>
                <a:lnTo>
                  <a:pt x="213" y="359"/>
                </a:lnTo>
                <a:lnTo>
                  <a:pt x="213" y="392"/>
                </a:lnTo>
                <a:lnTo>
                  <a:pt x="425" y="392"/>
                </a:lnTo>
                <a:lnTo>
                  <a:pt x="425" y="431"/>
                </a:lnTo>
                <a:lnTo>
                  <a:pt x="0" y="431"/>
                </a:lnTo>
                <a:lnTo>
                  <a:pt x="0" y="392"/>
                </a:lnTo>
                <a:lnTo>
                  <a:pt x="35" y="392"/>
                </a:lnTo>
                <a:close/>
              </a:path>
            </a:pathLst>
          </a:custGeom>
          <a:solidFill>
            <a:srgbClr val="FFFFFF"/>
          </a:solidFill>
          <a:ln>
            <a:noFill/>
          </a:ln>
          <a:extLst/>
        </p:spPr>
        <p:txBody>
          <a:bodyPr vert="horz" wrap="square" lIns="91388" tIns="45694" rIns="91388" bIns="45694" numCol="1" anchor="t" anchorCtr="0" compatLnSpc="1">
            <a:prstTxWarp prst="textNoShape">
              <a:avLst/>
            </a:prstTxWarp>
          </a:bodyPr>
          <a:lstStyle/>
          <a:p>
            <a:pPr defTabSz="914103">
              <a:defRPr/>
            </a:pPr>
            <a:endParaRPr lang="en-US" kern="0">
              <a:solidFill>
                <a:srgbClr val="FFFFFF"/>
              </a:solidFill>
              <a:latin typeface="+mj-lt"/>
            </a:endParaRPr>
          </a:p>
        </p:txBody>
      </p:sp>
      <p:sp>
        <p:nvSpPr>
          <p:cNvPr id="304" name="Oval 303"/>
          <p:cNvSpPr/>
          <p:nvPr/>
        </p:nvSpPr>
        <p:spPr>
          <a:xfrm>
            <a:off x="3777373" y="1449217"/>
            <a:ext cx="199447" cy="191528"/>
          </a:xfrm>
          <a:prstGeom prst="ellipse">
            <a:avLst/>
          </a:prstGeom>
          <a:solidFill>
            <a:schemeClr val="accent4"/>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305" name="Freeform 8"/>
          <p:cNvSpPr>
            <a:spLocks/>
          </p:cNvSpPr>
          <p:nvPr/>
        </p:nvSpPr>
        <p:spPr bwMode="auto">
          <a:xfrm>
            <a:off x="3829237" y="1508671"/>
            <a:ext cx="99219" cy="7375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000000"/>
              </a:solidFill>
              <a:latin typeface="+mj-lt"/>
            </a:endParaRPr>
          </a:p>
        </p:txBody>
      </p:sp>
      <p:sp>
        <p:nvSpPr>
          <p:cNvPr id="306" name="Oval 305"/>
          <p:cNvSpPr/>
          <p:nvPr/>
        </p:nvSpPr>
        <p:spPr>
          <a:xfrm>
            <a:off x="3777373" y="1711429"/>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307" name="Freeform 306"/>
          <p:cNvSpPr>
            <a:spLocks noEditPoints="1"/>
          </p:cNvSpPr>
          <p:nvPr/>
        </p:nvSpPr>
        <p:spPr bwMode="auto">
          <a:xfrm>
            <a:off x="3813469" y="1753953"/>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557" name="Rounded Rectangle 191"/>
          <p:cNvSpPr/>
          <p:nvPr/>
        </p:nvSpPr>
        <p:spPr>
          <a:xfrm>
            <a:off x="283708" y="3689204"/>
            <a:ext cx="489960" cy="185499"/>
          </a:xfrm>
          <a:prstGeom prst="rect">
            <a:avLst/>
          </a:prstGeom>
          <a:noFill/>
          <a:ln w="25400" cap="flat" cmpd="sng" algn="ctr">
            <a:noFill/>
            <a:prstDash val="solid"/>
          </a:ln>
          <a:effectLst/>
        </p:spPr>
        <p:txBody>
          <a:bodyPr lIns="0" tIns="34289" rIns="0" bIns="34289" rtlCol="0" anchor="ctr"/>
          <a:lstStyle/>
          <a:p>
            <a:pPr defTabSz="685270">
              <a:defRPr/>
            </a:pPr>
            <a:r>
              <a:rPr lang="ja-JP" altLang="en-US" sz="800" kern="0" dirty="0" smtClean="0">
                <a:solidFill>
                  <a:srgbClr val="676767"/>
                </a:solidFill>
                <a:latin typeface="+mj-lt"/>
              </a:rPr>
              <a:t>クライアント</a:t>
            </a:r>
            <a:endParaRPr lang="en-US" altLang="ja-JP" sz="800" kern="0" dirty="0" smtClean="0">
              <a:solidFill>
                <a:srgbClr val="676767"/>
              </a:solidFill>
              <a:latin typeface="+mj-lt"/>
            </a:endParaRPr>
          </a:p>
          <a:p>
            <a:pPr defTabSz="685270">
              <a:defRPr/>
            </a:pPr>
            <a:r>
              <a:rPr lang="ja-JP" altLang="en-US" sz="800" kern="0" dirty="0" smtClean="0">
                <a:solidFill>
                  <a:srgbClr val="676767"/>
                </a:solidFill>
                <a:latin typeface="+mj-lt"/>
              </a:rPr>
              <a:t>認証方法</a:t>
            </a:r>
            <a:endParaRPr lang="en-US" sz="800" kern="0" dirty="0">
              <a:solidFill>
                <a:srgbClr val="676767"/>
              </a:solidFill>
              <a:latin typeface="+mj-lt"/>
            </a:endParaRPr>
          </a:p>
        </p:txBody>
      </p:sp>
      <p:sp>
        <p:nvSpPr>
          <p:cNvPr id="70" name="Right Arrow 69"/>
          <p:cNvSpPr/>
          <p:nvPr/>
        </p:nvSpPr>
        <p:spPr>
          <a:xfrm>
            <a:off x="400433" y="1659029"/>
            <a:ext cx="564568" cy="201405"/>
          </a:xfrm>
          <a:prstGeom prst="rightArrow">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algn="ctr" defTabSz="457170"/>
            <a:endParaRPr lang="en-US" sz="800" dirty="0">
              <a:solidFill>
                <a:srgbClr val="435153"/>
              </a:solidFill>
              <a:latin typeface="+mj-lt"/>
            </a:endParaRPr>
          </a:p>
        </p:txBody>
      </p:sp>
      <p:sp>
        <p:nvSpPr>
          <p:cNvPr id="79" name="Rectangle 78"/>
          <p:cNvSpPr/>
          <p:nvPr/>
        </p:nvSpPr>
        <p:spPr>
          <a:xfrm>
            <a:off x="400432" y="1803897"/>
            <a:ext cx="104932" cy="1486884"/>
          </a:xfrm>
          <a:prstGeom prst="rect">
            <a:avLst/>
          </a:prstGeom>
          <a:gradFill flip="none" rotWithShape="1">
            <a:gsLst>
              <a:gs pos="100000">
                <a:srgbClr val="3333FF">
                  <a:alpha val="9000"/>
                </a:srgbClr>
              </a:gs>
              <a:gs pos="0">
                <a:schemeClr val="tx2">
                  <a:lumMod val="10000"/>
                  <a:lumOff val="9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58" name="Rectangle 557"/>
          <p:cNvSpPr/>
          <p:nvPr/>
        </p:nvSpPr>
        <p:spPr>
          <a:xfrm rot="5400000">
            <a:off x="566056" y="3009439"/>
            <a:ext cx="104932" cy="226313"/>
          </a:xfrm>
          <a:prstGeom prst="rect">
            <a:avLst/>
          </a:prstGeom>
          <a:solidFill>
            <a:schemeClr val="tx2">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62" name="Rectangle 561"/>
          <p:cNvSpPr/>
          <p:nvPr/>
        </p:nvSpPr>
        <p:spPr>
          <a:xfrm>
            <a:off x="400432" y="1803897"/>
            <a:ext cx="104932" cy="1486884"/>
          </a:xfrm>
          <a:prstGeom prst="rect">
            <a:avLst/>
          </a:prstGeom>
          <a:gradFill flip="none" rotWithShape="1">
            <a:gsLst>
              <a:gs pos="100000">
                <a:schemeClr val="bg1">
                  <a:lumMod val="85000"/>
                  <a:alpha val="0"/>
                </a:schemeClr>
              </a:gs>
              <a:gs pos="0">
                <a:schemeClr val="bg1">
                  <a:lumMod val="8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63" name="Oval 562"/>
          <p:cNvSpPr/>
          <p:nvPr/>
        </p:nvSpPr>
        <p:spPr>
          <a:xfrm>
            <a:off x="274643" y="1575742"/>
            <a:ext cx="356521" cy="356427"/>
          </a:xfrm>
          <a:prstGeom prst="ellipse">
            <a:avLst/>
          </a:prstGeom>
          <a:solidFill>
            <a:schemeClr val="accent3">
              <a:lumMod val="20000"/>
              <a:lumOff val="80000"/>
            </a:schemeClr>
          </a:solidFill>
          <a:ln w="6350" cap="flat" cmpd="sng" algn="ctr">
            <a:solidFill>
              <a:schemeClr val="bg1">
                <a:lumMod val="50000"/>
              </a:schemeClr>
            </a:solidFill>
            <a:prstDash val="solid"/>
          </a:ln>
          <a:effectLst/>
        </p:spPr>
        <p:txBody>
          <a:bodyPr wrap="none" lIns="68577" tIns="34289" rIns="68577" bIns="34289" rtlCol="0" anchor="ctr"/>
          <a:lstStyle/>
          <a:p>
            <a:pPr algn="ctr" defTabSz="913638">
              <a:defRPr/>
            </a:pPr>
            <a:r>
              <a:rPr lang="en-US" sz="800" b="1" kern="0" dirty="0">
                <a:solidFill>
                  <a:srgbClr val="435153"/>
                </a:solidFill>
                <a:latin typeface="+mj-lt"/>
              </a:rPr>
              <a:t>www</a:t>
            </a:r>
          </a:p>
        </p:txBody>
      </p:sp>
      <p:grpSp>
        <p:nvGrpSpPr>
          <p:cNvPr id="750" name="Group 569"/>
          <p:cNvGrpSpPr/>
          <p:nvPr/>
        </p:nvGrpSpPr>
        <p:grpSpPr>
          <a:xfrm>
            <a:off x="8232882" y="1888867"/>
            <a:ext cx="354939" cy="305679"/>
            <a:chOff x="11089059" y="2479654"/>
            <a:chExt cx="463636" cy="415799"/>
          </a:xfrm>
          <a:solidFill>
            <a:schemeClr val="bg1"/>
          </a:solidFill>
        </p:grpSpPr>
        <p:sp>
          <p:nvSpPr>
            <p:cNvPr id="571" name="Freeform 570"/>
            <p:cNvSpPr>
              <a:spLocks/>
            </p:cNvSpPr>
            <p:nvPr/>
          </p:nvSpPr>
          <p:spPr bwMode="auto">
            <a:xfrm flipH="1">
              <a:off x="11142303" y="2479654"/>
              <a:ext cx="410392" cy="211529"/>
            </a:xfrm>
            <a:custGeom>
              <a:avLst/>
              <a:gdLst>
                <a:gd name="T0" fmla="*/ 393 w 2374"/>
                <a:gd name="T1" fmla="*/ 810 h 1226"/>
                <a:gd name="T2" fmla="*/ 443 w 2374"/>
                <a:gd name="T3" fmla="*/ 707 h 1226"/>
                <a:gd name="T4" fmla="*/ 504 w 2374"/>
                <a:gd name="T5" fmla="*/ 611 h 1226"/>
                <a:gd name="T6" fmla="*/ 574 w 2374"/>
                <a:gd name="T7" fmla="*/ 522 h 1226"/>
                <a:gd name="T8" fmla="*/ 653 w 2374"/>
                <a:gd name="T9" fmla="*/ 445 h 1226"/>
                <a:gd name="T10" fmla="*/ 739 w 2374"/>
                <a:gd name="T11" fmla="*/ 375 h 1226"/>
                <a:gd name="T12" fmla="*/ 832 w 2374"/>
                <a:gd name="T13" fmla="*/ 316 h 1226"/>
                <a:gd name="T14" fmla="*/ 931 w 2374"/>
                <a:gd name="T15" fmla="*/ 265 h 1226"/>
                <a:gd name="T16" fmla="*/ 1036 w 2374"/>
                <a:gd name="T17" fmla="*/ 228 h 1226"/>
                <a:gd name="T18" fmla="*/ 1146 w 2374"/>
                <a:gd name="T19" fmla="*/ 201 h 1226"/>
                <a:gd name="T20" fmla="*/ 1257 w 2374"/>
                <a:gd name="T21" fmla="*/ 186 h 1226"/>
                <a:gd name="T22" fmla="*/ 1335 w 2374"/>
                <a:gd name="T23" fmla="*/ 183 h 1226"/>
                <a:gd name="T24" fmla="*/ 1434 w 2374"/>
                <a:gd name="T25" fmla="*/ 188 h 1226"/>
                <a:gd name="T26" fmla="*/ 1531 w 2374"/>
                <a:gd name="T27" fmla="*/ 202 h 1226"/>
                <a:gd name="T28" fmla="*/ 1624 w 2374"/>
                <a:gd name="T29" fmla="*/ 225 h 1226"/>
                <a:gd name="T30" fmla="*/ 1715 w 2374"/>
                <a:gd name="T31" fmla="*/ 256 h 1226"/>
                <a:gd name="T32" fmla="*/ 1802 w 2374"/>
                <a:gd name="T33" fmla="*/ 296 h 1226"/>
                <a:gd name="T34" fmla="*/ 1884 w 2374"/>
                <a:gd name="T35" fmla="*/ 343 h 1226"/>
                <a:gd name="T36" fmla="*/ 1964 w 2374"/>
                <a:gd name="T37" fmla="*/ 400 h 1226"/>
                <a:gd name="T38" fmla="*/ 2036 w 2374"/>
                <a:gd name="T39" fmla="*/ 461 h 1226"/>
                <a:gd name="T40" fmla="*/ 2103 w 2374"/>
                <a:gd name="T41" fmla="*/ 531 h 1226"/>
                <a:gd name="T42" fmla="*/ 2162 w 2374"/>
                <a:gd name="T43" fmla="*/ 607 h 1226"/>
                <a:gd name="T44" fmla="*/ 2374 w 2374"/>
                <a:gd name="T45" fmla="*/ 598 h 1226"/>
                <a:gd name="T46" fmla="*/ 2301 w 2374"/>
                <a:gd name="T47" fmla="*/ 489 h 1226"/>
                <a:gd name="T48" fmla="*/ 2171 w 2374"/>
                <a:gd name="T49" fmla="*/ 340 h 1226"/>
                <a:gd name="T50" fmla="*/ 2017 w 2374"/>
                <a:gd name="T51" fmla="*/ 214 h 1226"/>
                <a:gd name="T52" fmla="*/ 1941 w 2374"/>
                <a:gd name="T53" fmla="*/ 164 h 1226"/>
                <a:gd name="T54" fmla="*/ 1820 w 2374"/>
                <a:gd name="T55" fmla="*/ 102 h 1226"/>
                <a:gd name="T56" fmla="*/ 1692 w 2374"/>
                <a:gd name="T57" fmla="*/ 55 h 1226"/>
                <a:gd name="T58" fmla="*/ 1561 w 2374"/>
                <a:gd name="T59" fmla="*/ 23 h 1226"/>
                <a:gd name="T60" fmla="*/ 1427 w 2374"/>
                <a:gd name="T61" fmla="*/ 4 h 1226"/>
                <a:gd name="T62" fmla="*/ 1335 w 2374"/>
                <a:gd name="T63" fmla="*/ 0 h 1226"/>
                <a:gd name="T64" fmla="*/ 1181 w 2374"/>
                <a:gd name="T65" fmla="*/ 10 h 1226"/>
                <a:gd name="T66" fmla="*/ 1034 w 2374"/>
                <a:gd name="T67" fmla="*/ 39 h 1226"/>
                <a:gd name="T68" fmla="*/ 892 w 2374"/>
                <a:gd name="T69" fmla="*/ 84 h 1226"/>
                <a:gd name="T70" fmla="*/ 756 w 2374"/>
                <a:gd name="T71" fmla="*/ 149 h 1226"/>
                <a:gd name="T72" fmla="*/ 627 w 2374"/>
                <a:gd name="T73" fmla="*/ 230 h 1226"/>
                <a:gd name="T74" fmla="*/ 550 w 2374"/>
                <a:gd name="T75" fmla="*/ 293 h 1226"/>
                <a:gd name="T76" fmla="*/ 443 w 2374"/>
                <a:gd name="T77" fmla="*/ 398 h 1226"/>
                <a:gd name="T78" fmla="*/ 351 w 2374"/>
                <a:gd name="T79" fmla="*/ 514 h 1226"/>
                <a:gd name="T80" fmla="*/ 273 w 2374"/>
                <a:gd name="T81" fmla="*/ 640 h 1226"/>
                <a:gd name="T82" fmla="*/ 212 w 2374"/>
                <a:gd name="T83" fmla="*/ 775 h 1226"/>
                <a:gd name="T84" fmla="*/ 166 w 2374"/>
                <a:gd name="T85" fmla="*/ 917 h 1226"/>
                <a:gd name="T86" fmla="*/ 234 w 2374"/>
                <a:gd name="T87" fmla="*/ 122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74" h="1226">
                  <a:moveTo>
                    <a:pt x="330" y="962"/>
                  </a:moveTo>
                  <a:lnTo>
                    <a:pt x="393" y="810"/>
                  </a:lnTo>
                  <a:lnTo>
                    <a:pt x="393" y="810"/>
                  </a:lnTo>
                  <a:lnTo>
                    <a:pt x="409" y="775"/>
                  </a:lnTo>
                  <a:lnTo>
                    <a:pt x="425" y="741"/>
                  </a:lnTo>
                  <a:lnTo>
                    <a:pt x="443" y="707"/>
                  </a:lnTo>
                  <a:lnTo>
                    <a:pt x="462" y="673"/>
                  </a:lnTo>
                  <a:lnTo>
                    <a:pt x="483" y="642"/>
                  </a:lnTo>
                  <a:lnTo>
                    <a:pt x="504" y="611"/>
                  </a:lnTo>
                  <a:lnTo>
                    <a:pt x="527" y="581"/>
                  </a:lnTo>
                  <a:lnTo>
                    <a:pt x="550" y="552"/>
                  </a:lnTo>
                  <a:lnTo>
                    <a:pt x="574" y="522"/>
                  </a:lnTo>
                  <a:lnTo>
                    <a:pt x="600" y="495"/>
                  </a:lnTo>
                  <a:lnTo>
                    <a:pt x="625" y="469"/>
                  </a:lnTo>
                  <a:lnTo>
                    <a:pt x="653" y="445"/>
                  </a:lnTo>
                  <a:lnTo>
                    <a:pt x="680" y="421"/>
                  </a:lnTo>
                  <a:lnTo>
                    <a:pt x="710" y="396"/>
                  </a:lnTo>
                  <a:lnTo>
                    <a:pt x="739" y="375"/>
                  </a:lnTo>
                  <a:lnTo>
                    <a:pt x="769" y="354"/>
                  </a:lnTo>
                  <a:lnTo>
                    <a:pt x="800" y="333"/>
                  </a:lnTo>
                  <a:lnTo>
                    <a:pt x="832" y="316"/>
                  </a:lnTo>
                  <a:lnTo>
                    <a:pt x="865" y="298"/>
                  </a:lnTo>
                  <a:lnTo>
                    <a:pt x="897" y="282"/>
                  </a:lnTo>
                  <a:lnTo>
                    <a:pt x="931" y="265"/>
                  </a:lnTo>
                  <a:lnTo>
                    <a:pt x="965" y="253"/>
                  </a:lnTo>
                  <a:lnTo>
                    <a:pt x="1000" y="240"/>
                  </a:lnTo>
                  <a:lnTo>
                    <a:pt x="1036" y="228"/>
                  </a:lnTo>
                  <a:lnTo>
                    <a:pt x="1072" y="217"/>
                  </a:lnTo>
                  <a:lnTo>
                    <a:pt x="1109" y="209"/>
                  </a:lnTo>
                  <a:lnTo>
                    <a:pt x="1146" y="201"/>
                  </a:lnTo>
                  <a:lnTo>
                    <a:pt x="1183" y="194"/>
                  </a:lnTo>
                  <a:lnTo>
                    <a:pt x="1220" y="189"/>
                  </a:lnTo>
                  <a:lnTo>
                    <a:pt x="1257" y="186"/>
                  </a:lnTo>
                  <a:lnTo>
                    <a:pt x="1296" y="185"/>
                  </a:lnTo>
                  <a:lnTo>
                    <a:pt x="1335" y="183"/>
                  </a:lnTo>
                  <a:lnTo>
                    <a:pt x="1335" y="183"/>
                  </a:lnTo>
                  <a:lnTo>
                    <a:pt x="1367" y="183"/>
                  </a:lnTo>
                  <a:lnTo>
                    <a:pt x="1401" y="185"/>
                  </a:lnTo>
                  <a:lnTo>
                    <a:pt x="1434" y="188"/>
                  </a:lnTo>
                  <a:lnTo>
                    <a:pt x="1466" y="191"/>
                  </a:lnTo>
                  <a:lnTo>
                    <a:pt x="1498" y="196"/>
                  </a:lnTo>
                  <a:lnTo>
                    <a:pt x="1531" y="202"/>
                  </a:lnTo>
                  <a:lnTo>
                    <a:pt x="1561" y="209"/>
                  </a:lnTo>
                  <a:lnTo>
                    <a:pt x="1594" y="215"/>
                  </a:lnTo>
                  <a:lnTo>
                    <a:pt x="1624" y="225"/>
                  </a:lnTo>
                  <a:lnTo>
                    <a:pt x="1655" y="235"/>
                  </a:lnTo>
                  <a:lnTo>
                    <a:pt x="1686" y="244"/>
                  </a:lnTo>
                  <a:lnTo>
                    <a:pt x="1715" y="256"/>
                  </a:lnTo>
                  <a:lnTo>
                    <a:pt x="1744" y="269"/>
                  </a:lnTo>
                  <a:lnTo>
                    <a:pt x="1773" y="282"/>
                  </a:lnTo>
                  <a:lnTo>
                    <a:pt x="1802" y="296"/>
                  </a:lnTo>
                  <a:lnTo>
                    <a:pt x="1831" y="311"/>
                  </a:lnTo>
                  <a:lnTo>
                    <a:pt x="1859" y="327"/>
                  </a:lnTo>
                  <a:lnTo>
                    <a:pt x="1884" y="343"/>
                  </a:lnTo>
                  <a:lnTo>
                    <a:pt x="1912" y="361"/>
                  </a:lnTo>
                  <a:lnTo>
                    <a:pt x="1938" y="380"/>
                  </a:lnTo>
                  <a:lnTo>
                    <a:pt x="1964" y="400"/>
                  </a:lnTo>
                  <a:lnTo>
                    <a:pt x="1988" y="419"/>
                  </a:lnTo>
                  <a:lnTo>
                    <a:pt x="2012" y="440"/>
                  </a:lnTo>
                  <a:lnTo>
                    <a:pt x="2036" y="461"/>
                  </a:lnTo>
                  <a:lnTo>
                    <a:pt x="2059" y="484"/>
                  </a:lnTo>
                  <a:lnTo>
                    <a:pt x="2082" y="506"/>
                  </a:lnTo>
                  <a:lnTo>
                    <a:pt x="2103" y="531"/>
                  </a:lnTo>
                  <a:lnTo>
                    <a:pt x="2124" y="556"/>
                  </a:lnTo>
                  <a:lnTo>
                    <a:pt x="2143" y="581"/>
                  </a:lnTo>
                  <a:lnTo>
                    <a:pt x="2162" y="607"/>
                  </a:lnTo>
                  <a:lnTo>
                    <a:pt x="2182" y="634"/>
                  </a:lnTo>
                  <a:lnTo>
                    <a:pt x="2200" y="661"/>
                  </a:lnTo>
                  <a:lnTo>
                    <a:pt x="2374" y="598"/>
                  </a:lnTo>
                  <a:lnTo>
                    <a:pt x="2374" y="598"/>
                  </a:lnTo>
                  <a:lnTo>
                    <a:pt x="2340" y="543"/>
                  </a:lnTo>
                  <a:lnTo>
                    <a:pt x="2301" y="489"/>
                  </a:lnTo>
                  <a:lnTo>
                    <a:pt x="2261" y="437"/>
                  </a:lnTo>
                  <a:lnTo>
                    <a:pt x="2217" y="387"/>
                  </a:lnTo>
                  <a:lnTo>
                    <a:pt x="2171" y="340"/>
                  </a:lnTo>
                  <a:lnTo>
                    <a:pt x="2122" y="295"/>
                  </a:lnTo>
                  <a:lnTo>
                    <a:pt x="2070" y="253"/>
                  </a:lnTo>
                  <a:lnTo>
                    <a:pt x="2017" y="214"/>
                  </a:lnTo>
                  <a:lnTo>
                    <a:pt x="2017" y="214"/>
                  </a:lnTo>
                  <a:lnTo>
                    <a:pt x="1980" y="188"/>
                  </a:lnTo>
                  <a:lnTo>
                    <a:pt x="1941" y="164"/>
                  </a:lnTo>
                  <a:lnTo>
                    <a:pt x="1901" y="143"/>
                  </a:lnTo>
                  <a:lnTo>
                    <a:pt x="1860" y="122"/>
                  </a:lnTo>
                  <a:lnTo>
                    <a:pt x="1820" y="102"/>
                  </a:lnTo>
                  <a:lnTo>
                    <a:pt x="1778" y="84"/>
                  </a:lnTo>
                  <a:lnTo>
                    <a:pt x="1736" y="70"/>
                  </a:lnTo>
                  <a:lnTo>
                    <a:pt x="1692" y="55"/>
                  </a:lnTo>
                  <a:lnTo>
                    <a:pt x="1650" y="42"/>
                  </a:lnTo>
                  <a:lnTo>
                    <a:pt x="1605" y="31"/>
                  </a:lnTo>
                  <a:lnTo>
                    <a:pt x="1561" y="23"/>
                  </a:lnTo>
                  <a:lnTo>
                    <a:pt x="1516" y="15"/>
                  </a:lnTo>
                  <a:lnTo>
                    <a:pt x="1472" y="8"/>
                  </a:lnTo>
                  <a:lnTo>
                    <a:pt x="1427" y="4"/>
                  </a:lnTo>
                  <a:lnTo>
                    <a:pt x="1380" y="2"/>
                  </a:lnTo>
                  <a:lnTo>
                    <a:pt x="1335" y="0"/>
                  </a:lnTo>
                  <a:lnTo>
                    <a:pt x="1335" y="0"/>
                  </a:lnTo>
                  <a:lnTo>
                    <a:pt x="1283" y="2"/>
                  </a:lnTo>
                  <a:lnTo>
                    <a:pt x="1233" y="5"/>
                  </a:lnTo>
                  <a:lnTo>
                    <a:pt x="1181" y="10"/>
                  </a:lnTo>
                  <a:lnTo>
                    <a:pt x="1133" y="18"/>
                  </a:lnTo>
                  <a:lnTo>
                    <a:pt x="1083" y="28"/>
                  </a:lnTo>
                  <a:lnTo>
                    <a:pt x="1034" y="39"/>
                  </a:lnTo>
                  <a:lnTo>
                    <a:pt x="986" y="52"/>
                  </a:lnTo>
                  <a:lnTo>
                    <a:pt x="939" y="67"/>
                  </a:lnTo>
                  <a:lnTo>
                    <a:pt x="892" y="84"/>
                  </a:lnTo>
                  <a:lnTo>
                    <a:pt x="845" y="104"/>
                  </a:lnTo>
                  <a:lnTo>
                    <a:pt x="800" y="125"/>
                  </a:lnTo>
                  <a:lnTo>
                    <a:pt x="756" y="149"/>
                  </a:lnTo>
                  <a:lnTo>
                    <a:pt x="713" y="175"/>
                  </a:lnTo>
                  <a:lnTo>
                    <a:pt x="669" y="201"/>
                  </a:lnTo>
                  <a:lnTo>
                    <a:pt x="627" y="230"/>
                  </a:lnTo>
                  <a:lnTo>
                    <a:pt x="587" y="262"/>
                  </a:lnTo>
                  <a:lnTo>
                    <a:pt x="587" y="262"/>
                  </a:lnTo>
                  <a:lnTo>
                    <a:pt x="550" y="293"/>
                  </a:lnTo>
                  <a:lnTo>
                    <a:pt x="512" y="327"/>
                  </a:lnTo>
                  <a:lnTo>
                    <a:pt x="477" y="361"/>
                  </a:lnTo>
                  <a:lnTo>
                    <a:pt x="443" y="398"/>
                  </a:lnTo>
                  <a:lnTo>
                    <a:pt x="411" y="435"/>
                  </a:lnTo>
                  <a:lnTo>
                    <a:pt x="380" y="474"/>
                  </a:lnTo>
                  <a:lnTo>
                    <a:pt x="351" y="514"/>
                  </a:lnTo>
                  <a:lnTo>
                    <a:pt x="323" y="555"/>
                  </a:lnTo>
                  <a:lnTo>
                    <a:pt x="297" y="597"/>
                  </a:lnTo>
                  <a:lnTo>
                    <a:pt x="273" y="640"/>
                  </a:lnTo>
                  <a:lnTo>
                    <a:pt x="251" y="684"/>
                  </a:lnTo>
                  <a:lnTo>
                    <a:pt x="229" y="729"/>
                  </a:lnTo>
                  <a:lnTo>
                    <a:pt x="212" y="775"/>
                  </a:lnTo>
                  <a:lnTo>
                    <a:pt x="194" y="822"/>
                  </a:lnTo>
                  <a:lnTo>
                    <a:pt x="179" y="868"/>
                  </a:lnTo>
                  <a:lnTo>
                    <a:pt x="166" y="917"/>
                  </a:lnTo>
                  <a:lnTo>
                    <a:pt x="155" y="962"/>
                  </a:lnTo>
                  <a:lnTo>
                    <a:pt x="0" y="962"/>
                  </a:lnTo>
                  <a:lnTo>
                    <a:pt x="234" y="1226"/>
                  </a:lnTo>
                  <a:lnTo>
                    <a:pt x="470" y="962"/>
                  </a:lnTo>
                  <a:lnTo>
                    <a:pt x="330" y="962"/>
                  </a:lnTo>
                  <a:close/>
                </a:path>
              </a:pathLst>
            </a:custGeom>
            <a:grpFill/>
            <a:ln>
              <a:noFill/>
            </a:ln>
            <a:extLst/>
          </p:spPr>
          <p:txBody>
            <a:bodyPr vert="horz" wrap="square" lIns="91416" tIns="45708" rIns="91416" bIns="45708" numCol="1" anchor="t" anchorCtr="0" compatLnSpc="1">
              <a:prstTxWarp prst="textNoShape">
                <a:avLst/>
              </a:prstTxWarp>
            </a:bodyPr>
            <a:lstStyle/>
            <a:p>
              <a:pPr defTabSz="914103">
                <a:defRPr/>
              </a:pPr>
              <a:r>
                <a:rPr lang="en-US" sz="1100" kern="0" dirty="0">
                  <a:solidFill>
                    <a:srgbClr val="FFFFFF"/>
                  </a:solidFill>
                  <a:latin typeface="+mj-lt"/>
                  <a:ea typeface="Times New Roman"/>
                  <a:cs typeface="Times New Roman"/>
                </a:rPr>
                <a:t> </a:t>
              </a:r>
            </a:p>
          </p:txBody>
        </p:sp>
        <p:sp>
          <p:nvSpPr>
            <p:cNvPr id="572" name="Freeform 571"/>
            <p:cNvSpPr>
              <a:spLocks/>
            </p:cNvSpPr>
            <p:nvPr/>
          </p:nvSpPr>
          <p:spPr bwMode="auto">
            <a:xfrm flipH="1">
              <a:off x="11089059" y="2666297"/>
              <a:ext cx="416962" cy="229156"/>
            </a:xfrm>
            <a:custGeom>
              <a:avLst/>
              <a:gdLst>
                <a:gd name="T0" fmla="*/ 1943 w 2413"/>
                <a:gd name="T1" fmla="*/ 264 h 1327"/>
                <a:gd name="T2" fmla="*/ 2027 w 2413"/>
                <a:gd name="T3" fmla="*/ 464 h 1327"/>
                <a:gd name="T4" fmla="*/ 1980 w 2413"/>
                <a:gd name="T5" fmla="*/ 576 h 1327"/>
                <a:gd name="T6" fmla="*/ 1922 w 2413"/>
                <a:gd name="T7" fmla="*/ 677 h 1327"/>
                <a:gd name="T8" fmla="*/ 1852 w 2413"/>
                <a:gd name="T9" fmla="*/ 773 h 1327"/>
                <a:gd name="T10" fmla="*/ 1773 w 2413"/>
                <a:gd name="T11" fmla="*/ 858 h 1327"/>
                <a:gd name="T12" fmla="*/ 1684 w 2413"/>
                <a:gd name="T13" fmla="*/ 934 h 1327"/>
                <a:gd name="T14" fmla="*/ 1589 w 2413"/>
                <a:gd name="T15" fmla="*/ 999 h 1327"/>
                <a:gd name="T16" fmla="*/ 1485 w 2413"/>
                <a:gd name="T17" fmla="*/ 1052 h 1327"/>
                <a:gd name="T18" fmla="*/ 1377 w 2413"/>
                <a:gd name="T19" fmla="*/ 1094 h 1327"/>
                <a:gd name="T20" fmla="*/ 1262 w 2413"/>
                <a:gd name="T21" fmla="*/ 1125 h 1327"/>
                <a:gd name="T22" fmla="*/ 1146 w 2413"/>
                <a:gd name="T23" fmla="*/ 1141 h 1327"/>
                <a:gd name="T24" fmla="*/ 1065 w 2413"/>
                <a:gd name="T25" fmla="*/ 1145 h 1327"/>
                <a:gd name="T26" fmla="*/ 962 w 2413"/>
                <a:gd name="T27" fmla="*/ 1140 h 1327"/>
                <a:gd name="T28" fmla="*/ 860 w 2413"/>
                <a:gd name="T29" fmla="*/ 1124 h 1327"/>
                <a:gd name="T30" fmla="*/ 761 w 2413"/>
                <a:gd name="T31" fmla="*/ 1098 h 1327"/>
                <a:gd name="T32" fmla="*/ 667 w 2413"/>
                <a:gd name="T33" fmla="*/ 1064 h 1327"/>
                <a:gd name="T34" fmla="*/ 577 w 2413"/>
                <a:gd name="T35" fmla="*/ 1019 h 1327"/>
                <a:gd name="T36" fmla="*/ 491 w 2413"/>
                <a:gd name="T37" fmla="*/ 967 h 1327"/>
                <a:gd name="T38" fmla="*/ 410 w 2413"/>
                <a:gd name="T39" fmla="*/ 905 h 1327"/>
                <a:gd name="T40" fmla="*/ 336 w 2413"/>
                <a:gd name="T41" fmla="*/ 837 h 1327"/>
                <a:gd name="T42" fmla="*/ 268 w 2413"/>
                <a:gd name="T43" fmla="*/ 761 h 1327"/>
                <a:gd name="T44" fmla="*/ 208 w 2413"/>
                <a:gd name="T45" fmla="*/ 679 h 1327"/>
                <a:gd name="T46" fmla="*/ 0 w 2413"/>
                <a:gd name="T47" fmla="*/ 682 h 1327"/>
                <a:gd name="T48" fmla="*/ 37 w 2413"/>
                <a:gd name="T49" fmla="*/ 749 h 1327"/>
                <a:gd name="T50" fmla="*/ 100 w 2413"/>
                <a:gd name="T51" fmla="*/ 842 h 1327"/>
                <a:gd name="T52" fmla="*/ 173 w 2413"/>
                <a:gd name="T53" fmla="*/ 930 h 1327"/>
                <a:gd name="T54" fmla="*/ 252 w 2413"/>
                <a:gd name="T55" fmla="*/ 1010 h 1327"/>
                <a:gd name="T56" fmla="*/ 339 w 2413"/>
                <a:gd name="T57" fmla="*/ 1083 h 1327"/>
                <a:gd name="T58" fmla="*/ 402 w 2413"/>
                <a:gd name="T59" fmla="*/ 1127 h 1327"/>
                <a:gd name="T60" fmla="*/ 515 w 2413"/>
                <a:gd name="T61" fmla="*/ 1193 h 1327"/>
                <a:gd name="T62" fmla="*/ 637 w 2413"/>
                <a:gd name="T63" fmla="*/ 1248 h 1327"/>
                <a:gd name="T64" fmla="*/ 761 w 2413"/>
                <a:gd name="T65" fmla="*/ 1287 h 1327"/>
                <a:gd name="T66" fmla="*/ 889 w 2413"/>
                <a:gd name="T67" fmla="*/ 1314 h 1327"/>
                <a:gd name="T68" fmla="*/ 1021 w 2413"/>
                <a:gd name="T69" fmla="*/ 1326 h 1327"/>
                <a:gd name="T70" fmla="*/ 1117 w 2413"/>
                <a:gd name="T71" fmla="*/ 1326 h 1327"/>
                <a:gd name="T72" fmla="*/ 1270 w 2413"/>
                <a:gd name="T73" fmla="*/ 1308 h 1327"/>
                <a:gd name="T74" fmla="*/ 1421 w 2413"/>
                <a:gd name="T75" fmla="*/ 1272 h 1327"/>
                <a:gd name="T76" fmla="*/ 1564 w 2413"/>
                <a:gd name="T77" fmla="*/ 1217 h 1327"/>
                <a:gd name="T78" fmla="*/ 1702 w 2413"/>
                <a:gd name="T79" fmla="*/ 1145 h 1327"/>
                <a:gd name="T80" fmla="*/ 1828 w 2413"/>
                <a:gd name="T81" fmla="*/ 1054 h 1327"/>
                <a:gd name="T82" fmla="*/ 1904 w 2413"/>
                <a:gd name="T83" fmla="*/ 986 h 1327"/>
                <a:gd name="T84" fmla="*/ 2006 w 2413"/>
                <a:gd name="T85" fmla="*/ 873 h 1327"/>
                <a:gd name="T86" fmla="*/ 2093 w 2413"/>
                <a:gd name="T87" fmla="*/ 747 h 1327"/>
                <a:gd name="T88" fmla="*/ 2164 w 2413"/>
                <a:gd name="T89" fmla="*/ 613 h 1327"/>
                <a:gd name="T90" fmla="*/ 2216 w 2413"/>
                <a:gd name="T91" fmla="*/ 471 h 1327"/>
                <a:gd name="T92" fmla="*/ 2264 w 2413"/>
                <a:gd name="T93" fmla="*/ 264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13" h="1327">
                  <a:moveTo>
                    <a:pt x="2413" y="264"/>
                  </a:moveTo>
                  <a:lnTo>
                    <a:pt x="2177" y="0"/>
                  </a:lnTo>
                  <a:lnTo>
                    <a:pt x="1943" y="264"/>
                  </a:lnTo>
                  <a:lnTo>
                    <a:pt x="2098" y="264"/>
                  </a:lnTo>
                  <a:lnTo>
                    <a:pt x="2027" y="464"/>
                  </a:lnTo>
                  <a:lnTo>
                    <a:pt x="2027" y="464"/>
                  </a:lnTo>
                  <a:lnTo>
                    <a:pt x="2012" y="503"/>
                  </a:lnTo>
                  <a:lnTo>
                    <a:pt x="1998" y="538"/>
                  </a:lnTo>
                  <a:lnTo>
                    <a:pt x="1980" y="576"/>
                  </a:lnTo>
                  <a:lnTo>
                    <a:pt x="1962" y="611"/>
                  </a:lnTo>
                  <a:lnTo>
                    <a:pt x="1943" y="645"/>
                  </a:lnTo>
                  <a:lnTo>
                    <a:pt x="1922" y="677"/>
                  </a:lnTo>
                  <a:lnTo>
                    <a:pt x="1899" y="711"/>
                  </a:lnTo>
                  <a:lnTo>
                    <a:pt x="1876" y="742"/>
                  </a:lnTo>
                  <a:lnTo>
                    <a:pt x="1852" y="773"/>
                  </a:lnTo>
                  <a:lnTo>
                    <a:pt x="1826" y="802"/>
                  </a:lnTo>
                  <a:lnTo>
                    <a:pt x="1800" y="831"/>
                  </a:lnTo>
                  <a:lnTo>
                    <a:pt x="1773" y="858"/>
                  </a:lnTo>
                  <a:lnTo>
                    <a:pt x="1744" y="884"/>
                  </a:lnTo>
                  <a:lnTo>
                    <a:pt x="1715" y="910"/>
                  </a:lnTo>
                  <a:lnTo>
                    <a:pt x="1684" y="934"/>
                  </a:lnTo>
                  <a:lnTo>
                    <a:pt x="1653" y="957"/>
                  </a:lnTo>
                  <a:lnTo>
                    <a:pt x="1621" y="978"/>
                  </a:lnTo>
                  <a:lnTo>
                    <a:pt x="1589" y="999"/>
                  </a:lnTo>
                  <a:lnTo>
                    <a:pt x="1555" y="1019"/>
                  </a:lnTo>
                  <a:lnTo>
                    <a:pt x="1521" y="1036"/>
                  </a:lnTo>
                  <a:lnTo>
                    <a:pt x="1485" y="1052"/>
                  </a:lnTo>
                  <a:lnTo>
                    <a:pt x="1450" y="1069"/>
                  </a:lnTo>
                  <a:lnTo>
                    <a:pt x="1414" y="1083"/>
                  </a:lnTo>
                  <a:lnTo>
                    <a:pt x="1377" y="1094"/>
                  </a:lnTo>
                  <a:lnTo>
                    <a:pt x="1340" y="1106"/>
                  </a:lnTo>
                  <a:lnTo>
                    <a:pt x="1301" y="1117"/>
                  </a:lnTo>
                  <a:lnTo>
                    <a:pt x="1262" y="1125"/>
                  </a:lnTo>
                  <a:lnTo>
                    <a:pt x="1223" y="1132"/>
                  </a:lnTo>
                  <a:lnTo>
                    <a:pt x="1185" y="1137"/>
                  </a:lnTo>
                  <a:lnTo>
                    <a:pt x="1146" y="1141"/>
                  </a:lnTo>
                  <a:lnTo>
                    <a:pt x="1105" y="1143"/>
                  </a:lnTo>
                  <a:lnTo>
                    <a:pt x="1065" y="1145"/>
                  </a:lnTo>
                  <a:lnTo>
                    <a:pt x="1065" y="1145"/>
                  </a:lnTo>
                  <a:lnTo>
                    <a:pt x="1029" y="1143"/>
                  </a:lnTo>
                  <a:lnTo>
                    <a:pt x="995" y="1141"/>
                  </a:lnTo>
                  <a:lnTo>
                    <a:pt x="962" y="1140"/>
                  </a:lnTo>
                  <a:lnTo>
                    <a:pt x="928" y="1135"/>
                  </a:lnTo>
                  <a:lnTo>
                    <a:pt x="894" y="1130"/>
                  </a:lnTo>
                  <a:lnTo>
                    <a:pt x="860" y="1124"/>
                  </a:lnTo>
                  <a:lnTo>
                    <a:pt x="827" y="1115"/>
                  </a:lnTo>
                  <a:lnTo>
                    <a:pt x="793" y="1107"/>
                  </a:lnTo>
                  <a:lnTo>
                    <a:pt x="761" y="1098"/>
                  </a:lnTo>
                  <a:lnTo>
                    <a:pt x="730" y="1088"/>
                  </a:lnTo>
                  <a:lnTo>
                    <a:pt x="698" y="1075"/>
                  </a:lnTo>
                  <a:lnTo>
                    <a:pt x="667" y="1064"/>
                  </a:lnTo>
                  <a:lnTo>
                    <a:pt x="637" y="1049"/>
                  </a:lnTo>
                  <a:lnTo>
                    <a:pt x="606" y="1035"/>
                  </a:lnTo>
                  <a:lnTo>
                    <a:pt x="577" y="1019"/>
                  </a:lnTo>
                  <a:lnTo>
                    <a:pt x="548" y="1002"/>
                  </a:lnTo>
                  <a:lnTo>
                    <a:pt x="519" y="985"/>
                  </a:lnTo>
                  <a:lnTo>
                    <a:pt x="491" y="967"/>
                  </a:lnTo>
                  <a:lnTo>
                    <a:pt x="464" y="947"/>
                  </a:lnTo>
                  <a:lnTo>
                    <a:pt x="436" y="928"/>
                  </a:lnTo>
                  <a:lnTo>
                    <a:pt x="410" y="905"/>
                  </a:lnTo>
                  <a:lnTo>
                    <a:pt x="385" y="884"/>
                  </a:lnTo>
                  <a:lnTo>
                    <a:pt x="360" y="862"/>
                  </a:lnTo>
                  <a:lnTo>
                    <a:pt x="336" y="837"/>
                  </a:lnTo>
                  <a:lnTo>
                    <a:pt x="313" y="813"/>
                  </a:lnTo>
                  <a:lnTo>
                    <a:pt x="291" y="787"/>
                  </a:lnTo>
                  <a:lnTo>
                    <a:pt x="268" y="761"/>
                  </a:lnTo>
                  <a:lnTo>
                    <a:pt x="247" y="736"/>
                  </a:lnTo>
                  <a:lnTo>
                    <a:pt x="228" y="708"/>
                  </a:lnTo>
                  <a:lnTo>
                    <a:pt x="208" y="679"/>
                  </a:lnTo>
                  <a:lnTo>
                    <a:pt x="191" y="650"/>
                  </a:lnTo>
                  <a:lnTo>
                    <a:pt x="173" y="621"/>
                  </a:lnTo>
                  <a:lnTo>
                    <a:pt x="0" y="682"/>
                  </a:lnTo>
                  <a:lnTo>
                    <a:pt x="0" y="682"/>
                  </a:lnTo>
                  <a:lnTo>
                    <a:pt x="18" y="716"/>
                  </a:lnTo>
                  <a:lnTo>
                    <a:pt x="37" y="749"/>
                  </a:lnTo>
                  <a:lnTo>
                    <a:pt x="56" y="781"/>
                  </a:lnTo>
                  <a:lnTo>
                    <a:pt x="77" y="812"/>
                  </a:lnTo>
                  <a:lnTo>
                    <a:pt x="100" y="842"/>
                  </a:lnTo>
                  <a:lnTo>
                    <a:pt x="123" y="871"/>
                  </a:lnTo>
                  <a:lnTo>
                    <a:pt x="147" y="901"/>
                  </a:lnTo>
                  <a:lnTo>
                    <a:pt x="173" y="930"/>
                  </a:lnTo>
                  <a:lnTo>
                    <a:pt x="197" y="957"/>
                  </a:lnTo>
                  <a:lnTo>
                    <a:pt x="225" y="985"/>
                  </a:lnTo>
                  <a:lnTo>
                    <a:pt x="252" y="1010"/>
                  </a:lnTo>
                  <a:lnTo>
                    <a:pt x="280" y="1035"/>
                  </a:lnTo>
                  <a:lnTo>
                    <a:pt x="310" y="1059"/>
                  </a:lnTo>
                  <a:lnTo>
                    <a:pt x="339" y="1083"/>
                  </a:lnTo>
                  <a:lnTo>
                    <a:pt x="370" y="1106"/>
                  </a:lnTo>
                  <a:lnTo>
                    <a:pt x="402" y="1127"/>
                  </a:lnTo>
                  <a:lnTo>
                    <a:pt x="402" y="1127"/>
                  </a:lnTo>
                  <a:lnTo>
                    <a:pt x="440" y="1151"/>
                  </a:lnTo>
                  <a:lnTo>
                    <a:pt x="477" y="1172"/>
                  </a:lnTo>
                  <a:lnTo>
                    <a:pt x="515" y="1193"/>
                  </a:lnTo>
                  <a:lnTo>
                    <a:pt x="556" y="1212"/>
                  </a:lnTo>
                  <a:lnTo>
                    <a:pt x="596" y="1230"/>
                  </a:lnTo>
                  <a:lnTo>
                    <a:pt x="637" y="1248"/>
                  </a:lnTo>
                  <a:lnTo>
                    <a:pt x="677" y="1263"/>
                  </a:lnTo>
                  <a:lnTo>
                    <a:pt x="719" y="1276"/>
                  </a:lnTo>
                  <a:lnTo>
                    <a:pt x="761" y="1287"/>
                  </a:lnTo>
                  <a:lnTo>
                    <a:pt x="803" y="1298"/>
                  </a:lnTo>
                  <a:lnTo>
                    <a:pt x="847" y="1306"/>
                  </a:lnTo>
                  <a:lnTo>
                    <a:pt x="889" y="1314"/>
                  </a:lnTo>
                  <a:lnTo>
                    <a:pt x="932" y="1319"/>
                  </a:lnTo>
                  <a:lnTo>
                    <a:pt x="976" y="1324"/>
                  </a:lnTo>
                  <a:lnTo>
                    <a:pt x="1021" y="1326"/>
                  </a:lnTo>
                  <a:lnTo>
                    <a:pt x="1065" y="1327"/>
                  </a:lnTo>
                  <a:lnTo>
                    <a:pt x="1065" y="1327"/>
                  </a:lnTo>
                  <a:lnTo>
                    <a:pt x="1117" y="1326"/>
                  </a:lnTo>
                  <a:lnTo>
                    <a:pt x="1168" y="1322"/>
                  </a:lnTo>
                  <a:lnTo>
                    <a:pt x="1220" y="1316"/>
                  </a:lnTo>
                  <a:lnTo>
                    <a:pt x="1270" y="1308"/>
                  </a:lnTo>
                  <a:lnTo>
                    <a:pt x="1322" y="1298"/>
                  </a:lnTo>
                  <a:lnTo>
                    <a:pt x="1372" y="1287"/>
                  </a:lnTo>
                  <a:lnTo>
                    <a:pt x="1421" y="1272"/>
                  </a:lnTo>
                  <a:lnTo>
                    <a:pt x="1471" y="1256"/>
                  </a:lnTo>
                  <a:lnTo>
                    <a:pt x="1518" y="1238"/>
                  </a:lnTo>
                  <a:lnTo>
                    <a:pt x="1564" y="1217"/>
                  </a:lnTo>
                  <a:lnTo>
                    <a:pt x="1611" y="1195"/>
                  </a:lnTo>
                  <a:lnTo>
                    <a:pt x="1656" y="1170"/>
                  </a:lnTo>
                  <a:lnTo>
                    <a:pt x="1702" y="1145"/>
                  </a:lnTo>
                  <a:lnTo>
                    <a:pt x="1744" y="1115"/>
                  </a:lnTo>
                  <a:lnTo>
                    <a:pt x="1786" y="1086"/>
                  </a:lnTo>
                  <a:lnTo>
                    <a:pt x="1828" y="1054"/>
                  </a:lnTo>
                  <a:lnTo>
                    <a:pt x="1828" y="1054"/>
                  </a:lnTo>
                  <a:lnTo>
                    <a:pt x="1867" y="1020"/>
                  </a:lnTo>
                  <a:lnTo>
                    <a:pt x="1904" y="986"/>
                  </a:lnTo>
                  <a:lnTo>
                    <a:pt x="1939" y="949"/>
                  </a:lnTo>
                  <a:lnTo>
                    <a:pt x="1973" y="912"/>
                  </a:lnTo>
                  <a:lnTo>
                    <a:pt x="2006" y="873"/>
                  </a:lnTo>
                  <a:lnTo>
                    <a:pt x="2036" y="833"/>
                  </a:lnTo>
                  <a:lnTo>
                    <a:pt x="2065" y="791"/>
                  </a:lnTo>
                  <a:lnTo>
                    <a:pt x="2093" y="747"/>
                  </a:lnTo>
                  <a:lnTo>
                    <a:pt x="2119" y="703"/>
                  </a:lnTo>
                  <a:lnTo>
                    <a:pt x="2141" y="660"/>
                  </a:lnTo>
                  <a:lnTo>
                    <a:pt x="2164" y="613"/>
                  </a:lnTo>
                  <a:lnTo>
                    <a:pt x="2183" y="566"/>
                  </a:lnTo>
                  <a:lnTo>
                    <a:pt x="2201" y="519"/>
                  </a:lnTo>
                  <a:lnTo>
                    <a:pt x="2216" y="471"/>
                  </a:lnTo>
                  <a:lnTo>
                    <a:pt x="2230" y="422"/>
                  </a:lnTo>
                  <a:lnTo>
                    <a:pt x="2242" y="372"/>
                  </a:lnTo>
                  <a:lnTo>
                    <a:pt x="2264" y="264"/>
                  </a:lnTo>
                  <a:lnTo>
                    <a:pt x="2413" y="264"/>
                  </a:lnTo>
                  <a:close/>
                </a:path>
              </a:pathLst>
            </a:custGeom>
            <a:grpFill/>
            <a:ln>
              <a:noFill/>
            </a:ln>
            <a:extLst/>
          </p:spPr>
          <p:txBody>
            <a:bodyPr vert="horz" wrap="square" lIns="91416" tIns="45708" rIns="91416" bIns="45708" numCol="1" anchor="t" anchorCtr="0" compatLnSpc="1">
              <a:prstTxWarp prst="textNoShape">
                <a:avLst/>
              </a:prstTxWarp>
            </a:bodyPr>
            <a:lstStyle/>
            <a:p>
              <a:pPr defTabSz="914103">
                <a:defRPr/>
              </a:pPr>
              <a:r>
                <a:rPr lang="en-US" sz="1100" kern="0" dirty="0">
                  <a:solidFill>
                    <a:srgbClr val="FFFFFF"/>
                  </a:solidFill>
                  <a:latin typeface="+mj-lt"/>
                  <a:ea typeface="Times New Roman"/>
                  <a:cs typeface="Times New Roman"/>
                </a:rPr>
                <a:t> </a:t>
              </a:r>
            </a:p>
          </p:txBody>
        </p:sp>
        <p:sp>
          <p:nvSpPr>
            <p:cNvPr id="573" name="Freeform 13"/>
            <p:cNvSpPr>
              <a:spLocks noEditPoints="1"/>
            </p:cNvSpPr>
            <p:nvPr/>
          </p:nvSpPr>
          <p:spPr bwMode="auto">
            <a:xfrm>
              <a:off x="11198657" y="2565333"/>
              <a:ext cx="244441" cy="244441"/>
            </a:xfrm>
            <a:custGeom>
              <a:avLst/>
              <a:gdLst>
                <a:gd name="T0" fmla="*/ 1347 w 3325"/>
                <a:gd name="T1" fmla="*/ 3204 h 3325"/>
                <a:gd name="T2" fmla="*/ 1418 w 3325"/>
                <a:gd name="T3" fmla="*/ 2719 h 3325"/>
                <a:gd name="T4" fmla="*/ 2061 w 3325"/>
                <a:gd name="T5" fmla="*/ 2670 h 3325"/>
                <a:gd name="T6" fmla="*/ 1771 w 3325"/>
                <a:gd name="T7" fmla="*/ 3232 h 3325"/>
                <a:gd name="T8" fmla="*/ 2365 w 3325"/>
                <a:gd name="T9" fmla="*/ 3070 h 3325"/>
                <a:gd name="T10" fmla="*/ 464 w 3325"/>
                <a:gd name="T11" fmla="*/ 2681 h 3325"/>
                <a:gd name="T12" fmla="*/ 1111 w 3325"/>
                <a:gd name="T13" fmla="*/ 2595 h 3325"/>
                <a:gd name="T14" fmla="*/ 735 w 3325"/>
                <a:gd name="T15" fmla="*/ 2222 h 3325"/>
                <a:gd name="T16" fmla="*/ 2293 w 3325"/>
                <a:gd name="T17" fmla="*/ 2544 h 3325"/>
                <a:gd name="T18" fmla="*/ 2817 w 3325"/>
                <a:gd name="T19" fmla="*/ 2731 h 3325"/>
                <a:gd name="T20" fmla="*/ 1171 w 3325"/>
                <a:gd name="T21" fmla="*/ 2562 h 3325"/>
                <a:gd name="T22" fmla="*/ 1645 w 3325"/>
                <a:gd name="T23" fmla="*/ 2687 h 3325"/>
                <a:gd name="T24" fmla="*/ 1074 w 3325"/>
                <a:gd name="T25" fmla="*/ 2109 h 3325"/>
                <a:gd name="T26" fmla="*/ 997 w 3325"/>
                <a:gd name="T27" fmla="*/ 2208 h 3325"/>
                <a:gd name="T28" fmla="*/ 918 w 3325"/>
                <a:gd name="T29" fmla="*/ 2122 h 3325"/>
                <a:gd name="T30" fmla="*/ 1021 w 3325"/>
                <a:gd name="T31" fmla="*/ 2463 h 3325"/>
                <a:gd name="T32" fmla="*/ 1828 w 3325"/>
                <a:gd name="T33" fmla="*/ 2674 h 3325"/>
                <a:gd name="T34" fmla="*/ 1700 w 3325"/>
                <a:gd name="T35" fmla="*/ 1675 h 3325"/>
                <a:gd name="T36" fmla="*/ 2516 w 3325"/>
                <a:gd name="T37" fmla="*/ 2231 h 3325"/>
                <a:gd name="T38" fmla="*/ 681 w 3325"/>
                <a:gd name="T39" fmla="*/ 1962 h 3325"/>
                <a:gd name="T40" fmla="*/ 92 w 3325"/>
                <a:gd name="T41" fmla="*/ 1756 h 3325"/>
                <a:gd name="T42" fmla="*/ 252 w 3325"/>
                <a:gd name="T43" fmla="*/ 2359 h 3325"/>
                <a:gd name="T44" fmla="*/ 591 w 3325"/>
                <a:gd name="T45" fmla="*/ 1824 h 3325"/>
                <a:gd name="T46" fmla="*/ 687 w 3325"/>
                <a:gd name="T47" fmla="*/ 1346 h 3325"/>
                <a:gd name="T48" fmla="*/ 2367 w 3325"/>
                <a:gd name="T49" fmla="*/ 1150 h 3325"/>
                <a:gd name="T50" fmla="*/ 2292 w 3325"/>
                <a:gd name="T51" fmla="*/ 1250 h 3325"/>
                <a:gd name="T52" fmla="*/ 2408 w 3325"/>
                <a:gd name="T53" fmla="*/ 1298 h 3325"/>
                <a:gd name="T54" fmla="*/ 2424 w 3325"/>
                <a:gd name="T55" fmla="*/ 1174 h 3325"/>
                <a:gd name="T56" fmla="*/ 178 w 3325"/>
                <a:gd name="T57" fmla="*/ 1143 h 3325"/>
                <a:gd name="T58" fmla="*/ 585 w 3325"/>
                <a:gd name="T59" fmla="*/ 1551 h 3325"/>
                <a:gd name="T60" fmla="*/ 297 w 3325"/>
                <a:gd name="T61" fmla="*/ 881 h 3325"/>
                <a:gd name="T62" fmla="*/ 828 w 3325"/>
                <a:gd name="T63" fmla="*/ 1067 h 3325"/>
                <a:gd name="T64" fmla="*/ 651 w 3325"/>
                <a:gd name="T65" fmla="*/ 458 h 3325"/>
                <a:gd name="T66" fmla="*/ 739 w 3325"/>
                <a:gd name="T67" fmla="*/ 1096 h 3325"/>
                <a:gd name="T68" fmla="*/ 1108 w 3325"/>
                <a:gd name="T69" fmla="*/ 732 h 3325"/>
                <a:gd name="T70" fmla="*/ 1008 w 3325"/>
                <a:gd name="T71" fmla="*/ 677 h 3325"/>
                <a:gd name="T72" fmla="*/ 1659 w 3325"/>
                <a:gd name="T73" fmla="*/ 0 h 3325"/>
                <a:gd name="T74" fmla="*/ 1130 w 3325"/>
                <a:gd name="T75" fmla="*/ 182 h 3325"/>
                <a:gd name="T76" fmla="*/ 1097 w 3325"/>
                <a:gd name="T77" fmla="*/ 561 h 3325"/>
                <a:gd name="T78" fmla="*/ 1148 w 3325"/>
                <a:gd name="T79" fmla="*/ 671 h 3325"/>
                <a:gd name="T80" fmla="*/ 1423 w 3325"/>
                <a:gd name="T81" fmla="*/ 606 h 3325"/>
                <a:gd name="T82" fmla="*/ 1437 w 3325"/>
                <a:gd name="T83" fmla="*/ 663 h 3325"/>
                <a:gd name="T84" fmla="*/ 1662 w 3325"/>
                <a:gd name="T85" fmla="*/ 638 h 3325"/>
                <a:gd name="T86" fmla="*/ 2180 w 3325"/>
                <a:gd name="T87" fmla="*/ 778 h 3325"/>
                <a:gd name="T88" fmla="*/ 2547 w 3325"/>
                <a:gd name="T89" fmla="*/ 1145 h 3325"/>
                <a:gd name="T90" fmla="*/ 2687 w 3325"/>
                <a:gd name="T91" fmla="*/ 1663 h 3325"/>
                <a:gd name="T92" fmla="*/ 2677 w 3325"/>
                <a:gd name="T93" fmla="*/ 1807 h 3325"/>
                <a:gd name="T94" fmla="*/ 2703 w 3325"/>
                <a:gd name="T95" fmla="*/ 1963 h 3325"/>
                <a:gd name="T96" fmla="*/ 3158 w 3325"/>
                <a:gd name="T97" fmla="*/ 2148 h 3325"/>
                <a:gd name="T98" fmla="*/ 3322 w 3325"/>
                <a:gd name="T99" fmla="*/ 1764 h 3325"/>
                <a:gd name="T100" fmla="*/ 3143 w 3325"/>
                <a:gd name="T101" fmla="*/ 2418 h 3325"/>
                <a:gd name="T102" fmla="*/ 2734 w 3325"/>
                <a:gd name="T103" fmla="*/ 2934 h 3325"/>
                <a:gd name="T104" fmla="*/ 2150 w 3325"/>
                <a:gd name="T105" fmla="*/ 3252 h 3325"/>
                <a:gd name="T106" fmla="*/ 1461 w 3325"/>
                <a:gd name="T107" fmla="*/ 3313 h 3325"/>
                <a:gd name="T108" fmla="*/ 823 w 3325"/>
                <a:gd name="T109" fmla="*/ 3098 h 3325"/>
                <a:gd name="T110" fmla="*/ 332 w 3325"/>
                <a:gd name="T111" fmla="*/ 2660 h 3325"/>
                <a:gd name="T112" fmla="*/ 47 w 3325"/>
                <a:gd name="T113" fmla="*/ 2058 h 3325"/>
                <a:gd name="T114" fmla="*/ 26 w 3325"/>
                <a:gd name="T115" fmla="*/ 1364 h 3325"/>
                <a:gd name="T116" fmla="*/ 276 w 3325"/>
                <a:gd name="T117" fmla="*/ 744 h 3325"/>
                <a:gd name="T118" fmla="*/ 741 w 3325"/>
                <a:gd name="T119" fmla="*/ 279 h 3325"/>
                <a:gd name="T120" fmla="*/ 1360 w 3325"/>
                <a:gd name="T121" fmla="*/ 27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5" h="3325">
                  <a:moveTo>
                    <a:pt x="1141" y="2613"/>
                  </a:moveTo>
                  <a:lnTo>
                    <a:pt x="896" y="3036"/>
                  </a:lnTo>
                  <a:lnTo>
                    <a:pt x="981" y="3081"/>
                  </a:lnTo>
                  <a:lnTo>
                    <a:pt x="1069" y="3119"/>
                  </a:lnTo>
                  <a:lnTo>
                    <a:pt x="1159" y="3153"/>
                  </a:lnTo>
                  <a:lnTo>
                    <a:pt x="1252" y="3182"/>
                  </a:lnTo>
                  <a:lnTo>
                    <a:pt x="1347" y="3204"/>
                  </a:lnTo>
                  <a:lnTo>
                    <a:pt x="1445" y="3220"/>
                  </a:lnTo>
                  <a:lnTo>
                    <a:pt x="1544" y="3231"/>
                  </a:lnTo>
                  <a:lnTo>
                    <a:pt x="1645" y="3235"/>
                  </a:lnTo>
                  <a:lnTo>
                    <a:pt x="1645" y="2746"/>
                  </a:lnTo>
                  <a:lnTo>
                    <a:pt x="1567" y="2742"/>
                  </a:lnTo>
                  <a:lnTo>
                    <a:pt x="1491" y="2733"/>
                  </a:lnTo>
                  <a:lnTo>
                    <a:pt x="1418" y="2719"/>
                  </a:lnTo>
                  <a:lnTo>
                    <a:pt x="1345" y="2698"/>
                  </a:lnTo>
                  <a:lnTo>
                    <a:pt x="1274" y="2674"/>
                  </a:lnTo>
                  <a:lnTo>
                    <a:pt x="1207" y="2646"/>
                  </a:lnTo>
                  <a:lnTo>
                    <a:pt x="1141" y="2613"/>
                  </a:lnTo>
                  <a:close/>
                  <a:moveTo>
                    <a:pt x="2197" y="2605"/>
                  </a:moveTo>
                  <a:lnTo>
                    <a:pt x="2130" y="2640"/>
                  </a:lnTo>
                  <a:lnTo>
                    <a:pt x="2061" y="2670"/>
                  </a:lnTo>
                  <a:lnTo>
                    <a:pt x="1988" y="2696"/>
                  </a:lnTo>
                  <a:lnTo>
                    <a:pt x="1914" y="2717"/>
                  </a:lnTo>
                  <a:lnTo>
                    <a:pt x="1838" y="2732"/>
                  </a:lnTo>
                  <a:lnTo>
                    <a:pt x="1760" y="2742"/>
                  </a:lnTo>
                  <a:lnTo>
                    <a:pt x="1680" y="2746"/>
                  </a:lnTo>
                  <a:lnTo>
                    <a:pt x="1680" y="3235"/>
                  </a:lnTo>
                  <a:lnTo>
                    <a:pt x="1771" y="3232"/>
                  </a:lnTo>
                  <a:lnTo>
                    <a:pt x="1862" y="3223"/>
                  </a:lnTo>
                  <a:lnTo>
                    <a:pt x="1951" y="3209"/>
                  </a:lnTo>
                  <a:lnTo>
                    <a:pt x="2037" y="3191"/>
                  </a:lnTo>
                  <a:lnTo>
                    <a:pt x="2123" y="3167"/>
                  </a:lnTo>
                  <a:lnTo>
                    <a:pt x="2206" y="3139"/>
                  </a:lnTo>
                  <a:lnTo>
                    <a:pt x="2287" y="3107"/>
                  </a:lnTo>
                  <a:lnTo>
                    <a:pt x="2365" y="3070"/>
                  </a:lnTo>
                  <a:lnTo>
                    <a:pt x="2442" y="3029"/>
                  </a:lnTo>
                  <a:lnTo>
                    <a:pt x="2197" y="2605"/>
                  </a:lnTo>
                  <a:close/>
                  <a:moveTo>
                    <a:pt x="735" y="2222"/>
                  </a:moveTo>
                  <a:lnTo>
                    <a:pt x="311" y="2467"/>
                  </a:lnTo>
                  <a:lnTo>
                    <a:pt x="358" y="2542"/>
                  </a:lnTo>
                  <a:lnTo>
                    <a:pt x="409" y="2614"/>
                  </a:lnTo>
                  <a:lnTo>
                    <a:pt x="464" y="2681"/>
                  </a:lnTo>
                  <a:lnTo>
                    <a:pt x="523" y="2747"/>
                  </a:lnTo>
                  <a:lnTo>
                    <a:pt x="585" y="2808"/>
                  </a:lnTo>
                  <a:lnTo>
                    <a:pt x="651" y="2867"/>
                  </a:lnTo>
                  <a:lnTo>
                    <a:pt x="719" y="2921"/>
                  </a:lnTo>
                  <a:lnTo>
                    <a:pt x="791" y="2973"/>
                  </a:lnTo>
                  <a:lnTo>
                    <a:pt x="867" y="3019"/>
                  </a:lnTo>
                  <a:lnTo>
                    <a:pt x="1111" y="2595"/>
                  </a:lnTo>
                  <a:lnTo>
                    <a:pt x="1046" y="2554"/>
                  </a:lnTo>
                  <a:lnTo>
                    <a:pt x="985" y="2509"/>
                  </a:lnTo>
                  <a:lnTo>
                    <a:pt x="927" y="2458"/>
                  </a:lnTo>
                  <a:lnTo>
                    <a:pt x="873" y="2405"/>
                  </a:lnTo>
                  <a:lnTo>
                    <a:pt x="822" y="2347"/>
                  </a:lnTo>
                  <a:lnTo>
                    <a:pt x="777" y="2287"/>
                  </a:lnTo>
                  <a:lnTo>
                    <a:pt x="735" y="2222"/>
                  </a:lnTo>
                  <a:close/>
                  <a:moveTo>
                    <a:pt x="2604" y="2198"/>
                  </a:moveTo>
                  <a:lnTo>
                    <a:pt x="2563" y="2264"/>
                  </a:lnTo>
                  <a:lnTo>
                    <a:pt x="2518" y="2328"/>
                  </a:lnTo>
                  <a:lnTo>
                    <a:pt x="2467" y="2388"/>
                  </a:lnTo>
                  <a:lnTo>
                    <a:pt x="2413" y="2444"/>
                  </a:lnTo>
                  <a:lnTo>
                    <a:pt x="2354" y="2497"/>
                  </a:lnTo>
                  <a:lnTo>
                    <a:pt x="2293" y="2544"/>
                  </a:lnTo>
                  <a:lnTo>
                    <a:pt x="2227" y="2587"/>
                  </a:lnTo>
                  <a:lnTo>
                    <a:pt x="2472" y="3011"/>
                  </a:lnTo>
                  <a:lnTo>
                    <a:pt x="2547" y="2963"/>
                  </a:lnTo>
                  <a:lnTo>
                    <a:pt x="2620" y="2910"/>
                  </a:lnTo>
                  <a:lnTo>
                    <a:pt x="2689" y="2854"/>
                  </a:lnTo>
                  <a:lnTo>
                    <a:pt x="2755" y="2794"/>
                  </a:lnTo>
                  <a:lnTo>
                    <a:pt x="2817" y="2731"/>
                  </a:lnTo>
                  <a:lnTo>
                    <a:pt x="2876" y="2663"/>
                  </a:lnTo>
                  <a:lnTo>
                    <a:pt x="2931" y="2592"/>
                  </a:lnTo>
                  <a:lnTo>
                    <a:pt x="2982" y="2519"/>
                  </a:lnTo>
                  <a:lnTo>
                    <a:pt x="3028" y="2442"/>
                  </a:lnTo>
                  <a:lnTo>
                    <a:pt x="2604" y="2198"/>
                  </a:lnTo>
                  <a:close/>
                  <a:moveTo>
                    <a:pt x="1645" y="1740"/>
                  </a:moveTo>
                  <a:lnTo>
                    <a:pt x="1171" y="2562"/>
                  </a:lnTo>
                  <a:lnTo>
                    <a:pt x="1232" y="2593"/>
                  </a:lnTo>
                  <a:lnTo>
                    <a:pt x="1297" y="2621"/>
                  </a:lnTo>
                  <a:lnTo>
                    <a:pt x="1362" y="2643"/>
                  </a:lnTo>
                  <a:lnTo>
                    <a:pt x="1431" y="2661"/>
                  </a:lnTo>
                  <a:lnTo>
                    <a:pt x="1501" y="2675"/>
                  </a:lnTo>
                  <a:lnTo>
                    <a:pt x="1572" y="2683"/>
                  </a:lnTo>
                  <a:lnTo>
                    <a:pt x="1645" y="2687"/>
                  </a:lnTo>
                  <a:lnTo>
                    <a:pt x="1645" y="1740"/>
                  </a:lnTo>
                  <a:close/>
                  <a:moveTo>
                    <a:pt x="1623" y="1709"/>
                  </a:moveTo>
                  <a:lnTo>
                    <a:pt x="1025" y="2055"/>
                  </a:lnTo>
                  <a:lnTo>
                    <a:pt x="1041" y="2064"/>
                  </a:lnTo>
                  <a:lnTo>
                    <a:pt x="1056" y="2076"/>
                  </a:lnTo>
                  <a:lnTo>
                    <a:pt x="1067" y="2092"/>
                  </a:lnTo>
                  <a:lnTo>
                    <a:pt x="1074" y="2109"/>
                  </a:lnTo>
                  <a:lnTo>
                    <a:pt x="1077" y="2129"/>
                  </a:lnTo>
                  <a:lnTo>
                    <a:pt x="1074" y="2150"/>
                  </a:lnTo>
                  <a:lnTo>
                    <a:pt x="1066" y="2169"/>
                  </a:lnTo>
                  <a:lnTo>
                    <a:pt x="1053" y="2185"/>
                  </a:lnTo>
                  <a:lnTo>
                    <a:pt x="1037" y="2198"/>
                  </a:lnTo>
                  <a:lnTo>
                    <a:pt x="1018" y="2206"/>
                  </a:lnTo>
                  <a:lnTo>
                    <a:pt x="997" y="2208"/>
                  </a:lnTo>
                  <a:lnTo>
                    <a:pt x="976" y="2206"/>
                  </a:lnTo>
                  <a:lnTo>
                    <a:pt x="957" y="2198"/>
                  </a:lnTo>
                  <a:lnTo>
                    <a:pt x="941" y="2185"/>
                  </a:lnTo>
                  <a:lnTo>
                    <a:pt x="928" y="2169"/>
                  </a:lnTo>
                  <a:lnTo>
                    <a:pt x="920" y="2150"/>
                  </a:lnTo>
                  <a:lnTo>
                    <a:pt x="918" y="2129"/>
                  </a:lnTo>
                  <a:lnTo>
                    <a:pt x="918" y="2122"/>
                  </a:lnTo>
                  <a:lnTo>
                    <a:pt x="919" y="2116"/>
                  </a:lnTo>
                  <a:lnTo>
                    <a:pt x="785" y="2193"/>
                  </a:lnTo>
                  <a:lnTo>
                    <a:pt x="824" y="2253"/>
                  </a:lnTo>
                  <a:lnTo>
                    <a:pt x="869" y="2311"/>
                  </a:lnTo>
                  <a:lnTo>
                    <a:pt x="916" y="2365"/>
                  </a:lnTo>
                  <a:lnTo>
                    <a:pt x="967" y="2416"/>
                  </a:lnTo>
                  <a:lnTo>
                    <a:pt x="1021" y="2463"/>
                  </a:lnTo>
                  <a:lnTo>
                    <a:pt x="1080" y="2506"/>
                  </a:lnTo>
                  <a:lnTo>
                    <a:pt x="1140" y="2545"/>
                  </a:lnTo>
                  <a:lnTo>
                    <a:pt x="1623" y="1709"/>
                  </a:lnTo>
                  <a:close/>
                  <a:moveTo>
                    <a:pt x="1680" y="1708"/>
                  </a:moveTo>
                  <a:lnTo>
                    <a:pt x="1680" y="2687"/>
                  </a:lnTo>
                  <a:lnTo>
                    <a:pt x="1755" y="2683"/>
                  </a:lnTo>
                  <a:lnTo>
                    <a:pt x="1828" y="2674"/>
                  </a:lnTo>
                  <a:lnTo>
                    <a:pt x="1901" y="2660"/>
                  </a:lnTo>
                  <a:lnTo>
                    <a:pt x="1971" y="2641"/>
                  </a:lnTo>
                  <a:lnTo>
                    <a:pt x="2039" y="2617"/>
                  </a:lnTo>
                  <a:lnTo>
                    <a:pt x="2105" y="2587"/>
                  </a:lnTo>
                  <a:lnTo>
                    <a:pt x="2168" y="2554"/>
                  </a:lnTo>
                  <a:lnTo>
                    <a:pt x="1680" y="1708"/>
                  </a:lnTo>
                  <a:close/>
                  <a:moveTo>
                    <a:pt x="1700" y="1675"/>
                  </a:moveTo>
                  <a:lnTo>
                    <a:pt x="2198" y="2537"/>
                  </a:lnTo>
                  <a:lnTo>
                    <a:pt x="2259" y="2496"/>
                  </a:lnTo>
                  <a:lnTo>
                    <a:pt x="2318" y="2450"/>
                  </a:lnTo>
                  <a:lnTo>
                    <a:pt x="2373" y="2402"/>
                  </a:lnTo>
                  <a:lnTo>
                    <a:pt x="2425" y="2348"/>
                  </a:lnTo>
                  <a:lnTo>
                    <a:pt x="2472" y="2292"/>
                  </a:lnTo>
                  <a:lnTo>
                    <a:pt x="2516" y="2231"/>
                  </a:lnTo>
                  <a:lnTo>
                    <a:pt x="2554" y="2169"/>
                  </a:lnTo>
                  <a:lnTo>
                    <a:pt x="1700" y="1675"/>
                  </a:lnTo>
                  <a:close/>
                  <a:moveTo>
                    <a:pt x="638" y="1663"/>
                  </a:moveTo>
                  <a:lnTo>
                    <a:pt x="640" y="1740"/>
                  </a:lnTo>
                  <a:lnTo>
                    <a:pt x="649" y="1815"/>
                  </a:lnTo>
                  <a:lnTo>
                    <a:pt x="663" y="1889"/>
                  </a:lnTo>
                  <a:lnTo>
                    <a:pt x="681" y="1962"/>
                  </a:lnTo>
                  <a:lnTo>
                    <a:pt x="705" y="2031"/>
                  </a:lnTo>
                  <a:lnTo>
                    <a:pt x="735" y="2098"/>
                  </a:lnTo>
                  <a:lnTo>
                    <a:pt x="768" y="2164"/>
                  </a:lnTo>
                  <a:lnTo>
                    <a:pt x="1635" y="1663"/>
                  </a:lnTo>
                  <a:lnTo>
                    <a:pt x="638" y="1663"/>
                  </a:lnTo>
                  <a:close/>
                  <a:moveTo>
                    <a:pt x="90" y="1663"/>
                  </a:moveTo>
                  <a:lnTo>
                    <a:pt x="92" y="1756"/>
                  </a:lnTo>
                  <a:lnTo>
                    <a:pt x="100" y="1848"/>
                  </a:lnTo>
                  <a:lnTo>
                    <a:pt x="113" y="1938"/>
                  </a:lnTo>
                  <a:lnTo>
                    <a:pt x="132" y="2026"/>
                  </a:lnTo>
                  <a:lnTo>
                    <a:pt x="154" y="2113"/>
                  </a:lnTo>
                  <a:lnTo>
                    <a:pt x="183" y="2198"/>
                  </a:lnTo>
                  <a:lnTo>
                    <a:pt x="215" y="2280"/>
                  </a:lnTo>
                  <a:lnTo>
                    <a:pt x="252" y="2359"/>
                  </a:lnTo>
                  <a:lnTo>
                    <a:pt x="294" y="2437"/>
                  </a:lnTo>
                  <a:lnTo>
                    <a:pt x="717" y="2193"/>
                  </a:lnTo>
                  <a:lnTo>
                    <a:pt x="682" y="2124"/>
                  </a:lnTo>
                  <a:lnTo>
                    <a:pt x="651" y="2053"/>
                  </a:lnTo>
                  <a:lnTo>
                    <a:pt x="626" y="1979"/>
                  </a:lnTo>
                  <a:lnTo>
                    <a:pt x="605" y="1902"/>
                  </a:lnTo>
                  <a:lnTo>
                    <a:pt x="591" y="1824"/>
                  </a:lnTo>
                  <a:lnTo>
                    <a:pt x="582" y="1745"/>
                  </a:lnTo>
                  <a:lnTo>
                    <a:pt x="579" y="1663"/>
                  </a:lnTo>
                  <a:lnTo>
                    <a:pt x="90" y="1663"/>
                  </a:lnTo>
                  <a:close/>
                  <a:moveTo>
                    <a:pt x="772" y="1155"/>
                  </a:moveTo>
                  <a:lnTo>
                    <a:pt x="740" y="1216"/>
                  </a:lnTo>
                  <a:lnTo>
                    <a:pt x="711" y="1281"/>
                  </a:lnTo>
                  <a:lnTo>
                    <a:pt x="687" y="1346"/>
                  </a:lnTo>
                  <a:lnTo>
                    <a:pt x="668" y="1414"/>
                  </a:lnTo>
                  <a:lnTo>
                    <a:pt x="653" y="1483"/>
                  </a:lnTo>
                  <a:lnTo>
                    <a:pt x="643" y="1555"/>
                  </a:lnTo>
                  <a:lnTo>
                    <a:pt x="638" y="1628"/>
                  </a:lnTo>
                  <a:lnTo>
                    <a:pt x="1590" y="1628"/>
                  </a:lnTo>
                  <a:lnTo>
                    <a:pt x="772" y="1155"/>
                  </a:lnTo>
                  <a:close/>
                  <a:moveTo>
                    <a:pt x="2367" y="1150"/>
                  </a:moveTo>
                  <a:lnTo>
                    <a:pt x="2347" y="1153"/>
                  </a:lnTo>
                  <a:lnTo>
                    <a:pt x="2328" y="1161"/>
                  </a:lnTo>
                  <a:lnTo>
                    <a:pt x="2312" y="1174"/>
                  </a:lnTo>
                  <a:lnTo>
                    <a:pt x="2300" y="1190"/>
                  </a:lnTo>
                  <a:lnTo>
                    <a:pt x="2292" y="1208"/>
                  </a:lnTo>
                  <a:lnTo>
                    <a:pt x="2289" y="1229"/>
                  </a:lnTo>
                  <a:lnTo>
                    <a:pt x="2292" y="1250"/>
                  </a:lnTo>
                  <a:lnTo>
                    <a:pt x="2300" y="1269"/>
                  </a:lnTo>
                  <a:lnTo>
                    <a:pt x="2312" y="1286"/>
                  </a:lnTo>
                  <a:lnTo>
                    <a:pt x="2328" y="1298"/>
                  </a:lnTo>
                  <a:lnTo>
                    <a:pt x="2347" y="1306"/>
                  </a:lnTo>
                  <a:lnTo>
                    <a:pt x="2367" y="1309"/>
                  </a:lnTo>
                  <a:lnTo>
                    <a:pt x="2389" y="1306"/>
                  </a:lnTo>
                  <a:lnTo>
                    <a:pt x="2408" y="1298"/>
                  </a:lnTo>
                  <a:lnTo>
                    <a:pt x="2424" y="1286"/>
                  </a:lnTo>
                  <a:lnTo>
                    <a:pt x="2436" y="1269"/>
                  </a:lnTo>
                  <a:lnTo>
                    <a:pt x="2444" y="1250"/>
                  </a:lnTo>
                  <a:lnTo>
                    <a:pt x="2447" y="1229"/>
                  </a:lnTo>
                  <a:lnTo>
                    <a:pt x="2444" y="1208"/>
                  </a:lnTo>
                  <a:lnTo>
                    <a:pt x="2436" y="1190"/>
                  </a:lnTo>
                  <a:lnTo>
                    <a:pt x="2424" y="1174"/>
                  </a:lnTo>
                  <a:lnTo>
                    <a:pt x="2408" y="1161"/>
                  </a:lnTo>
                  <a:lnTo>
                    <a:pt x="2389" y="1153"/>
                  </a:lnTo>
                  <a:lnTo>
                    <a:pt x="2367" y="1150"/>
                  </a:lnTo>
                  <a:close/>
                  <a:moveTo>
                    <a:pt x="297" y="881"/>
                  </a:moveTo>
                  <a:lnTo>
                    <a:pt x="252" y="966"/>
                  </a:lnTo>
                  <a:lnTo>
                    <a:pt x="212" y="1053"/>
                  </a:lnTo>
                  <a:lnTo>
                    <a:pt x="178" y="1143"/>
                  </a:lnTo>
                  <a:lnTo>
                    <a:pt x="148" y="1235"/>
                  </a:lnTo>
                  <a:lnTo>
                    <a:pt x="124" y="1331"/>
                  </a:lnTo>
                  <a:lnTo>
                    <a:pt x="107" y="1428"/>
                  </a:lnTo>
                  <a:lnTo>
                    <a:pt x="95" y="1527"/>
                  </a:lnTo>
                  <a:lnTo>
                    <a:pt x="90" y="1628"/>
                  </a:lnTo>
                  <a:lnTo>
                    <a:pt x="579" y="1628"/>
                  </a:lnTo>
                  <a:lnTo>
                    <a:pt x="585" y="1551"/>
                  </a:lnTo>
                  <a:lnTo>
                    <a:pt x="595" y="1474"/>
                  </a:lnTo>
                  <a:lnTo>
                    <a:pt x="611" y="1401"/>
                  </a:lnTo>
                  <a:lnTo>
                    <a:pt x="632" y="1329"/>
                  </a:lnTo>
                  <a:lnTo>
                    <a:pt x="657" y="1258"/>
                  </a:lnTo>
                  <a:lnTo>
                    <a:pt x="687" y="1191"/>
                  </a:lnTo>
                  <a:lnTo>
                    <a:pt x="722" y="1126"/>
                  </a:lnTo>
                  <a:lnTo>
                    <a:pt x="297" y="881"/>
                  </a:lnTo>
                  <a:close/>
                  <a:moveTo>
                    <a:pt x="1137" y="782"/>
                  </a:moveTo>
                  <a:lnTo>
                    <a:pt x="1078" y="820"/>
                  </a:lnTo>
                  <a:lnTo>
                    <a:pt x="1021" y="863"/>
                  </a:lnTo>
                  <a:lnTo>
                    <a:pt x="968" y="908"/>
                  </a:lnTo>
                  <a:lnTo>
                    <a:pt x="918" y="958"/>
                  </a:lnTo>
                  <a:lnTo>
                    <a:pt x="872" y="1011"/>
                  </a:lnTo>
                  <a:lnTo>
                    <a:pt x="828" y="1067"/>
                  </a:lnTo>
                  <a:lnTo>
                    <a:pt x="789" y="1125"/>
                  </a:lnTo>
                  <a:lnTo>
                    <a:pt x="1608" y="1598"/>
                  </a:lnTo>
                  <a:lnTo>
                    <a:pt x="1137" y="782"/>
                  </a:lnTo>
                  <a:close/>
                  <a:moveTo>
                    <a:pt x="864" y="308"/>
                  </a:moveTo>
                  <a:lnTo>
                    <a:pt x="790" y="354"/>
                  </a:lnTo>
                  <a:lnTo>
                    <a:pt x="718" y="404"/>
                  </a:lnTo>
                  <a:lnTo>
                    <a:pt x="651" y="458"/>
                  </a:lnTo>
                  <a:lnTo>
                    <a:pt x="586" y="516"/>
                  </a:lnTo>
                  <a:lnTo>
                    <a:pt x="525" y="576"/>
                  </a:lnTo>
                  <a:lnTo>
                    <a:pt x="467" y="641"/>
                  </a:lnTo>
                  <a:lnTo>
                    <a:pt x="413" y="707"/>
                  </a:lnTo>
                  <a:lnTo>
                    <a:pt x="361" y="778"/>
                  </a:lnTo>
                  <a:lnTo>
                    <a:pt x="315" y="851"/>
                  </a:lnTo>
                  <a:lnTo>
                    <a:pt x="739" y="1096"/>
                  </a:lnTo>
                  <a:lnTo>
                    <a:pt x="780" y="1033"/>
                  </a:lnTo>
                  <a:lnTo>
                    <a:pt x="825" y="974"/>
                  </a:lnTo>
                  <a:lnTo>
                    <a:pt x="875" y="918"/>
                  </a:lnTo>
                  <a:lnTo>
                    <a:pt x="928" y="866"/>
                  </a:lnTo>
                  <a:lnTo>
                    <a:pt x="985" y="817"/>
                  </a:lnTo>
                  <a:lnTo>
                    <a:pt x="1045" y="772"/>
                  </a:lnTo>
                  <a:lnTo>
                    <a:pt x="1108" y="732"/>
                  </a:lnTo>
                  <a:lnTo>
                    <a:pt x="1098" y="713"/>
                  </a:lnTo>
                  <a:lnTo>
                    <a:pt x="1087" y="717"/>
                  </a:lnTo>
                  <a:lnTo>
                    <a:pt x="1077" y="717"/>
                  </a:lnTo>
                  <a:lnTo>
                    <a:pt x="1056" y="714"/>
                  </a:lnTo>
                  <a:lnTo>
                    <a:pt x="1036" y="706"/>
                  </a:lnTo>
                  <a:lnTo>
                    <a:pt x="1020" y="693"/>
                  </a:lnTo>
                  <a:lnTo>
                    <a:pt x="1008" y="677"/>
                  </a:lnTo>
                  <a:lnTo>
                    <a:pt x="1000" y="659"/>
                  </a:lnTo>
                  <a:lnTo>
                    <a:pt x="997" y="638"/>
                  </a:lnTo>
                  <a:lnTo>
                    <a:pt x="1000" y="617"/>
                  </a:lnTo>
                  <a:lnTo>
                    <a:pt x="1008" y="597"/>
                  </a:lnTo>
                  <a:lnTo>
                    <a:pt x="1021" y="581"/>
                  </a:lnTo>
                  <a:lnTo>
                    <a:pt x="864" y="308"/>
                  </a:lnTo>
                  <a:close/>
                  <a:moveTo>
                    <a:pt x="1659" y="0"/>
                  </a:moveTo>
                  <a:lnTo>
                    <a:pt x="1659" y="90"/>
                  </a:lnTo>
                  <a:lnTo>
                    <a:pt x="1567" y="93"/>
                  </a:lnTo>
                  <a:lnTo>
                    <a:pt x="1476" y="101"/>
                  </a:lnTo>
                  <a:lnTo>
                    <a:pt x="1388" y="114"/>
                  </a:lnTo>
                  <a:lnTo>
                    <a:pt x="1300" y="132"/>
                  </a:lnTo>
                  <a:lnTo>
                    <a:pt x="1214" y="154"/>
                  </a:lnTo>
                  <a:lnTo>
                    <a:pt x="1130" y="182"/>
                  </a:lnTo>
                  <a:lnTo>
                    <a:pt x="1049" y="214"/>
                  </a:lnTo>
                  <a:lnTo>
                    <a:pt x="970" y="250"/>
                  </a:lnTo>
                  <a:lnTo>
                    <a:pt x="893" y="291"/>
                  </a:lnTo>
                  <a:lnTo>
                    <a:pt x="1050" y="563"/>
                  </a:lnTo>
                  <a:lnTo>
                    <a:pt x="1064" y="559"/>
                  </a:lnTo>
                  <a:lnTo>
                    <a:pt x="1077" y="558"/>
                  </a:lnTo>
                  <a:lnTo>
                    <a:pt x="1097" y="561"/>
                  </a:lnTo>
                  <a:lnTo>
                    <a:pt x="1116" y="569"/>
                  </a:lnTo>
                  <a:lnTo>
                    <a:pt x="1132" y="581"/>
                  </a:lnTo>
                  <a:lnTo>
                    <a:pt x="1144" y="597"/>
                  </a:lnTo>
                  <a:lnTo>
                    <a:pt x="1152" y="617"/>
                  </a:lnTo>
                  <a:lnTo>
                    <a:pt x="1155" y="638"/>
                  </a:lnTo>
                  <a:lnTo>
                    <a:pt x="1153" y="655"/>
                  </a:lnTo>
                  <a:lnTo>
                    <a:pt x="1148" y="671"/>
                  </a:lnTo>
                  <a:lnTo>
                    <a:pt x="1139" y="685"/>
                  </a:lnTo>
                  <a:lnTo>
                    <a:pt x="1128" y="697"/>
                  </a:lnTo>
                  <a:lnTo>
                    <a:pt x="1138" y="714"/>
                  </a:lnTo>
                  <a:lnTo>
                    <a:pt x="1206" y="680"/>
                  </a:lnTo>
                  <a:lnTo>
                    <a:pt x="1275" y="650"/>
                  </a:lnTo>
                  <a:lnTo>
                    <a:pt x="1348" y="626"/>
                  </a:lnTo>
                  <a:lnTo>
                    <a:pt x="1423" y="606"/>
                  </a:lnTo>
                  <a:lnTo>
                    <a:pt x="1500" y="591"/>
                  </a:lnTo>
                  <a:lnTo>
                    <a:pt x="1578" y="582"/>
                  </a:lnTo>
                  <a:lnTo>
                    <a:pt x="1659" y="579"/>
                  </a:lnTo>
                  <a:lnTo>
                    <a:pt x="1659" y="638"/>
                  </a:lnTo>
                  <a:lnTo>
                    <a:pt x="1583" y="641"/>
                  </a:lnTo>
                  <a:lnTo>
                    <a:pt x="1509" y="649"/>
                  </a:lnTo>
                  <a:lnTo>
                    <a:pt x="1437" y="663"/>
                  </a:lnTo>
                  <a:lnTo>
                    <a:pt x="1366" y="681"/>
                  </a:lnTo>
                  <a:lnTo>
                    <a:pt x="1298" y="704"/>
                  </a:lnTo>
                  <a:lnTo>
                    <a:pt x="1231" y="733"/>
                  </a:lnTo>
                  <a:lnTo>
                    <a:pt x="1168" y="765"/>
                  </a:lnTo>
                  <a:lnTo>
                    <a:pt x="1659" y="1616"/>
                  </a:lnTo>
                  <a:lnTo>
                    <a:pt x="1659" y="638"/>
                  </a:lnTo>
                  <a:lnTo>
                    <a:pt x="1662" y="638"/>
                  </a:lnTo>
                  <a:lnTo>
                    <a:pt x="1743" y="641"/>
                  </a:lnTo>
                  <a:lnTo>
                    <a:pt x="1820" y="650"/>
                  </a:lnTo>
                  <a:lnTo>
                    <a:pt x="1897" y="665"/>
                  </a:lnTo>
                  <a:lnTo>
                    <a:pt x="1972" y="685"/>
                  </a:lnTo>
                  <a:lnTo>
                    <a:pt x="2043" y="710"/>
                  </a:lnTo>
                  <a:lnTo>
                    <a:pt x="2113" y="742"/>
                  </a:lnTo>
                  <a:lnTo>
                    <a:pt x="2180" y="778"/>
                  </a:lnTo>
                  <a:lnTo>
                    <a:pt x="2243" y="818"/>
                  </a:lnTo>
                  <a:lnTo>
                    <a:pt x="2304" y="863"/>
                  </a:lnTo>
                  <a:lnTo>
                    <a:pt x="2360" y="912"/>
                  </a:lnTo>
                  <a:lnTo>
                    <a:pt x="2413" y="965"/>
                  </a:lnTo>
                  <a:lnTo>
                    <a:pt x="2462" y="1021"/>
                  </a:lnTo>
                  <a:lnTo>
                    <a:pt x="2507" y="1082"/>
                  </a:lnTo>
                  <a:lnTo>
                    <a:pt x="2547" y="1145"/>
                  </a:lnTo>
                  <a:lnTo>
                    <a:pt x="2583" y="1212"/>
                  </a:lnTo>
                  <a:lnTo>
                    <a:pt x="2615" y="1282"/>
                  </a:lnTo>
                  <a:lnTo>
                    <a:pt x="2640" y="1353"/>
                  </a:lnTo>
                  <a:lnTo>
                    <a:pt x="2660" y="1428"/>
                  </a:lnTo>
                  <a:lnTo>
                    <a:pt x="2675" y="1505"/>
                  </a:lnTo>
                  <a:lnTo>
                    <a:pt x="2684" y="1582"/>
                  </a:lnTo>
                  <a:lnTo>
                    <a:pt x="2687" y="1663"/>
                  </a:lnTo>
                  <a:lnTo>
                    <a:pt x="1748" y="1663"/>
                  </a:lnTo>
                  <a:lnTo>
                    <a:pt x="2571" y="2137"/>
                  </a:lnTo>
                  <a:lnTo>
                    <a:pt x="2600" y="2076"/>
                  </a:lnTo>
                  <a:lnTo>
                    <a:pt x="2627" y="2011"/>
                  </a:lnTo>
                  <a:lnTo>
                    <a:pt x="2648" y="1946"/>
                  </a:lnTo>
                  <a:lnTo>
                    <a:pt x="2665" y="1877"/>
                  </a:lnTo>
                  <a:lnTo>
                    <a:pt x="2677" y="1807"/>
                  </a:lnTo>
                  <a:lnTo>
                    <a:pt x="2685" y="1736"/>
                  </a:lnTo>
                  <a:lnTo>
                    <a:pt x="2687" y="1663"/>
                  </a:lnTo>
                  <a:lnTo>
                    <a:pt x="2746" y="1663"/>
                  </a:lnTo>
                  <a:lnTo>
                    <a:pt x="2743" y="1740"/>
                  </a:lnTo>
                  <a:lnTo>
                    <a:pt x="2735" y="1815"/>
                  </a:lnTo>
                  <a:lnTo>
                    <a:pt x="2722" y="1890"/>
                  </a:lnTo>
                  <a:lnTo>
                    <a:pt x="2703" y="1963"/>
                  </a:lnTo>
                  <a:lnTo>
                    <a:pt x="2681" y="2033"/>
                  </a:lnTo>
                  <a:lnTo>
                    <a:pt x="2653" y="2101"/>
                  </a:lnTo>
                  <a:lnTo>
                    <a:pt x="2622" y="2167"/>
                  </a:lnTo>
                  <a:lnTo>
                    <a:pt x="3045" y="2412"/>
                  </a:lnTo>
                  <a:lnTo>
                    <a:pt x="3089" y="2327"/>
                  </a:lnTo>
                  <a:lnTo>
                    <a:pt x="3126" y="2239"/>
                  </a:lnTo>
                  <a:lnTo>
                    <a:pt x="3158" y="2148"/>
                  </a:lnTo>
                  <a:lnTo>
                    <a:pt x="3186" y="2056"/>
                  </a:lnTo>
                  <a:lnTo>
                    <a:pt x="3207" y="1960"/>
                  </a:lnTo>
                  <a:lnTo>
                    <a:pt x="3223" y="1863"/>
                  </a:lnTo>
                  <a:lnTo>
                    <a:pt x="3232" y="1764"/>
                  </a:lnTo>
                  <a:lnTo>
                    <a:pt x="3235" y="1663"/>
                  </a:lnTo>
                  <a:lnTo>
                    <a:pt x="3325" y="1663"/>
                  </a:lnTo>
                  <a:lnTo>
                    <a:pt x="3322" y="1764"/>
                  </a:lnTo>
                  <a:lnTo>
                    <a:pt x="3313" y="1864"/>
                  </a:lnTo>
                  <a:lnTo>
                    <a:pt x="3298" y="1962"/>
                  </a:lnTo>
                  <a:lnTo>
                    <a:pt x="3278" y="2058"/>
                  </a:lnTo>
                  <a:lnTo>
                    <a:pt x="3251" y="2151"/>
                  </a:lnTo>
                  <a:lnTo>
                    <a:pt x="3221" y="2242"/>
                  </a:lnTo>
                  <a:lnTo>
                    <a:pt x="3185" y="2332"/>
                  </a:lnTo>
                  <a:lnTo>
                    <a:pt x="3143" y="2418"/>
                  </a:lnTo>
                  <a:lnTo>
                    <a:pt x="3098" y="2502"/>
                  </a:lnTo>
                  <a:lnTo>
                    <a:pt x="3047" y="2582"/>
                  </a:lnTo>
                  <a:lnTo>
                    <a:pt x="2993" y="2660"/>
                  </a:lnTo>
                  <a:lnTo>
                    <a:pt x="2933" y="2734"/>
                  </a:lnTo>
                  <a:lnTo>
                    <a:pt x="2871" y="2804"/>
                  </a:lnTo>
                  <a:lnTo>
                    <a:pt x="2804" y="2871"/>
                  </a:lnTo>
                  <a:lnTo>
                    <a:pt x="2734" y="2934"/>
                  </a:lnTo>
                  <a:lnTo>
                    <a:pt x="2659" y="2993"/>
                  </a:lnTo>
                  <a:lnTo>
                    <a:pt x="2582" y="3048"/>
                  </a:lnTo>
                  <a:lnTo>
                    <a:pt x="2502" y="3098"/>
                  </a:lnTo>
                  <a:lnTo>
                    <a:pt x="2418" y="3143"/>
                  </a:lnTo>
                  <a:lnTo>
                    <a:pt x="2331" y="3185"/>
                  </a:lnTo>
                  <a:lnTo>
                    <a:pt x="2242" y="3221"/>
                  </a:lnTo>
                  <a:lnTo>
                    <a:pt x="2150" y="3252"/>
                  </a:lnTo>
                  <a:lnTo>
                    <a:pt x="2058" y="3278"/>
                  </a:lnTo>
                  <a:lnTo>
                    <a:pt x="1961" y="3298"/>
                  </a:lnTo>
                  <a:lnTo>
                    <a:pt x="1863" y="3313"/>
                  </a:lnTo>
                  <a:lnTo>
                    <a:pt x="1764" y="3322"/>
                  </a:lnTo>
                  <a:lnTo>
                    <a:pt x="1662" y="3325"/>
                  </a:lnTo>
                  <a:lnTo>
                    <a:pt x="1561" y="3322"/>
                  </a:lnTo>
                  <a:lnTo>
                    <a:pt x="1461" y="3313"/>
                  </a:lnTo>
                  <a:lnTo>
                    <a:pt x="1363" y="3298"/>
                  </a:lnTo>
                  <a:lnTo>
                    <a:pt x="1267" y="3278"/>
                  </a:lnTo>
                  <a:lnTo>
                    <a:pt x="1174" y="3252"/>
                  </a:lnTo>
                  <a:lnTo>
                    <a:pt x="1083" y="3221"/>
                  </a:lnTo>
                  <a:lnTo>
                    <a:pt x="993" y="3185"/>
                  </a:lnTo>
                  <a:lnTo>
                    <a:pt x="907" y="3143"/>
                  </a:lnTo>
                  <a:lnTo>
                    <a:pt x="823" y="3098"/>
                  </a:lnTo>
                  <a:lnTo>
                    <a:pt x="743" y="3048"/>
                  </a:lnTo>
                  <a:lnTo>
                    <a:pt x="665" y="2993"/>
                  </a:lnTo>
                  <a:lnTo>
                    <a:pt x="591" y="2934"/>
                  </a:lnTo>
                  <a:lnTo>
                    <a:pt x="521" y="2871"/>
                  </a:lnTo>
                  <a:lnTo>
                    <a:pt x="454" y="2804"/>
                  </a:lnTo>
                  <a:lnTo>
                    <a:pt x="391" y="2734"/>
                  </a:lnTo>
                  <a:lnTo>
                    <a:pt x="332" y="2660"/>
                  </a:lnTo>
                  <a:lnTo>
                    <a:pt x="278" y="2582"/>
                  </a:lnTo>
                  <a:lnTo>
                    <a:pt x="227" y="2502"/>
                  </a:lnTo>
                  <a:lnTo>
                    <a:pt x="182" y="2418"/>
                  </a:lnTo>
                  <a:lnTo>
                    <a:pt x="140" y="2332"/>
                  </a:lnTo>
                  <a:lnTo>
                    <a:pt x="104" y="2242"/>
                  </a:lnTo>
                  <a:lnTo>
                    <a:pt x="73" y="2151"/>
                  </a:lnTo>
                  <a:lnTo>
                    <a:pt x="47" y="2058"/>
                  </a:lnTo>
                  <a:lnTo>
                    <a:pt x="27" y="1962"/>
                  </a:lnTo>
                  <a:lnTo>
                    <a:pt x="12" y="1864"/>
                  </a:lnTo>
                  <a:lnTo>
                    <a:pt x="3" y="1764"/>
                  </a:lnTo>
                  <a:lnTo>
                    <a:pt x="0" y="1663"/>
                  </a:lnTo>
                  <a:lnTo>
                    <a:pt x="3" y="1561"/>
                  </a:lnTo>
                  <a:lnTo>
                    <a:pt x="12" y="1462"/>
                  </a:lnTo>
                  <a:lnTo>
                    <a:pt x="26" y="1364"/>
                  </a:lnTo>
                  <a:lnTo>
                    <a:pt x="47" y="1268"/>
                  </a:lnTo>
                  <a:lnTo>
                    <a:pt x="73" y="1175"/>
                  </a:lnTo>
                  <a:lnTo>
                    <a:pt x="104" y="1084"/>
                  </a:lnTo>
                  <a:lnTo>
                    <a:pt x="140" y="994"/>
                  </a:lnTo>
                  <a:lnTo>
                    <a:pt x="181" y="908"/>
                  </a:lnTo>
                  <a:lnTo>
                    <a:pt x="226" y="824"/>
                  </a:lnTo>
                  <a:lnTo>
                    <a:pt x="276" y="744"/>
                  </a:lnTo>
                  <a:lnTo>
                    <a:pt x="331" y="667"/>
                  </a:lnTo>
                  <a:lnTo>
                    <a:pt x="390" y="592"/>
                  </a:lnTo>
                  <a:lnTo>
                    <a:pt x="453" y="523"/>
                  </a:lnTo>
                  <a:lnTo>
                    <a:pt x="520" y="455"/>
                  </a:lnTo>
                  <a:lnTo>
                    <a:pt x="590" y="393"/>
                  </a:lnTo>
                  <a:lnTo>
                    <a:pt x="664" y="334"/>
                  </a:lnTo>
                  <a:lnTo>
                    <a:pt x="741" y="279"/>
                  </a:lnTo>
                  <a:lnTo>
                    <a:pt x="821" y="228"/>
                  </a:lnTo>
                  <a:lnTo>
                    <a:pt x="905" y="183"/>
                  </a:lnTo>
                  <a:lnTo>
                    <a:pt x="991" y="141"/>
                  </a:lnTo>
                  <a:lnTo>
                    <a:pt x="1080" y="105"/>
                  </a:lnTo>
                  <a:lnTo>
                    <a:pt x="1172" y="74"/>
                  </a:lnTo>
                  <a:lnTo>
                    <a:pt x="1264" y="48"/>
                  </a:lnTo>
                  <a:lnTo>
                    <a:pt x="1360" y="27"/>
                  </a:lnTo>
                  <a:lnTo>
                    <a:pt x="1458" y="13"/>
                  </a:lnTo>
                  <a:lnTo>
                    <a:pt x="1558" y="4"/>
                  </a:lnTo>
                  <a:lnTo>
                    <a:pt x="165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grpSp>
      <p:sp>
        <p:nvSpPr>
          <p:cNvPr id="534" name="Rectangle 533"/>
          <p:cNvSpPr/>
          <p:nvPr/>
        </p:nvSpPr>
        <p:spPr>
          <a:xfrm>
            <a:off x="1410798"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grpSp>
        <p:nvGrpSpPr>
          <p:cNvPr id="761" name="Group 118"/>
          <p:cNvGrpSpPr/>
          <p:nvPr/>
        </p:nvGrpSpPr>
        <p:grpSpPr>
          <a:xfrm>
            <a:off x="2292325" y="1869599"/>
            <a:ext cx="276381" cy="274095"/>
            <a:chOff x="2210092" y="2062674"/>
            <a:chExt cx="197400" cy="195767"/>
          </a:xfrm>
          <a:solidFill>
            <a:schemeClr val="bg1"/>
          </a:solidFill>
        </p:grpSpPr>
        <p:sp>
          <p:nvSpPr>
            <p:cNvPr id="174" name="Freeform 173"/>
            <p:cNvSpPr>
              <a:spLocks/>
            </p:cNvSpPr>
            <p:nvPr/>
          </p:nvSpPr>
          <p:spPr bwMode="auto">
            <a:xfrm rot="18900000">
              <a:off x="2309634" y="207216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5" name="Freeform 174"/>
            <p:cNvSpPr>
              <a:spLocks/>
            </p:cNvSpPr>
            <p:nvPr/>
          </p:nvSpPr>
          <p:spPr bwMode="auto">
            <a:xfrm rot="2700000" flipH="1">
              <a:off x="2210092" y="2072162"/>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6" name="Freeform 175"/>
            <p:cNvSpPr>
              <a:spLocks/>
            </p:cNvSpPr>
            <p:nvPr/>
          </p:nvSpPr>
          <p:spPr bwMode="auto">
            <a:xfrm rot="2700000" flipV="1">
              <a:off x="2309634" y="217007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7" name="Freeform 176"/>
            <p:cNvSpPr>
              <a:spLocks/>
            </p:cNvSpPr>
            <p:nvPr/>
          </p:nvSpPr>
          <p:spPr bwMode="auto">
            <a:xfrm rot="18900000" flipH="1" flipV="1">
              <a:off x="2210092" y="217007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nvGrpSpPr>
          <p:cNvPr id="763" name="Group 178"/>
          <p:cNvGrpSpPr/>
          <p:nvPr/>
        </p:nvGrpSpPr>
        <p:grpSpPr>
          <a:xfrm>
            <a:off x="3260390" y="1892858"/>
            <a:ext cx="285764" cy="248787"/>
            <a:chOff x="4481616" y="2530283"/>
            <a:chExt cx="286086" cy="259364"/>
          </a:xfrm>
          <a:solidFill>
            <a:schemeClr val="bg1"/>
          </a:solidFill>
        </p:grpSpPr>
        <p:sp>
          <p:nvSpPr>
            <p:cNvPr id="180"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81"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82"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519" name="Rectangle 518"/>
          <p:cNvSpPr/>
          <p:nvPr/>
        </p:nvSpPr>
        <p:spPr>
          <a:xfrm>
            <a:off x="2409190"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4" name="Rectangle 543"/>
          <p:cNvSpPr/>
          <p:nvPr/>
        </p:nvSpPr>
        <p:spPr>
          <a:xfrm>
            <a:off x="3394126"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8" name="Rectangle 547"/>
          <p:cNvSpPr/>
          <p:nvPr/>
        </p:nvSpPr>
        <p:spPr>
          <a:xfrm>
            <a:off x="5987593" y="2273884"/>
            <a:ext cx="20918" cy="437216"/>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6" name="Rectangle 545"/>
          <p:cNvSpPr/>
          <p:nvPr/>
        </p:nvSpPr>
        <p:spPr>
          <a:xfrm>
            <a:off x="5195052" y="2273884"/>
            <a:ext cx="20918" cy="437216"/>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52" name="Rectangle 551"/>
          <p:cNvSpPr/>
          <p:nvPr/>
        </p:nvSpPr>
        <p:spPr>
          <a:xfrm>
            <a:off x="6511275" y="4046048"/>
            <a:ext cx="553246"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smtClean="0">
                <a:solidFill>
                  <a:srgbClr val="676767">
                    <a:lumMod val="75000"/>
                  </a:srgbClr>
                </a:solidFill>
                <a:latin typeface="+mj-lt"/>
                <a:ea typeface="ＭＳ Ｐゴシック" charset="0"/>
                <a:cs typeface="ＭＳ Ｐゴシック" charset="0"/>
              </a:rPr>
              <a:t>CWS Only</a:t>
            </a:r>
            <a:endParaRPr lang="en-US" sz="800" kern="0" dirty="0">
              <a:solidFill>
                <a:srgbClr val="676767">
                  <a:lumMod val="75000"/>
                </a:srgbClr>
              </a:solidFill>
              <a:latin typeface="+mj-lt"/>
              <a:ea typeface="ＭＳ Ｐゴシック" charset="0"/>
              <a:cs typeface="ＭＳ Ｐゴシック" charset="0"/>
            </a:endParaRPr>
          </a:p>
        </p:txBody>
      </p:sp>
      <p:sp>
        <p:nvSpPr>
          <p:cNvPr id="553" name="Rectangle 552"/>
          <p:cNvSpPr/>
          <p:nvPr/>
        </p:nvSpPr>
        <p:spPr>
          <a:xfrm>
            <a:off x="7292285" y="4046048"/>
            <a:ext cx="939498"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smtClean="0">
                <a:solidFill>
                  <a:srgbClr val="676767">
                    <a:lumMod val="75000"/>
                  </a:srgbClr>
                </a:solidFill>
                <a:latin typeface="+mj-lt"/>
                <a:ea typeface="ＭＳ Ｐゴシック" charset="0"/>
                <a:cs typeface="ＭＳ Ｐゴシック" charset="0"/>
              </a:rPr>
              <a:t>WSA/</a:t>
            </a:r>
            <a:r>
              <a:rPr lang="en-US" sz="800" kern="0" dirty="0" err="1" smtClean="0">
                <a:solidFill>
                  <a:srgbClr val="676767">
                    <a:lumMod val="75000"/>
                  </a:srgbClr>
                </a:solidFill>
                <a:latin typeface="+mj-lt"/>
                <a:ea typeface="ＭＳ Ｐゴシック" charset="0"/>
                <a:cs typeface="ＭＳ Ｐゴシック" charset="0"/>
              </a:rPr>
              <a:t>WSAv</a:t>
            </a:r>
            <a:r>
              <a:rPr lang="en-US" sz="800" kern="0" dirty="0" smtClean="0">
                <a:solidFill>
                  <a:srgbClr val="676767">
                    <a:lumMod val="75000"/>
                  </a:srgbClr>
                </a:solidFill>
                <a:latin typeface="+mj-lt"/>
                <a:ea typeface="ＭＳ Ｐゴシック" charset="0"/>
                <a:cs typeface="ＭＳ Ｐゴシック" charset="0"/>
              </a:rPr>
              <a:t> </a:t>
            </a:r>
            <a:r>
              <a:rPr lang="en-US" sz="800" kern="0" dirty="0">
                <a:solidFill>
                  <a:srgbClr val="676767">
                    <a:lumMod val="75000"/>
                  </a:srgbClr>
                </a:solidFill>
                <a:latin typeface="+mj-lt"/>
                <a:ea typeface="ＭＳ Ｐゴシック" charset="0"/>
                <a:cs typeface="ＭＳ Ｐゴシック" charset="0"/>
              </a:rPr>
              <a:t>Only</a:t>
            </a:r>
          </a:p>
        </p:txBody>
      </p:sp>
      <p:grpSp>
        <p:nvGrpSpPr>
          <p:cNvPr id="765" name="Group 522"/>
          <p:cNvGrpSpPr/>
          <p:nvPr/>
        </p:nvGrpSpPr>
        <p:grpSpPr>
          <a:xfrm>
            <a:off x="7265382" y="2825622"/>
            <a:ext cx="244881" cy="235160"/>
            <a:chOff x="7161165" y="3202984"/>
            <a:chExt cx="298635" cy="286779"/>
          </a:xfrm>
        </p:grpSpPr>
        <p:sp>
          <p:nvSpPr>
            <p:cNvPr id="524" name="Oval 523"/>
            <p:cNvSpPr/>
            <p:nvPr/>
          </p:nvSpPr>
          <p:spPr>
            <a:xfrm>
              <a:off x="7161165" y="3202984"/>
              <a:ext cx="298635" cy="286779"/>
            </a:xfrm>
            <a:prstGeom prst="ellipse">
              <a:avLst/>
            </a:prstGeom>
            <a:solidFill>
              <a:schemeClr val="bg1">
                <a:lumMod val="95000"/>
              </a:schemeClr>
            </a:solidFill>
            <a:ln w="12700" cap="flat" cmpd="sng" algn="ctr">
              <a:gradFill flip="none" rotWithShape="1">
                <a:gsLst>
                  <a:gs pos="100000">
                    <a:schemeClr val="accent1"/>
                  </a:gs>
                  <a:gs pos="0">
                    <a:srgbClr val="A6A6A6"/>
                  </a:gs>
                </a:gsLst>
                <a:lin ang="5400000" scaled="1"/>
                <a:tileRect/>
              </a:grad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772" name="Group 524"/>
            <p:cNvGrpSpPr/>
            <p:nvPr/>
          </p:nvGrpSpPr>
          <p:grpSpPr>
            <a:xfrm>
              <a:off x="7224511" y="3256478"/>
              <a:ext cx="173514" cy="180233"/>
              <a:chOff x="8761207" y="3899120"/>
              <a:chExt cx="185855" cy="201032"/>
            </a:xfrm>
          </p:grpSpPr>
          <p:sp>
            <p:nvSpPr>
              <p:cNvPr id="530" name="Freeform 427"/>
              <p:cNvSpPr>
                <a:spLocks noEditPoints="1"/>
              </p:cNvSpPr>
              <p:nvPr/>
            </p:nvSpPr>
            <p:spPr bwMode="auto">
              <a:xfrm rot="10800000">
                <a:off x="8860580" y="3899120"/>
                <a:ext cx="86482" cy="188136"/>
              </a:xfrm>
              <a:custGeom>
                <a:avLst/>
                <a:gdLst>
                  <a:gd name="T0" fmla="*/ 496 w 798"/>
                  <a:gd name="T1" fmla="*/ 1229 h 1735"/>
                  <a:gd name="T2" fmla="*/ 436 w 798"/>
                  <a:gd name="T3" fmla="*/ 1169 h 1735"/>
                  <a:gd name="T4" fmla="*/ 391 w 798"/>
                  <a:gd name="T5" fmla="*/ 1110 h 1735"/>
                  <a:gd name="T6" fmla="*/ 351 w 798"/>
                  <a:gd name="T7" fmla="*/ 1037 h 1735"/>
                  <a:gd name="T8" fmla="*/ 326 w 798"/>
                  <a:gd name="T9" fmla="*/ 971 h 1735"/>
                  <a:gd name="T10" fmla="*/ 307 w 798"/>
                  <a:gd name="T11" fmla="*/ 882 h 1735"/>
                  <a:gd name="T12" fmla="*/ 302 w 798"/>
                  <a:gd name="T13" fmla="*/ 808 h 1735"/>
                  <a:gd name="T14" fmla="*/ 304 w 798"/>
                  <a:gd name="T15" fmla="*/ 752 h 1735"/>
                  <a:gd name="T16" fmla="*/ 313 w 798"/>
                  <a:gd name="T17" fmla="*/ 697 h 1735"/>
                  <a:gd name="T18" fmla="*/ 327 w 798"/>
                  <a:gd name="T19" fmla="*/ 642 h 1735"/>
                  <a:gd name="T20" fmla="*/ 347 w 798"/>
                  <a:gd name="T21" fmla="*/ 589 h 1735"/>
                  <a:gd name="T22" fmla="*/ 397 w 798"/>
                  <a:gd name="T23" fmla="*/ 497 h 1735"/>
                  <a:gd name="T24" fmla="*/ 464 w 798"/>
                  <a:gd name="T25" fmla="*/ 415 h 1735"/>
                  <a:gd name="T26" fmla="*/ 577 w 798"/>
                  <a:gd name="T27" fmla="*/ 328 h 1735"/>
                  <a:gd name="T28" fmla="*/ 668 w 798"/>
                  <a:gd name="T29" fmla="*/ 285 h 1735"/>
                  <a:gd name="T30" fmla="*/ 723 w 798"/>
                  <a:gd name="T31" fmla="*/ 236 h 1735"/>
                  <a:gd name="T32" fmla="*/ 749 w 798"/>
                  <a:gd name="T33" fmla="*/ 168 h 1735"/>
                  <a:gd name="T34" fmla="*/ 739 w 798"/>
                  <a:gd name="T35" fmla="*/ 95 h 1735"/>
                  <a:gd name="T36" fmla="*/ 707 w 798"/>
                  <a:gd name="T37" fmla="*/ 45 h 1735"/>
                  <a:gd name="T38" fmla="*/ 646 w 798"/>
                  <a:gd name="T39" fmla="*/ 7 h 1735"/>
                  <a:gd name="T40" fmla="*/ 573 w 798"/>
                  <a:gd name="T41" fmla="*/ 2 h 1735"/>
                  <a:gd name="T42" fmla="*/ 463 w 798"/>
                  <a:gd name="T43" fmla="*/ 47 h 1735"/>
                  <a:gd name="T44" fmla="*/ 284 w 798"/>
                  <a:gd name="T45" fmla="*/ 171 h 1735"/>
                  <a:gd name="T46" fmla="*/ 173 w 798"/>
                  <a:gd name="T47" fmla="*/ 293 h 1735"/>
                  <a:gd name="T48" fmla="*/ 74 w 798"/>
                  <a:gd name="T49" fmla="*/ 462 h 1735"/>
                  <a:gd name="T50" fmla="*/ 71 w 798"/>
                  <a:gd name="T51" fmla="*/ 469 h 1735"/>
                  <a:gd name="T52" fmla="*/ 40 w 798"/>
                  <a:gd name="T53" fmla="*/ 551 h 1735"/>
                  <a:gd name="T54" fmla="*/ 18 w 798"/>
                  <a:gd name="T55" fmla="*/ 636 h 1735"/>
                  <a:gd name="T56" fmla="*/ 4 w 798"/>
                  <a:gd name="T57" fmla="*/ 721 h 1735"/>
                  <a:gd name="T58" fmla="*/ 0 w 798"/>
                  <a:gd name="T59" fmla="*/ 813 h 1735"/>
                  <a:gd name="T60" fmla="*/ 6 w 798"/>
                  <a:gd name="T61" fmla="*/ 909 h 1735"/>
                  <a:gd name="T62" fmla="*/ 20 w 798"/>
                  <a:gd name="T63" fmla="*/ 986 h 1735"/>
                  <a:gd name="T64" fmla="*/ 38 w 798"/>
                  <a:gd name="T65" fmla="*/ 1059 h 1735"/>
                  <a:gd name="T66" fmla="*/ 68 w 798"/>
                  <a:gd name="T67" fmla="*/ 1142 h 1735"/>
                  <a:gd name="T68" fmla="*/ 102 w 798"/>
                  <a:gd name="T69" fmla="*/ 1214 h 1735"/>
                  <a:gd name="T70" fmla="*/ 197 w 798"/>
                  <a:gd name="T71" fmla="*/ 1355 h 1735"/>
                  <a:gd name="T72" fmla="*/ 184 w 798"/>
                  <a:gd name="T73" fmla="*/ 1610 h 1735"/>
                  <a:gd name="T74" fmla="*/ 149 w 798"/>
                  <a:gd name="T75" fmla="*/ 1659 h 1735"/>
                  <a:gd name="T76" fmla="*/ 152 w 798"/>
                  <a:gd name="T77" fmla="*/ 1707 h 1735"/>
                  <a:gd name="T78" fmla="*/ 203 w 798"/>
                  <a:gd name="T79" fmla="*/ 1733 h 1735"/>
                  <a:gd name="T80" fmla="*/ 639 w 798"/>
                  <a:gd name="T81" fmla="*/ 1734 h 1735"/>
                  <a:gd name="T82" fmla="*/ 719 w 798"/>
                  <a:gd name="T83" fmla="*/ 1706 h 1735"/>
                  <a:gd name="T84" fmla="*/ 776 w 798"/>
                  <a:gd name="T85" fmla="*/ 1642 h 1735"/>
                  <a:gd name="T86" fmla="*/ 798 w 798"/>
                  <a:gd name="T87" fmla="*/ 1559 h 1735"/>
                  <a:gd name="T88" fmla="*/ 792 w 798"/>
                  <a:gd name="T89" fmla="*/ 1127 h 1735"/>
                  <a:gd name="T90" fmla="*/ 761 w 798"/>
                  <a:gd name="T91" fmla="*/ 1085 h 1735"/>
                  <a:gd name="T92" fmla="*/ 709 w 798"/>
                  <a:gd name="T93" fmla="*/ 1093 h 1735"/>
                  <a:gd name="T94" fmla="*/ 315 w 798"/>
                  <a:gd name="T95" fmla="*/ 265 h 1735"/>
                  <a:gd name="T96" fmla="*/ 437 w 798"/>
                  <a:gd name="T97" fmla="*/ 166 h 1735"/>
                  <a:gd name="T98" fmla="*/ 576 w 798"/>
                  <a:gd name="T99" fmla="*/ 94 h 1735"/>
                  <a:gd name="T100" fmla="*/ 622 w 798"/>
                  <a:gd name="T101" fmla="*/ 95 h 1735"/>
                  <a:gd name="T102" fmla="*/ 655 w 798"/>
                  <a:gd name="T103" fmla="*/ 129 h 1735"/>
                  <a:gd name="T104" fmla="*/ 658 w 798"/>
                  <a:gd name="T105" fmla="*/ 163 h 1735"/>
                  <a:gd name="T106" fmla="*/ 626 w 798"/>
                  <a:gd name="T107" fmla="*/ 204 h 1735"/>
                  <a:gd name="T108" fmla="*/ 532 w 798"/>
                  <a:gd name="T109" fmla="*/ 250 h 1735"/>
                  <a:gd name="T110" fmla="*/ 401 w 798"/>
                  <a:gd name="T111" fmla="*/ 351 h 1735"/>
                  <a:gd name="T112" fmla="*/ 369 w 798"/>
                  <a:gd name="T113" fmla="*/ 367 h 1735"/>
                  <a:gd name="T114" fmla="*/ 321 w 798"/>
                  <a:gd name="T115" fmla="*/ 355 h 1735"/>
                  <a:gd name="T116" fmla="*/ 302 w 798"/>
                  <a:gd name="T117" fmla="*/ 331 h 1735"/>
                  <a:gd name="T118" fmla="*/ 307 w 798"/>
                  <a:gd name="T119" fmla="*/ 274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5">
                    <a:moveTo>
                      <a:pt x="672" y="1122"/>
                    </a:moveTo>
                    <a:lnTo>
                      <a:pt x="535" y="1259"/>
                    </a:lnTo>
                    <a:lnTo>
                      <a:pt x="535" y="1259"/>
                    </a:lnTo>
                    <a:lnTo>
                      <a:pt x="515" y="1245"/>
                    </a:lnTo>
                    <a:lnTo>
                      <a:pt x="496" y="1229"/>
                    </a:lnTo>
                    <a:lnTo>
                      <a:pt x="477" y="1212"/>
                    </a:lnTo>
                    <a:lnTo>
                      <a:pt x="459" y="1195"/>
                    </a:lnTo>
                    <a:lnTo>
                      <a:pt x="459" y="1195"/>
                    </a:lnTo>
                    <a:lnTo>
                      <a:pt x="436" y="1169"/>
                    </a:lnTo>
                    <a:lnTo>
                      <a:pt x="436" y="1169"/>
                    </a:lnTo>
                    <a:lnTo>
                      <a:pt x="424" y="1154"/>
                    </a:lnTo>
                    <a:lnTo>
                      <a:pt x="411" y="1138"/>
                    </a:lnTo>
                    <a:lnTo>
                      <a:pt x="411" y="1138"/>
                    </a:lnTo>
                    <a:lnTo>
                      <a:pt x="401" y="1124"/>
                    </a:lnTo>
                    <a:lnTo>
                      <a:pt x="391" y="1110"/>
                    </a:lnTo>
                    <a:lnTo>
                      <a:pt x="391" y="1110"/>
                    </a:lnTo>
                    <a:lnTo>
                      <a:pt x="376" y="1085"/>
                    </a:lnTo>
                    <a:lnTo>
                      <a:pt x="362" y="1060"/>
                    </a:lnTo>
                    <a:lnTo>
                      <a:pt x="362" y="1060"/>
                    </a:lnTo>
                    <a:lnTo>
                      <a:pt x="351" y="1037"/>
                    </a:lnTo>
                    <a:lnTo>
                      <a:pt x="351" y="1037"/>
                    </a:lnTo>
                    <a:lnTo>
                      <a:pt x="340" y="1010"/>
                    </a:lnTo>
                    <a:lnTo>
                      <a:pt x="330" y="982"/>
                    </a:lnTo>
                    <a:lnTo>
                      <a:pt x="330" y="982"/>
                    </a:lnTo>
                    <a:lnTo>
                      <a:pt x="326" y="971"/>
                    </a:lnTo>
                    <a:lnTo>
                      <a:pt x="326" y="971"/>
                    </a:lnTo>
                    <a:lnTo>
                      <a:pt x="317" y="936"/>
                    </a:lnTo>
                    <a:lnTo>
                      <a:pt x="310" y="901"/>
                    </a:lnTo>
                    <a:lnTo>
                      <a:pt x="310" y="901"/>
                    </a:lnTo>
                    <a:lnTo>
                      <a:pt x="307" y="882"/>
                    </a:lnTo>
                    <a:lnTo>
                      <a:pt x="307" y="882"/>
                    </a:lnTo>
                    <a:lnTo>
                      <a:pt x="303" y="846"/>
                    </a:lnTo>
                    <a:lnTo>
                      <a:pt x="302" y="827"/>
                    </a:lnTo>
                    <a:lnTo>
                      <a:pt x="302" y="808"/>
                    </a:lnTo>
                    <a:lnTo>
                      <a:pt x="302" y="808"/>
                    </a:lnTo>
                    <a:lnTo>
                      <a:pt x="302" y="806"/>
                    </a:lnTo>
                    <a:lnTo>
                      <a:pt x="302" y="806"/>
                    </a:lnTo>
                    <a:lnTo>
                      <a:pt x="303" y="778"/>
                    </a:lnTo>
                    <a:lnTo>
                      <a:pt x="304" y="752"/>
                    </a:lnTo>
                    <a:lnTo>
                      <a:pt x="304" y="752"/>
                    </a:lnTo>
                    <a:lnTo>
                      <a:pt x="308" y="726"/>
                    </a:lnTo>
                    <a:lnTo>
                      <a:pt x="308" y="726"/>
                    </a:lnTo>
                    <a:lnTo>
                      <a:pt x="310" y="712"/>
                    </a:lnTo>
                    <a:lnTo>
                      <a:pt x="313" y="697"/>
                    </a:lnTo>
                    <a:lnTo>
                      <a:pt x="313" y="697"/>
                    </a:lnTo>
                    <a:lnTo>
                      <a:pt x="315" y="687"/>
                    </a:lnTo>
                    <a:lnTo>
                      <a:pt x="318" y="676"/>
                    </a:lnTo>
                    <a:lnTo>
                      <a:pt x="318" y="676"/>
                    </a:lnTo>
                    <a:lnTo>
                      <a:pt x="323" y="659"/>
                    </a:lnTo>
                    <a:lnTo>
                      <a:pt x="327" y="642"/>
                    </a:lnTo>
                    <a:lnTo>
                      <a:pt x="327" y="642"/>
                    </a:lnTo>
                    <a:lnTo>
                      <a:pt x="333" y="627"/>
                    </a:lnTo>
                    <a:lnTo>
                      <a:pt x="333" y="627"/>
                    </a:lnTo>
                    <a:lnTo>
                      <a:pt x="339" y="608"/>
                    </a:lnTo>
                    <a:lnTo>
                      <a:pt x="347" y="589"/>
                    </a:lnTo>
                    <a:lnTo>
                      <a:pt x="347" y="589"/>
                    </a:lnTo>
                    <a:lnTo>
                      <a:pt x="358" y="565"/>
                    </a:lnTo>
                    <a:lnTo>
                      <a:pt x="369" y="542"/>
                    </a:lnTo>
                    <a:lnTo>
                      <a:pt x="383" y="519"/>
                    </a:lnTo>
                    <a:lnTo>
                      <a:pt x="397" y="497"/>
                    </a:lnTo>
                    <a:lnTo>
                      <a:pt x="412" y="475"/>
                    </a:lnTo>
                    <a:lnTo>
                      <a:pt x="429" y="454"/>
                    </a:lnTo>
                    <a:lnTo>
                      <a:pt x="446" y="435"/>
                    </a:lnTo>
                    <a:lnTo>
                      <a:pt x="464" y="415"/>
                    </a:lnTo>
                    <a:lnTo>
                      <a:pt x="464" y="415"/>
                    </a:lnTo>
                    <a:lnTo>
                      <a:pt x="486" y="395"/>
                    </a:lnTo>
                    <a:lnTo>
                      <a:pt x="507" y="376"/>
                    </a:lnTo>
                    <a:lnTo>
                      <a:pt x="530" y="359"/>
                    </a:lnTo>
                    <a:lnTo>
                      <a:pt x="553" y="343"/>
                    </a:lnTo>
                    <a:lnTo>
                      <a:pt x="577" y="328"/>
                    </a:lnTo>
                    <a:lnTo>
                      <a:pt x="602" y="314"/>
                    </a:lnTo>
                    <a:lnTo>
                      <a:pt x="627" y="302"/>
                    </a:lnTo>
                    <a:lnTo>
                      <a:pt x="654" y="291"/>
                    </a:lnTo>
                    <a:lnTo>
                      <a:pt x="654" y="291"/>
                    </a:lnTo>
                    <a:lnTo>
                      <a:pt x="668" y="285"/>
                    </a:lnTo>
                    <a:lnTo>
                      <a:pt x="682" y="277"/>
                    </a:lnTo>
                    <a:lnTo>
                      <a:pt x="693" y="268"/>
                    </a:lnTo>
                    <a:lnTo>
                      <a:pt x="704" y="258"/>
                    </a:lnTo>
                    <a:lnTo>
                      <a:pt x="714" y="247"/>
                    </a:lnTo>
                    <a:lnTo>
                      <a:pt x="723" y="236"/>
                    </a:lnTo>
                    <a:lnTo>
                      <a:pt x="730" y="223"/>
                    </a:lnTo>
                    <a:lnTo>
                      <a:pt x="737" y="210"/>
                    </a:lnTo>
                    <a:lnTo>
                      <a:pt x="742" y="197"/>
                    </a:lnTo>
                    <a:lnTo>
                      <a:pt x="746" y="183"/>
                    </a:lnTo>
                    <a:lnTo>
                      <a:pt x="749" y="168"/>
                    </a:lnTo>
                    <a:lnTo>
                      <a:pt x="750" y="154"/>
                    </a:lnTo>
                    <a:lnTo>
                      <a:pt x="749" y="140"/>
                    </a:lnTo>
                    <a:lnTo>
                      <a:pt x="747" y="125"/>
                    </a:lnTo>
                    <a:lnTo>
                      <a:pt x="744" y="110"/>
                    </a:lnTo>
                    <a:lnTo>
                      <a:pt x="739" y="95"/>
                    </a:lnTo>
                    <a:lnTo>
                      <a:pt x="739" y="95"/>
                    </a:lnTo>
                    <a:lnTo>
                      <a:pt x="732" y="82"/>
                    </a:lnTo>
                    <a:lnTo>
                      <a:pt x="725" y="68"/>
                    </a:lnTo>
                    <a:lnTo>
                      <a:pt x="716" y="56"/>
                    </a:lnTo>
                    <a:lnTo>
                      <a:pt x="707" y="45"/>
                    </a:lnTo>
                    <a:lnTo>
                      <a:pt x="696" y="35"/>
                    </a:lnTo>
                    <a:lnTo>
                      <a:pt x="685" y="27"/>
                    </a:lnTo>
                    <a:lnTo>
                      <a:pt x="672" y="18"/>
                    </a:lnTo>
                    <a:lnTo>
                      <a:pt x="659" y="12"/>
                    </a:lnTo>
                    <a:lnTo>
                      <a:pt x="646" y="7"/>
                    </a:lnTo>
                    <a:lnTo>
                      <a:pt x="632" y="3"/>
                    </a:lnTo>
                    <a:lnTo>
                      <a:pt x="617" y="1"/>
                    </a:lnTo>
                    <a:lnTo>
                      <a:pt x="603" y="0"/>
                    </a:lnTo>
                    <a:lnTo>
                      <a:pt x="588" y="0"/>
                    </a:lnTo>
                    <a:lnTo>
                      <a:pt x="573" y="2"/>
                    </a:lnTo>
                    <a:lnTo>
                      <a:pt x="558" y="5"/>
                    </a:lnTo>
                    <a:lnTo>
                      <a:pt x="544" y="10"/>
                    </a:lnTo>
                    <a:lnTo>
                      <a:pt x="544" y="10"/>
                    </a:lnTo>
                    <a:lnTo>
                      <a:pt x="503" y="28"/>
                    </a:lnTo>
                    <a:lnTo>
                      <a:pt x="463" y="47"/>
                    </a:lnTo>
                    <a:lnTo>
                      <a:pt x="425" y="67"/>
                    </a:lnTo>
                    <a:lnTo>
                      <a:pt x="388" y="91"/>
                    </a:lnTo>
                    <a:lnTo>
                      <a:pt x="352" y="115"/>
                    </a:lnTo>
                    <a:lnTo>
                      <a:pt x="317" y="143"/>
                    </a:lnTo>
                    <a:lnTo>
                      <a:pt x="284" y="171"/>
                    </a:lnTo>
                    <a:lnTo>
                      <a:pt x="252" y="202"/>
                    </a:lnTo>
                    <a:lnTo>
                      <a:pt x="252" y="202"/>
                    </a:lnTo>
                    <a:lnTo>
                      <a:pt x="224" y="231"/>
                    </a:lnTo>
                    <a:lnTo>
                      <a:pt x="197" y="261"/>
                    </a:lnTo>
                    <a:lnTo>
                      <a:pt x="173" y="293"/>
                    </a:lnTo>
                    <a:lnTo>
                      <a:pt x="150" y="324"/>
                    </a:lnTo>
                    <a:lnTo>
                      <a:pt x="129" y="358"/>
                    </a:lnTo>
                    <a:lnTo>
                      <a:pt x="108" y="392"/>
                    </a:lnTo>
                    <a:lnTo>
                      <a:pt x="90" y="426"/>
                    </a:lnTo>
                    <a:lnTo>
                      <a:pt x="74" y="462"/>
                    </a:lnTo>
                    <a:lnTo>
                      <a:pt x="74" y="462"/>
                    </a:lnTo>
                    <a:lnTo>
                      <a:pt x="72" y="466"/>
                    </a:lnTo>
                    <a:lnTo>
                      <a:pt x="72" y="466"/>
                    </a:lnTo>
                    <a:lnTo>
                      <a:pt x="71" y="469"/>
                    </a:lnTo>
                    <a:lnTo>
                      <a:pt x="71" y="469"/>
                    </a:lnTo>
                    <a:lnTo>
                      <a:pt x="57" y="502"/>
                    </a:lnTo>
                    <a:lnTo>
                      <a:pt x="45" y="535"/>
                    </a:lnTo>
                    <a:lnTo>
                      <a:pt x="45" y="535"/>
                    </a:lnTo>
                    <a:lnTo>
                      <a:pt x="40" y="551"/>
                    </a:lnTo>
                    <a:lnTo>
                      <a:pt x="40" y="551"/>
                    </a:lnTo>
                    <a:lnTo>
                      <a:pt x="31" y="583"/>
                    </a:lnTo>
                    <a:lnTo>
                      <a:pt x="23" y="615"/>
                    </a:lnTo>
                    <a:lnTo>
                      <a:pt x="23" y="615"/>
                    </a:lnTo>
                    <a:lnTo>
                      <a:pt x="21" y="625"/>
                    </a:lnTo>
                    <a:lnTo>
                      <a:pt x="18" y="636"/>
                    </a:lnTo>
                    <a:lnTo>
                      <a:pt x="18" y="636"/>
                    </a:lnTo>
                    <a:lnTo>
                      <a:pt x="13" y="668"/>
                    </a:lnTo>
                    <a:lnTo>
                      <a:pt x="7" y="701"/>
                    </a:lnTo>
                    <a:lnTo>
                      <a:pt x="7" y="701"/>
                    </a:lnTo>
                    <a:lnTo>
                      <a:pt x="4" y="721"/>
                    </a:lnTo>
                    <a:lnTo>
                      <a:pt x="4" y="721"/>
                    </a:lnTo>
                    <a:lnTo>
                      <a:pt x="1" y="764"/>
                    </a:lnTo>
                    <a:lnTo>
                      <a:pt x="0" y="808"/>
                    </a:lnTo>
                    <a:lnTo>
                      <a:pt x="0" y="808"/>
                    </a:lnTo>
                    <a:lnTo>
                      <a:pt x="0" y="813"/>
                    </a:lnTo>
                    <a:lnTo>
                      <a:pt x="0" y="813"/>
                    </a:lnTo>
                    <a:lnTo>
                      <a:pt x="1" y="849"/>
                    </a:lnTo>
                    <a:lnTo>
                      <a:pt x="4" y="884"/>
                    </a:lnTo>
                    <a:lnTo>
                      <a:pt x="4" y="884"/>
                    </a:lnTo>
                    <a:lnTo>
                      <a:pt x="6" y="909"/>
                    </a:lnTo>
                    <a:lnTo>
                      <a:pt x="6" y="909"/>
                    </a:lnTo>
                    <a:lnTo>
                      <a:pt x="11" y="936"/>
                    </a:lnTo>
                    <a:lnTo>
                      <a:pt x="15" y="963"/>
                    </a:lnTo>
                    <a:lnTo>
                      <a:pt x="15" y="963"/>
                    </a:lnTo>
                    <a:lnTo>
                      <a:pt x="20" y="986"/>
                    </a:lnTo>
                    <a:lnTo>
                      <a:pt x="20" y="986"/>
                    </a:lnTo>
                    <a:lnTo>
                      <a:pt x="27" y="1020"/>
                    </a:lnTo>
                    <a:lnTo>
                      <a:pt x="36" y="1053"/>
                    </a:lnTo>
                    <a:lnTo>
                      <a:pt x="36" y="1053"/>
                    </a:lnTo>
                    <a:lnTo>
                      <a:pt x="38" y="1059"/>
                    </a:lnTo>
                    <a:lnTo>
                      <a:pt x="38" y="1059"/>
                    </a:lnTo>
                    <a:lnTo>
                      <a:pt x="50" y="1097"/>
                    </a:lnTo>
                    <a:lnTo>
                      <a:pt x="65" y="1134"/>
                    </a:lnTo>
                    <a:lnTo>
                      <a:pt x="65" y="1134"/>
                    </a:lnTo>
                    <a:lnTo>
                      <a:pt x="68" y="1142"/>
                    </a:lnTo>
                    <a:lnTo>
                      <a:pt x="68" y="1142"/>
                    </a:lnTo>
                    <a:lnTo>
                      <a:pt x="83" y="1175"/>
                    </a:lnTo>
                    <a:lnTo>
                      <a:pt x="100" y="1209"/>
                    </a:lnTo>
                    <a:lnTo>
                      <a:pt x="100" y="1209"/>
                    </a:lnTo>
                    <a:lnTo>
                      <a:pt x="102" y="1214"/>
                    </a:lnTo>
                    <a:lnTo>
                      <a:pt x="102" y="1214"/>
                    </a:lnTo>
                    <a:lnTo>
                      <a:pt x="123" y="1251"/>
                    </a:lnTo>
                    <a:lnTo>
                      <a:pt x="146" y="1286"/>
                    </a:lnTo>
                    <a:lnTo>
                      <a:pt x="171" y="1322"/>
                    </a:lnTo>
                    <a:lnTo>
                      <a:pt x="197" y="1355"/>
                    </a:lnTo>
                    <a:lnTo>
                      <a:pt x="225" y="1387"/>
                    </a:lnTo>
                    <a:lnTo>
                      <a:pt x="254" y="1418"/>
                    </a:lnTo>
                    <a:lnTo>
                      <a:pt x="286" y="1448"/>
                    </a:lnTo>
                    <a:lnTo>
                      <a:pt x="318" y="1476"/>
                    </a:lnTo>
                    <a:lnTo>
                      <a:pt x="184" y="1610"/>
                    </a:lnTo>
                    <a:lnTo>
                      <a:pt x="184" y="1610"/>
                    </a:lnTo>
                    <a:lnTo>
                      <a:pt x="173" y="1623"/>
                    </a:lnTo>
                    <a:lnTo>
                      <a:pt x="162" y="1635"/>
                    </a:lnTo>
                    <a:lnTo>
                      <a:pt x="155" y="1647"/>
                    </a:lnTo>
                    <a:lnTo>
                      <a:pt x="149" y="1659"/>
                    </a:lnTo>
                    <a:lnTo>
                      <a:pt x="146" y="1670"/>
                    </a:lnTo>
                    <a:lnTo>
                      <a:pt x="145" y="1680"/>
                    </a:lnTo>
                    <a:lnTo>
                      <a:pt x="145" y="1689"/>
                    </a:lnTo>
                    <a:lnTo>
                      <a:pt x="148" y="1698"/>
                    </a:lnTo>
                    <a:lnTo>
                      <a:pt x="152" y="1707"/>
                    </a:lnTo>
                    <a:lnTo>
                      <a:pt x="158" y="1714"/>
                    </a:lnTo>
                    <a:lnTo>
                      <a:pt x="167" y="1720"/>
                    </a:lnTo>
                    <a:lnTo>
                      <a:pt x="177" y="1726"/>
                    </a:lnTo>
                    <a:lnTo>
                      <a:pt x="189" y="1730"/>
                    </a:lnTo>
                    <a:lnTo>
                      <a:pt x="203" y="1733"/>
                    </a:lnTo>
                    <a:lnTo>
                      <a:pt x="219" y="1735"/>
                    </a:lnTo>
                    <a:lnTo>
                      <a:pt x="236" y="1735"/>
                    </a:lnTo>
                    <a:lnTo>
                      <a:pt x="620" y="1735"/>
                    </a:lnTo>
                    <a:lnTo>
                      <a:pt x="620" y="1735"/>
                    </a:lnTo>
                    <a:lnTo>
                      <a:pt x="639" y="1734"/>
                    </a:lnTo>
                    <a:lnTo>
                      <a:pt x="656" y="1732"/>
                    </a:lnTo>
                    <a:lnTo>
                      <a:pt x="673" y="1727"/>
                    </a:lnTo>
                    <a:lnTo>
                      <a:pt x="690" y="1722"/>
                    </a:lnTo>
                    <a:lnTo>
                      <a:pt x="705" y="1714"/>
                    </a:lnTo>
                    <a:lnTo>
                      <a:pt x="719" y="1706"/>
                    </a:lnTo>
                    <a:lnTo>
                      <a:pt x="732" y="1695"/>
                    </a:lnTo>
                    <a:lnTo>
                      <a:pt x="746" y="1683"/>
                    </a:lnTo>
                    <a:lnTo>
                      <a:pt x="757" y="1671"/>
                    </a:lnTo>
                    <a:lnTo>
                      <a:pt x="767" y="1658"/>
                    </a:lnTo>
                    <a:lnTo>
                      <a:pt x="776" y="1642"/>
                    </a:lnTo>
                    <a:lnTo>
                      <a:pt x="783" y="1627"/>
                    </a:lnTo>
                    <a:lnTo>
                      <a:pt x="790" y="1611"/>
                    </a:lnTo>
                    <a:lnTo>
                      <a:pt x="794" y="1594"/>
                    </a:lnTo>
                    <a:lnTo>
                      <a:pt x="797" y="1576"/>
                    </a:lnTo>
                    <a:lnTo>
                      <a:pt x="798" y="1559"/>
                    </a:lnTo>
                    <a:lnTo>
                      <a:pt x="798" y="1174"/>
                    </a:lnTo>
                    <a:lnTo>
                      <a:pt x="798" y="1174"/>
                    </a:lnTo>
                    <a:lnTo>
                      <a:pt x="797" y="1157"/>
                    </a:lnTo>
                    <a:lnTo>
                      <a:pt x="795" y="1140"/>
                    </a:lnTo>
                    <a:lnTo>
                      <a:pt x="792" y="1127"/>
                    </a:lnTo>
                    <a:lnTo>
                      <a:pt x="788" y="1115"/>
                    </a:lnTo>
                    <a:lnTo>
                      <a:pt x="782" y="1105"/>
                    </a:lnTo>
                    <a:lnTo>
                      <a:pt x="776" y="1097"/>
                    </a:lnTo>
                    <a:lnTo>
                      <a:pt x="769" y="1089"/>
                    </a:lnTo>
                    <a:lnTo>
                      <a:pt x="761" y="1085"/>
                    </a:lnTo>
                    <a:lnTo>
                      <a:pt x="752" y="1083"/>
                    </a:lnTo>
                    <a:lnTo>
                      <a:pt x="743" y="1082"/>
                    </a:lnTo>
                    <a:lnTo>
                      <a:pt x="731" y="1083"/>
                    </a:lnTo>
                    <a:lnTo>
                      <a:pt x="721" y="1087"/>
                    </a:lnTo>
                    <a:lnTo>
                      <a:pt x="709" y="1093"/>
                    </a:lnTo>
                    <a:lnTo>
                      <a:pt x="698" y="1101"/>
                    </a:lnTo>
                    <a:lnTo>
                      <a:pt x="686" y="1110"/>
                    </a:lnTo>
                    <a:lnTo>
                      <a:pt x="672" y="1122"/>
                    </a:lnTo>
                    <a:lnTo>
                      <a:pt x="672" y="1122"/>
                    </a:lnTo>
                    <a:close/>
                    <a:moveTo>
                      <a:pt x="315" y="265"/>
                    </a:moveTo>
                    <a:lnTo>
                      <a:pt x="315" y="265"/>
                    </a:lnTo>
                    <a:lnTo>
                      <a:pt x="344" y="238"/>
                    </a:lnTo>
                    <a:lnTo>
                      <a:pt x="374" y="212"/>
                    </a:lnTo>
                    <a:lnTo>
                      <a:pt x="405" y="189"/>
                    </a:lnTo>
                    <a:lnTo>
                      <a:pt x="437" y="166"/>
                    </a:lnTo>
                    <a:lnTo>
                      <a:pt x="470" y="146"/>
                    </a:lnTo>
                    <a:lnTo>
                      <a:pt x="505" y="127"/>
                    </a:lnTo>
                    <a:lnTo>
                      <a:pt x="541" y="109"/>
                    </a:lnTo>
                    <a:lnTo>
                      <a:pt x="576" y="94"/>
                    </a:lnTo>
                    <a:lnTo>
                      <a:pt x="576" y="94"/>
                    </a:lnTo>
                    <a:lnTo>
                      <a:pt x="583" y="92"/>
                    </a:lnTo>
                    <a:lnTo>
                      <a:pt x="589" y="91"/>
                    </a:lnTo>
                    <a:lnTo>
                      <a:pt x="600" y="90"/>
                    </a:lnTo>
                    <a:lnTo>
                      <a:pt x="612" y="92"/>
                    </a:lnTo>
                    <a:lnTo>
                      <a:pt x="622" y="95"/>
                    </a:lnTo>
                    <a:lnTo>
                      <a:pt x="633" y="101"/>
                    </a:lnTo>
                    <a:lnTo>
                      <a:pt x="642" y="108"/>
                    </a:lnTo>
                    <a:lnTo>
                      <a:pt x="649" y="117"/>
                    </a:lnTo>
                    <a:lnTo>
                      <a:pt x="652" y="122"/>
                    </a:lnTo>
                    <a:lnTo>
                      <a:pt x="655" y="129"/>
                    </a:lnTo>
                    <a:lnTo>
                      <a:pt x="655" y="129"/>
                    </a:lnTo>
                    <a:lnTo>
                      <a:pt x="657" y="134"/>
                    </a:lnTo>
                    <a:lnTo>
                      <a:pt x="658" y="140"/>
                    </a:lnTo>
                    <a:lnTo>
                      <a:pt x="659" y="152"/>
                    </a:lnTo>
                    <a:lnTo>
                      <a:pt x="658" y="163"/>
                    </a:lnTo>
                    <a:lnTo>
                      <a:pt x="654" y="175"/>
                    </a:lnTo>
                    <a:lnTo>
                      <a:pt x="649" y="185"/>
                    </a:lnTo>
                    <a:lnTo>
                      <a:pt x="641" y="194"/>
                    </a:lnTo>
                    <a:lnTo>
                      <a:pt x="632" y="201"/>
                    </a:lnTo>
                    <a:lnTo>
                      <a:pt x="626" y="204"/>
                    </a:lnTo>
                    <a:lnTo>
                      <a:pt x="620" y="206"/>
                    </a:lnTo>
                    <a:lnTo>
                      <a:pt x="620" y="206"/>
                    </a:lnTo>
                    <a:lnTo>
                      <a:pt x="590" y="219"/>
                    </a:lnTo>
                    <a:lnTo>
                      <a:pt x="560" y="234"/>
                    </a:lnTo>
                    <a:lnTo>
                      <a:pt x="532" y="250"/>
                    </a:lnTo>
                    <a:lnTo>
                      <a:pt x="503" y="267"/>
                    </a:lnTo>
                    <a:lnTo>
                      <a:pt x="477" y="286"/>
                    </a:lnTo>
                    <a:lnTo>
                      <a:pt x="450" y="306"/>
                    </a:lnTo>
                    <a:lnTo>
                      <a:pt x="425" y="328"/>
                    </a:lnTo>
                    <a:lnTo>
                      <a:pt x="401" y="351"/>
                    </a:lnTo>
                    <a:lnTo>
                      <a:pt x="401" y="351"/>
                    </a:lnTo>
                    <a:lnTo>
                      <a:pt x="396" y="355"/>
                    </a:lnTo>
                    <a:lnTo>
                      <a:pt x="391" y="359"/>
                    </a:lnTo>
                    <a:lnTo>
                      <a:pt x="381" y="364"/>
                    </a:lnTo>
                    <a:lnTo>
                      <a:pt x="369" y="367"/>
                    </a:lnTo>
                    <a:lnTo>
                      <a:pt x="358" y="368"/>
                    </a:lnTo>
                    <a:lnTo>
                      <a:pt x="347" y="367"/>
                    </a:lnTo>
                    <a:lnTo>
                      <a:pt x="336" y="364"/>
                    </a:lnTo>
                    <a:lnTo>
                      <a:pt x="325" y="359"/>
                    </a:lnTo>
                    <a:lnTo>
                      <a:pt x="321" y="355"/>
                    </a:lnTo>
                    <a:lnTo>
                      <a:pt x="315" y="351"/>
                    </a:lnTo>
                    <a:lnTo>
                      <a:pt x="315" y="351"/>
                    </a:lnTo>
                    <a:lnTo>
                      <a:pt x="311" y="347"/>
                    </a:lnTo>
                    <a:lnTo>
                      <a:pt x="307" y="342"/>
                    </a:lnTo>
                    <a:lnTo>
                      <a:pt x="302" y="331"/>
                    </a:lnTo>
                    <a:lnTo>
                      <a:pt x="299" y="319"/>
                    </a:lnTo>
                    <a:lnTo>
                      <a:pt x="298" y="308"/>
                    </a:lnTo>
                    <a:lnTo>
                      <a:pt x="299" y="297"/>
                    </a:lnTo>
                    <a:lnTo>
                      <a:pt x="302" y="286"/>
                    </a:lnTo>
                    <a:lnTo>
                      <a:pt x="307" y="274"/>
                    </a:lnTo>
                    <a:lnTo>
                      <a:pt x="311" y="270"/>
                    </a:lnTo>
                    <a:lnTo>
                      <a:pt x="315" y="265"/>
                    </a:lnTo>
                    <a:lnTo>
                      <a:pt x="315" y="265"/>
                    </a:lnTo>
                    <a:close/>
                  </a:path>
                </a:pathLst>
              </a:custGeom>
              <a:solidFill>
                <a:schemeClr val="accent4"/>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sp>
            <p:nvSpPr>
              <p:cNvPr id="531" name="Freeform 428"/>
              <p:cNvSpPr>
                <a:spLocks noEditPoints="1"/>
              </p:cNvSpPr>
              <p:nvPr/>
            </p:nvSpPr>
            <p:spPr bwMode="auto">
              <a:xfrm rot="10800000">
                <a:off x="8761207" y="3912017"/>
                <a:ext cx="86480" cy="188135"/>
              </a:xfrm>
              <a:custGeom>
                <a:avLst/>
                <a:gdLst>
                  <a:gd name="T0" fmla="*/ 794 w 798"/>
                  <a:gd name="T1" fmla="*/ 850 h 1736"/>
                  <a:gd name="T2" fmla="*/ 783 w 798"/>
                  <a:gd name="T3" fmla="*/ 772 h 1736"/>
                  <a:gd name="T4" fmla="*/ 762 w 798"/>
                  <a:gd name="T5" fmla="*/ 681 h 1736"/>
                  <a:gd name="T6" fmla="*/ 731 w 798"/>
                  <a:gd name="T7" fmla="*/ 594 h 1736"/>
                  <a:gd name="T8" fmla="*/ 697 w 798"/>
                  <a:gd name="T9" fmla="*/ 522 h 1736"/>
                  <a:gd name="T10" fmla="*/ 602 w 798"/>
                  <a:gd name="T11" fmla="*/ 380 h 1736"/>
                  <a:gd name="T12" fmla="*/ 614 w 798"/>
                  <a:gd name="T13" fmla="*/ 125 h 1736"/>
                  <a:gd name="T14" fmla="*/ 649 w 798"/>
                  <a:gd name="T15" fmla="*/ 76 h 1736"/>
                  <a:gd name="T16" fmla="*/ 647 w 798"/>
                  <a:gd name="T17" fmla="*/ 28 h 1736"/>
                  <a:gd name="T18" fmla="*/ 596 w 798"/>
                  <a:gd name="T19" fmla="*/ 2 h 1736"/>
                  <a:gd name="T20" fmla="*/ 160 w 798"/>
                  <a:gd name="T21" fmla="*/ 1 h 1736"/>
                  <a:gd name="T22" fmla="*/ 79 w 798"/>
                  <a:gd name="T23" fmla="*/ 29 h 1736"/>
                  <a:gd name="T24" fmla="*/ 23 w 798"/>
                  <a:gd name="T25" fmla="*/ 93 h 1736"/>
                  <a:gd name="T26" fmla="*/ 0 w 798"/>
                  <a:gd name="T27" fmla="*/ 177 h 1736"/>
                  <a:gd name="T28" fmla="*/ 6 w 798"/>
                  <a:gd name="T29" fmla="*/ 608 h 1736"/>
                  <a:gd name="T30" fmla="*/ 38 w 798"/>
                  <a:gd name="T31" fmla="*/ 650 h 1736"/>
                  <a:gd name="T32" fmla="*/ 89 w 798"/>
                  <a:gd name="T33" fmla="*/ 642 h 1736"/>
                  <a:gd name="T34" fmla="*/ 263 w 798"/>
                  <a:gd name="T35" fmla="*/ 476 h 1736"/>
                  <a:gd name="T36" fmla="*/ 339 w 798"/>
                  <a:gd name="T37" fmla="*/ 539 h 1736"/>
                  <a:gd name="T38" fmla="*/ 387 w 798"/>
                  <a:gd name="T39" fmla="*/ 596 h 1736"/>
                  <a:gd name="T40" fmla="*/ 436 w 798"/>
                  <a:gd name="T41" fmla="*/ 675 h 1736"/>
                  <a:gd name="T42" fmla="*/ 468 w 798"/>
                  <a:gd name="T43" fmla="*/ 753 h 1736"/>
                  <a:gd name="T44" fmla="*/ 489 w 798"/>
                  <a:gd name="T45" fmla="*/ 834 h 1736"/>
                  <a:gd name="T46" fmla="*/ 496 w 798"/>
                  <a:gd name="T47" fmla="*/ 908 h 1736"/>
                  <a:gd name="T48" fmla="*/ 494 w 798"/>
                  <a:gd name="T49" fmla="*/ 983 h 1736"/>
                  <a:gd name="T50" fmla="*/ 486 w 798"/>
                  <a:gd name="T51" fmla="*/ 1038 h 1736"/>
                  <a:gd name="T52" fmla="*/ 471 w 798"/>
                  <a:gd name="T53" fmla="*/ 1093 h 1736"/>
                  <a:gd name="T54" fmla="*/ 452 w 798"/>
                  <a:gd name="T55" fmla="*/ 1146 h 1736"/>
                  <a:gd name="T56" fmla="*/ 401 w 798"/>
                  <a:gd name="T57" fmla="*/ 1238 h 1736"/>
                  <a:gd name="T58" fmla="*/ 334 w 798"/>
                  <a:gd name="T59" fmla="*/ 1320 h 1736"/>
                  <a:gd name="T60" fmla="*/ 221 w 798"/>
                  <a:gd name="T61" fmla="*/ 1407 h 1736"/>
                  <a:gd name="T62" fmla="*/ 131 w 798"/>
                  <a:gd name="T63" fmla="*/ 1450 h 1736"/>
                  <a:gd name="T64" fmla="*/ 76 w 798"/>
                  <a:gd name="T65" fmla="*/ 1499 h 1736"/>
                  <a:gd name="T66" fmla="*/ 50 w 798"/>
                  <a:gd name="T67" fmla="*/ 1567 h 1736"/>
                  <a:gd name="T68" fmla="*/ 59 w 798"/>
                  <a:gd name="T69" fmla="*/ 1640 h 1736"/>
                  <a:gd name="T70" fmla="*/ 92 w 798"/>
                  <a:gd name="T71" fmla="*/ 1690 h 1736"/>
                  <a:gd name="T72" fmla="*/ 153 w 798"/>
                  <a:gd name="T73" fmla="*/ 1728 h 1736"/>
                  <a:gd name="T74" fmla="*/ 226 w 798"/>
                  <a:gd name="T75" fmla="*/ 1734 h 1736"/>
                  <a:gd name="T76" fmla="*/ 335 w 798"/>
                  <a:gd name="T77" fmla="*/ 1689 h 1736"/>
                  <a:gd name="T78" fmla="*/ 514 w 798"/>
                  <a:gd name="T79" fmla="*/ 1563 h 1736"/>
                  <a:gd name="T80" fmla="*/ 625 w 798"/>
                  <a:gd name="T81" fmla="*/ 1442 h 1736"/>
                  <a:gd name="T82" fmla="*/ 725 w 798"/>
                  <a:gd name="T83" fmla="*/ 1273 h 1736"/>
                  <a:gd name="T84" fmla="*/ 728 w 798"/>
                  <a:gd name="T85" fmla="*/ 1266 h 1736"/>
                  <a:gd name="T86" fmla="*/ 759 w 798"/>
                  <a:gd name="T87" fmla="*/ 1184 h 1736"/>
                  <a:gd name="T88" fmla="*/ 780 w 798"/>
                  <a:gd name="T89" fmla="*/ 1099 h 1736"/>
                  <a:gd name="T90" fmla="*/ 794 w 798"/>
                  <a:gd name="T91" fmla="*/ 1015 h 1736"/>
                  <a:gd name="T92" fmla="*/ 798 w 798"/>
                  <a:gd name="T93" fmla="*/ 923 h 1736"/>
                  <a:gd name="T94" fmla="*/ 424 w 798"/>
                  <a:gd name="T95" fmla="*/ 1523 h 1736"/>
                  <a:gd name="T96" fmla="*/ 258 w 798"/>
                  <a:gd name="T97" fmla="*/ 1626 h 1736"/>
                  <a:gd name="T98" fmla="*/ 198 w 798"/>
                  <a:gd name="T99" fmla="*/ 1645 h 1736"/>
                  <a:gd name="T100" fmla="*/ 149 w 798"/>
                  <a:gd name="T101" fmla="*/ 1618 h 1736"/>
                  <a:gd name="T102" fmla="*/ 140 w 798"/>
                  <a:gd name="T103" fmla="*/ 1595 h 1736"/>
                  <a:gd name="T104" fmla="*/ 157 w 798"/>
                  <a:gd name="T105" fmla="*/ 1542 h 1736"/>
                  <a:gd name="T106" fmla="*/ 208 w 798"/>
                  <a:gd name="T107" fmla="*/ 1516 h 1736"/>
                  <a:gd name="T108" fmla="*/ 348 w 798"/>
                  <a:gd name="T109" fmla="*/ 1429 h 1736"/>
                  <a:gd name="T110" fmla="*/ 407 w 798"/>
                  <a:gd name="T111" fmla="*/ 1376 h 1736"/>
                  <a:gd name="T112" fmla="*/ 463 w 798"/>
                  <a:gd name="T113" fmla="*/ 1371 h 1736"/>
                  <a:gd name="T114" fmla="*/ 487 w 798"/>
                  <a:gd name="T115" fmla="*/ 1389 h 1736"/>
                  <a:gd name="T116" fmla="*/ 500 w 798"/>
                  <a:gd name="T117" fmla="*/ 1438 h 1736"/>
                  <a:gd name="T118" fmla="*/ 483 w 798"/>
                  <a:gd name="T119" fmla="*/ 1470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6">
                    <a:moveTo>
                      <a:pt x="798" y="923"/>
                    </a:moveTo>
                    <a:lnTo>
                      <a:pt x="798" y="923"/>
                    </a:lnTo>
                    <a:lnTo>
                      <a:pt x="797" y="886"/>
                    </a:lnTo>
                    <a:lnTo>
                      <a:pt x="794" y="850"/>
                    </a:lnTo>
                    <a:lnTo>
                      <a:pt x="794" y="850"/>
                    </a:lnTo>
                    <a:lnTo>
                      <a:pt x="792" y="827"/>
                    </a:lnTo>
                    <a:lnTo>
                      <a:pt x="792" y="827"/>
                    </a:lnTo>
                    <a:lnTo>
                      <a:pt x="787" y="799"/>
                    </a:lnTo>
                    <a:lnTo>
                      <a:pt x="783" y="772"/>
                    </a:lnTo>
                    <a:lnTo>
                      <a:pt x="783" y="772"/>
                    </a:lnTo>
                    <a:lnTo>
                      <a:pt x="779" y="749"/>
                    </a:lnTo>
                    <a:lnTo>
                      <a:pt x="779" y="749"/>
                    </a:lnTo>
                    <a:lnTo>
                      <a:pt x="771" y="715"/>
                    </a:lnTo>
                    <a:lnTo>
                      <a:pt x="762" y="681"/>
                    </a:lnTo>
                    <a:lnTo>
                      <a:pt x="762" y="681"/>
                    </a:lnTo>
                    <a:lnTo>
                      <a:pt x="761" y="677"/>
                    </a:lnTo>
                    <a:lnTo>
                      <a:pt x="761" y="677"/>
                    </a:lnTo>
                    <a:lnTo>
                      <a:pt x="748" y="638"/>
                    </a:lnTo>
                    <a:lnTo>
                      <a:pt x="733" y="601"/>
                    </a:lnTo>
                    <a:lnTo>
                      <a:pt x="731" y="594"/>
                    </a:lnTo>
                    <a:lnTo>
                      <a:pt x="731" y="594"/>
                    </a:lnTo>
                    <a:lnTo>
                      <a:pt x="716" y="560"/>
                    </a:lnTo>
                    <a:lnTo>
                      <a:pt x="699" y="525"/>
                    </a:lnTo>
                    <a:lnTo>
                      <a:pt x="699" y="525"/>
                    </a:lnTo>
                    <a:lnTo>
                      <a:pt x="697" y="522"/>
                    </a:lnTo>
                    <a:lnTo>
                      <a:pt x="697" y="522"/>
                    </a:lnTo>
                    <a:lnTo>
                      <a:pt x="675" y="484"/>
                    </a:lnTo>
                    <a:lnTo>
                      <a:pt x="653" y="449"/>
                    </a:lnTo>
                    <a:lnTo>
                      <a:pt x="628" y="414"/>
                    </a:lnTo>
                    <a:lnTo>
                      <a:pt x="602" y="380"/>
                    </a:lnTo>
                    <a:lnTo>
                      <a:pt x="573" y="348"/>
                    </a:lnTo>
                    <a:lnTo>
                      <a:pt x="544" y="317"/>
                    </a:lnTo>
                    <a:lnTo>
                      <a:pt x="513" y="287"/>
                    </a:lnTo>
                    <a:lnTo>
                      <a:pt x="479" y="260"/>
                    </a:lnTo>
                    <a:lnTo>
                      <a:pt x="614" y="125"/>
                    </a:lnTo>
                    <a:lnTo>
                      <a:pt x="614" y="125"/>
                    </a:lnTo>
                    <a:lnTo>
                      <a:pt x="626" y="112"/>
                    </a:lnTo>
                    <a:lnTo>
                      <a:pt x="635" y="100"/>
                    </a:lnTo>
                    <a:lnTo>
                      <a:pt x="644" y="87"/>
                    </a:lnTo>
                    <a:lnTo>
                      <a:pt x="649" y="76"/>
                    </a:lnTo>
                    <a:lnTo>
                      <a:pt x="653" y="65"/>
                    </a:lnTo>
                    <a:lnTo>
                      <a:pt x="654" y="55"/>
                    </a:lnTo>
                    <a:lnTo>
                      <a:pt x="654" y="46"/>
                    </a:lnTo>
                    <a:lnTo>
                      <a:pt x="651" y="36"/>
                    </a:lnTo>
                    <a:lnTo>
                      <a:pt x="647" y="28"/>
                    </a:lnTo>
                    <a:lnTo>
                      <a:pt x="640" y="21"/>
                    </a:lnTo>
                    <a:lnTo>
                      <a:pt x="631" y="15"/>
                    </a:lnTo>
                    <a:lnTo>
                      <a:pt x="621" y="9"/>
                    </a:lnTo>
                    <a:lnTo>
                      <a:pt x="609" y="5"/>
                    </a:lnTo>
                    <a:lnTo>
                      <a:pt x="596" y="2"/>
                    </a:lnTo>
                    <a:lnTo>
                      <a:pt x="579" y="0"/>
                    </a:lnTo>
                    <a:lnTo>
                      <a:pt x="562" y="0"/>
                    </a:lnTo>
                    <a:lnTo>
                      <a:pt x="178" y="0"/>
                    </a:lnTo>
                    <a:lnTo>
                      <a:pt x="178" y="0"/>
                    </a:lnTo>
                    <a:lnTo>
                      <a:pt x="160" y="1"/>
                    </a:lnTo>
                    <a:lnTo>
                      <a:pt x="142" y="3"/>
                    </a:lnTo>
                    <a:lnTo>
                      <a:pt x="126" y="7"/>
                    </a:lnTo>
                    <a:lnTo>
                      <a:pt x="109" y="13"/>
                    </a:lnTo>
                    <a:lnTo>
                      <a:pt x="94" y="21"/>
                    </a:lnTo>
                    <a:lnTo>
                      <a:pt x="79" y="29"/>
                    </a:lnTo>
                    <a:lnTo>
                      <a:pt x="65" y="40"/>
                    </a:lnTo>
                    <a:lnTo>
                      <a:pt x="53" y="52"/>
                    </a:lnTo>
                    <a:lnTo>
                      <a:pt x="41" y="64"/>
                    </a:lnTo>
                    <a:lnTo>
                      <a:pt x="31" y="78"/>
                    </a:lnTo>
                    <a:lnTo>
                      <a:pt x="23" y="93"/>
                    </a:lnTo>
                    <a:lnTo>
                      <a:pt x="14" y="108"/>
                    </a:lnTo>
                    <a:lnTo>
                      <a:pt x="8" y="124"/>
                    </a:lnTo>
                    <a:lnTo>
                      <a:pt x="4" y="142"/>
                    </a:lnTo>
                    <a:lnTo>
                      <a:pt x="1" y="159"/>
                    </a:lnTo>
                    <a:lnTo>
                      <a:pt x="0" y="177"/>
                    </a:lnTo>
                    <a:lnTo>
                      <a:pt x="0" y="561"/>
                    </a:lnTo>
                    <a:lnTo>
                      <a:pt x="0" y="561"/>
                    </a:lnTo>
                    <a:lnTo>
                      <a:pt x="1" y="579"/>
                    </a:lnTo>
                    <a:lnTo>
                      <a:pt x="3" y="594"/>
                    </a:lnTo>
                    <a:lnTo>
                      <a:pt x="6" y="608"/>
                    </a:lnTo>
                    <a:lnTo>
                      <a:pt x="10" y="620"/>
                    </a:lnTo>
                    <a:lnTo>
                      <a:pt x="15" y="630"/>
                    </a:lnTo>
                    <a:lnTo>
                      <a:pt x="23" y="638"/>
                    </a:lnTo>
                    <a:lnTo>
                      <a:pt x="30" y="645"/>
                    </a:lnTo>
                    <a:lnTo>
                      <a:pt x="38" y="650"/>
                    </a:lnTo>
                    <a:lnTo>
                      <a:pt x="46" y="653"/>
                    </a:lnTo>
                    <a:lnTo>
                      <a:pt x="56" y="653"/>
                    </a:lnTo>
                    <a:lnTo>
                      <a:pt x="66" y="652"/>
                    </a:lnTo>
                    <a:lnTo>
                      <a:pt x="78" y="647"/>
                    </a:lnTo>
                    <a:lnTo>
                      <a:pt x="89" y="642"/>
                    </a:lnTo>
                    <a:lnTo>
                      <a:pt x="101" y="634"/>
                    </a:lnTo>
                    <a:lnTo>
                      <a:pt x="113" y="625"/>
                    </a:lnTo>
                    <a:lnTo>
                      <a:pt x="126" y="613"/>
                    </a:lnTo>
                    <a:lnTo>
                      <a:pt x="263" y="476"/>
                    </a:lnTo>
                    <a:lnTo>
                      <a:pt x="263" y="476"/>
                    </a:lnTo>
                    <a:lnTo>
                      <a:pt x="284" y="490"/>
                    </a:lnTo>
                    <a:lnTo>
                      <a:pt x="303" y="506"/>
                    </a:lnTo>
                    <a:lnTo>
                      <a:pt x="321" y="522"/>
                    </a:lnTo>
                    <a:lnTo>
                      <a:pt x="339" y="539"/>
                    </a:lnTo>
                    <a:lnTo>
                      <a:pt x="339" y="539"/>
                    </a:lnTo>
                    <a:lnTo>
                      <a:pt x="351" y="553"/>
                    </a:lnTo>
                    <a:lnTo>
                      <a:pt x="362" y="566"/>
                    </a:lnTo>
                    <a:lnTo>
                      <a:pt x="362" y="566"/>
                    </a:lnTo>
                    <a:lnTo>
                      <a:pt x="375" y="581"/>
                    </a:lnTo>
                    <a:lnTo>
                      <a:pt x="387" y="596"/>
                    </a:lnTo>
                    <a:lnTo>
                      <a:pt x="387" y="596"/>
                    </a:lnTo>
                    <a:lnTo>
                      <a:pt x="408" y="627"/>
                    </a:lnTo>
                    <a:lnTo>
                      <a:pt x="408" y="627"/>
                    </a:lnTo>
                    <a:lnTo>
                      <a:pt x="422" y="651"/>
                    </a:lnTo>
                    <a:lnTo>
                      <a:pt x="436" y="675"/>
                    </a:lnTo>
                    <a:lnTo>
                      <a:pt x="436" y="675"/>
                    </a:lnTo>
                    <a:lnTo>
                      <a:pt x="447" y="698"/>
                    </a:lnTo>
                    <a:lnTo>
                      <a:pt x="447" y="698"/>
                    </a:lnTo>
                    <a:lnTo>
                      <a:pt x="458" y="725"/>
                    </a:lnTo>
                    <a:lnTo>
                      <a:pt x="468" y="753"/>
                    </a:lnTo>
                    <a:lnTo>
                      <a:pt x="468" y="753"/>
                    </a:lnTo>
                    <a:lnTo>
                      <a:pt x="472" y="764"/>
                    </a:lnTo>
                    <a:lnTo>
                      <a:pt x="472" y="764"/>
                    </a:lnTo>
                    <a:lnTo>
                      <a:pt x="482" y="798"/>
                    </a:lnTo>
                    <a:lnTo>
                      <a:pt x="489" y="834"/>
                    </a:lnTo>
                    <a:lnTo>
                      <a:pt x="489" y="834"/>
                    </a:lnTo>
                    <a:lnTo>
                      <a:pt x="491" y="853"/>
                    </a:lnTo>
                    <a:lnTo>
                      <a:pt x="491" y="853"/>
                    </a:lnTo>
                    <a:lnTo>
                      <a:pt x="495" y="889"/>
                    </a:lnTo>
                    <a:lnTo>
                      <a:pt x="496" y="908"/>
                    </a:lnTo>
                    <a:lnTo>
                      <a:pt x="497" y="927"/>
                    </a:lnTo>
                    <a:lnTo>
                      <a:pt x="497" y="927"/>
                    </a:lnTo>
                    <a:lnTo>
                      <a:pt x="497" y="927"/>
                    </a:lnTo>
                    <a:lnTo>
                      <a:pt x="496" y="956"/>
                    </a:lnTo>
                    <a:lnTo>
                      <a:pt x="494" y="983"/>
                    </a:lnTo>
                    <a:lnTo>
                      <a:pt x="494" y="983"/>
                    </a:lnTo>
                    <a:lnTo>
                      <a:pt x="491" y="1007"/>
                    </a:lnTo>
                    <a:lnTo>
                      <a:pt x="491" y="1007"/>
                    </a:lnTo>
                    <a:lnTo>
                      <a:pt x="488" y="1023"/>
                    </a:lnTo>
                    <a:lnTo>
                      <a:pt x="486" y="1038"/>
                    </a:lnTo>
                    <a:lnTo>
                      <a:pt x="486" y="1038"/>
                    </a:lnTo>
                    <a:lnTo>
                      <a:pt x="480" y="1059"/>
                    </a:lnTo>
                    <a:lnTo>
                      <a:pt x="480" y="1059"/>
                    </a:lnTo>
                    <a:lnTo>
                      <a:pt x="476" y="1076"/>
                    </a:lnTo>
                    <a:lnTo>
                      <a:pt x="471" y="1093"/>
                    </a:lnTo>
                    <a:lnTo>
                      <a:pt x="471" y="1093"/>
                    </a:lnTo>
                    <a:lnTo>
                      <a:pt x="466" y="1108"/>
                    </a:lnTo>
                    <a:lnTo>
                      <a:pt x="466" y="1108"/>
                    </a:lnTo>
                    <a:lnTo>
                      <a:pt x="459" y="1127"/>
                    </a:lnTo>
                    <a:lnTo>
                      <a:pt x="452" y="1146"/>
                    </a:lnTo>
                    <a:lnTo>
                      <a:pt x="452" y="1146"/>
                    </a:lnTo>
                    <a:lnTo>
                      <a:pt x="441" y="1170"/>
                    </a:lnTo>
                    <a:lnTo>
                      <a:pt x="428" y="1193"/>
                    </a:lnTo>
                    <a:lnTo>
                      <a:pt x="415" y="1216"/>
                    </a:lnTo>
                    <a:lnTo>
                      <a:pt x="401" y="1238"/>
                    </a:lnTo>
                    <a:lnTo>
                      <a:pt x="386" y="1259"/>
                    </a:lnTo>
                    <a:lnTo>
                      <a:pt x="369" y="1281"/>
                    </a:lnTo>
                    <a:lnTo>
                      <a:pt x="352" y="1300"/>
                    </a:lnTo>
                    <a:lnTo>
                      <a:pt x="334" y="1320"/>
                    </a:lnTo>
                    <a:lnTo>
                      <a:pt x="334" y="1320"/>
                    </a:lnTo>
                    <a:lnTo>
                      <a:pt x="313" y="1340"/>
                    </a:lnTo>
                    <a:lnTo>
                      <a:pt x="291" y="1358"/>
                    </a:lnTo>
                    <a:lnTo>
                      <a:pt x="268" y="1376"/>
                    </a:lnTo>
                    <a:lnTo>
                      <a:pt x="245" y="1392"/>
                    </a:lnTo>
                    <a:lnTo>
                      <a:pt x="221" y="1407"/>
                    </a:lnTo>
                    <a:lnTo>
                      <a:pt x="196" y="1421"/>
                    </a:lnTo>
                    <a:lnTo>
                      <a:pt x="170" y="1433"/>
                    </a:lnTo>
                    <a:lnTo>
                      <a:pt x="145" y="1444"/>
                    </a:lnTo>
                    <a:lnTo>
                      <a:pt x="145" y="1444"/>
                    </a:lnTo>
                    <a:lnTo>
                      <a:pt x="131" y="1450"/>
                    </a:lnTo>
                    <a:lnTo>
                      <a:pt x="117" y="1458"/>
                    </a:lnTo>
                    <a:lnTo>
                      <a:pt x="105" y="1468"/>
                    </a:lnTo>
                    <a:lnTo>
                      <a:pt x="94" y="1477"/>
                    </a:lnTo>
                    <a:lnTo>
                      <a:pt x="85" y="1488"/>
                    </a:lnTo>
                    <a:lnTo>
                      <a:pt x="76" y="1499"/>
                    </a:lnTo>
                    <a:lnTo>
                      <a:pt x="67" y="1511"/>
                    </a:lnTo>
                    <a:lnTo>
                      <a:pt x="61" y="1525"/>
                    </a:lnTo>
                    <a:lnTo>
                      <a:pt x="56" y="1538"/>
                    </a:lnTo>
                    <a:lnTo>
                      <a:pt x="52" y="1552"/>
                    </a:lnTo>
                    <a:lnTo>
                      <a:pt x="50" y="1567"/>
                    </a:lnTo>
                    <a:lnTo>
                      <a:pt x="49" y="1581"/>
                    </a:lnTo>
                    <a:lnTo>
                      <a:pt x="49" y="1596"/>
                    </a:lnTo>
                    <a:lnTo>
                      <a:pt x="51" y="1610"/>
                    </a:lnTo>
                    <a:lnTo>
                      <a:pt x="54" y="1626"/>
                    </a:lnTo>
                    <a:lnTo>
                      <a:pt x="59" y="1640"/>
                    </a:lnTo>
                    <a:lnTo>
                      <a:pt x="59" y="1640"/>
                    </a:lnTo>
                    <a:lnTo>
                      <a:pt x="65" y="1654"/>
                    </a:lnTo>
                    <a:lnTo>
                      <a:pt x="74" y="1668"/>
                    </a:lnTo>
                    <a:lnTo>
                      <a:pt x="82" y="1679"/>
                    </a:lnTo>
                    <a:lnTo>
                      <a:pt x="92" y="1690"/>
                    </a:lnTo>
                    <a:lnTo>
                      <a:pt x="102" y="1700"/>
                    </a:lnTo>
                    <a:lnTo>
                      <a:pt x="114" y="1709"/>
                    </a:lnTo>
                    <a:lnTo>
                      <a:pt x="127" y="1716"/>
                    </a:lnTo>
                    <a:lnTo>
                      <a:pt x="140" y="1723"/>
                    </a:lnTo>
                    <a:lnTo>
                      <a:pt x="153" y="1728"/>
                    </a:lnTo>
                    <a:lnTo>
                      <a:pt x="167" y="1732"/>
                    </a:lnTo>
                    <a:lnTo>
                      <a:pt x="182" y="1735"/>
                    </a:lnTo>
                    <a:lnTo>
                      <a:pt x="196" y="1736"/>
                    </a:lnTo>
                    <a:lnTo>
                      <a:pt x="210" y="1735"/>
                    </a:lnTo>
                    <a:lnTo>
                      <a:pt x="226" y="1734"/>
                    </a:lnTo>
                    <a:lnTo>
                      <a:pt x="240" y="1730"/>
                    </a:lnTo>
                    <a:lnTo>
                      <a:pt x="255" y="1725"/>
                    </a:lnTo>
                    <a:lnTo>
                      <a:pt x="255" y="1725"/>
                    </a:lnTo>
                    <a:lnTo>
                      <a:pt x="296" y="1708"/>
                    </a:lnTo>
                    <a:lnTo>
                      <a:pt x="335" y="1689"/>
                    </a:lnTo>
                    <a:lnTo>
                      <a:pt x="373" y="1668"/>
                    </a:lnTo>
                    <a:lnTo>
                      <a:pt x="410" y="1644"/>
                    </a:lnTo>
                    <a:lnTo>
                      <a:pt x="447" y="1620"/>
                    </a:lnTo>
                    <a:lnTo>
                      <a:pt x="482" y="1593"/>
                    </a:lnTo>
                    <a:lnTo>
                      <a:pt x="514" y="1563"/>
                    </a:lnTo>
                    <a:lnTo>
                      <a:pt x="547" y="1533"/>
                    </a:lnTo>
                    <a:lnTo>
                      <a:pt x="547" y="1533"/>
                    </a:lnTo>
                    <a:lnTo>
                      <a:pt x="574" y="1504"/>
                    </a:lnTo>
                    <a:lnTo>
                      <a:pt x="601" y="1474"/>
                    </a:lnTo>
                    <a:lnTo>
                      <a:pt x="625" y="1442"/>
                    </a:lnTo>
                    <a:lnTo>
                      <a:pt x="649" y="1410"/>
                    </a:lnTo>
                    <a:lnTo>
                      <a:pt x="670" y="1377"/>
                    </a:lnTo>
                    <a:lnTo>
                      <a:pt x="691" y="1343"/>
                    </a:lnTo>
                    <a:lnTo>
                      <a:pt x="708" y="1308"/>
                    </a:lnTo>
                    <a:lnTo>
                      <a:pt x="725" y="1273"/>
                    </a:lnTo>
                    <a:lnTo>
                      <a:pt x="725" y="1273"/>
                    </a:lnTo>
                    <a:lnTo>
                      <a:pt x="727" y="1269"/>
                    </a:lnTo>
                    <a:lnTo>
                      <a:pt x="727" y="1269"/>
                    </a:lnTo>
                    <a:lnTo>
                      <a:pt x="728" y="1266"/>
                    </a:lnTo>
                    <a:lnTo>
                      <a:pt x="728" y="1266"/>
                    </a:lnTo>
                    <a:lnTo>
                      <a:pt x="742" y="1233"/>
                    </a:lnTo>
                    <a:lnTo>
                      <a:pt x="754" y="1198"/>
                    </a:lnTo>
                    <a:lnTo>
                      <a:pt x="754" y="1198"/>
                    </a:lnTo>
                    <a:lnTo>
                      <a:pt x="759" y="1184"/>
                    </a:lnTo>
                    <a:lnTo>
                      <a:pt x="759" y="1184"/>
                    </a:lnTo>
                    <a:lnTo>
                      <a:pt x="768" y="1151"/>
                    </a:lnTo>
                    <a:lnTo>
                      <a:pt x="776" y="1118"/>
                    </a:lnTo>
                    <a:lnTo>
                      <a:pt x="776" y="1118"/>
                    </a:lnTo>
                    <a:lnTo>
                      <a:pt x="778" y="1109"/>
                    </a:lnTo>
                    <a:lnTo>
                      <a:pt x="780" y="1099"/>
                    </a:lnTo>
                    <a:lnTo>
                      <a:pt x="780" y="1099"/>
                    </a:lnTo>
                    <a:lnTo>
                      <a:pt x="786" y="1066"/>
                    </a:lnTo>
                    <a:lnTo>
                      <a:pt x="791" y="1031"/>
                    </a:lnTo>
                    <a:lnTo>
                      <a:pt x="791" y="1031"/>
                    </a:lnTo>
                    <a:lnTo>
                      <a:pt x="794" y="1015"/>
                    </a:lnTo>
                    <a:lnTo>
                      <a:pt x="794" y="1015"/>
                    </a:lnTo>
                    <a:lnTo>
                      <a:pt x="797" y="971"/>
                    </a:lnTo>
                    <a:lnTo>
                      <a:pt x="798" y="927"/>
                    </a:lnTo>
                    <a:lnTo>
                      <a:pt x="798" y="927"/>
                    </a:lnTo>
                    <a:lnTo>
                      <a:pt x="798" y="923"/>
                    </a:lnTo>
                    <a:lnTo>
                      <a:pt x="798" y="923"/>
                    </a:lnTo>
                    <a:close/>
                    <a:moveTo>
                      <a:pt x="483" y="1470"/>
                    </a:moveTo>
                    <a:lnTo>
                      <a:pt x="483" y="1470"/>
                    </a:lnTo>
                    <a:lnTo>
                      <a:pt x="454" y="1497"/>
                    </a:lnTo>
                    <a:lnTo>
                      <a:pt x="424" y="1523"/>
                    </a:lnTo>
                    <a:lnTo>
                      <a:pt x="393" y="1546"/>
                    </a:lnTo>
                    <a:lnTo>
                      <a:pt x="361" y="1569"/>
                    </a:lnTo>
                    <a:lnTo>
                      <a:pt x="328" y="1589"/>
                    </a:lnTo>
                    <a:lnTo>
                      <a:pt x="294" y="1608"/>
                    </a:lnTo>
                    <a:lnTo>
                      <a:pt x="258" y="1626"/>
                    </a:lnTo>
                    <a:lnTo>
                      <a:pt x="221" y="1641"/>
                    </a:lnTo>
                    <a:lnTo>
                      <a:pt x="221" y="1641"/>
                    </a:lnTo>
                    <a:lnTo>
                      <a:pt x="216" y="1643"/>
                    </a:lnTo>
                    <a:lnTo>
                      <a:pt x="210" y="1644"/>
                    </a:lnTo>
                    <a:lnTo>
                      <a:pt x="198" y="1645"/>
                    </a:lnTo>
                    <a:lnTo>
                      <a:pt x="187" y="1644"/>
                    </a:lnTo>
                    <a:lnTo>
                      <a:pt x="176" y="1640"/>
                    </a:lnTo>
                    <a:lnTo>
                      <a:pt x="165" y="1635"/>
                    </a:lnTo>
                    <a:lnTo>
                      <a:pt x="156" y="1627"/>
                    </a:lnTo>
                    <a:lnTo>
                      <a:pt x="149" y="1618"/>
                    </a:lnTo>
                    <a:lnTo>
                      <a:pt x="146" y="1612"/>
                    </a:lnTo>
                    <a:lnTo>
                      <a:pt x="144" y="1607"/>
                    </a:lnTo>
                    <a:lnTo>
                      <a:pt x="144" y="1607"/>
                    </a:lnTo>
                    <a:lnTo>
                      <a:pt x="142" y="1601"/>
                    </a:lnTo>
                    <a:lnTo>
                      <a:pt x="140" y="1595"/>
                    </a:lnTo>
                    <a:lnTo>
                      <a:pt x="140" y="1583"/>
                    </a:lnTo>
                    <a:lnTo>
                      <a:pt x="141" y="1572"/>
                    </a:lnTo>
                    <a:lnTo>
                      <a:pt x="144" y="1560"/>
                    </a:lnTo>
                    <a:lnTo>
                      <a:pt x="150" y="1550"/>
                    </a:lnTo>
                    <a:lnTo>
                      <a:pt x="157" y="1542"/>
                    </a:lnTo>
                    <a:lnTo>
                      <a:pt x="166" y="1534"/>
                    </a:lnTo>
                    <a:lnTo>
                      <a:pt x="171" y="1531"/>
                    </a:lnTo>
                    <a:lnTo>
                      <a:pt x="178" y="1529"/>
                    </a:lnTo>
                    <a:lnTo>
                      <a:pt x="178" y="1529"/>
                    </a:lnTo>
                    <a:lnTo>
                      <a:pt x="208" y="1516"/>
                    </a:lnTo>
                    <a:lnTo>
                      <a:pt x="238" y="1501"/>
                    </a:lnTo>
                    <a:lnTo>
                      <a:pt x="267" y="1485"/>
                    </a:lnTo>
                    <a:lnTo>
                      <a:pt x="295" y="1468"/>
                    </a:lnTo>
                    <a:lnTo>
                      <a:pt x="322" y="1449"/>
                    </a:lnTo>
                    <a:lnTo>
                      <a:pt x="348" y="1429"/>
                    </a:lnTo>
                    <a:lnTo>
                      <a:pt x="373" y="1407"/>
                    </a:lnTo>
                    <a:lnTo>
                      <a:pt x="398" y="1384"/>
                    </a:lnTo>
                    <a:lnTo>
                      <a:pt x="398" y="1384"/>
                    </a:lnTo>
                    <a:lnTo>
                      <a:pt x="402" y="1380"/>
                    </a:lnTo>
                    <a:lnTo>
                      <a:pt x="407" y="1376"/>
                    </a:lnTo>
                    <a:lnTo>
                      <a:pt x="417" y="1371"/>
                    </a:lnTo>
                    <a:lnTo>
                      <a:pt x="428" y="1368"/>
                    </a:lnTo>
                    <a:lnTo>
                      <a:pt x="440" y="1367"/>
                    </a:lnTo>
                    <a:lnTo>
                      <a:pt x="452" y="1368"/>
                    </a:lnTo>
                    <a:lnTo>
                      <a:pt x="463" y="1371"/>
                    </a:lnTo>
                    <a:lnTo>
                      <a:pt x="473" y="1376"/>
                    </a:lnTo>
                    <a:lnTo>
                      <a:pt x="478" y="1380"/>
                    </a:lnTo>
                    <a:lnTo>
                      <a:pt x="483" y="1384"/>
                    </a:lnTo>
                    <a:lnTo>
                      <a:pt x="483" y="1384"/>
                    </a:lnTo>
                    <a:lnTo>
                      <a:pt x="487" y="1389"/>
                    </a:lnTo>
                    <a:lnTo>
                      <a:pt x="491" y="1393"/>
                    </a:lnTo>
                    <a:lnTo>
                      <a:pt x="496" y="1404"/>
                    </a:lnTo>
                    <a:lnTo>
                      <a:pt x="500" y="1416"/>
                    </a:lnTo>
                    <a:lnTo>
                      <a:pt x="501" y="1427"/>
                    </a:lnTo>
                    <a:lnTo>
                      <a:pt x="500" y="1438"/>
                    </a:lnTo>
                    <a:lnTo>
                      <a:pt x="496" y="1449"/>
                    </a:lnTo>
                    <a:lnTo>
                      <a:pt x="491" y="1459"/>
                    </a:lnTo>
                    <a:lnTo>
                      <a:pt x="487" y="1465"/>
                    </a:lnTo>
                    <a:lnTo>
                      <a:pt x="483" y="1470"/>
                    </a:lnTo>
                    <a:lnTo>
                      <a:pt x="483" y="1470"/>
                    </a:lnTo>
                    <a:close/>
                  </a:path>
                </a:pathLst>
              </a:custGeom>
              <a:solidFill>
                <a:schemeClr val="accent3"/>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grpSp>
      </p:grpSp>
      <p:sp>
        <p:nvSpPr>
          <p:cNvPr id="21" name="Rectangle 20"/>
          <p:cNvSpPr/>
          <p:nvPr/>
        </p:nvSpPr>
        <p:spPr>
          <a:xfrm>
            <a:off x="1132113" y="1473386"/>
            <a:ext cx="717424" cy="422718"/>
          </a:xfrm>
          <a:prstGeom prst="rect">
            <a:avLst/>
          </a:prstGeom>
          <a:noFill/>
          <a:effectLst/>
        </p:spPr>
        <p:txBody>
          <a:bodyPr lIns="0" tIns="0" rIns="0" bIns="0" anchor="ctr" anchorCtr="0">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フィルタリング</a:t>
            </a:r>
            <a:endParaRPr lang="en-US" sz="900" kern="0" dirty="0">
              <a:solidFill>
                <a:schemeClr val="bg1"/>
              </a:solidFill>
              <a:latin typeface="+mj-lt"/>
            </a:endParaRPr>
          </a:p>
        </p:txBody>
      </p:sp>
      <p:sp>
        <p:nvSpPr>
          <p:cNvPr id="536" name="Rectangle 535"/>
          <p:cNvSpPr/>
          <p:nvPr/>
        </p:nvSpPr>
        <p:spPr>
          <a:xfrm>
            <a:off x="2041620" y="1473386"/>
            <a:ext cx="777780" cy="422718"/>
          </a:xfrm>
          <a:prstGeom prst="rect">
            <a:avLst/>
          </a:prstGeom>
          <a:noFill/>
          <a:effectLst/>
        </p:spPr>
        <p:txBody>
          <a:bodyPr lIns="0" tIns="0" rIns="0" bIns="0" anchor="ctr" anchorCtr="0">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レピュテーション</a:t>
            </a:r>
            <a:endParaRPr lang="en-US" sz="900" kern="0" dirty="0">
              <a:solidFill>
                <a:schemeClr val="bg1"/>
              </a:solidFill>
              <a:latin typeface="+mj-lt"/>
            </a:endParaRPr>
          </a:p>
        </p:txBody>
      </p:sp>
      <p:sp>
        <p:nvSpPr>
          <p:cNvPr id="537" name="Rectangle 536"/>
          <p:cNvSpPr/>
          <p:nvPr/>
        </p:nvSpPr>
        <p:spPr>
          <a:xfrm>
            <a:off x="2963565" y="1395701"/>
            <a:ext cx="805093" cy="422718"/>
          </a:xfrm>
          <a:prstGeom prst="rect">
            <a:avLst/>
          </a:prstGeom>
          <a:noFill/>
          <a:effectLst/>
        </p:spPr>
        <p:txBody>
          <a:bodyPr lIns="0" tIns="0" rIns="0" bIns="45718" anchor="ctr" anchorCtr="0">
            <a:noAutofit/>
          </a:bodyPr>
          <a:lstStyle/>
          <a:p>
            <a:pPr algn="ctr" defTabSz="914103">
              <a:defRPr/>
            </a:pPr>
            <a:r>
              <a:rPr lang="ja-JP" altLang="en-US" sz="900" kern="0" dirty="0" smtClean="0">
                <a:solidFill>
                  <a:schemeClr val="bg1"/>
                </a:solidFill>
                <a:latin typeface="+mj-lt"/>
              </a:rPr>
              <a:t>ウェブアプリ</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可視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コントロール</a:t>
            </a:r>
            <a:endParaRPr lang="en-US" sz="900" kern="0" dirty="0">
              <a:solidFill>
                <a:schemeClr val="bg1"/>
              </a:solidFill>
              <a:latin typeface="+mj-lt"/>
            </a:endParaRPr>
          </a:p>
        </p:txBody>
      </p:sp>
      <p:sp>
        <p:nvSpPr>
          <p:cNvPr id="538" name="Rectangle 537"/>
          <p:cNvSpPr/>
          <p:nvPr/>
        </p:nvSpPr>
        <p:spPr>
          <a:xfrm>
            <a:off x="3993128" y="1260118"/>
            <a:ext cx="714884" cy="263328"/>
          </a:xfrm>
          <a:prstGeom prst="rect">
            <a:avLst/>
          </a:prstGeom>
          <a:noFill/>
          <a:effectLst/>
        </p:spPr>
        <p:txBody>
          <a:bodyPr lIns="91436" tIns="45718" rIns="91436" bIns="45718">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ページ</a:t>
            </a:r>
            <a:endParaRPr lang="en-US" sz="900" kern="0" dirty="0">
              <a:solidFill>
                <a:schemeClr val="bg1"/>
              </a:solidFill>
              <a:latin typeface="+mj-lt"/>
            </a:endParaRPr>
          </a:p>
        </p:txBody>
      </p:sp>
      <p:grpSp>
        <p:nvGrpSpPr>
          <p:cNvPr id="775" name="Group 285"/>
          <p:cNvGrpSpPr/>
          <p:nvPr/>
        </p:nvGrpSpPr>
        <p:grpSpPr>
          <a:xfrm>
            <a:off x="4007065" y="1588482"/>
            <a:ext cx="733829" cy="707717"/>
            <a:chOff x="3981714" y="1831755"/>
            <a:chExt cx="718747" cy="693171"/>
          </a:xfrm>
        </p:grpSpPr>
        <p:sp>
          <p:nvSpPr>
            <p:cNvPr id="266" name="Rectangle 265"/>
            <p:cNvSpPr/>
            <p:nvPr/>
          </p:nvSpPr>
          <p:spPr>
            <a:xfrm>
              <a:off x="3982464" y="1831755"/>
              <a:ext cx="717995" cy="693171"/>
            </a:xfrm>
            <a:prstGeom prst="rect">
              <a:avLst/>
            </a:prstGeom>
            <a:solidFill>
              <a:srgbClr val="00B0F0">
                <a:lumMod val="50000"/>
                <a:alpha val="0"/>
              </a:srgbClr>
            </a:solidFill>
            <a:ln w="12700" cap="flat" cmpd="sng" algn="ctr">
              <a:solidFill>
                <a:schemeClr val="accent2"/>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267" name="Rectangle 266"/>
            <p:cNvSpPr/>
            <p:nvPr/>
          </p:nvSpPr>
          <p:spPr>
            <a:xfrm>
              <a:off x="3982466" y="1834957"/>
              <a:ext cx="717995" cy="66335"/>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68" name="Rounded Rectangle 267"/>
            <p:cNvSpPr/>
            <p:nvPr/>
          </p:nvSpPr>
          <p:spPr>
            <a:xfrm>
              <a:off x="4073348" y="1851950"/>
              <a:ext cx="569956" cy="32428"/>
            </a:xfrm>
            <a:prstGeom prst="roundRect">
              <a:avLst/>
            </a:prstGeom>
            <a:solidFill>
              <a:schemeClr val="accent2">
                <a:lumMod val="40000"/>
                <a:lumOff val="60000"/>
              </a:schemeClr>
            </a:solidFill>
            <a:ln w="25400" cap="flat" cmpd="sng" algn="ctr">
              <a:noFill/>
              <a:prstDash val="solid"/>
            </a:ln>
            <a:effectLst/>
          </p:spPr>
          <p:txBody>
            <a:bodyPr rtlCol="0" anchor="ctr"/>
            <a:lstStyle/>
            <a:p>
              <a:pPr defTabSz="1218539">
                <a:defRPr/>
              </a:pPr>
              <a:r>
                <a:rPr lang="en-US" sz="300" kern="0" dirty="0">
                  <a:solidFill>
                    <a:schemeClr val="tx2"/>
                  </a:solidFill>
                  <a:latin typeface="+mj-lt"/>
                </a:rPr>
                <a:t>www.website.com</a:t>
              </a:r>
            </a:p>
          </p:txBody>
        </p:sp>
        <p:sp>
          <p:nvSpPr>
            <p:cNvPr id="269" name="Isosceles Triangle 268"/>
            <p:cNvSpPr/>
            <p:nvPr/>
          </p:nvSpPr>
          <p:spPr>
            <a:xfrm rot="16200000">
              <a:off x="3998363" y="1858876"/>
              <a:ext cx="23677" cy="23381"/>
            </a:xfrm>
            <a:prstGeom prst="triangle">
              <a:avLst/>
            </a:prstGeom>
            <a:solidFill>
              <a:srgbClr val="FFFFFF"/>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0" name="Isosceles Triangle 269"/>
            <p:cNvSpPr/>
            <p:nvPr/>
          </p:nvSpPr>
          <p:spPr>
            <a:xfrm rot="5400000" flipH="1">
              <a:off x="4029555" y="1858876"/>
              <a:ext cx="23677" cy="23381"/>
            </a:xfrm>
            <a:prstGeom prst="triangle">
              <a:avLst/>
            </a:prstGeom>
            <a:solidFill>
              <a:srgbClr val="FFFFFF"/>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1" name="Rectangle 270"/>
            <p:cNvSpPr/>
            <p:nvPr/>
          </p:nvSpPr>
          <p:spPr>
            <a:xfrm>
              <a:off x="4653898" y="1853815"/>
              <a:ext cx="32748" cy="28588"/>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2" name="Rectangle 271"/>
            <p:cNvSpPr/>
            <p:nvPr/>
          </p:nvSpPr>
          <p:spPr>
            <a:xfrm>
              <a:off x="3997922" y="1913436"/>
              <a:ext cx="78728" cy="573277"/>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3" name="Rectangle 272"/>
            <p:cNvSpPr/>
            <p:nvPr/>
          </p:nvSpPr>
          <p:spPr>
            <a:xfrm>
              <a:off x="3981714" y="2500739"/>
              <a:ext cx="718747" cy="24186"/>
            </a:xfrm>
            <a:prstGeom prst="rect">
              <a:avLst/>
            </a:prstGeom>
            <a:solidFill>
              <a:schemeClr val="accent2">
                <a:lumMod val="40000"/>
                <a:lumOff val="60000"/>
                <a:alpha val="5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4" name="Rectangle 273"/>
            <p:cNvSpPr/>
            <p:nvPr/>
          </p:nvSpPr>
          <p:spPr>
            <a:xfrm>
              <a:off x="4086310" y="1913436"/>
              <a:ext cx="600336" cy="54862"/>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5" name="Rectangle 274"/>
            <p:cNvSpPr/>
            <p:nvPr/>
          </p:nvSpPr>
          <p:spPr>
            <a:xfrm>
              <a:off x="4086310" y="1980184"/>
              <a:ext cx="300167" cy="209345"/>
            </a:xfrm>
            <a:prstGeom prst="rect">
              <a:avLst/>
            </a:prstGeom>
            <a:solidFill>
              <a:srgbClr val="00B0F0">
                <a:lumMod val="50000"/>
                <a:alpha val="0"/>
              </a:srgbClr>
            </a:solidFill>
            <a:ln w="12700" cap="flat" cmpd="sng" algn="ctr">
              <a:solidFill>
                <a:schemeClr val="tx2">
                  <a:lumMod val="20000"/>
                  <a:lumOff val="80000"/>
                </a:schemeClr>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276" name="Rectangle 275"/>
            <p:cNvSpPr/>
            <p:nvPr/>
          </p:nvSpPr>
          <p:spPr>
            <a:xfrm>
              <a:off x="4400293" y="1980184"/>
              <a:ext cx="270431" cy="62559"/>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7" name="Rectangle 276"/>
            <p:cNvSpPr/>
            <p:nvPr/>
          </p:nvSpPr>
          <p:spPr>
            <a:xfrm>
              <a:off x="4400293" y="2053577"/>
              <a:ext cx="243011"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8" name="Rectangle 277"/>
            <p:cNvSpPr/>
            <p:nvPr/>
          </p:nvSpPr>
          <p:spPr>
            <a:xfrm>
              <a:off x="4399841" y="2126970"/>
              <a:ext cx="270431" cy="62559"/>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9" name="Rectangle 287"/>
            <p:cNvSpPr/>
            <p:nvPr/>
          </p:nvSpPr>
          <p:spPr>
            <a:xfrm>
              <a:off x="4086310" y="2201132"/>
              <a:ext cx="300167" cy="40689"/>
            </a:xfrm>
            <a:custGeom>
              <a:avLst/>
              <a:gdLst/>
              <a:ahLst/>
              <a:cxnLst/>
              <a:rect l="l" t="t" r="r" b="b"/>
              <a:pathLst>
                <a:path w="779146" h="241963">
                  <a:moveTo>
                    <a:pt x="0" y="0"/>
                  </a:moveTo>
                  <a:lnTo>
                    <a:pt x="779146" y="0"/>
                  </a:lnTo>
                  <a:lnTo>
                    <a:pt x="779146" y="91925"/>
                  </a:lnTo>
                  <a:lnTo>
                    <a:pt x="601617" y="91925"/>
                  </a:lnTo>
                  <a:lnTo>
                    <a:pt x="601617" y="110144"/>
                  </a:lnTo>
                  <a:lnTo>
                    <a:pt x="706071" y="110144"/>
                  </a:lnTo>
                  <a:lnTo>
                    <a:pt x="706071" y="202069"/>
                  </a:lnTo>
                  <a:lnTo>
                    <a:pt x="636830" y="202069"/>
                  </a:lnTo>
                  <a:lnTo>
                    <a:pt x="636830" y="241963"/>
                  </a:lnTo>
                  <a:lnTo>
                    <a:pt x="0" y="241963"/>
                  </a:lnTo>
                  <a:lnTo>
                    <a:pt x="0" y="202069"/>
                  </a:lnTo>
                  <a:lnTo>
                    <a:pt x="0" y="150038"/>
                  </a:lnTo>
                  <a:lnTo>
                    <a:pt x="0" y="149355"/>
                  </a:lnTo>
                  <a:lnTo>
                    <a:pt x="0" y="110144"/>
                  </a:lnTo>
                  <a:lnTo>
                    <a:pt x="0" y="91925"/>
                  </a:lnTo>
                  <a:lnTo>
                    <a:pt x="0" y="57430"/>
                  </a:lnTo>
                  <a:close/>
                </a:path>
              </a:pathLst>
            </a:cu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80" name="Rectangle 287"/>
            <p:cNvSpPr/>
            <p:nvPr/>
          </p:nvSpPr>
          <p:spPr>
            <a:xfrm>
              <a:off x="4086310" y="2250340"/>
              <a:ext cx="255152" cy="20345"/>
            </a:xfrm>
            <a:custGeom>
              <a:avLst/>
              <a:gdLst/>
              <a:ahLst/>
              <a:cxnLst/>
              <a:rect l="l" t="t" r="r" b="b"/>
              <a:pathLst>
                <a:path w="779146" h="241963">
                  <a:moveTo>
                    <a:pt x="0" y="0"/>
                  </a:moveTo>
                  <a:lnTo>
                    <a:pt x="779146" y="0"/>
                  </a:lnTo>
                  <a:lnTo>
                    <a:pt x="779146" y="91925"/>
                  </a:lnTo>
                  <a:lnTo>
                    <a:pt x="601617" y="91925"/>
                  </a:lnTo>
                  <a:lnTo>
                    <a:pt x="601617" y="110144"/>
                  </a:lnTo>
                  <a:lnTo>
                    <a:pt x="706071" y="110144"/>
                  </a:lnTo>
                  <a:lnTo>
                    <a:pt x="706071" y="202069"/>
                  </a:lnTo>
                  <a:lnTo>
                    <a:pt x="636830" y="202069"/>
                  </a:lnTo>
                  <a:lnTo>
                    <a:pt x="636830" y="241963"/>
                  </a:lnTo>
                  <a:lnTo>
                    <a:pt x="0" y="241963"/>
                  </a:lnTo>
                  <a:lnTo>
                    <a:pt x="0" y="202069"/>
                  </a:lnTo>
                  <a:lnTo>
                    <a:pt x="0" y="150038"/>
                  </a:lnTo>
                  <a:lnTo>
                    <a:pt x="0" y="149355"/>
                  </a:lnTo>
                  <a:lnTo>
                    <a:pt x="0" y="110144"/>
                  </a:lnTo>
                  <a:lnTo>
                    <a:pt x="0" y="91925"/>
                  </a:lnTo>
                  <a:lnTo>
                    <a:pt x="0" y="57430"/>
                  </a:lnTo>
                  <a:close/>
                </a:path>
              </a:pathLst>
            </a:cu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81" name="Rectangle 280"/>
            <p:cNvSpPr/>
            <p:nvPr/>
          </p:nvSpPr>
          <p:spPr>
            <a:xfrm>
              <a:off x="4086310"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2" name="Rectangle 281"/>
            <p:cNvSpPr/>
            <p:nvPr/>
          </p:nvSpPr>
          <p:spPr>
            <a:xfrm>
              <a:off x="4245370"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3" name="Rectangle 282"/>
            <p:cNvSpPr/>
            <p:nvPr/>
          </p:nvSpPr>
          <p:spPr>
            <a:xfrm>
              <a:off x="4404432"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4" name="Rectangle 283"/>
            <p:cNvSpPr/>
            <p:nvPr/>
          </p:nvSpPr>
          <p:spPr>
            <a:xfrm>
              <a:off x="4563493"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5" name="Rectangle 284"/>
            <p:cNvSpPr/>
            <p:nvPr/>
          </p:nvSpPr>
          <p:spPr>
            <a:xfrm>
              <a:off x="4086310" y="2379896"/>
              <a:ext cx="584413" cy="106817"/>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grpSp>
      <p:sp>
        <p:nvSpPr>
          <p:cNvPr id="539" name="Rectangle 538"/>
          <p:cNvSpPr/>
          <p:nvPr/>
        </p:nvSpPr>
        <p:spPr>
          <a:xfrm>
            <a:off x="4815324" y="1443736"/>
            <a:ext cx="811842" cy="382033"/>
          </a:xfrm>
          <a:prstGeom prst="rect">
            <a:avLst/>
          </a:prstGeom>
          <a:noFill/>
          <a:effectLst/>
        </p:spPr>
        <p:txBody>
          <a:bodyPr lIns="91436" tIns="45718" rIns="91436" bIns="45718">
            <a:noAutofit/>
          </a:bodyPr>
          <a:lstStyle/>
          <a:p>
            <a:pPr algn="ctr" defTabSz="914103"/>
            <a:r>
              <a:rPr lang="ja-JP" altLang="en-US" sz="900" kern="0" dirty="0" smtClean="0">
                <a:solidFill>
                  <a:schemeClr val="bg1"/>
                </a:solidFill>
                <a:latin typeface="+mj-lt"/>
              </a:rPr>
              <a:t>アンチ</a:t>
            </a:r>
            <a:endParaRPr lang="en-US" altLang="ja-JP" sz="900" kern="0" dirty="0" smtClean="0">
              <a:solidFill>
                <a:schemeClr val="bg1"/>
              </a:solidFill>
              <a:latin typeface="+mj-lt"/>
            </a:endParaRPr>
          </a:p>
          <a:p>
            <a:pPr algn="ctr" defTabSz="914103"/>
            <a:r>
              <a:rPr lang="ja-JP" altLang="en-US" sz="900" kern="0" dirty="0" smtClean="0">
                <a:solidFill>
                  <a:schemeClr val="bg1"/>
                </a:solidFill>
                <a:latin typeface="+mj-lt"/>
              </a:rPr>
              <a:t>マルウェア</a:t>
            </a:r>
            <a:endParaRPr lang="en-US" sz="900" kern="0" dirty="0">
              <a:solidFill>
                <a:schemeClr val="bg1"/>
              </a:solidFill>
              <a:latin typeface="+mj-lt"/>
            </a:endParaRPr>
          </a:p>
        </p:txBody>
      </p:sp>
      <p:sp>
        <p:nvSpPr>
          <p:cNvPr id="540" name="Rectangle 539"/>
          <p:cNvSpPr/>
          <p:nvPr/>
        </p:nvSpPr>
        <p:spPr>
          <a:xfrm>
            <a:off x="5695279" y="1444954"/>
            <a:ext cx="590813" cy="420237"/>
          </a:xfrm>
          <a:prstGeom prst="rect">
            <a:avLst/>
          </a:prstGeom>
          <a:noFill/>
          <a:effectLst/>
        </p:spPr>
        <p:txBody>
          <a:bodyPr lIns="0" tIns="0" rIns="0" bIns="0" anchor="ctr">
            <a:noAutofit/>
          </a:bodyPr>
          <a:lstStyle/>
          <a:p>
            <a:pPr algn="ctr" defTabSz="914103">
              <a:defRPr/>
            </a:pPr>
            <a:r>
              <a:rPr lang="ja-JP" altLang="en-US" sz="900" kern="0" dirty="0" smtClean="0">
                <a:solidFill>
                  <a:schemeClr val="bg1"/>
                </a:solidFill>
                <a:latin typeface="+mj-lt"/>
              </a:rPr>
              <a:t>ファイル</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レピュテーション</a:t>
            </a:r>
            <a:endParaRPr lang="en-US" sz="900" kern="0" dirty="0">
              <a:solidFill>
                <a:schemeClr val="bg1"/>
              </a:solidFill>
              <a:latin typeface="+mj-lt"/>
            </a:endParaRPr>
          </a:p>
        </p:txBody>
      </p:sp>
      <p:sp>
        <p:nvSpPr>
          <p:cNvPr id="542" name="Rectangle 541"/>
          <p:cNvSpPr/>
          <p:nvPr/>
        </p:nvSpPr>
        <p:spPr>
          <a:xfrm>
            <a:off x="7198624" y="1297353"/>
            <a:ext cx="786373" cy="287027"/>
          </a:xfrm>
          <a:prstGeom prst="rect">
            <a:avLst/>
          </a:prstGeom>
          <a:noFill/>
          <a:effectLst/>
        </p:spPr>
        <p:txBody>
          <a:bodyPr lIns="0" tIns="0" rIns="0" bIns="0" anchor="ctr">
            <a:noAutofit/>
          </a:bodyPr>
          <a:lstStyle/>
          <a:p>
            <a:pPr algn="ctr" defTabSz="914103"/>
            <a:r>
              <a:rPr lang="en-US" sz="800" dirty="0">
                <a:solidFill>
                  <a:schemeClr val="bg1"/>
                </a:solidFill>
                <a:latin typeface="+mj-lt"/>
              </a:rPr>
              <a:t/>
            </a:r>
            <a:br>
              <a:rPr lang="en-US" sz="800" dirty="0">
                <a:solidFill>
                  <a:schemeClr val="bg1"/>
                </a:solidFill>
                <a:latin typeface="+mj-lt"/>
              </a:rPr>
            </a:br>
            <a:r>
              <a:rPr lang="ja-JP" altLang="en-US" sz="800" dirty="0" smtClean="0">
                <a:solidFill>
                  <a:schemeClr val="bg1"/>
                </a:solidFill>
                <a:latin typeface="+mj-lt"/>
              </a:rPr>
              <a:t>サンドボックス</a:t>
            </a:r>
            <a:endParaRPr lang="en-US" sz="800" dirty="0">
              <a:solidFill>
                <a:schemeClr val="bg1"/>
              </a:solidFill>
              <a:latin typeface="+mj-lt"/>
            </a:endParaRPr>
          </a:p>
        </p:txBody>
      </p:sp>
      <p:grpSp>
        <p:nvGrpSpPr>
          <p:cNvPr id="785" name="Group 107"/>
          <p:cNvGrpSpPr/>
          <p:nvPr/>
        </p:nvGrpSpPr>
        <p:grpSpPr>
          <a:xfrm>
            <a:off x="7709858" y="1272393"/>
            <a:ext cx="288218" cy="151566"/>
            <a:chOff x="7234599" y="1342765"/>
            <a:chExt cx="307449" cy="161680"/>
          </a:xfrm>
        </p:grpSpPr>
        <p:sp>
          <p:nvSpPr>
            <p:cNvPr id="109" name="Rectangle 108"/>
            <p:cNvSpPr/>
            <p:nvPr/>
          </p:nvSpPr>
          <p:spPr>
            <a:xfrm>
              <a:off x="7234599" y="1342765"/>
              <a:ext cx="307449" cy="161680"/>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110" name="Freeform 65"/>
            <p:cNvSpPr>
              <a:spLocks noEditPoints="1"/>
            </p:cNvSpPr>
            <p:nvPr/>
          </p:nvSpPr>
          <p:spPr bwMode="auto">
            <a:xfrm>
              <a:off x="7268757" y="1379552"/>
              <a:ext cx="82997" cy="85404"/>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1" name="Freeform 66"/>
            <p:cNvSpPr>
              <a:spLocks/>
            </p:cNvSpPr>
            <p:nvPr/>
          </p:nvSpPr>
          <p:spPr bwMode="auto">
            <a:xfrm>
              <a:off x="7350188" y="1379552"/>
              <a:ext cx="79863" cy="85404"/>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2" name="Freeform 67"/>
            <p:cNvSpPr>
              <a:spLocks noEditPoints="1"/>
            </p:cNvSpPr>
            <p:nvPr/>
          </p:nvSpPr>
          <p:spPr bwMode="auto">
            <a:xfrm>
              <a:off x="7436388" y="1379552"/>
              <a:ext cx="63304" cy="85404"/>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565" name="Rectangle 564"/>
          <p:cNvSpPr/>
          <p:nvPr/>
        </p:nvSpPr>
        <p:spPr>
          <a:xfrm>
            <a:off x="7198624" y="1868583"/>
            <a:ext cx="786373" cy="287027"/>
          </a:xfrm>
          <a:prstGeom prst="rect">
            <a:avLst/>
          </a:prstGeom>
          <a:noFill/>
          <a:effectLst/>
        </p:spPr>
        <p:txBody>
          <a:bodyPr lIns="0" tIns="0" rIns="0" bIns="0" anchor="ctr">
            <a:noAutofit/>
          </a:bodyPr>
          <a:lstStyle/>
          <a:p>
            <a:pPr algn="ctr" defTabSz="1218539"/>
            <a:r>
              <a:rPr lang="en-US" sz="700" dirty="0">
                <a:solidFill>
                  <a:schemeClr val="bg1"/>
                </a:solidFill>
                <a:latin typeface="+mj-lt"/>
              </a:rPr>
              <a:t/>
            </a:r>
            <a:br>
              <a:rPr lang="en-US" sz="700" dirty="0">
                <a:solidFill>
                  <a:schemeClr val="bg1"/>
                </a:solidFill>
                <a:latin typeface="+mj-lt"/>
              </a:rPr>
            </a:br>
            <a:r>
              <a:rPr lang="ja-JP" altLang="en-US" sz="700" dirty="0" smtClean="0">
                <a:solidFill>
                  <a:schemeClr val="bg1"/>
                </a:solidFill>
                <a:latin typeface="+mj-lt"/>
              </a:rPr>
              <a:t>レトロスペクティブ</a:t>
            </a:r>
            <a:endParaRPr lang="en-US" sz="700" dirty="0">
              <a:solidFill>
                <a:schemeClr val="bg1"/>
              </a:solidFill>
              <a:latin typeface="+mj-lt"/>
            </a:endParaRPr>
          </a:p>
        </p:txBody>
      </p:sp>
      <p:sp>
        <p:nvSpPr>
          <p:cNvPr id="567" name="Rectangle 566"/>
          <p:cNvSpPr/>
          <p:nvPr/>
        </p:nvSpPr>
        <p:spPr>
          <a:xfrm>
            <a:off x="8130086" y="1315521"/>
            <a:ext cx="537103" cy="462262"/>
          </a:xfrm>
          <a:prstGeom prst="rect">
            <a:avLst/>
          </a:prstGeom>
          <a:noFill/>
          <a:effectLst/>
        </p:spPr>
        <p:txBody>
          <a:bodyPr lIns="0" tIns="0" rIns="0" bIns="0" anchor="ctr">
            <a:noAutofit/>
          </a:bodyPr>
          <a:lstStyle/>
          <a:p>
            <a:pPr algn="ctr" defTabSz="685891" fontAlgn="auto">
              <a:spcBef>
                <a:spcPts val="0"/>
              </a:spcBef>
              <a:spcAft>
                <a:spcPts val="0"/>
              </a:spcAft>
            </a:pPr>
            <a:r>
              <a:rPr lang="ja-JP" altLang="en-US" sz="600" dirty="0">
                <a:solidFill>
                  <a:srgbClr val="FFFFFF"/>
                </a:solidFill>
                <a:latin typeface="Arial"/>
              </a:rPr>
              <a:t>振る舞い分析型の脅威</a:t>
            </a:r>
            <a:r>
              <a:rPr lang="ja-JP" altLang="en-US" sz="600" dirty="0" smtClean="0">
                <a:solidFill>
                  <a:srgbClr val="FFFFFF"/>
                </a:solidFill>
                <a:latin typeface="Arial"/>
              </a:rPr>
              <a:t>検知</a:t>
            </a:r>
            <a:endParaRPr lang="en-US" altLang="ja-JP" sz="600" dirty="0" smtClean="0">
              <a:solidFill>
                <a:srgbClr val="FFFFFF"/>
              </a:solidFill>
              <a:latin typeface="Arial"/>
            </a:endParaRPr>
          </a:p>
        </p:txBody>
      </p:sp>
      <p:sp>
        <p:nvSpPr>
          <p:cNvPr id="25" name="Rectangle 24"/>
          <p:cNvSpPr/>
          <p:nvPr/>
        </p:nvSpPr>
        <p:spPr>
          <a:xfrm>
            <a:off x="6337637" y="4023246"/>
            <a:ext cx="123659" cy="123659"/>
          </a:xfrm>
          <a:prstGeom prst="rect">
            <a:avLst/>
          </a:prstGeom>
          <a:solidFill>
            <a:schemeClr val="tx2">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chemeClr val="bg1"/>
              </a:solidFill>
              <a:latin typeface="+mj-lt"/>
            </a:endParaRPr>
          </a:p>
        </p:txBody>
      </p:sp>
      <p:sp>
        <p:nvSpPr>
          <p:cNvPr id="599" name="Rectangle 598"/>
          <p:cNvSpPr/>
          <p:nvPr/>
        </p:nvSpPr>
        <p:spPr>
          <a:xfrm>
            <a:off x="7125679" y="4023246"/>
            <a:ext cx="123659" cy="123659"/>
          </a:xfrm>
          <a:prstGeom prst="rect">
            <a:avLst/>
          </a:prstGeom>
          <a:solidFill>
            <a:schemeClr val="accent6">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rgbClr val="2F2E7E"/>
              </a:solidFill>
              <a:latin typeface="+mj-lt"/>
            </a:endParaRPr>
          </a:p>
        </p:txBody>
      </p:sp>
      <p:sp>
        <p:nvSpPr>
          <p:cNvPr id="172" name="Freeform 6"/>
          <p:cNvSpPr>
            <a:spLocks noChangeAspect="1" noEditPoints="1"/>
          </p:cNvSpPr>
          <p:nvPr/>
        </p:nvSpPr>
        <p:spPr bwMode="auto">
          <a:xfrm rot="5400000">
            <a:off x="1335156" y="1865269"/>
            <a:ext cx="272800" cy="284080"/>
          </a:xfrm>
          <a:custGeom>
            <a:avLst/>
            <a:gdLst>
              <a:gd name="T0" fmla="*/ 3905 w 4320"/>
              <a:gd name="T1" fmla="*/ 2377 h 4320"/>
              <a:gd name="T2" fmla="*/ 3524 w 4320"/>
              <a:gd name="T3" fmla="*/ 2003 h 4320"/>
              <a:gd name="T4" fmla="*/ 2602 w 4320"/>
              <a:gd name="T5" fmla="*/ 1930 h 4320"/>
              <a:gd name="T6" fmla="*/ 2396 w 4320"/>
              <a:gd name="T7" fmla="*/ 1792 h 4320"/>
              <a:gd name="T8" fmla="*/ 2595 w 4320"/>
              <a:gd name="T9" fmla="*/ 890 h 4320"/>
              <a:gd name="T10" fmla="*/ 2700 w 4320"/>
              <a:gd name="T11" fmla="*/ 441 h 4320"/>
              <a:gd name="T12" fmla="*/ 2510 w 4320"/>
              <a:gd name="T13" fmla="*/ 126 h 4320"/>
              <a:gd name="T14" fmla="*/ 2160 w 4320"/>
              <a:gd name="T15" fmla="*/ 0 h 4320"/>
              <a:gd name="T16" fmla="*/ 1830 w 4320"/>
              <a:gd name="T17" fmla="*/ 109 h 4320"/>
              <a:gd name="T18" fmla="*/ 1626 w 4320"/>
              <a:gd name="T19" fmla="*/ 414 h 4320"/>
              <a:gd name="T20" fmla="*/ 1702 w 4320"/>
              <a:gd name="T21" fmla="*/ 857 h 4320"/>
              <a:gd name="T22" fmla="*/ 1933 w 4320"/>
              <a:gd name="T23" fmla="*/ 1764 h 4320"/>
              <a:gd name="T24" fmla="*/ 1745 w 4320"/>
              <a:gd name="T25" fmla="*/ 1924 h 4320"/>
              <a:gd name="T26" fmla="*/ 837 w 4320"/>
              <a:gd name="T27" fmla="*/ 1988 h 4320"/>
              <a:gd name="T28" fmla="*/ 431 w 4320"/>
              <a:gd name="T29" fmla="*/ 2344 h 4320"/>
              <a:gd name="T30" fmla="*/ 333 w 4320"/>
              <a:gd name="T31" fmla="*/ 3262 h 4320"/>
              <a:gd name="T32" fmla="*/ 6 w 4320"/>
              <a:gd name="T33" fmla="*/ 3685 h 4320"/>
              <a:gd name="T34" fmla="*/ 79 w 4320"/>
              <a:gd name="T35" fmla="*/ 4054 h 4320"/>
              <a:gd name="T36" fmla="*/ 362 w 4320"/>
              <a:gd name="T37" fmla="*/ 4287 h 4320"/>
              <a:gd name="T38" fmla="*/ 715 w 4320"/>
              <a:gd name="T39" fmla="*/ 4296 h 4320"/>
              <a:gd name="T40" fmla="*/ 1008 w 4320"/>
              <a:gd name="T41" fmla="*/ 4077 h 4320"/>
              <a:gd name="T42" fmla="*/ 1102 w 4320"/>
              <a:gd name="T43" fmla="*/ 3727 h 4320"/>
              <a:gd name="T44" fmla="*/ 806 w 4320"/>
              <a:gd name="T45" fmla="*/ 3279 h 4320"/>
              <a:gd name="T46" fmla="*/ 852 w 4320"/>
              <a:gd name="T47" fmla="*/ 2489 h 4320"/>
              <a:gd name="T48" fmla="*/ 1586 w 4320"/>
              <a:gd name="T49" fmla="*/ 2378 h 4320"/>
              <a:gd name="T50" fmla="*/ 1838 w 4320"/>
              <a:gd name="T51" fmla="*/ 3320 h 4320"/>
              <a:gd name="T52" fmla="*/ 1609 w 4320"/>
              <a:gd name="T53" fmla="*/ 3769 h 4320"/>
              <a:gd name="T54" fmla="*/ 1735 w 4320"/>
              <a:gd name="T55" fmla="*/ 4119 h 4320"/>
              <a:gd name="T56" fmla="*/ 2049 w 4320"/>
              <a:gd name="T57" fmla="*/ 4309 h 4320"/>
              <a:gd name="T58" fmla="*/ 2398 w 4320"/>
              <a:gd name="T59" fmla="*/ 4265 h 4320"/>
              <a:gd name="T60" fmla="*/ 2657 w 4320"/>
              <a:gd name="T61" fmla="*/ 4008 h 4320"/>
              <a:gd name="T62" fmla="*/ 2687 w 4320"/>
              <a:gd name="T63" fmla="*/ 3606 h 4320"/>
              <a:gd name="T64" fmla="*/ 2378 w 4320"/>
              <a:gd name="T65" fmla="*/ 2321 h 4320"/>
              <a:gd name="T66" fmla="*/ 3303 w 4320"/>
              <a:gd name="T67" fmla="*/ 2390 h 4320"/>
              <a:gd name="T68" fmla="*/ 3510 w 4320"/>
              <a:gd name="T69" fmla="*/ 2555 h 4320"/>
              <a:gd name="T70" fmla="*/ 3386 w 4320"/>
              <a:gd name="T71" fmla="*/ 3372 h 4320"/>
              <a:gd name="T72" fmla="*/ 3220 w 4320"/>
              <a:gd name="T73" fmla="*/ 3825 h 4320"/>
              <a:gd name="T74" fmla="*/ 3379 w 4320"/>
              <a:gd name="T75" fmla="*/ 4159 h 4320"/>
              <a:gd name="T76" fmla="*/ 3713 w 4320"/>
              <a:gd name="T77" fmla="*/ 4317 h 4320"/>
              <a:gd name="T78" fmla="*/ 4054 w 4320"/>
              <a:gd name="T79" fmla="*/ 4241 h 4320"/>
              <a:gd name="T80" fmla="*/ 4287 w 4320"/>
              <a:gd name="T81" fmla="*/ 3958 h 4320"/>
              <a:gd name="T82" fmla="*/ 4267 w 4320"/>
              <a:gd name="T83" fmla="*/ 3532 h 4320"/>
              <a:gd name="T84" fmla="*/ 867 w 4320"/>
              <a:gd name="T85" fmla="*/ 3802 h 4320"/>
              <a:gd name="T86" fmla="*/ 585 w 4320"/>
              <a:gd name="T87" fmla="*/ 4086 h 4320"/>
              <a:gd name="T88" fmla="*/ 259 w 4320"/>
              <a:gd name="T89" fmla="*/ 3892 h 4320"/>
              <a:gd name="T90" fmla="*/ 349 w 4320"/>
              <a:gd name="T91" fmla="*/ 3523 h 4320"/>
              <a:gd name="T92" fmla="*/ 730 w 4320"/>
              <a:gd name="T93" fmla="*/ 3504 h 4320"/>
              <a:gd name="T94" fmla="*/ 1844 w 4320"/>
              <a:gd name="T95" fmla="*/ 518 h 4320"/>
              <a:gd name="T96" fmla="*/ 2127 w 4320"/>
              <a:gd name="T97" fmla="*/ 234 h 4320"/>
              <a:gd name="T98" fmla="*/ 2453 w 4320"/>
              <a:gd name="T99" fmla="*/ 428 h 4320"/>
              <a:gd name="T100" fmla="*/ 2363 w 4320"/>
              <a:gd name="T101" fmla="*/ 797 h 4320"/>
              <a:gd name="T102" fmla="*/ 1982 w 4320"/>
              <a:gd name="T103" fmla="*/ 816 h 4320"/>
              <a:gd name="T104" fmla="*/ 2476 w 4320"/>
              <a:gd name="T105" fmla="*/ 3802 h 4320"/>
              <a:gd name="T106" fmla="*/ 2193 w 4320"/>
              <a:gd name="T107" fmla="*/ 4086 h 4320"/>
              <a:gd name="T108" fmla="*/ 1867 w 4320"/>
              <a:gd name="T109" fmla="*/ 3892 h 4320"/>
              <a:gd name="T110" fmla="*/ 1958 w 4320"/>
              <a:gd name="T111" fmla="*/ 3523 h 4320"/>
              <a:gd name="T112" fmla="*/ 2338 w 4320"/>
              <a:gd name="T113" fmla="*/ 3504 h 4320"/>
              <a:gd name="T114" fmla="*/ 3735 w 4320"/>
              <a:gd name="T115" fmla="*/ 4086 h 4320"/>
              <a:gd name="T116" fmla="*/ 3453 w 4320"/>
              <a:gd name="T117" fmla="*/ 3802 h 4320"/>
              <a:gd name="T118" fmla="*/ 3645 w 4320"/>
              <a:gd name="T119" fmla="*/ 3476 h 4320"/>
              <a:gd name="T120" fmla="*/ 4014 w 4320"/>
              <a:gd name="T121" fmla="*/ 3566 h 4320"/>
              <a:gd name="T122" fmla="*/ 4033 w 4320"/>
              <a:gd name="T123" fmla="*/ 3947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0" h="4320">
                <a:moveTo>
                  <a:pt x="3987" y="3262"/>
                </a:moveTo>
                <a:lnTo>
                  <a:pt x="3987" y="2734"/>
                </a:lnTo>
                <a:lnTo>
                  <a:pt x="3987" y="2734"/>
                </a:lnTo>
                <a:lnTo>
                  <a:pt x="3987" y="2704"/>
                </a:lnTo>
                <a:lnTo>
                  <a:pt x="3984" y="2673"/>
                </a:lnTo>
                <a:lnTo>
                  <a:pt x="3981" y="2641"/>
                </a:lnTo>
                <a:lnTo>
                  <a:pt x="3977" y="2610"/>
                </a:lnTo>
                <a:lnTo>
                  <a:pt x="3971" y="2576"/>
                </a:lnTo>
                <a:lnTo>
                  <a:pt x="3964" y="2543"/>
                </a:lnTo>
                <a:lnTo>
                  <a:pt x="3955" y="2509"/>
                </a:lnTo>
                <a:lnTo>
                  <a:pt x="3945" y="2476"/>
                </a:lnTo>
                <a:lnTo>
                  <a:pt x="3934" y="2443"/>
                </a:lnTo>
                <a:lnTo>
                  <a:pt x="3921" y="2410"/>
                </a:lnTo>
                <a:lnTo>
                  <a:pt x="3905" y="2377"/>
                </a:lnTo>
                <a:lnTo>
                  <a:pt x="3889" y="2344"/>
                </a:lnTo>
                <a:lnTo>
                  <a:pt x="3872" y="2311"/>
                </a:lnTo>
                <a:lnTo>
                  <a:pt x="3852" y="2279"/>
                </a:lnTo>
                <a:lnTo>
                  <a:pt x="3832" y="2249"/>
                </a:lnTo>
                <a:lnTo>
                  <a:pt x="3809" y="2219"/>
                </a:lnTo>
                <a:lnTo>
                  <a:pt x="3784" y="2189"/>
                </a:lnTo>
                <a:lnTo>
                  <a:pt x="3758" y="2161"/>
                </a:lnTo>
                <a:lnTo>
                  <a:pt x="3730" y="2134"/>
                </a:lnTo>
                <a:lnTo>
                  <a:pt x="3701" y="2108"/>
                </a:lnTo>
                <a:lnTo>
                  <a:pt x="3669" y="2084"/>
                </a:lnTo>
                <a:lnTo>
                  <a:pt x="3636" y="2061"/>
                </a:lnTo>
                <a:lnTo>
                  <a:pt x="3600" y="2041"/>
                </a:lnTo>
                <a:lnTo>
                  <a:pt x="3563" y="2021"/>
                </a:lnTo>
                <a:lnTo>
                  <a:pt x="3524" y="2003"/>
                </a:lnTo>
                <a:lnTo>
                  <a:pt x="3483" y="1988"/>
                </a:lnTo>
                <a:lnTo>
                  <a:pt x="3440" y="1973"/>
                </a:lnTo>
                <a:lnTo>
                  <a:pt x="3395" y="1963"/>
                </a:lnTo>
                <a:lnTo>
                  <a:pt x="3348" y="1953"/>
                </a:lnTo>
                <a:lnTo>
                  <a:pt x="3299" y="1947"/>
                </a:lnTo>
                <a:lnTo>
                  <a:pt x="3247" y="1943"/>
                </a:lnTo>
                <a:lnTo>
                  <a:pt x="3194" y="1942"/>
                </a:lnTo>
                <a:lnTo>
                  <a:pt x="2734" y="1942"/>
                </a:lnTo>
                <a:lnTo>
                  <a:pt x="2734" y="1942"/>
                </a:lnTo>
                <a:lnTo>
                  <a:pt x="2704" y="1942"/>
                </a:lnTo>
                <a:lnTo>
                  <a:pt x="2677" y="1940"/>
                </a:lnTo>
                <a:lnTo>
                  <a:pt x="2651" y="1937"/>
                </a:lnTo>
                <a:lnTo>
                  <a:pt x="2627" y="1935"/>
                </a:lnTo>
                <a:lnTo>
                  <a:pt x="2602" y="1930"/>
                </a:lnTo>
                <a:lnTo>
                  <a:pt x="2581" y="1926"/>
                </a:lnTo>
                <a:lnTo>
                  <a:pt x="2561" y="1922"/>
                </a:lnTo>
                <a:lnTo>
                  <a:pt x="2542" y="1916"/>
                </a:lnTo>
                <a:lnTo>
                  <a:pt x="2525" y="1909"/>
                </a:lnTo>
                <a:lnTo>
                  <a:pt x="2509" y="1903"/>
                </a:lnTo>
                <a:lnTo>
                  <a:pt x="2493" y="1894"/>
                </a:lnTo>
                <a:lnTo>
                  <a:pt x="2480" y="1887"/>
                </a:lnTo>
                <a:lnTo>
                  <a:pt x="2467" y="1879"/>
                </a:lnTo>
                <a:lnTo>
                  <a:pt x="2456" y="1870"/>
                </a:lnTo>
                <a:lnTo>
                  <a:pt x="2444" y="1861"/>
                </a:lnTo>
                <a:lnTo>
                  <a:pt x="2436" y="1851"/>
                </a:lnTo>
                <a:lnTo>
                  <a:pt x="2419" y="1833"/>
                </a:lnTo>
                <a:lnTo>
                  <a:pt x="2406" y="1812"/>
                </a:lnTo>
                <a:lnTo>
                  <a:pt x="2396" y="1792"/>
                </a:lnTo>
                <a:lnTo>
                  <a:pt x="2388" y="1772"/>
                </a:lnTo>
                <a:lnTo>
                  <a:pt x="2384" y="1754"/>
                </a:lnTo>
                <a:lnTo>
                  <a:pt x="2381" y="1735"/>
                </a:lnTo>
                <a:lnTo>
                  <a:pt x="2378" y="1716"/>
                </a:lnTo>
                <a:lnTo>
                  <a:pt x="2378" y="1700"/>
                </a:lnTo>
                <a:lnTo>
                  <a:pt x="2378" y="1058"/>
                </a:lnTo>
                <a:lnTo>
                  <a:pt x="2378" y="1058"/>
                </a:lnTo>
                <a:lnTo>
                  <a:pt x="2414" y="1041"/>
                </a:lnTo>
                <a:lnTo>
                  <a:pt x="2449" y="1021"/>
                </a:lnTo>
                <a:lnTo>
                  <a:pt x="2482" y="1000"/>
                </a:lnTo>
                <a:lnTo>
                  <a:pt x="2513" y="975"/>
                </a:lnTo>
                <a:lnTo>
                  <a:pt x="2542" y="948"/>
                </a:lnTo>
                <a:lnTo>
                  <a:pt x="2569" y="921"/>
                </a:lnTo>
                <a:lnTo>
                  <a:pt x="2595" y="890"/>
                </a:lnTo>
                <a:lnTo>
                  <a:pt x="2618" y="857"/>
                </a:lnTo>
                <a:lnTo>
                  <a:pt x="2640" y="824"/>
                </a:lnTo>
                <a:lnTo>
                  <a:pt x="2658" y="788"/>
                </a:lnTo>
                <a:lnTo>
                  <a:pt x="2674" y="753"/>
                </a:lnTo>
                <a:lnTo>
                  <a:pt x="2687" y="714"/>
                </a:lnTo>
                <a:lnTo>
                  <a:pt x="2697" y="675"/>
                </a:lnTo>
                <a:lnTo>
                  <a:pt x="2706" y="635"/>
                </a:lnTo>
                <a:lnTo>
                  <a:pt x="2710" y="593"/>
                </a:lnTo>
                <a:lnTo>
                  <a:pt x="2711" y="551"/>
                </a:lnTo>
                <a:lnTo>
                  <a:pt x="2711" y="551"/>
                </a:lnTo>
                <a:lnTo>
                  <a:pt x="2711" y="523"/>
                </a:lnTo>
                <a:lnTo>
                  <a:pt x="2709" y="495"/>
                </a:lnTo>
                <a:lnTo>
                  <a:pt x="2706" y="467"/>
                </a:lnTo>
                <a:lnTo>
                  <a:pt x="2700" y="441"/>
                </a:lnTo>
                <a:lnTo>
                  <a:pt x="2694" y="414"/>
                </a:lnTo>
                <a:lnTo>
                  <a:pt x="2687" y="388"/>
                </a:lnTo>
                <a:lnTo>
                  <a:pt x="2678" y="362"/>
                </a:lnTo>
                <a:lnTo>
                  <a:pt x="2668" y="336"/>
                </a:lnTo>
                <a:lnTo>
                  <a:pt x="2657" y="312"/>
                </a:lnTo>
                <a:lnTo>
                  <a:pt x="2645" y="289"/>
                </a:lnTo>
                <a:lnTo>
                  <a:pt x="2631" y="266"/>
                </a:lnTo>
                <a:lnTo>
                  <a:pt x="2617" y="243"/>
                </a:lnTo>
                <a:lnTo>
                  <a:pt x="2602" y="221"/>
                </a:lnTo>
                <a:lnTo>
                  <a:pt x="2585" y="201"/>
                </a:lnTo>
                <a:lnTo>
                  <a:pt x="2568" y="181"/>
                </a:lnTo>
                <a:lnTo>
                  <a:pt x="2551" y="161"/>
                </a:lnTo>
                <a:lnTo>
                  <a:pt x="2531" y="144"/>
                </a:lnTo>
                <a:lnTo>
                  <a:pt x="2510" y="126"/>
                </a:lnTo>
                <a:lnTo>
                  <a:pt x="2490" y="109"/>
                </a:lnTo>
                <a:lnTo>
                  <a:pt x="2469" y="93"/>
                </a:lnTo>
                <a:lnTo>
                  <a:pt x="2446" y="79"/>
                </a:lnTo>
                <a:lnTo>
                  <a:pt x="2423" y="66"/>
                </a:lnTo>
                <a:lnTo>
                  <a:pt x="2398" y="55"/>
                </a:lnTo>
                <a:lnTo>
                  <a:pt x="2374" y="43"/>
                </a:lnTo>
                <a:lnTo>
                  <a:pt x="2350" y="33"/>
                </a:lnTo>
                <a:lnTo>
                  <a:pt x="2324" y="24"/>
                </a:lnTo>
                <a:lnTo>
                  <a:pt x="2298" y="17"/>
                </a:lnTo>
                <a:lnTo>
                  <a:pt x="2271" y="11"/>
                </a:lnTo>
                <a:lnTo>
                  <a:pt x="2243" y="6"/>
                </a:lnTo>
                <a:lnTo>
                  <a:pt x="2216" y="3"/>
                </a:lnTo>
                <a:lnTo>
                  <a:pt x="2189" y="0"/>
                </a:lnTo>
                <a:lnTo>
                  <a:pt x="2160" y="0"/>
                </a:lnTo>
                <a:lnTo>
                  <a:pt x="2160" y="0"/>
                </a:lnTo>
                <a:lnTo>
                  <a:pt x="2131" y="0"/>
                </a:lnTo>
                <a:lnTo>
                  <a:pt x="2104" y="3"/>
                </a:lnTo>
                <a:lnTo>
                  <a:pt x="2077" y="6"/>
                </a:lnTo>
                <a:lnTo>
                  <a:pt x="2049" y="11"/>
                </a:lnTo>
                <a:lnTo>
                  <a:pt x="2022" y="17"/>
                </a:lnTo>
                <a:lnTo>
                  <a:pt x="1996" y="24"/>
                </a:lnTo>
                <a:lnTo>
                  <a:pt x="1970" y="33"/>
                </a:lnTo>
                <a:lnTo>
                  <a:pt x="1946" y="43"/>
                </a:lnTo>
                <a:lnTo>
                  <a:pt x="1922" y="55"/>
                </a:lnTo>
                <a:lnTo>
                  <a:pt x="1897" y="66"/>
                </a:lnTo>
                <a:lnTo>
                  <a:pt x="1874" y="79"/>
                </a:lnTo>
                <a:lnTo>
                  <a:pt x="1851" y="93"/>
                </a:lnTo>
                <a:lnTo>
                  <a:pt x="1830" y="109"/>
                </a:lnTo>
                <a:lnTo>
                  <a:pt x="1810" y="126"/>
                </a:lnTo>
                <a:lnTo>
                  <a:pt x="1789" y="144"/>
                </a:lnTo>
                <a:lnTo>
                  <a:pt x="1769" y="161"/>
                </a:lnTo>
                <a:lnTo>
                  <a:pt x="1752" y="181"/>
                </a:lnTo>
                <a:lnTo>
                  <a:pt x="1735" y="201"/>
                </a:lnTo>
                <a:lnTo>
                  <a:pt x="1718" y="221"/>
                </a:lnTo>
                <a:lnTo>
                  <a:pt x="1703" y="243"/>
                </a:lnTo>
                <a:lnTo>
                  <a:pt x="1689" y="266"/>
                </a:lnTo>
                <a:lnTo>
                  <a:pt x="1675" y="289"/>
                </a:lnTo>
                <a:lnTo>
                  <a:pt x="1663" y="312"/>
                </a:lnTo>
                <a:lnTo>
                  <a:pt x="1652" y="336"/>
                </a:lnTo>
                <a:lnTo>
                  <a:pt x="1642" y="362"/>
                </a:lnTo>
                <a:lnTo>
                  <a:pt x="1633" y="388"/>
                </a:lnTo>
                <a:lnTo>
                  <a:pt x="1626" y="414"/>
                </a:lnTo>
                <a:lnTo>
                  <a:pt x="1620" y="441"/>
                </a:lnTo>
                <a:lnTo>
                  <a:pt x="1614" y="467"/>
                </a:lnTo>
                <a:lnTo>
                  <a:pt x="1611" y="495"/>
                </a:lnTo>
                <a:lnTo>
                  <a:pt x="1609" y="523"/>
                </a:lnTo>
                <a:lnTo>
                  <a:pt x="1609" y="551"/>
                </a:lnTo>
                <a:lnTo>
                  <a:pt x="1609" y="551"/>
                </a:lnTo>
                <a:lnTo>
                  <a:pt x="1610" y="593"/>
                </a:lnTo>
                <a:lnTo>
                  <a:pt x="1614" y="635"/>
                </a:lnTo>
                <a:lnTo>
                  <a:pt x="1623" y="675"/>
                </a:lnTo>
                <a:lnTo>
                  <a:pt x="1633" y="714"/>
                </a:lnTo>
                <a:lnTo>
                  <a:pt x="1646" y="753"/>
                </a:lnTo>
                <a:lnTo>
                  <a:pt x="1662" y="788"/>
                </a:lnTo>
                <a:lnTo>
                  <a:pt x="1680" y="824"/>
                </a:lnTo>
                <a:lnTo>
                  <a:pt x="1702" y="857"/>
                </a:lnTo>
                <a:lnTo>
                  <a:pt x="1725" y="890"/>
                </a:lnTo>
                <a:lnTo>
                  <a:pt x="1751" y="921"/>
                </a:lnTo>
                <a:lnTo>
                  <a:pt x="1778" y="948"/>
                </a:lnTo>
                <a:lnTo>
                  <a:pt x="1807" y="975"/>
                </a:lnTo>
                <a:lnTo>
                  <a:pt x="1838" y="1000"/>
                </a:lnTo>
                <a:lnTo>
                  <a:pt x="1871" y="1021"/>
                </a:lnTo>
                <a:lnTo>
                  <a:pt x="1906" y="1041"/>
                </a:lnTo>
                <a:lnTo>
                  <a:pt x="1942" y="1058"/>
                </a:lnTo>
                <a:lnTo>
                  <a:pt x="1942" y="1700"/>
                </a:lnTo>
                <a:lnTo>
                  <a:pt x="1942" y="1700"/>
                </a:lnTo>
                <a:lnTo>
                  <a:pt x="1942" y="1713"/>
                </a:lnTo>
                <a:lnTo>
                  <a:pt x="1940" y="1728"/>
                </a:lnTo>
                <a:lnTo>
                  <a:pt x="1937" y="1745"/>
                </a:lnTo>
                <a:lnTo>
                  <a:pt x="1933" y="1764"/>
                </a:lnTo>
                <a:lnTo>
                  <a:pt x="1927" y="1782"/>
                </a:lnTo>
                <a:lnTo>
                  <a:pt x="1919" y="1802"/>
                </a:lnTo>
                <a:lnTo>
                  <a:pt x="1906" y="1824"/>
                </a:lnTo>
                <a:lnTo>
                  <a:pt x="1890" y="1844"/>
                </a:lnTo>
                <a:lnTo>
                  <a:pt x="1881" y="1853"/>
                </a:lnTo>
                <a:lnTo>
                  <a:pt x="1871" y="1863"/>
                </a:lnTo>
                <a:lnTo>
                  <a:pt x="1860" y="1873"/>
                </a:lnTo>
                <a:lnTo>
                  <a:pt x="1847" y="1881"/>
                </a:lnTo>
                <a:lnTo>
                  <a:pt x="1834" y="1890"/>
                </a:lnTo>
                <a:lnTo>
                  <a:pt x="1818" y="1897"/>
                </a:lnTo>
                <a:lnTo>
                  <a:pt x="1802" y="1906"/>
                </a:lnTo>
                <a:lnTo>
                  <a:pt x="1784" y="1913"/>
                </a:lnTo>
                <a:lnTo>
                  <a:pt x="1765" y="1919"/>
                </a:lnTo>
                <a:lnTo>
                  <a:pt x="1745" y="1924"/>
                </a:lnTo>
                <a:lnTo>
                  <a:pt x="1722" y="1930"/>
                </a:lnTo>
                <a:lnTo>
                  <a:pt x="1698" y="1933"/>
                </a:lnTo>
                <a:lnTo>
                  <a:pt x="1673" y="1937"/>
                </a:lnTo>
                <a:lnTo>
                  <a:pt x="1646" y="1940"/>
                </a:lnTo>
                <a:lnTo>
                  <a:pt x="1616" y="1942"/>
                </a:lnTo>
                <a:lnTo>
                  <a:pt x="1586" y="1942"/>
                </a:lnTo>
                <a:lnTo>
                  <a:pt x="1126" y="1942"/>
                </a:lnTo>
                <a:lnTo>
                  <a:pt x="1126" y="1942"/>
                </a:lnTo>
                <a:lnTo>
                  <a:pt x="1073" y="1943"/>
                </a:lnTo>
                <a:lnTo>
                  <a:pt x="1021" y="1947"/>
                </a:lnTo>
                <a:lnTo>
                  <a:pt x="972" y="1953"/>
                </a:lnTo>
                <a:lnTo>
                  <a:pt x="925" y="1963"/>
                </a:lnTo>
                <a:lnTo>
                  <a:pt x="880" y="1973"/>
                </a:lnTo>
                <a:lnTo>
                  <a:pt x="837" y="1988"/>
                </a:lnTo>
                <a:lnTo>
                  <a:pt x="796" y="2003"/>
                </a:lnTo>
                <a:lnTo>
                  <a:pt x="757" y="2021"/>
                </a:lnTo>
                <a:lnTo>
                  <a:pt x="720" y="2041"/>
                </a:lnTo>
                <a:lnTo>
                  <a:pt x="684" y="2061"/>
                </a:lnTo>
                <a:lnTo>
                  <a:pt x="651" y="2084"/>
                </a:lnTo>
                <a:lnTo>
                  <a:pt x="619" y="2108"/>
                </a:lnTo>
                <a:lnTo>
                  <a:pt x="590" y="2134"/>
                </a:lnTo>
                <a:lnTo>
                  <a:pt x="562" y="2161"/>
                </a:lnTo>
                <a:lnTo>
                  <a:pt x="536" y="2189"/>
                </a:lnTo>
                <a:lnTo>
                  <a:pt x="511" y="2219"/>
                </a:lnTo>
                <a:lnTo>
                  <a:pt x="488" y="2249"/>
                </a:lnTo>
                <a:lnTo>
                  <a:pt x="468" y="2279"/>
                </a:lnTo>
                <a:lnTo>
                  <a:pt x="448" y="2311"/>
                </a:lnTo>
                <a:lnTo>
                  <a:pt x="431" y="2344"/>
                </a:lnTo>
                <a:lnTo>
                  <a:pt x="415" y="2377"/>
                </a:lnTo>
                <a:lnTo>
                  <a:pt x="399" y="2410"/>
                </a:lnTo>
                <a:lnTo>
                  <a:pt x="386" y="2443"/>
                </a:lnTo>
                <a:lnTo>
                  <a:pt x="375" y="2476"/>
                </a:lnTo>
                <a:lnTo>
                  <a:pt x="365" y="2509"/>
                </a:lnTo>
                <a:lnTo>
                  <a:pt x="356" y="2543"/>
                </a:lnTo>
                <a:lnTo>
                  <a:pt x="349" y="2576"/>
                </a:lnTo>
                <a:lnTo>
                  <a:pt x="343" y="2610"/>
                </a:lnTo>
                <a:lnTo>
                  <a:pt x="339" y="2641"/>
                </a:lnTo>
                <a:lnTo>
                  <a:pt x="336" y="2673"/>
                </a:lnTo>
                <a:lnTo>
                  <a:pt x="333" y="2704"/>
                </a:lnTo>
                <a:lnTo>
                  <a:pt x="333" y="2734"/>
                </a:lnTo>
                <a:lnTo>
                  <a:pt x="333" y="3262"/>
                </a:lnTo>
                <a:lnTo>
                  <a:pt x="333" y="3262"/>
                </a:lnTo>
                <a:lnTo>
                  <a:pt x="297" y="3279"/>
                </a:lnTo>
                <a:lnTo>
                  <a:pt x="263" y="3299"/>
                </a:lnTo>
                <a:lnTo>
                  <a:pt x="230" y="3320"/>
                </a:lnTo>
                <a:lnTo>
                  <a:pt x="198" y="3345"/>
                </a:lnTo>
                <a:lnTo>
                  <a:pt x="169" y="3372"/>
                </a:lnTo>
                <a:lnTo>
                  <a:pt x="142" y="3399"/>
                </a:lnTo>
                <a:lnTo>
                  <a:pt x="116" y="3430"/>
                </a:lnTo>
                <a:lnTo>
                  <a:pt x="93" y="3463"/>
                </a:lnTo>
                <a:lnTo>
                  <a:pt x="72" y="3496"/>
                </a:lnTo>
                <a:lnTo>
                  <a:pt x="53" y="3532"/>
                </a:lnTo>
                <a:lnTo>
                  <a:pt x="37" y="3567"/>
                </a:lnTo>
                <a:lnTo>
                  <a:pt x="24" y="3606"/>
                </a:lnTo>
                <a:lnTo>
                  <a:pt x="14" y="3645"/>
                </a:lnTo>
                <a:lnTo>
                  <a:pt x="6" y="3685"/>
                </a:lnTo>
                <a:lnTo>
                  <a:pt x="1" y="3727"/>
                </a:lnTo>
                <a:lnTo>
                  <a:pt x="0" y="3769"/>
                </a:lnTo>
                <a:lnTo>
                  <a:pt x="0" y="3769"/>
                </a:lnTo>
                <a:lnTo>
                  <a:pt x="0" y="3797"/>
                </a:lnTo>
                <a:lnTo>
                  <a:pt x="3" y="3825"/>
                </a:lnTo>
                <a:lnTo>
                  <a:pt x="6" y="3853"/>
                </a:lnTo>
                <a:lnTo>
                  <a:pt x="11" y="3879"/>
                </a:lnTo>
                <a:lnTo>
                  <a:pt x="17" y="3906"/>
                </a:lnTo>
                <a:lnTo>
                  <a:pt x="24" y="3932"/>
                </a:lnTo>
                <a:lnTo>
                  <a:pt x="33" y="3958"/>
                </a:lnTo>
                <a:lnTo>
                  <a:pt x="43" y="3984"/>
                </a:lnTo>
                <a:lnTo>
                  <a:pt x="55" y="4008"/>
                </a:lnTo>
                <a:lnTo>
                  <a:pt x="66" y="4031"/>
                </a:lnTo>
                <a:lnTo>
                  <a:pt x="79" y="4054"/>
                </a:lnTo>
                <a:lnTo>
                  <a:pt x="93" y="4077"/>
                </a:lnTo>
                <a:lnTo>
                  <a:pt x="109" y="4099"/>
                </a:lnTo>
                <a:lnTo>
                  <a:pt x="126" y="4119"/>
                </a:lnTo>
                <a:lnTo>
                  <a:pt x="144" y="4139"/>
                </a:lnTo>
                <a:lnTo>
                  <a:pt x="161" y="4159"/>
                </a:lnTo>
                <a:lnTo>
                  <a:pt x="181" y="4176"/>
                </a:lnTo>
                <a:lnTo>
                  <a:pt x="201" y="4194"/>
                </a:lnTo>
                <a:lnTo>
                  <a:pt x="221" y="4211"/>
                </a:lnTo>
                <a:lnTo>
                  <a:pt x="243" y="4227"/>
                </a:lnTo>
                <a:lnTo>
                  <a:pt x="266" y="4241"/>
                </a:lnTo>
                <a:lnTo>
                  <a:pt x="289" y="4254"/>
                </a:lnTo>
                <a:lnTo>
                  <a:pt x="312" y="4265"/>
                </a:lnTo>
                <a:lnTo>
                  <a:pt x="336" y="4277"/>
                </a:lnTo>
                <a:lnTo>
                  <a:pt x="362" y="4287"/>
                </a:lnTo>
                <a:lnTo>
                  <a:pt x="388" y="4296"/>
                </a:lnTo>
                <a:lnTo>
                  <a:pt x="414" y="4303"/>
                </a:lnTo>
                <a:lnTo>
                  <a:pt x="441" y="4309"/>
                </a:lnTo>
                <a:lnTo>
                  <a:pt x="467" y="4314"/>
                </a:lnTo>
                <a:lnTo>
                  <a:pt x="495" y="4317"/>
                </a:lnTo>
                <a:lnTo>
                  <a:pt x="523" y="4320"/>
                </a:lnTo>
                <a:lnTo>
                  <a:pt x="551" y="4320"/>
                </a:lnTo>
                <a:lnTo>
                  <a:pt x="551" y="4320"/>
                </a:lnTo>
                <a:lnTo>
                  <a:pt x="580" y="4320"/>
                </a:lnTo>
                <a:lnTo>
                  <a:pt x="608" y="4317"/>
                </a:lnTo>
                <a:lnTo>
                  <a:pt x="635" y="4314"/>
                </a:lnTo>
                <a:lnTo>
                  <a:pt x="662" y="4309"/>
                </a:lnTo>
                <a:lnTo>
                  <a:pt x="689" y="4303"/>
                </a:lnTo>
                <a:lnTo>
                  <a:pt x="715" y="4296"/>
                </a:lnTo>
                <a:lnTo>
                  <a:pt x="741" y="4287"/>
                </a:lnTo>
                <a:lnTo>
                  <a:pt x="765" y="4277"/>
                </a:lnTo>
                <a:lnTo>
                  <a:pt x="790" y="4265"/>
                </a:lnTo>
                <a:lnTo>
                  <a:pt x="814" y="4254"/>
                </a:lnTo>
                <a:lnTo>
                  <a:pt x="837" y="4241"/>
                </a:lnTo>
                <a:lnTo>
                  <a:pt x="860" y="4227"/>
                </a:lnTo>
                <a:lnTo>
                  <a:pt x="882" y="4211"/>
                </a:lnTo>
                <a:lnTo>
                  <a:pt x="902" y="4194"/>
                </a:lnTo>
                <a:lnTo>
                  <a:pt x="922" y="4176"/>
                </a:lnTo>
                <a:lnTo>
                  <a:pt x="941" y="4159"/>
                </a:lnTo>
                <a:lnTo>
                  <a:pt x="959" y="4139"/>
                </a:lnTo>
                <a:lnTo>
                  <a:pt x="977" y="4119"/>
                </a:lnTo>
                <a:lnTo>
                  <a:pt x="994" y="4099"/>
                </a:lnTo>
                <a:lnTo>
                  <a:pt x="1008" y="4077"/>
                </a:lnTo>
                <a:lnTo>
                  <a:pt x="1023" y="4054"/>
                </a:lnTo>
                <a:lnTo>
                  <a:pt x="1037" y="4031"/>
                </a:lnTo>
                <a:lnTo>
                  <a:pt x="1048" y="4008"/>
                </a:lnTo>
                <a:lnTo>
                  <a:pt x="1060" y="3984"/>
                </a:lnTo>
                <a:lnTo>
                  <a:pt x="1070" y="3958"/>
                </a:lnTo>
                <a:lnTo>
                  <a:pt x="1079" y="3932"/>
                </a:lnTo>
                <a:lnTo>
                  <a:pt x="1086" y="3906"/>
                </a:lnTo>
                <a:lnTo>
                  <a:pt x="1091" y="3879"/>
                </a:lnTo>
                <a:lnTo>
                  <a:pt x="1097" y="3853"/>
                </a:lnTo>
                <a:lnTo>
                  <a:pt x="1100" y="3825"/>
                </a:lnTo>
                <a:lnTo>
                  <a:pt x="1102" y="3797"/>
                </a:lnTo>
                <a:lnTo>
                  <a:pt x="1103" y="3769"/>
                </a:lnTo>
                <a:lnTo>
                  <a:pt x="1103" y="3769"/>
                </a:lnTo>
                <a:lnTo>
                  <a:pt x="1102" y="3727"/>
                </a:lnTo>
                <a:lnTo>
                  <a:pt x="1097" y="3685"/>
                </a:lnTo>
                <a:lnTo>
                  <a:pt x="1089" y="3645"/>
                </a:lnTo>
                <a:lnTo>
                  <a:pt x="1079" y="3606"/>
                </a:lnTo>
                <a:lnTo>
                  <a:pt x="1066" y="3567"/>
                </a:lnTo>
                <a:lnTo>
                  <a:pt x="1050" y="3532"/>
                </a:lnTo>
                <a:lnTo>
                  <a:pt x="1031" y="3496"/>
                </a:lnTo>
                <a:lnTo>
                  <a:pt x="1010" y="3463"/>
                </a:lnTo>
                <a:lnTo>
                  <a:pt x="987" y="3430"/>
                </a:lnTo>
                <a:lnTo>
                  <a:pt x="961" y="3399"/>
                </a:lnTo>
                <a:lnTo>
                  <a:pt x="934" y="3372"/>
                </a:lnTo>
                <a:lnTo>
                  <a:pt x="905" y="3345"/>
                </a:lnTo>
                <a:lnTo>
                  <a:pt x="873" y="3320"/>
                </a:lnTo>
                <a:lnTo>
                  <a:pt x="840" y="3299"/>
                </a:lnTo>
                <a:lnTo>
                  <a:pt x="806" y="3279"/>
                </a:lnTo>
                <a:lnTo>
                  <a:pt x="770" y="3262"/>
                </a:lnTo>
                <a:lnTo>
                  <a:pt x="770" y="2734"/>
                </a:lnTo>
                <a:lnTo>
                  <a:pt x="770" y="2734"/>
                </a:lnTo>
                <a:lnTo>
                  <a:pt x="771" y="2701"/>
                </a:lnTo>
                <a:lnTo>
                  <a:pt x="774" y="2680"/>
                </a:lnTo>
                <a:lnTo>
                  <a:pt x="777" y="2654"/>
                </a:lnTo>
                <a:lnTo>
                  <a:pt x="784" y="2625"/>
                </a:lnTo>
                <a:lnTo>
                  <a:pt x="793" y="2595"/>
                </a:lnTo>
                <a:lnTo>
                  <a:pt x="806" y="2565"/>
                </a:lnTo>
                <a:lnTo>
                  <a:pt x="813" y="2549"/>
                </a:lnTo>
                <a:lnTo>
                  <a:pt x="820" y="2533"/>
                </a:lnTo>
                <a:lnTo>
                  <a:pt x="830" y="2519"/>
                </a:lnTo>
                <a:lnTo>
                  <a:pt x="840" y="2505"/>
                </a:lnTo>
                <a:lnTo>
                  <a:pt x="852" y="2489"/>
                </a:lnTo>
                <a:lnTo>
                  <a:pt x="865" y="2476"/>
                </a:lnTo>
                <a:lnTo>
                  <a:pt x="878" y="2462"/>
                </a:lnTo>
                <a:lnTo>
                  <a:pt x="893" y="2449"/>
                </a:lnTo>
                <a:lnTo>
                  <a:pt x="909" y="2437"/>
                </a:lnTo>
                <a:lnTo>
                  <a:pt x="928" y="2426"/>
                </a:lnTo>
                <a:lnTo>
                  <a:pt x="946" y="2416"/>
                </a:lnTo>
                <a:lnTo>
                  <a:pt x="967" y="2406"/>
                </a:lnTo>
                <a:lnTo>
                  <a:pt x="990" y="2398"/>
                </a:lnTo>
                <a:lnTo>
                  <a:pt x="1014" y="2391"/>
                </a:lnTo>
                <a:lnTo>
                  <a:pt x="1038" y="2385"/>
                </a:lnTo>
                <a:lnTo>
                  <a:pt x="1066" y="2381"/>
                </a:lnTo>
                <a:lnTo>
                  <a:pt x="1094" y="2380"/>
                </a:lnTo>
                <a:lnTo>
                  <a:pt x="1126" y="2378"/>
                </a:lnTo>
                <a:lnTo>
                  <a:pt x="1586" y="2378"/>
                </a:lnTo>
                <a:lnTo>
                  <a:pt x="1586" y="2378"/>
                </a:lnTo>
                <a:lnTo>
                  <a:pt x="1637" y="2377"/>
                </a:lnTo>
                <a:lnTo>
                  <a:pt x="1686" y="2374"/>
                </a:lnTo>
                <a:lnTo>
                  <a:pt x="1733" y="2370"/>
                </a:lnTo>
                <a:lnTo>
                  <a:pt x="1779" y="2364"/>
                </a:lnTo>
                <a:lnTo>
                  <a:pt x="1823" y="2355"/>
                </a:lnTo>
                <a:lnTo>
                  <a:pt x="1864" y="2345"/>
                </a:lnTo>
                <a:lnTo>
                  <a:pt x="1904" y="2334"/>
                </a:lnTo>
                <a:lnTo>
                  <a:pt x="1942" y="2321"/>
                </a:lnTo>
                <a:lnTo>
                  <a:pt x="1942" y="3263"/>
                </a:lnTo>
                <a:lnTo>
                  <a:pt x="1942" y="3263"/>
                </a:lnTo>
                <a:lnTo>
                  <a:pt x="1906" y="3279"/>
                </a:lnTo>
                <a:lnTo>
                  <a:pt x="1871" y="3299"/>
                </a:lnTo>
                <a:lnTo>
                  <a:pt x="1838" y="3320"/>
                </a:lnTo>
                <a:lnTo>
                  <a:pt x="1807" y="3345"/>
                </a:lnTo>
                <a:lnTo>
                  <a:pt x="1778" y="3372"/>
                </a:lnTo>
                <a:lnTo>
                  <a:pt x="1751" y="3399"/>
                </a:lnTo>
                <a:lnTo>
                  <a:pt x="1725" y="3430"/>
                </a:lnTo>
                <a:lnTo>
                  <a:pt x="1702" y="3463"/>
                </a:lnTo>
                <a:lnTo>
                  <a:pt x="1680" y="3496"/>
                </a:lnTo>
                <a:lnTo>
                  <a:pt x="1662" y="3532"/>
                </a:lnTo>
                <a:lnTo>
                  <a:pt x="1646" y="3567"/>
                </a:lnTo>
                <a:lnTo>
                  <a:pt x="1633" y="3606"/>
                </a:lnTo>
                <a:lnTo>
                  <a:pt x="1623" y="3645"/>
                </a:lnTo>
                <a:lnTo>
                  <a:pt x="1614" y="3685"/>
                </a:lnTo>
                <a:lnTo>
                  <a:pt x="1610" y="3727"/>
                </a:lnTo>
                <a:lnTo>
                  <a:pt x="1609" y="3769"/>
                </a:lnTo>
                <a:lnTo>
                  <a:pt x="1609" y="3769"/>
                </a:lnTo>
                <a:lnTo>
                  <a:pt x="1609" y="3797"/>
                </a:lnTo>
                <a:lnTo>
                  <a:pt x="1611" y="3825"/>
                </a:lnTo>
                <a:lnTo>
                  <a:pt x="1614" y="3853"/>
                </a:lnTo>
                <a:lnTo>
                  <a:pt x="1620" y="3879"/>
                </a:lnTo>
                <a:lnTo>
                  <a:pt x="1626" y="3906"/>
                </a:lnTo>
                <a:lnTo>
                  <a:pt x="1633" y="3932"/>
                </a:lnTo>
                <a:lnTo>
                  <a:pt x="1642" y="3958"/>
                </a:lnTo>
                <a:lnTo>
                  <a:pt x="1652" y="3984"/>
                </a:lnTo>
                <a:lnTo>
                  <a:pt x="1663" y="4008"/>
                </a:lnTo>
                <a:lnTo>
                  <a:pt x="1675" y="4031"/>
                </a:lnTo>
                <a:lnTo>
                  <a:pt x="1689" y="4054"/>
                </a:lnTo>
                <a:lnTo>
                  <a:pt x="1703" y="4077"/>
                </a:lnTo>
                <a:lnTo>
                  <a:pt x="1718" y="4099"/>
                </a:lnTo>
                <a:lnTo>
                  <a:pt x="1735" y="4119"/>
                </a:lnTo>
                <a:lnTo>
                  <a:pt x="1752" y="4139"/>
                </a:lnTo>
                <a:lnTo>
                  <a:pt x="1769" y="4159"/>
                </a:lnTo>
                <a:lnTo>
                  <a:pt x="1789" y="4176"/>
                </a:lnTo>
                <a:lnTo>
                  <a:pt x="1810" y="4194"/>
                </a:lnTo>
                <a:lnTo>
                  <a:pt x="1830" y="4211"/>
                </a:lnTo>
                <a:lnTo>
                  <a:pt x="1851" y="4227"/>
                </a:lnTo>
                <a:lnTo>
                  <a:pt x="1874" y="4241"/>
                </a:lnTo>
                <a:lnTo>
                  <a:pt x="1897" y="4254"/>
                </a:lnTo>
                <a:lnTo>
                  <a:pt x="1922" y="4265"/>
                </a:lnTo>
                <a:lnTo>
                  <a:pt x="1946" y="4277"/>
                </a:lnTo>
                <a:lnTo>
                  <a:pt x="1970" y="4287"/>
                </a:lnTo>
                <a:lnTo>
                  <a:pt x="1996" y="4296"/>
                </a:lnTo>
                <a:lnTo>
                  <a:pt x="2022" y="4303"/>
                </a:lnTo>
                <a:lnTo>
                  <a:pt x="2049" y="4309"/>
                </a:lnTo>
                <a:lnTo>
                  <a:pt x="2077" y="4314"/>
                </a:lnTo>
                <a:lnTo>
                  <a:pt x="2104" y="4317"/>
                </a:lnTo>
                <a:lnTo>
                  <a:pt x="2131" y="4320"/>
                </a:lnTo>
                <a:lnTo>
                  <a:pt x="2160" y="4320"/>
                </a:lnTo>
                <a:lnTo>
                  <a:pt x="2160" y="4320"/>
                </a:lnTo>
                <a:lnTo>
                  <a:pt x="2189" y="4320"/>
                </a:lnTo>
                <a:lnTo>
                  <a:pt x="2216" y="4317"/>
                </a:lnTo>
                <a:lnTo>
                  <a:pt x="2243" y="4314"/>
                </a:lnTo>
                <a:lnTo>
                  <a:pt x="2271" y="4309"/>
                </a:lnTo>
                <a:lnTo>
                  <a:pt x="2298" y="4303"/>
                </a:lnTo>
                <a:lnTo>
                  <a:pt x="2324" y="4296"/>
                </a:lnTo>
                <a:lnTo>
                  <a:pt x="2350" y="4287"/>
                </a:lnTo>
                <a:lnTo>
                  <a:pt x="2374" y="4277"/>
                </a:lnTo>
                <a:lnTo>
                  <a:pt x="2398" y="4265"/>
                </a:lnTo>
                <a:lnTo>
                  <a:pt x="2423" y="4254"/>
                </a:lnTo>
                <a:lnTo>
                  <a:pt x="2446" y="4241"/>
                </a:lnTo>
                <a:lnTo>
                  <a:pt x="2469" y="4227"/>
                </a:lnTo>
                <a:lnTo>
                  <a:pt x="2490" y="4211"/>
                </a:lnTo>
                <a:lnTo>
                  <a:pt x="2510" y="4194"/>
                </a:lnTo>
                <a:lnTo>
                  <a:pt x="2531" y="4176"/>
                </a:lnTo>
                <a:lnTo>
                  <a:pt x="2551" y="4159"/>
                </a:lnTo>
                <a:lnTo>
                  <a:pt x="2568" y="4139"/>
                </a:lnTo>
                <a:lnTo>
                  <a:pt x="2585" y="4119"/>
                </a:lnTo>
                <a:lnTo>
                  <a:pt x="2602" y="4099"/>
                </a:lnTo>
                <a:lnTo>
                  <a:pt x="2617" y="4077"/>
                </a:lnTo>
                <a:lnTo>
                  <a:pt x="2631" y="4054"/>
                </a:lnTo>
                <a:lnTo>
                  <a:pt x="2645" y="4031"/>
                </a:lnTo>
                <a:lnTo>
                  <a:pt x="2657" y="4008"/>
                </a:lnTo>
                <a:lnTo>
                  <a:pt x="2668" y="3984"/>
                </a:lnTo>
                <a:lnTo>
                  <a:pt x="2678" y="3958"/>
                </a:lnTo>
                <a:lnTo>
                  <a:pt x="2687" y="3932"/>
                </a:lnTo>
                <a:lnTo>
                  <a:pt x="2694" y="3906"/>
                </a:lnTo>
                <a:lnTo>
                  <a:pt x="2700" y="3879"/>
                </a:lnTo>
                <a:lnTo>
                  <a:pt x="2706" y="3853"/>
                </a:lnTo>
                <a:lnTo>
                  <a:pt x="2709" y="3825"/>
                </a:lnTo>
                <a:lnTo>
                  <a:pt x="2711" y="3797"/>
                </a:lnTo>
                <a:lnTo>
                  <a:pt x="2711" y="3769"/>
                </a:lnTo>
                <a:lnTo>
                  <a:pt x="2711" y="3769"/>
                </a:lnTo>
                <a:lnTo>
                  <a:pt x="2710" y="3727"/>
                </a:lnTo>
                <a:lnTo>
                  <a:pt x="2706" y="3685"/>
                </a:lnTo>
                <a:lnTo>
                  <a:pt x="2697" y="3645"/>
                </a:lnTo>
                <a:lnTo>
                  <a:pt x="2687" y="3606"/>
                </a:lnTo>
                <a:lnTo>
                  <a:pt x="2674" y="3567"/>
                </a:lnTo>
                <a:lnTo>
                  <a:pt x="2658" y="3532"/>
                </a:lnTo>
                <a:lnTo>
                  <a:pt x="2640" y="3496"/>
                </a:lnTo>
                <a:lnTo>
                  <a:pt x="2618" y="3463"/>
                </a:lnTo>
                <a:lnTo>
                  <a:pt x="2595" y="3430"/>
                </a:lnTo>
                <a:lnTo>
                  <a:pt x="2569" y="3399"/>
                </a:lnTo>
                <a:lnTo>
                  <a:pt x="2542" y="3372"/>
                </a:lnTo>
                <a:lnTo>
                  <a:pt x="2513" y="3345"/>
                </a:lnTo>
                <a:lnTo>
                  <a:pt x="2482" y="3320"/>
                </a:lnTo>
                <a:lnTo>
                  <a:pt x="2449" y="3299"/>
                </a:lnTo>
                <a:lnTo>
                  <a:pt x="2414" y="3279"/>
                </a:lnTo>
                <a:lnTo>
                  <a:pt x="2378" y="3262"/>
                </a:lnTo>
                <a:lnTo>
                  <a:pt x="2378" y="2321"/>
                </a:lnTo>
                <a:lnTo>
                  <a:pt x="2378" y="2321"/>
                </a:lnTo>
                <a:lnTo>
                  <a:pt x="2416" y="2334"/>
                </a:lnTo>
                <a:lnTo>
                  <a:pt x="2456" y="2345"/>
                </a:lnTo>
                <a:lnTo>
                  <a:pt x="2498" y="2355"/>
                </a:lnTo>
                <a:lnTo>
                  <a:pt x="2541" y="2364"/>
                </a:lnTo>
                <a:lnTo>
                  <a:pt x="2587" y="2370"/>
                </a:lnTo>
                <a:lnTo>
                  <a:pt x="2634" y="2374"/>
                </a:lnTo>
                <a:lnTo>
                  <a:pt x="2683" y="2377"/>
                </a:lnTo>
                <a:lnTo>
                  <a:pt x="2734" y="2378"/>
                </a:lnTo>
                <a:lnTo>
                  <a:pt x="3194" y="2378"/>
                </a:lnTo>
                <a:lnTo>
                  <a:pt x="3194" y="2378"/>
                </a:lnTo>
                <a:lnTo>
                  <a:pt x="3224" y="2380"/>
                </a:lnTo>
                <a:lnTo>
                  <a:pt x="3251" y="2381"/>
                </a:lnTo>
                <a:lnTo>
                  <a:pt x="3277" y="2385"/>
                </a:lnTo>
                <a:lnTo>
                  <a:pt x="3303" y="2390"/>
                </a:lnTo>
                <a:lnTo>
                  <a:pt x="3326" y="2397"/>
                </a:lnTo>
                <a:lnTo>
                  <a:pt x="3348" y="2404"/>
                </a:lnTo>
                <a:lnTo>
                  <a:pt x="3368" y="2413"/>
                </a:lnTo>
                <a:lnTo>
                  <a:pt x="3386" y="2423"/>
                </a:lnTo>
                <a:lnTo>
                  <a:pt x="3404" y="2433"/>
                </a:lnTo>
                <a:lnTo>
                  <a:pt x="3420" y="2444"/>
                </a:lnTo>
                <a:lnTo>
                  <a:pt x="3435" y="2456"/>
                </a:lnTo>
                <a:lnTo>
                  <a:pt x="3450" y="2469"/>
                </a:lnTo>
                <a:lnTo>
                  <a:pt x="3461" y="2483"/>
                </a:lnTo>
                <a:lnTo>
                  <a:pt x="3473" y="2496"/>
                </a:lnTo>
                <a:lnTo>
                  <a:pt x="3484" y="2510"/>
                </a:lnTo>
                <a:lnTo>
                  <a:pt x="3493" y="2526"/>
                </a:lnTo>
                <a:lnTo>
                  <a:pt x="3501" y="2541"/>
                </a:lnTo>
                <a:lnTo>
                  <a:pt x="3510" y="2555"/>
                </a:lnTo>
                <a:lnTo>
                  <a:pt x="3523" y="2585"/>
                </a:lnTo>
                <a:lnTo>
                  <a:pt x="3533" y="2615"/>
                </a:lnTo>
                <a:lnTo>
                  <a:pt x="3540" y="2644"/>
                </a:lnTo>
                <a:lnTo>
                  <a:pt x="3544" y="2671"/>
                </a:lnTo>
                <a:lnTo>
                  <a:pt x="3547" y="2696"/>
                </a:lnTo>
                <a:lnTo>
                  <a:pt x="3550" y="2717"/>
                </a:lnTo>
                <a:lnTo>
                  <a:pt x="3550" y="2734"/>
                </a:lnTo>
                <a:lnTo>
                  <a:pt x="3550" y="3262"/>
                </a:lnTo>
                <a:lnTo>
                  <a:pt x="3550" y="3262"/>
                </a:lnTo>
                <a:lnTo>
                  <a:pt x="3514" y="3279"/>
                </a:lnTo>
                <a:lnTo>
                  <a:pt x="3480" y="3299"/>
                </a:lnTo>
                <a:lnTo>
                  <a:pt x="3447" y="3320"/>
                </a:lnTo>
                <a:lnTo>
                  <a:pt x="3415" y="3345"/>
                </a:lnTo>
                <a:lnTo>
                  <a:pt x="3386" y="3372"/>
                </a:lnTo>
                <a:lnTo>
                  <a:pt x="3359" y="3399"/>
                </a:lnTo>
                <a:lnTo>
                  <a:pt x="3333" y="3430"/>
                </a:lnTo>
                <a:lnTo>
                  <a:pt x="3310" y="3463"/>
                </a:lnTo>
                <a:lnTo>
                  <a:pt x="3289" y="3496"/>
                </a:lnTo>
                <a:lnTo>
                  <a:pt x="3270" y="3532"/>
                </a:lnTo>
                <a:lnTo>
                  <a:pt x="3254" y="3567"/>
                </a:lnTo>
                <a:lnTo>
                  <a:pt x="3241" y="3606"/>
                </a:lnTo>
                <a:lnTo>
                  <a:pt x="3231" y="3645"/>
                </a:lnTo>
                <a:lnTo>
                  <a:pt x="3223" y="3685"/>
                </a:lnTo>
                <a:lnTo>
                  <a:pt x="3218" y="3727"/>
                </a:lnTo>
                <a:lnTo>
                  <a:pt x="3217" y="3769"/>
                </a:lnTo>
                <a:lnTo>
                  <a:pt x="3217" y="3769"/>
                </a:lnTo>
                <a:lnTo>
                  <a:pt x="3218" y="3797"/>
                </a:lnTo>
                <a:lnTo>
                  <a:pt x="3220" y="3825"/>
                </a:lnTo>
                <a:lnTo>
                  <a:pt x="3223" y="3853"/>
                </a:lnTo>
                <a:lnTo>
                  <a:pt x="3229" y="3879"/>
                </a:lnTo>
                <a:lnTo>
                  <a:pt x="3234" y="3906"/>
                </a:lnTo>
                <a:lnTo>
                  <a:pt x="3241" y="3932"/>
                </a:lnTo>
                <a:lnTo>
                  <a:pt x="3250" y="3958"/>
                </a:lnTo>
                <a:lnTo>
                  <a:pt x="3260" y="3984"/>
                </a:lnTo>
                <a:lnTo>
                  <a:pt x="3272" y="4008"/>
                </a:lnTo>
                <a:lnTo>
                  <a:pt x="3283" y="4031"/>
                </a:lnTo>
                <a:lnTo>
                  <a:pt x="3297" y="4054"/>
                </a:lnTo>
                <a:lnTo>
                  <a:pt x="3312" y="4077"/>
                </a:lnTo>
                <a:lnTo>
                  <a:pt x="3326" y="4099"/>
                </a:lnTo>
                <a:lnTo>
                  <a:pt x="3343" y="4119"/>
                </a:lnTo>
                <a:lnTo>
                  <a:pt x="3361" y="4139"/>
                </a:lnTo>
                <a:lnTo>
                  <a:pt x="3379" y="4159"/>
                </a:lnTo>
                <a:lnTo>
                  <a:pt x="3398" y="4176"/>
                </a:lnTo>
                <a:lnTo>
                  <a:pt x="3418" y="4194"/>
                </a:lnTo>
                <a:lnTo>
                  <a:pt x="3438" y="4211"/>
                </a:lnTo>
                <a:lnTo>
                  <a:pt x="3460" y="4227"/>
                </a:lnTo>
                <a:lnTo>
                  <a:pt x="3483" y="4241"/>
                </a:lnTo>
                <a:lnTo>
                  <a:pt x="3506" y="4254"/>
                </a:lnTo>
                <a:lnTo>
                  <a:pt x="3530" y="4265"/>
                </a:lnTo>
                <a:lnTo>
                  <a:pt x="3555" y="4277"/>
                </a:lnTo>
                <a:lnTo>
                  <a:pt x="3579" y="4287"/>
                </a:lnTo>
                <a:lnTo>
                  <a:pt x="3605" y="4296"/>
                </a:lnTo>
                <a:lnTo>
                  <a:pt x="3631" y="4303"/>
                </a:lnTo>
                <a:lnTo>
                  <a:pt x="3658" y="4309"/>
                </a:lnTo>
                <a:lnTo>
                  <a:pt x="3685" y="4314"/>
                </a:lnTo>
                <a:lnTo>
                  <a:pt x="3713" y="4317"/>
                </a:lnTo>
                <a:lnTo>
                  <a:pt x="3740" y="4320"/>
                </a:lnTo>
                <a:lnTo>
                  <a:pt x="3769" y="4320"/>
                </a:lnTo>
                <a:lnTo>
                  <a:pt x="3769" y="4320"/>
                </a:lnTo>
                <a:lnTo>
                  <a:pt x="3797" y="4320"/>
                </a:lnTo>
                <a:lnTo>
                  <a:pt x="3825" y="4317"/>
                </a:lnTo>
                <a:lnTo>
                  <a:pt x="3853" y="4314"/>
                </a:lnTo>
                <a:lnTo>
                  <a:pt x="3879" y="4309"/>
                </a:lnTo>
                <a:lnTo>
                  <a:pt x="3906" y="4303"/>
                </a:lnTo>
                <a:lnTo>
                  <a:pt x="3932" y="4296"/>
                </a:lnTo>
                <a:lnTo>
                  <a:pt x="3958" y="4287"/>
                </a:lnTo>
                <a:lnTo>
                  <a:pt x="3984" y="4277"/>
                </a:lnTo>
                <a:lnTo>
                  <a:pt x="4008" y="4265"/>
                </a:lnTo>
                <a:lnTo>
                  <a:pt x="4031" y="4254"/>
                </a:lnTo>
                <a:lnTo>
                  <a:pt x="4054" y="4241"/>
                </a:lnTo>
                <a:lnTo>
                  <a:pt x="4077" y="4227"/>
                </a:lnTo>
                <a:lnTo>
                  <a:pt x="4099" y="4211"/>
                </a:lnTo>
                <a:lnTo>
                  <a:pt x="4119" y="4194"/>
                </a:lnTo>
                <a:lnTo>
                  <a:pt x="4139" y="4176"/>
                </a:lnTo>
                <a:lnTo>
                  <a:pt x="4159" y="4159"/>
                </a:lnTo>
                <a:lnTo>
                  <a:pt x="4176" y="4139"/>
                </a:lnTo>
                <a:lnTo>
                  <a:pt x="4194" y="4119"/>
                </a:lnTo>
                <a:lnTo>
                  <a:pt x="4211" y="4099"/>
                </a:lnTo>
                <a:lnTo>
                  <a:pt x="4227" y="4077"/>
                </a:lnTo>
                <a:lnTo>
                  <a:pt x="4241" y="4054"/>
                </a:lnTo>
                <a:lnTo>
                  <a:pt x="4254" y="4031"/>
                </a:lnTo>
                <a:lnTo>
                  <a:pt x="4265" y="4008"/>
                </a:lnTo>
                <a:lnTo>
                  <a:pt x="4277" y="3984"/>
                </a:lnTo>
                <a:lnTo>
                  <a:pt x="4287" y="3958"/>
                </a:lnTo>
                <a:lnTo>
                  <a:pt x="4296" y="3932"/>
                </a:lnTo>
                <a:lnTo>
                  <a:pt x="4303" y="3906"/>
                </a:lnTo>
                <a:lnTo>
                  <a:pt x="4309" y="3879"/>
                </a:lnTo>
                <a:lnTo>
                  <a:pt x="4314" y="3853"/>
                </a:lnTo>
                <a:lnTo>
                  <a:pt x="4317" y="3825"/>
                </a:lnTo>
                <a:lnTo>
                  <a:pt x="4320" y="3797"/>
                </a:lnTo>
                <a:lnTo>
                  <a:pt x="4320" y="3769"/>
                </a:lnTo>
                <a:lnTo>
                  <a:pt x="4320" y="3769"/>
                </a:lnTo>
                <a:lnTo>
                  <a:pt x="4319" y="3727"/>
                </a:lnTo>
                <a:lnTo>
                  <a:pt x="4314" y="3685"/>
                </a:lnTo>
                <a:lnTo>
                  <a:pt x="4306" y="3645"/>
                </a:lnTo>
                <a:lnTo>
                  <a:pt x="4296" y="3606"/>
                </a:lnTo>
                <a:lnTo>
                  <a:pt x="4283" y="3567"/>
                </a:lnTo>
                <a:lnTo>
                  <a:pt x="4267" y="3532"/>
                </a:lnTo>
                <a:lnTo>
                  <a:pt x="4248" y="3496"/>
                </a:lnTo>
                <a:lnTo>
                  <a:pt x="4227" y="3463"/>
                </a:lnTo>
                <a:lnTo>
                  <a:pt x="4204" y="3430"/>
                </a:lnTo>
                <a:lnTo>
                  <a:pt x="4178" y="3399"/>
                </a:lnTo>
                <a:lnTo>
                  <a:pt x="4151" y="3372"/>
                </a:lnTo>
                <a:lnTo>
                  <a:pt x="4122" y="3345"/>
                </a:lnTo>
                <a:lnTo>
                  <a:pt x="4090" y="3320"/>
                </a:lnTo>
                <a:lnTo>
                  <a:pt x="4057" y="3299"/>
                </a:lnTo>
                <a:lnTo>
                  <a:pt x="4023" y="3279"/>
                </a:lnTo>
                <a:lnTo>
                  <a:pt x="3987" y="3262"/>
                </a:lnTo>
                <a:lnTo>
                  <a:pt x="3987" y="3262"/>
                </a:lnTo>
                <a:close/>
                <a:moveTo>
                  <a:pt x="869" y="3769"/>
                </a:moveTo>
                <a:lnTo>
                  <a:pt x="869" y="3769"/>
                </a:lnTo>
                <a:lnTo>
                  <a:pt x="867" y="3802"/>
                </a:lnTo>
                <a:lnTo>
                  <a:pt x="863" y="3833"/>
                </a:lnTo>
                <a:lnTo>
                  <a:pt x="855" y="3863"/>
                </a:lnTo>
                <a:lnTo>
                  <a:pt x="844" y="3892"/>
                </a:lnTo>
                <a:lnTo>
                  <a:pt x="832" y="3921"/>
                </a:lnTo>
                <a:lnTo>
                  <a:pt x="816" y="3947"/>
                </a:lnTo>
                <a:lnTo>
                  <a:pt x="797" y="3971"/>
                </a:lnTo>
                <a:lnTo>
                  <a:pt x="777" y="3994"/>
                </a:lnTo>
                <a:lnTo>
                  <a:pt x="754" y="4014"/>
                </a:lnTo>
                <a:lnTo>
                  <a:pt x="730" y="4033"/>
                </a:lnTo>
                <a:lnTo>
                  <a:pt x="702" y="4049"/>
                </a:lnTo>
                <a:lnTo>
                  <a:pt x="675" y="4061"/>
                </a:lnTo>
                <a:lnTo>
                  <a:pt x="646" y="4073"/>
                </a:lnTo>
                <a:lnTo>
                  <a:pt x="616" y="4080"/>
                </a:lnTo>
                <a:lnTo>
                  <a:pt x="585" y="4086"/>
                </a:lnTo>
                <a:lnTo>
                  <a:pt x="551" y="4087"/>
                </a:lnTo>
                <a:lnTo>
                  <a:pt x="551" y="4087"/>
                </a:lnTo>
                <a:lnTo>
                  <a:pt x="518" y="4086"/>
                </a:lnTo>
                <a:lnTo>
                  <a:pt x="487" y="4080"/>
                </a:lnTo>
                <a:lnTo>
                  <a:pt x="457" y="4073"/>
                </a:lnTo>
                <a:lnTo>
                  <a:pt x="428" y="4061"/>
                </a:lnTo>
                <a:lnTo>
                  <a:pt x="399" y="4049"/>
                </a:lnTo>
                <a:lnTo>
                  <a:pt x="373" y="4033"/>
                </a:lnTo>
                <a:lnTo>
                  <a:pt x="349" y="4014"/>
                </a:lnTo>
                <a:lnTo>
                  <a:pt x="326" y="3994"/>
                </a:lnTo>
                <a:lnTo>
                  <a:pt x="306" y="3971"/>
                </a:lnTo>
                <a:lnTo>
                  <a:pt x="287" y="3947"/>
                </a:lnTo>
                <a:lnTo>
                  <a:pt x="271" y="3921"/>
                </a:lnTo>
                <a:lnTo>
                  <a:pt x="259" y="3892"/>
                </a:lnTo>
                <a:lnTo>
                  <a:pt x="247" y="3863"/>
                </a:lnTo>
                <a:lnTo>
                  <a:pt x="240" y="3833"/>
                </a:lnTo>
                <a:lnTo>
                  <a:pt x="234" y="3802"/>
                </a:lnTo>
                <a:lnTo>
                  <a:pt x="233" y="3769"/>
                </a:lnTo>
                <a:lnTo>
                  <a:pt x="233" y="3769"/>
                </a:lnTo>
                <a:lnTo>
                  <a:pt x="234" y="3735"/>
                </a:lnTo>
                <a:lnTo>
                  <a:pt x="240" y="3704"/>
                </a:lnTo>
                <a:lnTo>
                  <a:pt x="247" y="3674"/>
                </a:lnTo>
                <a:lnTo>
                  <a:pt x="259" y="3645"/>
                </a:lnTo>
                <a:lnTo>
                  <a:pt x="271" y="3616"/>
                </a:lnTo>
                <a:lnTo>
                  <a:pt x="287" y="3590"/>
                </a:lnTo>
                <a:lnTo>
                  <a:pt x="306" y="3566"/>
                </a:lnTo>
                <a:lnTo>
                  <a:pt x="326" y="3543"/>
                </a:lnTo>
                <a:lnTo>
                  <a:pt x="349" y="3523"/>
                </a:lnTo>
                <a:lnTo>
                  <a:pt x="373" y="3504"/>
                </a:lnTo>
                <a:lnTo>
                  <a:pt x="399" y="3488"/>
                </a:lnTo>
                <a:lnTo>
                  <a:pt x="428" y="3476"/>
                </a:lnTo>
                <a:lnTo>
                  <a:pt x="457" y="3465"/>
                </a:lnTo>
                <a:lnTo>
                  <a:pt x="487" y="3457"/>
                </a:lnTo>
                <a:lnTo>
                  <a:pt x="518" y="3453"/>
                </a:lnTo>
                <a:lnTo>
                  <a:pt x="551" y="3451"/>
                </a:lnTo>
                <a:lnTo>
                  <a:pt x="551" y="3451"/>
                </a:lnTo>
                <a:lnTo>
                  <a:pt x="585" y="3453"/>
                </a:lnTo>
                <a:lnTo>
                  <a:pt x="616" y="3457"/>
                </a:lnTo>
                <a:lnTo>
                  <a:pt x="646" y="3465"/>
                </a:lnTo>
                <a:lnTo>
                  <a:pt x="675" y="3476"/>
                </a:lnTo>
                <a:lnTo>
                  <a:pt x="702" y="3488"/>
                </a:lnTo>
                <a:lnTo>
                  <a:pt x="730" y="3504"/>
                </a:lnTo>
                <a:lnTo>
                  <a:pt x="754" y="3523"/>
                </a:lnTo>
                <a:lnTo>
                  <a:pt x="777" y="3543"/>
                </a:lnTo>
                <a:lnTo>
                  <a:pt x="797" y="3566"/>
                </a:lnTo>
                <a:lnTo>
                  <a:pt x="816" y="3590"/>
                </a:lnTo>
                <a:lnTo>
                  <a:pt x="832" y="3616"/>
                </a:lnTo>
                <a:lnTo>
                  <a:pt x="844" y="3645"/>
                </a:lnTo>
                <a:lnTo>
                  <a:pt x="855" y="3674"/>
                </a:lnTo>
                <a:lnTo>
                  <a:pt x="863" y="3704"/>
                </a:lnTo>
                <a:lnTo>
                  <a:pt x="867" y="3735"/>
                </a:lnTo>
                <a:lnTo>
                  <a:pt x="869" y="3769"/>
                </a:lnTo>
                <a:lnTo>
                  <a:pt x="869" y="3769"/>
                </a:lnTo>
                <a:close/>
                <a:moveTo>
                  <a:pt x="1841" y="551"/>
                </a:moveTo>
                <a:lnTo>
                  <a:pt x="1841" y="551"/>
                </a:lnTo>
                <a:lnTo>
                  <a:pt x="1844" y="518"/>
                </a:lnTo>
                <a:lnTo>
                  <a:pt x="1848" y="487"/>
                </a:lnTo>
                <a:lnTo>
                  <a:pt x="1856" y="457"/>
                </a:lnTo>
                <a:lnTo>
                  <a:pt x="1867" y="428"/>
                </a:lnTo>
                <a:lnTo>
                  <a:pt x="1880" y="399"/>
                </a:lnTo>
                <a:lnTo>
                  <a:pt x="1896" y="373"/>
                </a:lnTo>
                <a:lnTo>
                  <a:pt x="1914" y="349"/>
                </a:lnTo>
                <a:lnTo>
                  <a:pt x="1935" y="326"/>
                </a:lnTo>
                <a:lnTo>
                  <a:pt x="1958" y="306"/>
                </a:lnTo>
                <a:lnTo>
                  <a:pt x="1982" y="287"/>
                </a:lnTo>
                <a:lnTo>
                  <a:pt x="2008" y="271"/>
                </a:lnTo>
                <a:lnTo>
                  <a:pt x="2036" y="259"/>
                </a:lnTo>
                <a:lnTo>
                  <a:pt x="2065" y="247"/>
                </a:lnTo>
                <a:lnTo>
                  <a:pt x="2095" y="240"/>
                </a:lnTo>
                <a:lnTo>
                  <a:pt x="2127" y="234"/>
                </a:lnTo>
                <a:lnTo>
                  <a:pt x="2160" y="233"/>
                </a:lnTo>
                <a:lnTo>
                  <a:pt x="2160" y="233"/>
                </a:lnTo>
                <a:lnTo>
                  <a:pt x="2193" y="234"/>
                </a:lnTo>
                <a:lnTo>
                  <a:pt x="2225" y="240"/>
                </a:lnTo>
                <a:lnTo>
                  <a:pt x="2255" y="247"/>
                </a:lnTo>
                <a:lnTo>
                  <a:pt x="2284" y="259"/>
                </a:lnTo>
                <a:lnTo>
                  <a:pt x="2312" y="271"/>
                </a:lnTo>
                <a:lnTo>
                  <a:pt x="2338" y="287"/>
                </a:lnTo>
                <a:lnTo>
                  <a:pt x="2363" y="306"/>
                </a:lnTo>
                <a:lnTo>
                  <a:pt x="2385" y="326"/>
                </a:lnTo>
                <a:lnTo>
                  <a:pt x="2406" y="349"/>
                </a:lnTo>
                <a:lnTo>
                  <a:pt x="2424" y="373"/>
                </a:lnTo>
                <a:lnTo>
                  <a:pt x="2440" y="399"/>
                </a:lnTo>
                <a:lnTo>
                  <a:pt x="2453" y="428"/>
                </a:lnTo>
                <a:lnTo>
                  <a:pt x="2464" y="457"/>
                </a:lnTo>
                <a:lnTo>
                  <a:pt x="2472" y="487"/>
                </a:lnTo>
                <a:lnTo>
                  <a:pt x="2476" y="518"/>
                </a:lnTo>
                <a:lnTo>
                  <a:pt x="2479" y="551"/>
                </a:lnTo>
                <a:lnTo>
                  <a:pt x="2479" y="551"/>
                </a:lnTo>
                <a:lnTo>
                  <a:pt x="2476" y="585"/>
                </a:lnTo>
                <a:lnTo>
                  <a:pt x="2472" y="616"/>
                </a:lnTo>
                <a:lnTo>
                  <a:pt x="2464" y="646"/>
                </a:lnTo>
                <a:lnTo>
                  <a:pt x="2453" y="675"/>
                </a:lnTo>
                <a:lnTo>
                  <a:pt x="2440" y="704"/>
                </a:lnTo>
                <a:lnTo>
                  <a:pt x="2424" y="730"/>
                </a:lnTo>
                <a:lnTo>
                  <a:pt x="2406" y="754"/>
                </a:lnTo>
                <a:lnTo>
                  <a:pt x="2385" y="777"/>
                </a:lnTo>
                <a:lnTo>
                  <a:pt x="2363" y="797"/>
                </a:lnTo>
                <a:lnTo>
                  <a:pt x="2338" y="816"/>
                </a:lnTo>
                <a:lnTo>
                  <a:pt x="2312" y="832"/>
                </a:lnTo>
                <a:lnTo>
                  <a:pt x="2284" y="844"/>
                </a:lnTo>
                <a:lnTo>
                  <a:pt x="2255" y="855"/>
                </a:lnTo>
                <a:lnTo>
                  <a:pt x="2225" y="863"/>
                </a:lnTo>
                <a:lnTo>
                  <a:pt x="2193" y="867"/>
                </a:lnTo>
                <a:lnTo>
                  <a:pt x="2160" y="869"/>
                </a:lnTo>
                <a:lnTo>
                  <a:pt x="2160" y="869"/>
                </a:lnTo>
                <a:lnTo>
                  <a:pt x="2127" y="867"/>
                </a:lnTo>
                <a:lnTo>
                  <a:pt x="2095" y="863"/>
                </a:lnTo>
                <a:lnTo>
                  <a:pt x="2065" y="855"/>
                </a:lnTo>
                <a:lnTo>
                  <a:pt x="2036" y="844"/>
                </a:lnTo>
                <a:lnTo>
                  <a:pt x="2008" y="832"/>
                </a:lnTo>
                <a:lnTo>
                  <a:pt x="1982" y="816"/>
                </a:lnTo>
                <a:lnTo>
                  <a:pt x="1958" y="797"/>
                </a:lnTo>
                <a:lnTo>
                  <a:pt x="1935" y="777"/>
                </a:lnTo>
                <a:lnTo>
                  <a:pt x="1914" y="754"/>
                </a:lnTo>
                <a:lnTo>
                  <a:pt x="1896" y="730"/>
                </a:lnTo>
                <a:lnTo>
                  <a:pt x="1880" y="704"/>
                </a:lnTo>
                <a:lnTo>
                  <a:pt x="1867" y="675"/>
                </a:lnTo>
                <a:lnTo>
                  <a:pt x="1856" y="646"/>
                </a:lnTo>
                <a:lnTo>
                  <a:pt x="1848" y="616"/>
                </a:lnTo>
                <a:lnTo>
                  <a:pt x="1844" y="585"/>
                </a:lnTo>
                <a:lnTo>
                  <a:pt x="1841" y="551"/>
                </a:lnTo>
                <a:lnTo>
                  <a:pt x="1841" y="551"/>
                </a:lnTo>
                <a:close/>
                <a:moveTo>
                  <a:pt x="2479" y="3769"/>
                </a:moveTo>
                <a:lnTo>
                  <a:pt x="2479" y="3769"/>
                </a:lnTo>
                <a:lnTo>
                  <a:pt x="2476" y="3802"/>
                </a:lnTo>
                <a:lnTo>
                  <a:pt x="2472" y="3833"/>
                </a:lnTo>
                <a:lnTo>
                  <a:pt x="2464" y="3863"/>
                </a:lnTo>
                <a:lnTo>
                  <a:pt x="2453" y="3892"/>
                </a:lnTo>
                <a:lnTo>
                  <a:pt x="2440" y="3921"/>
                </a:lnTo>
                <a:lnTo>
                  <a:pt x="2424" y="3947"/>
                </a:lnTo>
                <a:lnTo>
                  <a:pt x="2406" y="3971"/>
                </a:lnTo>
                <a:lnTo>
                  <a:pt x="2385" y="3994"/>
                </a:lnTo>
                <a:lnTo>
                  <a:pt x="2363" y="4014"/>
                </a:lnTo>
                <a:lnTo>
                  <a:pt x="2338" y="4033"/>
                </a:lnTo>
                <a:lnTo>
                  <a:pt x="2312" y="4049"/>
                </a:lnTo>
                <a:lnTo>
                  <a:pt x="2284" y="4061"/>
                </a:lnTo>
                <a:lnTo>
                  <a:pt x="2255" y="4073"/>
                </a:lnTo>
                <a:lnTo>
                  <a:pt x="2225" y="4080"/>
                </a:lnTo>
                <a:lnTo>
                  <a:pt x="2193" y="4086"/>
                </a:lnTo>
                <a:lnTo>
                  <a:pt x="2160" y="4087"/>
                </a:lnTo>
                <a:lnTo>
                  <a:pt x="2160" y="4087"/>
                </a:lnTo>
                <a:lnTo>
                  <a:pt x="2127" y="4086"/>
                </a:lnTo>
                <a:lnTo>
                  <a:pt x="2095" y="4080"/>
                </a:lnTo>
                <a:lnTo>
                  <a:pt x="2065" y="4073"/>
                </a:lnTo>
                <a:lnTo>
                  <a:pt x="2036" y="4061"/>
                </a:lnTo>
                <a:lnTo>
                  <a:pt x="2008" y="4049"/>
                </a:lnTo>
                <a:lnTo>
                  <a:pt x="1982" y="4033"/>
                </a:lnTo>
                <a:lnTo>
                  <a:pt x="1958" y="4014"/>
                </a:lnTo>
                <a:lnTo>
                  <a:pt x="1935" y="3994"/>
                </a:lnTo>
                <a:lnTo>
                  <a:pt x="1914" y="3971"/>
                </a:lnTo>
                <a:lnTo>
                  <a:pt x="1896" y="3947"/>
                </a:lnTo>
                <a:lnTo>
                  <a:pt x="1880" y="3921"/>
                </a:lnTo>
                <a:lnTo>
                  <a:pt x="1867" y="3892"/>
                </a:lnTo>
                <a:lnTo>
                  <a:pt x="1856" y="3863"/>
                </a:lnTo>
                <a:lnTo>
                  <a:pt x="1848" y="3833"/>
                </a:lnTo>
                <a:lnTo>
                  <a:pt x="1844" y="3802"/>
                </a:lnTo>
                <a:lnTo>
                  <a:pt x="1841" y="3769"/>
                </a:lnTo>
                <a:lnTo>
                  <a:pt x="1841" y="3769"/>
                </a:lnTo>
                <a:lnTo>
                  <a:pt x="1844" y="3735"/>
                </a:lnTo>
                <a:lnTo>
                  <a:pt x="1848" y="3704"/>
                </a:lnTo>
                <a:lnTo>
                  <a:pt x="1856" y="3674"/>
                </a:lnTo>
                <a:lnTo>
                  <a:pt x="1867" y="3645"/>
                </a:lnTo>
                <a:lnTo>
                  <a:pt x="1880" y="3616"/>
                </a:lnTo>
                <a:lnTo>
                  <a:pt x="1896" y="3590"/>
                </a:lnTo>
                <a:lnTo>
                  <a:pt x="1914" y="3566"/>
                </a:lnTo>
                <a:lnTo>
                  <a:pt x="1935" y="3543"/>
                </a:lnTo>
                <a:lnTo>
                  <a:pt x="1958" y="3523"/>
                </a:lnTo>
                <a:lnTo>
                  <a:pt x="1982" y="3504"/>
                </a:lnTo>
                <a:lnTo>
                  <a:pt x="2008" y="3488"/>
                </a:lnTo>
                <a:lnTo>
                  <a:pt x="2036" y="3476"/>
                </a:lnTo>
                <a:lnTo>
                  <a:pt x="2065" y="3465"/>
                </a:lnTo>
                <a:lnTo>
                  <a:pt x="2095" y="3457"/>
                </a:lnTo>
                <a:lnTo>
                  <a:pt x="2127" y="3453"/>
                </a:lnTo>
                <a:lnTo>
                  <a:pt x="2160" y="3451"/>
                </a:lnTo>
                <a:lnTo>
                  <a:pt x="2160" y="3451"/>
                </a:lnTo>
                <a:lnTo>
                  <a:pt x="2193" y="3453"/>
                </a:lnTo>
                <a:lnTo>
                  <a:pt x="2225" y="3457"/>
                </a:lnTo>
                <a:lnTo>
                  <a:pt x="2255" y="3465"/>
                </a:lnTo>
                <a:lnTo>
                  <a:pt x="2284" y="3476"/>
                </a:lnTo>
                <a:lnTo>
                  <a:pt x="2312" y="3488"/>
                </a:lnTo>
                <a:lnTo>
                  <a:pt x="2338" y="3504"/>
                </a:lnTo>
                <a:lnTo>
                  <a:pt x="2363" y="3523"/>
                </a:lnTo>
                <a:lnTo>
                  <a:pt x="2385" y="3543"/>
                </a:lnTo>
                <a:lnTo>
                  <a:pt x="2406" y="3566"/>
                </a:lnTo>
                <a:lnTo>
                  <a:pt x="2424" y="3590"/>
                </a:lnTo>
                <a:lnTo>
                  <a:pt x="2440" y="3616"/>
                </a:lnTo>
                <a:lnTo>
                  <a:pt x="2453" y="3645"/>
                </a:lnTo>
                <a:lnTo>
                  <a:pt x="2464" y="3674"/>
                </a:lnTo>
                <a:lnTo>
                  <a:pt x="2472" y="3704"/>
                </a:lnTo>
                <a:lnTo>
                  <a:pt x="2476" y="3735"/>
                </a:lnTo>
                <a:lnTo>
                  <a:pt x="2479" y="3769"/>
                </a:lnTo>
                <a:lnTo>
                  <a:pt x="2479" y="3769"/>
                </a:lnTo>
                <a:close/>
                <a:moveTo>
                  <a:pt x="3769" y="4087"/>
                </a:moveTo>
                <a:lnTo>
                  <a:pt x="3769" y="4087"/>
                </a:lnTo>
                <a:lnTo>
                  <a:pt x="3735" y="4086"/>
                </a:lnTo>
                <a:lnTo>
                  <a:pt x="3704" y="4080"/>
                </a:lnTo>
                <a:lnTo>
                  <a:pt x="3674" y="4073"/>
                </a:lnTo>
                <a:lnTo>
                  <a:pt x="3645" y="4061"/>
                </a:lnTo>
                <a:lnTo>
                  <a:pt x="3618" y="4049"/>
                </a:lnTo>
                <a:lnTo>
                  <a:pt x="3590" y="4033"/>
                </a:lnTo>
                <a:lnTo>
                  <a:pt x="3566" y="4014"/>
                </a:lnTo>
                <a:lnTo>
                  <a:pt x="3543" y="3994"/>
                </a:lnTo>
                <a:lnTo>
                  <a:pt x="3523" y="3971"/>
                </a:lnTo>
                <a:lnTo>
                  <a:pt x="3504" y="3947"/>
                </a:lnTo>
                <a:lnTo>
                  <a:pt x="3488" y="3921"/>
                </a:lnTo>
                <a:lnTo>
                  <a:pt x="3476" y="3892"/>
                </a:lnTo>
                <a:lnTo>
                  <a:pt x="3465" y="3863"/>
                </a:lnTo>
                <a:lnTo>
                  <a:pt x="3457" y="3833"/>
                </a:lnTo>
                <a:lnTo>
                  <a:pt x="3453" y="3802"/>
                </a:lnTo>
                <a:lnTo>
                  <a:pt x="3451" y="3769"/>
                </a:lnTo>
                <a:lnTo>
                  <a:pt x="3451" y="3769"/>
                </a:lnTo>
                <a:lnTo>
                  <a:pt x="3453" y="3735"/>
                </a:lnTo>
                <a:lnTo>
                  <a:pt x="3457" y="3704"/>
                </a:lnTo>
                <a:lnTo>
                  <a:pt x="3465" y="3674"/>
                </a:lnTo>
                <a:lnTo>
                  <a:pt x="3476" y="3645"/>
                </a:lnTo>
                <a:lnTo>
                  <a:pt x="3488" y="3616"/>
                </a:lnTo>
                <a:lnTo>
                  <a:pt x="3504" y="3590"/>
                </a:lnTo>
                <a:lnTo>
                  <a:pt x="3523" y="3566"/>
                </a:lnTo>
                <a:lnTo>
                  <a:pt x="3543" y="3543"/>
                </a:lnTo>
                <a:lnTo>
                  <a:pt x="3566" y="3523"/>
                </a:lnTo>
                <a:lnTo>
                  <a:pt x="3590" y="3504"/>
                </a:lnTo>
                <a:lnTo>
                  <a:pt x="3618" y="3488"/>
                </a:lnTo>
                <a:lnTo>
                  <a:pt x="3645" y="3476"/>
                </a:lnTo>
                <a:lnTo>
                  <a:pt x="3674" y="3465"/>
                </a:lnTo>
                <a:lnTo>
                  <a:pt x="3704" y="3457"/>
                </a:lnTo>
                <a:lnTo>
                  <a:pt x="3735" y="3453"/>
                </a:lnTo>
                <a:lnTo>
                  <a:pt x="3769" y="3451"/>
                </a:lnTo>
                <a:lnTo>
                  <a:pt x="3769" y="3451"/>
                </a:lnTo>
                <a:lnTo>
                  <a:pt x="3802" y="3453"/>
                </a:lnTo>
                <a:lnTo>
                  <a:pt x="3833" y="3457"/>
                </a:lnTo>
                <a:lnTo>
                  <a:pt x="3863" y="3465"/>
                </a:lnTo>
                <a:lnTo>
                  <a:pt x="3892" y="3476"/>
                </a:lnTo>
                <a:lnTo>
                  <a:pt x="3921" y="3488"/>
                </a:lnTo>
                <a:lnTo>
                  <a:pt x="3947" y="3504"/>
                </a:lnTo>
                <a:lnTo>
                  <a:pt x="3971" y="3523"/>
                </a:lnTo>
                <a:lnTo>
                  <a:pt x="3994" y="3543"/>
                </a:lnTo>
                <a:lnTo>
                  <a:pt x="4014" y="3566"/>
                </a:lnTo>
                <a:lnTo>
                  <a:pt x="4033" y="3590"/>
                </a:lnTo>
                <a:lnTo>
                  <a:pt x="4049" y="3616"/>
                </a:lnTo>
                <a:lnTo>
                  <a:pt x="4061" y="3645"/>
                </a:lnTo>
                <a:lnTo>
                  <a:pt x="4073" y="3674"/>
                </a:lnTo>
                <a:lnTo>
                  <a:pt x="4080" y="3704"/>
                </a:lnTo>
                <a:lnTo>
                  <a:pt x="4086" y="3735"/>
                </a:lnTo>
                <a:lnTo>
                  <a:pt x="4087" y="3769"/>
                </a:lnTo>
                <a:lnTo>
                  <a:pt x="4087" y="3769"/>
                </a:lnTo>
                <a:lnTo>
                  <a:pt x="4086" y="3802"/>
                </a:lnTo>
                <a:lnTo>
                  <a:pt x="4080" y="3833"/>
                </a:lnTo>
                <a:lnTo>
                  <a:pt x="4073" y="3863"/>
                </a:lnTo>
                <a:lnTo>
                  <a:pt x="4061" y="3892"/>
                </a:lnTo>
                <a:lnTo>
                  <a:pt x="4049" y="3921"/>
                </a:lnTo>
                <a:lnTo>
                  <a:pt x="4033" y="3947"/>
                </a:lnTo>
                <a:lnTo>
                  <a:pt x="4014" y="3971"/>
                </a:lnTo>
                <a:lnTo>
                  <a:pt x="3994" y="3994"/>
                </a:lnTo>
                <a:lnTo>
                  <a:pt x="3971" y="4014"/>
                </a:lnTo>
                <a:lnTo>
                  <a:pt x="3947" y="4033"/>
                </a:lnTo>
                <a:lnTo>
                  <a:pt x="3921" y="4049"/>
                </a:lnTo>
                <a:lnTo>
                  <a:pt x="3892" y="4061"/>
                </a:lnTo>
                <a:lnTo>
                  <a:pt x="3863" y="4073"/>
                </a:lnTo>
                <a:lnTo>
                  <a:pt x="3833" y="4080"/>
                </a:lnTo>
                <a:lnTo>
                  <a:pt x="3802" y="4086"/>
                </a:lnTo>
                <a:lnTo>
                  <a:pt x="3769" y="4087"/>
                </a:lnTo>
                <a:lnTo>
                  <a:pt x="3769" y="4087"/>
                </a:lnTo>
                <a:close/>
              </a:path>
            </a:pathLst>
          </a:custGeom>
          <a:solidFill>
            <a:schemeClr val="bg1"/>
          </a:solidFill>
          <a:ln>
            <a:noFill/>
          </a:ln>
        </p:spPr>
        <p:txBody>
          <a:bodyPr vert="horz" wrap="square" lIns="91412" tIns="45706" rIns="91412" bIns="45706"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641" name="Rectangle 640"/>
          <p:cNvSpPr/>
          <p:nvPr/>
        </p:nvSpPr>
        <p:spPr>
          <a:xfrm>
            <a:off x="6715870" y="1758209"/>
            <a:ext cx="20918" cy="349773"/>
          </a:xfrm>
          <a:prstGeom prst="rect">
            <a:avLst/>
          </a:prstGeom>
          <a:gradFill>
            <a:gsLst>
              <a:gs pos="0">
                <a:srgbClr val="BCB09E">
                  <a:alpha val="65000"/>
                </a:srgbClr>
              </a:gs>
              <a:gs pos="54000">
                <a:srgbClr val="565595"/>
              </a:gs>
            </a:gsLst>
            <a:lin ang="5400000" scaled="0"/>
          </a:gradFill>
          <a:ln w="25400" cap="flat" cmpd="sng" algn="ctr">
            <a:no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28" name="Freeform 27"/>
          <p:cNvSpPr>
            <a:spLocks/>
          </p:cNvSpPr>
          <p:nvPr/>
        </p:nvSpPr>
        <p:spPr bwMode="auto">
          <a:xfrm>
            <a:off x="6376215" y="1834233"/>
            <a:ext cx="703953" cy="601596"/>
          </a:xfrm>
          <a:custGeom>
            <a:avLst/>
            <a:gdLst>
              <a:gd name="connsiteX0" fmla="*/ 0 w 750924"/>
              <a:gd name="connsiteY0" fmla="*/ 0 h 644253"/>
              <a:gd name="connsiteX1" fmla="*/ 750924 w 750924"/>
              <a:gd name="connsiteY1" fmla="*/ 0 h 644253"/>
              <a:gd name="connsiteX2" fmla="*/ 750924 w 750924"/>
              <a:gd name="connsiteY2" fmla="*/ 637175 h 644253"/>
              <a:gd name="connsiteX3" fmla="*/ 562963 w 750924"/>
              <a:gd name="connsiteY3" fmla="*/ 637765 h 644253"/>
              <a:gd name="connsiteX4" fmla="*/ 375462 w 750924"/>
              <a:gd name="connsiteY4" fmla="*/ 638945 h 644253"/>
              <a:gd name="connsiteX5" fmla="*/ 187042 w 750924"/>
              <a:gd name="connsiteY5" fmla="*/ 641894 h 644253"/>
              <a:gd name="connsiteX6" fmla="*/ 0 w 750924"/>
              <a:gd name="connsiteY6" fmla="*/ 644253 h 644253"/>
              <a:gd name="connsiteX7" fmla="*/ 0 w 750924"/>
              <a:gd name="connsiteY7" fmla="*/ 0 h 64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924" h="644253">
                <a:moveTo>
                  <a:pt x="0" y="0"/>
                </a:moveTo>
                <a:lnTo>
                  <a:pt x="750924" y="0"/>
                </a:lnTo>
                <a:lnTo>
                  <a:pt x="750924" y="637175"/>
                </a:lnTo>
                <a:lnTo>
                  <a:pt x="562963" y="637765"/>
                </a:lnTo>
                <a:lnTo>
                  <a:pt x="375462" y="638945"/>
                </a:lnTo>
                <a:lnTo>
                  <a:pt x="187042" y="641894"/>
                </a:lnTo>
                <a:lnTo>
                  <a:pt x="0" y="644253"/>
                </a:lnTo>
                <a:lnTo>
                  <a:pt x="0" y="0"/>
                </a:lnTo>
                <a:close/>
              </a:path>
            </a:pathLst>
          </a:custGeom>
          <a:solidFill>
            <a:schemeClr val="accent6">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defRPr/>
            </a:pPr>
            <a:r>
              <a:rPr lang="en-US" sz="900" kern="0" dirty="0" smtClean="0">
                <a:solidFill>
                  <a:schemeClr val="bg1"/>
                </a:solidFill>
                <a:latin typeface="+mj-lt"/>
              </a:rPr>
              <a:t>DLP</a:t>
            </a:r>
            <a:endParaRPr lang="en-US" sz="900" kern="0" dirty="0">
              <a:solidFill>
                <a:schemeClr val="bg1"/>
              </a:solidFill>
              <a:latin typeface="+mj-lt"/>
            </a:endParaRPr>
          </a:p>
        </p:txBody>
      </p:sp>
      <p:grpSp>
        <p:nvGrpSpPr>
          <p:cNvPr id="788" name="Group 525"/>
          <p:cNvGrpSpPr/>
          <p:nvPr/>
        </p:nvGrpSpPr>
        <p:grpSpPr>
          <a:xfrm>
            <a:off x="6657446" y="2205848"/>
            <a:ext cx="163124" cy="178578"/>
            <a:chOff x="5059330" y="7098673"/>
            <a:chExt cx="742341" cy="812665"/>
          </a:xfrm>
          <a:solidFill>
            <a:schemeClr val="bg1"/>
          </a:solidFill>
        </p:grpSpPr>
        <p:sp>
          <p:nvSpPr>
            <p:cNvPr id="527" name="Freeform 19"/>
            <p:cNvSpPr>
              <a:spLocks noChangeAspect="1" noEditPoints="1"/>
            </p:cNvSpPr>
            <p:nvPr/>
          </p:nvSpPr>
          <p:spPr bwMode="auto">
            <a:xfrm>
              <a:off x="5059330" y="7384519"/>
              <a:ext cx="409969" cy="526816"/>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a:noFill/>
            </a:ln>
          </p:spPr>
          <p:txBody>
            <a:bodyPr vert="horz" wrap="square" lIns="91440" tIns="45720" rIns="91440" bIns="45720" numCol="1" anchor="t" anchorCtr="0" compatLnSpc="1">
              <a:prstTxWarp prst="textNoShape">
                <a:avLst/>
              </a:prstTxWarp>
            </a:bodyPr>
            <a:lstStyle/>
            <a:p>
              <a:pPr defTabSz="457170"/>
              <a:endParaRPr lang="en-US">
                <a:solidFill>
                  <a:srgbClr val="435153"/>
                </a:solidFill>
                <a:latin typeface="+mj-lt"/>
              </a:endParaRPr>
            </a:p>
          </p:txBody>
        </p:sp>
        <p:sp>
          <p:nvSpPr>
            <p:cNvPr id="528" name="Freeform 168"/>
            <p:cNvSpPr>
              <a:spLocks noEditPoints="1"/>
            </p:cNvSpPr>
            <p:nvPr/>
          </p:nvSpPr>
          <p:spPr bwMode="auto">
            <a:xfrm>
              <a:off x="5093242" y="7098673"/>
              <a:ext cx="708429" cy="812665"/>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0"/>
              <a:endParaRPr lang="en-US">
                <a:solidFill>
                  <a:srgbClr val="435153"/>
                </a:solidFill>
                <a:latin typeface="+mj-lt"/>
              </a:endParaRPr>
            </a:p>
          </p:txBody>
        </p:sp>
      </p:grpSp>
      <p:sp>
        <p:nvSpPr>
          <p:cNvPr id="532" name="Rectangle 531"/>
          <p:cNvSpPr/>
          <p:nvPr/>
        </p:nvSpPr>
        <p:spPr>
          <a:xfrm>
            <a:off x="6715870" y="2404955"/>
            <a:ext cx="20918" cy="349773"/>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01" name="Rectangle 500"/>
          <p:cNvSpPr/>
          <p:nvPr/>
        </p:nvSpPr>
        <p:spPr>
          <a:xfrm>
            <a:off x="8228108" y="4023246"/>
            <a:ext cx="123659" cy="123659"/>
          </a:xfrm>
          <a:prstGeom prst="rect">
            <a:avLst/>
          </a:prstGeom>
          <a:solidFill>
            <a:srgbClr val="004080"/>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rgbClr val="2F2E7E"/>
              </a:solidFill>
              <a:latin typeface="+mj-lt"/>
            </a:endParaRPr>
          </a:p>
        </p:txBody>
      </p:sp>
      <p:sp>
        <p:nvSpPr>
          <p:cNvPr id="502" name="Rectangle 501"/>
          <p:cNvSpPr/>
          <p:nvPr/>
        </p:nvSpPr>
        <p:spPr>
          <a:xfrm>
            <a:off x="8376916" y="4046048"/>
            <a:ext cx="362217"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a:solidFill>
                  <a:srgbClr val="676767">
                    <a:lumMod val="75000"/>
                  </a:srgbClr>
                </a:solidFill>
                <a:latin typeface="+mj-lt"/>
                <a:ea typeface="ＭＳ Ｐゴシック" charset="0"/>
                <a:cs typeface="ＭＳ Ｐゴシック" charset="0"/>
              </a:rPr>
              <a:t>Hybrid</a:t>
            </a:r>
          </a:p>
        </p:txBody>
      </p:sp>
      <p:sp>
        <p:nvSpPr>
          <p:cNvPr id="503" name="Rectangle 502"/>
          <p:cNvSpPr/>
          <p:nvPr/>
        </p:nvSpPr>
        <p:spPr>
          <a:xfrm>
            <a:off x="1321352" y="2942415"/>
            <a:ext cx="3949284" cy="341029"/>
          </a:xfrm>
          <a:prstGeom prst="rect">
            <a:avLst/>
          </a:prstGeom>
          <a:solidFill>
            <a:srgbClr val="D7E8FC"/>
          </a:solidFill>
          <a:ln w="6350">
            <a:solidFill>
              <a:schemeClr val="tx2">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18" tIns="45718" rIns="91436" bIns="45718" rtlCol="0" anchor="ctr"/>
          <a:lstStyle/>
          <a:p>
            <a:r>
              <a:rPr lang="en-US" sz="1000" dirty="0">
                <a:solidFill>
                  <a:schemeClr val="accent5">
                    <a:lumMod val="50000"/>
                  </a:schemeClr>
                </a:solidFill>
                <a:latin typeface="+mj-lt"/>
              </a:rPr>
              <a:t>CWS</a:t>
            </a:r>
          </a:p>
        </p:txBody>
      </p:sp>
      <p:sp>
        <p:nvSpPr>
          <p:cNvPr id="504" name="Rectangle 503"/>
          <p:cNvSpPr/>
          <p:nvPr/>
        </p:nvSpPr>
        <p:spPr>
          <a:xfrm>
            <a:off x="1321352" y="3295926"/>
            <a:ext cx="3949284" cy="341029"/>
          </a:xfrm>
          <a:prstGeom prst="rect">
            <a:avLst/>
          </a:prstGeom>
          <a:solidFill>
            <a:srgbClr val="000099">
              <a:alpha val="6667"/>
            </a:srgbClr>
          </a:solidFill>
          <a:ln w="6350">
            <a:solidFill>
              <a:srgbClr val="8989FF"/>
            </a:solidFill>
          </a:ln>
          <a:effectLst/>
        </p:spPr>
        <p:style>
          <a:lnRef idx="2">
            <a:schemeClr val="accent1">
              <a:shade val="50000"/>
            </a:schemeClr>
          </a:lnRef>
          <a:fillRef idx="1">
            <a:schemeClr val="accent1"/>
          </a:fillRef>
          <a:effectRef idx="0">
            <a:schemeClr val="accent1"/>
          </a:effectRef>
          <a:fontRef idx="minor">
            <a:schemeClr val="lt1"/>
          </a:fontRef>
        </p:style>
        <p:txBody>
          <a:bodyPr lIns="45718" tIns="45718" rIns="91436" bIns="45718" rtlCol="0" anchor="ctr"/>
          <a:lstStyle/>
          <a:p>
            <a:r>
              <a:rPr lang="en-US" sz="1000" dirty="0">
                <a:solidFill>
                  <a:schemeClr val="accent3">
                    <a:lumMod val="75000"/>
                  </a:schemeClr>
                </a:solidFill>
                <a:latin typeface="+mj-lt"/>
              </a:rPr>
              <a:t>WSA</a:t>
            </a:r>
          </a:p>
        </p:txBody>
      </p:sp>
      <p:sp>
        <p:nvSpPr>
          <p:cNvPr id="505" name="Freeform 504"/>
          <p:cNvSpPr>
            <a:spLocks noEditPoints="1"/>
          </p:cNvSpPr>
          <p:nvPr/>
        </p:nvSpPr>
        <p:spPr bwMode="auto">
          <a:xfrm flipH="1">
            <a:off x="1223934" y="3836669"/>
            <a:ext cx="437690" cy="486280"/>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676767">
              <a:lumMod val="85000"/>
            </a:srgbClr>
          </a:solidFill>
          <a:ln w="9525">
            <a:noFill/>
            <a:round/>
            <a:headEnd/>
            <a:tailEnd/>
          </a:ln>
        </p:spPr>
        <p:txBody>
          <a:bodyPr vert="horz" wrap="square" lIns="68577" tIns="34289" rIns="68577" bIns="34289" numCol="1" anchor="t" anchorCtr="0" compatLnSpc="1">
            <a:prstTxWarp prst="textNoShape">
              <a:avLst/>
            </a:prstTxWarp>
          </a:bodyPr>
          <a:lstStyle/>
          <a:p>
            <a:pPr defTabSz="685600" fontAlgn="auto">
              <a:spcBef>
                <a:spcPts val="0"/>
              </a:spcBef>
              <a:spcAft>
                <a:spcPts val="0"/>
              </a:spcAft>
              <a:defRPr/>
            </a:pPr>
            <a:endParaRPr lang="en-US" sz="900" kern="0">
              <a:solidFill>
                <a:srgbClr val="FFFFFF"/>
              </a:solidFill>
              <a:latin typeface="+mj-lt"/>
            </a:endParaRPr>
          </a:p>
        </p:txBody>
      </p:sp>
      <p:sp>
        <p:nvSpPr>
          <p:cNvPr id="506" name="Rounded Rectangle 191"/>
          <p:cNvSpPr/>
          <p:nvPr/>
        </p:nvSpPr>
        <p:spPr>
          <a:xfrm>
            <a:off x="4005226" y="4327057"/>
            <a:ext cx="786948"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defRPr/>
            </a:pPr>
            <a:r>
              <a:rPr lang="ja-JP" altLang="en-US" sz="900" kern="0" dirty="0" smtClean="0">
                <a:solidFill>
                  <a:srgbClr val="676767"/>
                </a:solidFill>
                <a:latin typeface="+mj-lt"/>
              </a:rPr>
              <a:t>ローミング</a:t>
            </a:r>
            <a:endParaRPr lang="en-US" sz="900" kern="0" dirty="0">
              <a:solidFill>
                <a:srgbClr val="676767"/>
              </a:solidFill>
              <a:latin typeface="+mj-lt"/>
            </a:endParaRPr>
          </a:p>
        </p:txBody>
      </p:sp>
      <p:grpSp>
        <p:nvGrpSpPr>
          <p:cNvPr id="789" name="Group 506"/>
          <p:cNvGrpSpPr/>
          <p:nvPr/>
        </p:nvGrpSpPr>
        <p:grpSpPr>
          <a:xfrm>
            <a:off x="4296840" y="3778979"/>
            <a:ext cx="396046" cy="543970"/>
            <a:chOff x="2427200" y="7613831"/>
            <a:chExt cx="1051866" cy="1445113"/>
          </a:xfrm>
          <a:solidFill>
            <a:srgbClr val="676767">
              <a:lumMod val="85000"/>
            </a:srgbClr>
          </a:solidFill>
        </p:grpSpPr>
        <p:grpSp>
          <p:nvGrpSpPr>
            <p:cNvPr id="793" name="Group 549"/>
            <p:cNvGrpSpPr/>
            <p:nvPr/>
          </p:nvGrpSpPr>
          <p:grpSpPr>
            <a:xfrm rot="19897570">
              <a:off x="3208484" y="7613831"/>
              <a:ext cx="270582" cy="541943"/>
              <a:chOff x="4630738" y="4803775"/>
              <a:chExt cx="2216150" cy="4438650"/>
            </a:xfrm>
            <a:grpFill/>
          </p:grpSpPr>
          <p:sp>
            <p:nvSpPr>
              <p:cNvPr id="554"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55"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grpSp>
        <p:sp>
          <p:nvSpPr>
            <p:cNvPr id="551" name="Freeform 550"/>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FFFFFF"/>
                </a:solidFill>
                <a:latin typeface="+mj-lt"/>
              </a:endParaRPr>
            </a:p>
          </p:txBody>
        </p:sp>
      </p:grpSp>
      <p:sp>
        <p:nvSpPr>
          <p:cNvPr id="564" name="Rounded Rectangle 191"/>
          <p:cNvSpPr/>
          <p:nvPr/>
        </p:nvSpPr>
        <p:spPr>
          <a:xfrm>
            <a:off x="2338280" y="4327057"/>
            <a:ext cx="734864"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pPr>
            <a:r>
              <a:rPr lang="ja-JP" altLang="en-US" sz="900" kern="0" dirty="0" smtClean="0">
                <a:solidFill>
                  <a:srgbClr val="676767"/>
                </a:solidFill>
                <a:latin typeface="+mj-lt"/>
              </a:rPr>
              <a:t>支社</a:t>
            </a:r>
            <a:endParaRPr lang="en-US" sz="900" kern="0" dirty="0">
              <a:solidFill>
                <a:srgbClr val="676767"/>
              </a:solidFill>
              <a:latin typeface="+mj-lt"/>
            </a:endParaRPr>
          </a:p>
        </p:txBody>
      </p:sp>
      <p:grpSp>
        <p:nvGrpSpPr>
          <p:cNvPr id="795" name="Group 567"/>
          <p:cNvGrpSpPr/>
          <p:nvPr/>
        </p:nvGrpSpPr>
        <p:grpSpPr>
          <a:xfrm>
            <a:off x="2467848" y="3804051"/>
            <a:ext cx="432267" cy="518898"/>
            <a:chOff x="5816600" y="1936751"/>
            <a:chExt cx="450840" cy="541339"/>
          </a:xfrm>
          <a:solidFill>
            <a:srgbClr val="676767">
              <a:lumMod val="85000"/>
            </a:srgbClr>
          </a:solidFill>
        </p:grpSpPr>
        <p:sp>
          <p:nvSpPr>
            <p:cNvPr id="569" name="Freeform 278"/>
            <p:cNvSpPr>
              <a:spLocks/>
            </p:cNvSpPr>
            <p:nvPr/>
          </p:nvSpPr>
          <p:spPr bwMode="auto">
            <a:xfrm>
              <a:off x="5997565" y="2133601"/>
              <a:ext cx="269875" cy="344489"/>
            </a:xfrm>
            <a:custGeom>
              <a:avLst/>
              <a:gdLst>
                <a:gd name="T0" fmla="*/ 125 w 339"/>
                <a:gd name="T1" fmla="*/ 397 h 436"/>
                <a:gd name="T2" fmla="*/ 125 w 339"/>
                <a:gd name="T3" fmla="*/ 363 h 436"/>
                <a:gd name="T4" fmla="*/ 304 w 339"/>
                <a:gd name="T5" fmla="*/ 370 h 436"/>
                <a:gd name="T6" fmla="*/ 304 w 339"/>
                <a:gd name="T7" fmla="*/ 328 h 436"/>
                <a:gd name="T8" fmla="*/ 125 w 339"/>
                <a:gd name="T9" fmla="*/ 297 h 436"/>
                <a:gd name="T10" fmla="*/ 125 w 339"/>
                <a:gd name="T11" fmla="*/ 263 h 436"/>
                <a:gd name="T12" fmla="*/ 304 w 339"/>
                <a:gd name="T13" fmla="*/ 302 h 436"/>
                <a:gd name="T14" fmla="*/ 304 w 339"/>
                <a:gd name="T15" fmla="*/ 261 h 436"/>
                <a:gd name="T16" fmla="*/ 125 w 339"/>
                <a:gd name="T17" fmla="*/ 197 h 436"/>
                <a:gd name="T18" fmla="*/ 125 w 339"/>
                <a:gd name="T19" fmla="*/ 162 h 436"/>
                <a:gd name="T20" fmla="*/ 304 w 339"/>
                <a:gd name="T21" fmla="*/ 234 h 436"/>
                <a:gd name="T22" fmla="*/ 304 w 339"/>
                <a:gd name="T23" fmla="*/ 195 h 436"/>
                <a:gd name="T24" fmla="*/ 125 w 339"/>
                <a:gd name="T25" fmla="*/ 97 h 436"/>
                <a:gd name="T26" fmla="*/ 125 w 339"/>
                <a:gd name="T27" fmla="*/ 61 h 436"/>
                <a:gd name="T28" fmla="*/ 304 w 339"/>
                <a:gd name="T29" fmla="*/ 165 h 436"/>
                <a:gd name="T30" fmla="*/ 304 w 339"/>
                <a:gd name="T31" fmla="*/ 128 h 436"/>
                <a:gd name="T32" fmla="*/ 125 w 339"/>
                <a:gd name="T33" fmla="*/ 0 h 436"/>
                <a:gd name="T34" fmla="*/ 70 w 339"/>
                <a:gd name="T35" fmla="*/ 41 h 436"/>
                <a:gd name="T36" fmla="*/ 70 w 339"/>
                <a:gd name="T37" fmla="*/ 41 h 436"/>
                <a:gd name="T38" fmla="*/ 57 w 339"/>
                <a:gd name="T39" fmla="*/ 71 h 436"/>
                <a:gd name="T40" fmla="*/ 40 w 339"/>
                <a:gd name="T41" fmla="*/ 114 h 436"/>
                <a:gd name="T42" fmla="*/ 22 w 339"/>
                <a:gd name="T43" fmla="*/ 153 h 436"/>
                <a:gd name="T44" fmla="*/ 16 w 339"/>
                <a:gd name="T45" fmla="*/ 165 h 436"/>
                <a:gd name="T46" fmla="*/ 13 w 339"/>
                <a:gd name="T47" fmla="*/ 169 h 436"/>
                <a:gd name="T48" fmla="*/ 10 w 339"/>
                <a:gd name="T49" fmla="*/ 170 h 436"/>
                <a:gd name="T50" fmla="*/ 0 w 339"/>
                <a:gd name="T51" fmla="*/ 406 h 436"/>
                <a:gd name="T52" fmla="*/ 0 w 339"/>
                <a:gd name="T53" fmla="*/ 406 h 436"/>
                <a:gd name="T54" fmla="*/ 18 w 339"/>
                <a:gd name="T55" fmla="*/ 416 h 436"/>
                <a:gd name="T56" fmla="*/ 18 w 339"/>
                <a:gd name="T57" fmla="*/ 416 h 436"/>
                <a:gd name="T58" fmla="*/ 18 w 339"/>
                <a:gd name="T59" fmla="*/ 420 h 436"/>
                <a:gd name="T60" fmla="*/ 18 w 339"/>
                <a:gd name="T61" fmla="*/ 424 h 436"/>
                <a:gd name="T62" fmla="*/ 18 w 339"/>
                <a:gd name="T63" fmla="*/ 426 h 436"/>
                <a:gd name="T64" fmla="*/ 17 w 339"/>
                <a:gd name="T65" fmla="*/ 431 h 436"/>
                <a:gd name="T66" fmla="*/ 17 w 339"/>
                <a:gd name="T67" fmla="*/ 431 h 436"/>
                <a:gd name="T68" fmla="*/ 14 w 339"/>
                <a:gd name="T69" fmla="*/ 433 h 436"/>
                <a:gd name="T70" fmla="*/ 10 w 339"/>
                <a:gd name="T71" fmla="*/ 435 h 436"/>
                <a:gd name="T72" fmla="*/ 5 w 339"/>
                <a:gd name="T73" fmla="*/ 436 h 436"/>
                <a:gd name="T74" fmla="*/ 339 w 339"/>
                <a:gd name="T75" fmla="*/ 436 h 436"/>
                <a:gd name="T76" fmla="*/ 339 w 339"/>
                <a:gd name="T77" fmla="*/ 397 h 436"/>
                <a:gd name="T78" fmla="*/ 125 w 339"/>
                <a:gd name="T79" fmla="*/ 39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9" h="436">
                  <a:moveTo>
                    <a:pt x="125" y="397"/>
                  </a:moveTo>
                  <a:lnTo>
                    <a:pt x="125" y="363"/>
                  </a:lnTo>
                  <a:lnTo>
                    <a:pt x="304" y="370"/>
                  </a:lnTo>
                  <a:lnTo>
                    <a:pt x="304" y="328"/>
                  </a:lnTo>
                  <a:lnTo>
                    <a:pt x="125" y="297"/>
                  </a:lnTo>
                  <a:lnTo>
                    <a:pt x="125" y="263"/>
                  </a:lnTo>
                  <a:lnTo>
                    <a:pt x="304" y="302"/>
                  </a:lnTo>
                  <a:lnTo>
                    <a:pt x="304" y="261"/>
                  </a:lnTo>
                  <a:lnTo>
                    <a:pt x="125" y="197"/>
                  </a:lnTo>
                  <a:lnTo>
                    <a:pt x="125" y="162"/>
                  </a:lnTo>
                  <a:lnTo>
                    <a:pt x="304" y="234"/>
                  </a:lnTo>
                  <a:lnTo>
                    <a:pt x="304" y="195"/>
                  </a:lnTo>
                  <a:lnTo>
                    <a:pt x="125" y="97"/>
                  </a:lnTo>
                  <a:lnTo>
                    <a:pt x="125" y="61"/>
                  </a:lnTo>
                  <a:lnTo>
                    <a:pt x="304" y="165"/>
                  </a:lnTo>
                  <a:lnTo>
                    <a:pt x="304" y="128"/>
                  </a:lnTo>
                  <a:lnTo>
                    <a:pt x="125" y="0"/>
                  </a:lnTo>
                  <a:lnTo>
                    <a:pt x="70" y="41"/>
                  </a:lnTo>
                  <a:lnTo>
                    <a:pt x="70" y="41"/>
                  </a:lnTo>
                  <a:lnTo>
                    <a:pt x="57" y="71"/>
                  </a:lnTo>
                  <a:lnTo>
                    <a:pt x="40" y="114"/>
                  </a:lnTo>
                  <a:lnTo>
                    <a:pt x="22" y="153"/>
                  </a:lnTo>
                  <a:lnTo>
                    <a:pt x="16" y="165"/>
                  </a:lnTo>
                  <a:lnTo>
                    <a:pt x="13" y="169"/>
                  </a:lnTo>
                  <a:lnTo>
                    <a:pt x="10" y="170"/>
                  </a:lnTo>
                  <a:lnTo>
                    <a:pt x="0" y="406"/>
                  </a:lnTo>
                  <a:lnTo>
                    <a:pt x="0" y="406"/>
                  </a:lnTo>
                  <a:lnTo>
                    <a:pt x="18" y="416"/>
                  </a:lnTo>
                  <a:lnTo>
                    <a:pt x="18" y="416"/>
                  </a:lnTo>
                  <a:lnTo>
                    <a:pt x="18" y="420"/>
                  </a:lnTo>
                  <a:lnTo>
                    <a:pt x="18" y="424"/>
                  </a:lnTo>
                  <a:lnTo>
                    <a:pt x="18" y="426"/>
                  </a:lnTo>
                  <a:lnTo>
                    <a:pt x="17" y="431"/>
                  </a:lnTo>
                  <a:lnTo>
                    <a:pt x="17" y="431"/>
                  </a:lnTo>
                  <a:lnTo>
                    <a:pt x="14" y="433"/>
                  </a:lnTo>
                  <a:lnTo>
                    <a:pt x="10" y="435"/>
                  </a:lnTo>
                  <a:lnTo>
                    <a:pt x="5" y="436"/>
                  </a:lnTo>
                  <a:lnTo>
                    <a:pt x="339" y="436"/>
                  </a:lnTo>
                  <a:lnTo>
                    <a:pt x="339" y="397"/>
                  </a:lnTo>
                  <a:lnTo>
                    <a:pt x="125"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74" name="Freeform 279"/>
            <p:cNvSpPr>
              <a:spLocks/>
            </p:cNvSpPr>
            <p:nvPr/>
          </p:nvSpPr>
          <p:spPr bwMode="auto">
            <a:xfrm>
              <a:off x="5878503" y="1936751"/>
              <a:ext cx="93663" cy="117476"/>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75" name="Freeform 280"/>
            <p:cNvSpPr>
              <a:spLocks/>
            </p:cNvSpPr>
            <p:nvPr/>
          </p:nvSpPr>
          <p:spPr bwMode="auto">
            <a:xfrm>
              <a:off x="5816600" y="2049462"/>
              <a:ext cx="217488" cy="428625"/>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grpSp>
      <p:cxnSp>
        <p:nvCxnSpPr>
          <p:cNvPr id="576" name="Straight Connector 575"/>
          <p:cNvCxnSpPr/>
          <p:nvPr/>
        </p:nvCxnSpPr>
        <p:spPr>
          <a:xfrm>
            <a:off x="4695197" y="2984298"/>
            <a:ext cx="0" cy="262330"/>
          </a:xfrm>
          <a:prstGeom prst="line">
            <a:avLst/>
          </a:prstGeom>
          <a:noFill/>
          <a:ln w="9525" cap="flat" cmpd="sng" algn="ctr">
            <a:solidFill>
              <a:srgbClr val="435153"/>
            </a:solidFill>
            <a:prstDash val="solid"/>
          </a:ln>
          <a:effectLst/>
        </p:spPr>
      </p:cxnSp>
      <p:grpSp>
        <p:nvGrpSpPr>
          <p:cNvPr id="64" name="Group 576"/>
          <p:cNvGrpSpPr/>
          <p:nvPr/>
        </p:nvGrpSpPr>
        <p:grpSpPr>
          <a:xfrm>
            <a:off x="1936508" y="3454427"/>
            <a:ext cx="495623" cy="124969"/>
            <a:chOff x="-7735888" y="-3497263"/>
            <a:chExt cx="3568700" cy="895350"/>
          </a:xfrm>
        </p:grpSpPr>
        <p:sp>
          <p:nvSpPr>
            <p:cNvPr id="578" name="Freeform 21"/>
            <p:cNvSpPr>
              <a:spLocks/>
            </p:cNvSpPr>
            <p:nvPr/>
          </p:nvSpPr>
          <p:spPr bwMode="auto">
            <a:xfrm>
              <a:off x="-7681913" y="-3338513"/>
              <a:ext cx="3028950" cy="736600"/>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79" name="Freeform 39"/>
            <p:cNvSpPr>
              <a:spLocks/>
            </p:cNvSpPr>
            <p:nvPr/>
          </p:nvSpPr>
          <p:spPr bwMode="auto">
            <a:xfrm>
              <a:off x="-7735888" y="-3497263"/>
              <a:ext cx="3568700" cy="889000"/>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chemeClr val="accent3">
                <a:lumMod val="75000"/>
              </a:schemeClr>
            </a:solidFill>
            <a:ln>
              <a:noFill/>
            </a:ln>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95" name="Freeform 40"/>
            <p:cNvSpPr>
              <a:spLocks/>
            </p:cNvSpPr>
            <p:nvPr/>
          </p:nvSpPr>
          <p:spPr bwMode="auto">
            <a:xfrm>
              <a:off x="-7735888" y="-3338513"/>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96" name="Freeform 41"/>
            <p:cNvSpPr>
              <a:spLocks/>
            </p:cNvSpPr>
            <p:nvPr/>
          </p:nvSpPr>
          <p:spPr bwMode="auto">
            <a:xfrm>
              <a:off x="-6478588" y="-3275013"/>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00" name="Freeform 42"/>
            <p:cNvSpPr>
              <a:spLocks/>
            </p:cNvSpPr>
            <p:nvPr/>
          </p:nvSpPr>
          <p:spPr bwMode="auto">
            <a:xfrm>
              <a:off x="-59769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1" name="Freeform 43"/>
            <p:cNvSpPr>
              <a:spLocks/>
            </p:cNvSpPr>
            <p:nvPr/>
          </p:nvSpPr>
          <p:spPr bwMode="auto">
            <a:xfrm>
              <a:off x="-60658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2" name="Freeform 44"/>
            <p:cNvSpPr>
              <a:spLocks/>
            </p:cNvSpPr>
            <p:nvPr/>
          </p:nvSpPr>
          <p:spPr bwMode="auto">
            <a:xfrm>
              <a:off x="-6262688" y="-3125788"/>
              <a:ext cx="66675" cy="79375"/>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3" name="Freeform 45"/>
            <p:cNvSpPr>
              <a:spLocks/>
            </p:cNvSpPr>
            <p:nvPr/>
          </p:nvSpPr>
          <p:spPr bwMode="auto">
            <a:xfrm>
              <a:off x="-6348413" y="-312896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4" name="Freeform 46"/>
            <p:cNvSpPr>
              <a:spLocks/>
            </p:cNvSpPr>
            <p:nvPr/>
          </p:nvSpPr>
          <p:spPr bwMode="auto">
            <a:xfrm>
              <a:off x="-6437313" y="-313213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5" name="Freeform 47"/>
            <p:cNvSpPr>
              <a:spLocks/>
            </p:cNvSpPr>
            <p:nvPr/>
          </p:nvSpPr>
          <p:spPr bwMode="auto">
            <a:xfrm>
              <a:off x="-6523038" y="-313531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6" name="Freeform 48"/>
            <p:cNvSpPr>
              <a:spLocks/>
            </p:cNvSpPr>
            <p:nvPr/>
          </p:nvSpPr>
          <p:spPr bwMode="auto">
            <a:xfrm>
              <a:off x="-6611938" y="-313848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7" name="Freeform 49"/>
            <p:cNvSpPr>
              <a:spLocks/>
            </p:cNvSpPr>
            <p:nvPr/>
          </p:nvSpPr>
          <p:spPr bwMode="auto">
            <a:xfrm>
              <a:off x="-6697663" y="-3138488"/>
              <a:ext cx="66675" cy="76200"/>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8" name="Freeform 50"/>
            <p:cNvSpPr>
              <a:spLocks/>
            </p:cNvSpPr>
            <p:nvPr/>
          </p:nvSpPr>
          <p:spPr bwMode="auto">
            <a:xfrm>
              <a:off x="-7694613" y="-3275013"/>
              <a:ext cx="107950" cy="107950"/>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9" name="Freeform 51"/>
            <p:cNvSpPr>
              <a:spLocks/>
            </p:cNvSpPr>
            <p:nvPr/>
          </p:nvSpPr>
          <p:spPr bwMode="auto">
            <a:xfrm>
              <a:off x="-7586663" y="-3148013"/>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0" name="Rectangle 52"/>
            <p:cNvSpPr>
              <a:spLocks noChangeArrowheads="1"/>
            </p:cNvSpPr>
            <p:nvPr/>
          </p:nvSpPr>
          <p:spPr bwMode="auto">
            <a:xfrm>
              <a:off x="-75295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1" name="Rectangle 53"/>
            <p:cNvSpPr>
              <a:spLocks noChangeArrowheads="1"/>
            </p:cNvSpPr>
            <p:nvPr/>
          </p:nvSpPr>
          <p:spPr bwMode="auto">
            <a:xfrm>
              <a:off x="-738346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2" name="Rectangle 54"/>
            <p:cNvSpPr>
              <a:spLocks noChangeArrowheads="1"/>
            </p:cNvSpPr>
            <p:nvPr/>
          </p:nvSpPr>
          <p:spPr bwMode="auto">
            <a:xfrm>
              <a:off x="-724058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2" name="Rectangle 55"/>
            <p:cNvSpPr>
              <a:spLocks noChangeArrowheads="1"/>
            </p:cNvSpPr>
            <p:nvPr/>
          </p:nvSpPr>
          <p:spPr bwMode="auto">
            <a:xfrm>
              <a:off x="-709453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3" name="Rectangle 56"/>
            <p:cNvSpPr>
              <a:spLocks noChangeArrowheads="1"/>
            </p:cNvSpPr>
            <p:nvPr/>
          </p:nvSpPr>
          <p:spPr bwMode="auto">
            <a:xfrm>
              <a:off x="-67040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4" name="Rectangle 57"/>
            <p:cNvSpPr>
              <a:spLocks noChangeArrowheads="1"/>
            </p:cNvSpPr>
            <p:nvPr/>
          </p:nvSpPr>
          <p:spPr bwMode="auto">
            <a:xfrm>
              <a:off x="-6967538" y="-3290888"/>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5" name="Freeform 58"/>
            <p:cNvSpPr>
              <a:spLocks/>
            </p:cNvSpPr>
            <p:nvPr/>
          </p:nvSpPr>
          <p:spPr bwMode="auto">
            <a:xfrm>
              <a:off x="-7735888" y="-2998788"/>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6" name="Freeform 59"/>
            <p:cNvSpPr>
              <a:spLocks/>
            </p:cNvSpPr>
            <p:nvPr/>
          </p:nvSpPr>
          <p:spPr bwMode="auto">
            <a:xfrm>
              <a:off x="-6478588" y="-2935288"/>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47" name="Freeform 60"/>
            <p:cNvSpPr>
              <a:spLocks/>
            </p:cNvSpPr>
            <p:nvPr/>
          </p:nvSpPr>
          <p:spPr bwMode="auto">
            <a:xfrm>
              <a:off x="-59769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8" name="Freeform 61"/>
            <p:cNvSpPr>
              <a:spLocks/>
            </p:cNvSpPr>
            <p:nvPr/>
          </p:nvSpPr>
          <p:spPr bwMode="auto">
            <a:xfrm>
              <a:off x="-60658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9" name="Freeform 62"/>
            <p:cNvSpPr>
              <a:spLocks/>
            </p:cNvSpPr>
            <p:nvPr/>
          </p:nvSpPr>
          <p:spPr bwMode="auto">
            <a:xfrm>
              <a:off x="-6262688" y="-2786063"/>
              <a:ext cx="66675" cy="76200"/>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0" name="Freeform 63"/>
            <p:cNvSpPr>
              <a:spLocks/>
            </p:cNvSpPr>
            <p:nvPr/>
          </p:nvSpPr>
          <p:spPr bwMode="auto">
            <a:xfrm>
              <a:off x="-6348413" y="-278923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1" name="Freeform 64"/>
            <p:cNvSpPr>
              <a:spLocks/>
            </p:cNvSpPr>
            <p:nvPr/>
          </p:nvSpPr>
          <p:spPr bwMode="auto">
            <a:xfrm>
              <a:off x="-6437313" y="-2792413"/>
              <a:ext cx="66675" cy="79375"/>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2" name="Freeform 65"/>
            <p:cNvSpPr>
              <a:spLocks/>
            </p:cNvSpPr>
            <p:nvPr/>
          </p:nvSpPr>
          <p:spPr bwMode="auto">
            <a:xfrm>
              <a:off x="-6523038" y="-279558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3" name="Freeform 66"/>
            <p:cNvSpPr>
              <a:spLocks/>
            </p:cNvSpPr>
            <p:nvPr/>
          </p:nvSpPr>
          <p:spPr bwMode="auto">
            <a:xfrm>
              <a:off x="-6611938" y="-2798763"/>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4" name="Freeform 67"/>
            <p:cNvSpPr>
              <a:spLocks/>
            </p:cNvSpPr>
            <p:nvPr/>
          </p:nvSpPr>
          <p:spPr bwMode="auto">
            <a:xfrm>
              <a:off x="-6697663" y="-2801938"/>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5" name="Freeform 68"/>
            <p:cNvSpPr>
              <a:spLocks/>
            </p:cNvSpPr>
            <p:nvPr/>
          </p:nvSpPr>
          <p:spPr bwMode="auto">
            <a:xfrm>
              <a:off x="-7694613" y="-2935288"/>
              <a:ext cx="107950" cy="107950"/>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6" name="Freeform 69"/>
            <p:cNvSpPr>
              <a:spLocks/>
            </p:cNvSpPr>
            <p:nvPr/>
          </p:nvSpPr>
          <p:spPr bwMode="auto">
            <a:xfrm>
              <a:off x="-7586663" y="-2808288"/>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7" name="Rectangle 70"/>
            <p:cNvSpPr>
              <a:spLocks noChangeArrowheads="1"/>
            </p:cNvSpPr>
            <p:nvPr/>
          </p:nvSpPr>
          <p:spPr bwMode="auto">
            <a:xfrm>
              <a:off x="-75295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8" name="Rectangle 71"/>
            <p:cNvSpPr>
              <a:spLocks noChangeArrowheads="1"/>
            </p:cNvSpPr>
            <p:nvPr/>
          </p:nvSpPr>
          <p:spPr bwMode="auto">
            <a:xfrm>
              <a:off x="-738346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9" name="Rectangle 72"/>
            <p:cNvSpPr>
              <a:spLocks noChangeArrowheads="1"/>
            </p:cNvSpPr>
            <p:nvPr/>
          </p:nvSpPr>
          <p:spPr bwMode="auto">
            <a:xfrm>
              <a:off x="-724058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0" name="Rectangle 73"/>
            <p:cNvSpPr>
              <a:spLocks noChangeArrowheads="1"/>
            </p:cNvSpPr>
            <p:nvPr/>
          </p:nvSpPr>
          <p:spPr bwMode="auto">
            <a:xfrm>
              <a:off x="-709453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1" name="Rectangle 74"/>
            <p:cNvSpPr>
              <a:spLocks noChangeArrowheads="1"/>
            </p:cNvSpPr>
            <p:nvPr/>
          </p:nvSpPr>
          <p:spPr bwMode="auto">
            <a:xfrm>
              <a:off x="-67040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2" name="Rectangle 75"/>
            <p:cNvSpPr>
              <a:spLocks noChangeArrowheads="1"/>
            </p:cNvSpPr>
            <p:nvPr/>
          </p:nvSpPr>
          <p:spPr bwMode="auto">
            <a:xfrm>
              <a:off x="-6967538" y="-2951163"/>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grpSp>
      <p:sp>
        <p:nvSpPr>
          <p:cNvPr id="663" name="Rounded Rectangle 191"/>
          <p:cNvSpPr/>
          <p:nvPr/>
        </p:nvSpPr>
        <p:spPr>
          <a:xfrm>
            <a:off x="2062176" y="3335221"/>
            <a:ext cx="244679"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WCCP</a:t>
            </a:r>
          </a:p>
        </p:txBody>
      </p:sp>
      <p:grpSp>
        <p:nvGrpSpPr>
          <p:cNvPr id="65" name="Group 663"/>
          <p:cNvGrpSpPr/>
          <p:nvPr/>
        </p:nvGrpSpPr>
        <p:grpSpPr>
          <a:xfrm>
            <a:off x="1721847" y="3101536"/>
            <a:ext cx="542397" cy="136797"/>
            <a:chOff x="1377853" y="3377132"/>
            <a:chExt cx="567188" cy="143050"/>
          </a:xfrm>
        </p:grpSpPr>
        <p:sp>
          <p:nvSpPr>
            <p:cNvPr id="665" name="Freeform 21"/>
            <p:cNvSpPr>
              <a:spLocks/>
            </p:cNvSpPr>
            <p:nvPr/>
          </p:nvSpPr>
          <p:spPr bwMode="auto">
            <a:xfrm>
              <a:off x="1386433" y="3402495"/>
              <a:ext cx="481403" cy="117687"/>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6" name="Freeform 39"/>
            <p:cNvSpPr>
              <a:spLocks/>
            </p:cNvSpPr>
            <p:nvPr/>
          </p:nvSpPr>
          <p:spPr bwMode="auto">
            <a:xfrm>
              <a:off x="1377853" y="3377132"/>
              <a:ext cx="567188" cy="142036"/>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7" name="Freeform 40"/>
            <p:cNvSpPr>
              <a:spLocks/>
            </p:cNvSpPr>
            <p:nvPr/>
          </p:nvSpPr>
          <p:spPr bwMode="auto">
            <a:xfrm>
              <a:off x="1377854" y="3402496"/>
              <a:ext cx="489477" cy="54785"/>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8" name="Freeform 41"/>
            <p:cNvSpPr>
              <a:spLocks/>
            </p:cNvSpPr>
            <p:nvPr/>
          </p:nvSpPr>
          <p:spPr bwMode="auto">
            <a:xfrm>
              <a:off x="1577682" y="3412640"/>
              <a:ext cx="264923" cy="39567"/>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9" name="Freeform 42"/>
            <p:cNvSpPr>
              <a:spLocks/>
            </p:cNvSpPr>
            <p:nvPr/>
          </p:nvSpPr>
          <p:spPr bwMode="auto">
            <a:xfrm>
              <a:off x="1657410" y="3437497"/>
              <a:ext cx="10092" cy="12175"/>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0" name="Freeform 43"/>
            <p:cNvSpPr>
              <a:spLocks/>
            </p:cNvSpPr>
            <p:nvPr/>
          </p:nvSpPr>
          <p:spPr bwMode="auto">
            <a:xfrm>
              <a:off x="1643281" y="3437497"/>
              <a:ext cx="10092" cy="12175"/>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1" name="Freeform 44"/>
            <p:cNvSpPr>
              <a:spLocks/>
            </p:cNvSpPr>
            <p:nvPr/>
          </p:nvSpPr>
          <p:spPr bwMode="auto">
            <a:xfrm>
              <a:off x="1611996" y="3436482"/>
              <a:ext cx="10597" cy="12682"/>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2" name="Freeform 45"/>
            <p:cNvSpPr>
              <a:spLocks/>
            </p:cNvSpPr>
            <p:nvPr/>
          </p:nvSpPr>
          <p:spPr bwMode="auto">
            <a:xfrm>
              <a:off x="1598370" y="3435975"/>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3" name="Freeform 46"/>
            <p:cNvSpPr>
              <a:spLocks/>
            </p:cNvSpPr>
            <p:nvPr/>
          </p:nvSpPr>
          <p:spPr bwMode="auto">
            <a:xfrm>
              <a:off x="1584241" y="3435468"/>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4" name="Freeform 47"/>
            <p:cNvSpPr>
              <a:spLocks/>
            </p:cNvSpPr>
            <p:nvPr/>
          </p:nvSpPr>
          <p:spPr bwMode="auto">
            <a:xfrm>
              <a:off x="1570617" y="3434961"/>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5" name="Freeform 48"/>
            <p:cNvSpPr>
              <a:spLocks/>
            </p:cNvSpPr>
            <p:nvPr/>
          </p:nvSpPr>
          <p:spPr bwMode="auto">
            <a:xfrm>
              <a:off x="1556487" y="3434454"/>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6" name="Freeform 49"/>
            <p:cNvSpPr>
              <a:spLocks/>
            </p:cNvSpPr>
            <p:nvPr/>
          </p:nvSpPr>
          <p:spPr bwMode="auto">
            <a:xfrm>
              <a:off x="1542863" y="3434454"/>
              <a:ext cx="10597" cy="12175"/>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7" name="Freeform 50"/>
            <p:cNvSpPr>
              <a:spLocks/>
            </p:cNvSpPr>
            <p:nvPr/>
          </p:nvSpPr>
          <p:spPr bwMode="auto">
            <a:xfrm>
              <a:off x="1384414" y="3412640"/>
              <a:ext cx="17157" cy="17247"/>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8" name="Freeform 51"/>
            <p:cNvSpPr>
              <a:spLocks/>
            </p:cNvSpPr>
            <p:nvPr/>
          </p:nvSpPr>
          <p:spPr bwMode="auto">
            <a:xfrm>
              <a:off x="1401571" y="3432932"/>
              <a:ext cx="122117" cy="12175"/>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9" name="Rectangle 52"/>
            <p:cNvSpPr>
              <a:spLocks noChangeArrowheads="1"/>
            </p:cNvSpPr>
            <p:nvPr/>
          </p:nvSpPr>
          <p:spPr bwMode="auto">
            <a:xfrm>
              <a:off x="141065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0" name="Rectangle 53"/>
            <p:cNvSpPr>
              <a:spLocks noChangeArrowheads="1"/>
            </p:cNvSpPr>
            <p:nvPr/>
          </p:nvSpPr>
          <p:spPr bwMode="auto">
            <a:xfrm>
              <a:off x="1433866"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1" name="Rectangle 54"/>
            <p:cNvSpPr>
              <a:spLocks noChangeArrowheads="1"/>
            </p:cNvSpPr>
            <p:nvPr/>
          </p:nvSpPr>
          <p:spPr bwMode="auto">
            <a:xfrm>
              <a:off x="145657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2" name="Rectangle 55"/>
            <p:cNvSpPr>
              <a:spLocks noChangeArrowheads="1"/>
            </p:cNvSpPr>
            <p:nvPr/>
          </p:nvSpPr>
          <p:spPr bwMode="auto">
            <a:xfrm>
              <a:off x="1479786"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3" name="Rectangle 56"/>
            <p:cNvSpPr>
              <a:spLocks noChangeArrowheads="1"/>
            </p:cNvSpPr>
            <p:nvPr/>
          </p:nvSpPr>
          <p:spPr bwMode="auto">
            <a:xfrm>
              <a:off x="154185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4" name="Rectangle 57"/>
            <p:cNvSpPr>
              <a:spLocks noChangeArrowheads="1"/>
            </p:cNvSpPr>
            <p:nvPr/>
          </p:nvSpPr>
          <p:spPr bwMode="auto">
            <a:xfrm>
              <a:off x="1499971" y="3410105"/>
              <a:ext cx="21698" cy="21813"/>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5" name="Freeform 58"/>
            <p:cNvSpPr>
              <a:spLocks/>
            </p:cNvSpPr>
            <p:nvPr/>
          </p:nvSpPr>
          <p:spPr bwMode="auto">
            <a:xfrm>
              <a:off x="1377854" y="3456774"/>
              <a:ext cx="489477" cy="54785"/>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6" name="Freeform 59"/>
            <p:cNvSpPr>
              <a:spLocks/>
            </p:cNvSpPr>
            <p:nvPr/>
          </p:nvSpPr>
          <p:spPr bwMode="auto">
            <a:xfrm>
              <a:off x="1577682" y="3466919"/>
              <a:ext cx="264923" cy="39567"/>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7" name="Freeform 60"/>
            <p:cNvSpPr>
              <a:spLocks/>
            </p:cNvSpPr>
            <p:nvPr/>
          </p:nvSpPr>
          <p:spPr bwMode="auto">
            <a:xfrm>
              <a:off x="1657410" y="3491775"/>
              <a:ext cx="10092" cy="12175"/>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8" name="Freeform 61"/>
            <p:cNvSpPr>
              <a:spLocks/>
            </p:cNvSpPr>
            <p:nvPr/>
          </p:nvSpPr>
          <p:spPr bwMode="auto">
            <a:xfrm>
              <a:off x="1643281" y="3491775"/>
              <a:ext cx="10092" cy="12175"/>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9" name="Freeform 62"/>
            <p:cNvSpPr>
              <a:spLocks/>
            </p:cNvSpPr>
            <p:nvPr/>
          </p:nvSpPr>
          <p:spPr bwMode="auto">
            <a:xfrm>
              <a:off x="1611996" y="3490761"/>
              <a:ext cx="10597" cy="12175"/>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0" name="Freeform 63"/>
            <p:cNvSpPr>
              <a:spLocks/>
            </p:cNvSpPr>
            <p:nvPr/>
          </p:nvSpPr>
          <p:spPr bwMode="auto">
            <a:xfrm>
              <a:off x="1598370" y="3490254"/>
              <a:ext cx="10597" cy="12682"/>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1" name="Freeform 64"/>
            <p:cNvSpPr>
              <a:spLocks/>
            </p:cNvSpPr>
            <p:nvPr/>
          </p:nvSpPr>
          <p:spPr bwMode="auto">
            <a:xfrm>
              <a:off x="1584241" y="3489746"/>
              <a:ext cx="10597" cy="12682"/>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2" name="Freeform 65"/>
            <p:cNvSpPr>
              <a:spLocks/>
            </p:cNvSpPr>
            <p:nvPr/>
          </p:nvSpPr>
          <p:spPr bwMode="auto">
            <a:xfrm>
              <a:off x="1570617" y="3489239"/>
              <a:ext cx="10597" cy="12682"/>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3" name="Freeform 66"/>
            <p:cNvSpPr>
              <a:spLocks/>
            </p:cNvSpPr>
            <p:nvPr/>
          </p:nvSpPr>
          <p:spPr bwMode="auto">
            <a:xfrm>
              <a:off x="1556487" y="3488732"/>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4" name="Freeform 67"/>
            <p:cNvSpPr>
              <a:spLocks/>
            </p:cNvSpPr>
            <p:nvPr/>
          </p:nvSpPr>
          <p:spPr bwMode="auto">
            <a:xfrm>
              <a:off x="1542863" y="3488224"/>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5" name="Freeform 68"/>
            <p:cNvSpPr>
              <a:spLocks/>
            </p:cNvSpPr>
            <p:nvPr/>
          </p:nvSpPr>
          <p:spPr bwMode="auto">
            <a:xfrm>
              <a:off x="1384414" y="3466919"/>
              <a:ext cx="17157" cy="17247"/>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6" name="Freeform 69"/>
            <p:cNvSpPr>
              <a:spLocks/>
            </p:cNvSpPr>
            <p:nvPr/>
          </p:nvSpPr>
          <p:spPr bwMode="auto">
            <a:xfrm>
              <a:off x="1401571" y="3487209"/>
              <a:ext cx="122117" cy="12175"/>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7" name="Rectangle 70"/>
            <p:cNvSpPr>
              <a:spLocks noChangeArrowheads="1"/>
            </p:cNvSpPr>
            <p:nvPr/>
          </p:nvSpPr>
          <p:spPr bwMode="auto">
            <a:xfrm>
              <a:off x="141065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8" name="Rectangle 71"/>
            <p:cNvSpPr>
              <a:spLocks noChangeArrowheads="1"/>
            </p:cNvSpPr>
            <p:nvPr/>
          </p:nvSpPr>
          <p:spPr bwMode="auto">
            <a:xfrm>
              <a:off x="1433866"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9" name="Rectangle 72"/>
            <p:cNvSpPr>
              <a:spLocks noChangeArrowheads="1"/>
            </p:cNvSpPr>
            <p:nvPr/>
          </p:nvSpPr>
          <p:spPr bwMode="auto">
            <a:xfrm>
              <a:off x="145657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0" name="Rectangle 73"/>
            <p:cNvSpPr>
              <a:spLocks noChangeArrowheads="1"/>
            </p:cNvSpPr>
            <p:nvPr/>
          </p:nvSpPr>
          <p:spPr bwMode="auto">
            <a:xfrm>
              <a:off x="1479786"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1" name="Rectangle 74"/>
            <p:cNvSpPr>
              <a:spLocks noChangeArrowheads="1"/>
            </p:cNvSpPr>
            <p:nvPr/>
          </p:nvSpPr>
          <p:spPr bwMode="auto">
            <a:xfrm>
              <a:off x="154185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2" name="Rectangle 75"/>
            <p:cNvSpPr>
              <a:spLocks noChangeArrowheads="1"/>
            </p:cNvSpPr>
            <p:nvPr/>
          </p:nvSpPr>
          <p:spPr bwMode="auto">
            <a:xfrm>
              <a:off x="1499971" y="3464382"/>
              <a:ext cx="21698" cy="21813"/>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03" name="Rounded Rectangle 191"/>
          <p:cNvSpPr/>
          <p:nvPr/>
        </p:nvSpPr>
        <p:spPr>
          <a:xfrm>
            <a:off x="1937792" y="2972594"/>
            <a:ext cx="166265"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ASA</a:t>
            </a:r>
          </a:p>
        </p:txBody>
      </p:sp>
      <p:grpSp>
        <p:nvGrpSpPr>
          <p:cNvPr id="66" name="Group 703"/>
          <p:cNvGrpSpPr/>
          <p:nvPr/>
        </p:nvGrpSpPr>
        <p:grpSpPr>
          <a:xfrm>
            <a:off x="2753327" y="3463323"/>
            <a:ext cx="422528" cy="110719"/>
            <a:chOff x="-12771438" y="-1804988"/>
            <a:chExt cx="4140200" cy="1079501"/>
          </a:xfrm>
        </p:grpSpPr>
        <p:sp>
          <p:nvSpPr>
            <p:cNvPr id="705" name="Freeform 22"/>
            <p:cNvSpPr>
              <a:spLocks/>
            </p:cNvSpPr>
            <p:nvPr/>
          </p:nvSpPr>
          <p:spPr bwMode="auto">
            <a:xfrm>
              <a:off x="-12555538" y="-1804988"/>
              <a:ext cx="3924300" cy="908050"/>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06" name="Freeform 23"/>
            <p:cNvSpPr>
              <a:spLocks/>
            </p:cNvSpPr>
            <p:nvPr/>
          </p:nvSpPr>
          <p:spPr bwMode="auto">
            <a:xfrm>
              <a:off x="-12771438" y="-1566862"/>
              <a:ext cx="3886200" cy="841375"/>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07" name="Freeform 24"/>
            <p:cNvSpPr>
              <a:spLocks/>
            </p:cNvSpPr>
            <p:nvPr/>
          </p:nvSpPr>
          <p:spPr bwMode="auto">
            <a:xfrm>
              <a:off x="-12515533" y="-1476057"/>
              <a:ext cx="3305175" cy="685800"/>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8" name="Freeform 25"/>
            <p:cNvSpPr>
              <a:spLocks/>
            </p:cNvSpPr>
            <p:nvPr/>
          </p:nvSpPr>
          <p:spPr bwMode="auto">
            <a:xfrm>
              <a:off x="-12515533" y="-1476057"/>
              <a:ext cx="3305175" cy="266700"/>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9" name="Freeform 26"/>
            <p:cNvSpPr>
              <a:spLocks/>
            </p:cNvSpPr>
            <p:nvPr/>
          </p:nvSpPr>
          <p:spPr bwMode="auto">
            <a:xfrm>
              <a:off x="-12742863" y="-1268412"/>
              <a:ext cx="149225" cy="368300"/>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0" name="Freeform 27"/>
            <p:cNvSpPr>
              <a:spLocks/>
            </p:cNvSpPr>
            <p:nvPr/>
          </p:nvSpPr>
          <p:spPr bwMode="auto">
            <a:xfrm>
              <a:off x="-9125903" y="-1119187"/>
              <a:ext cx="168275" cy="365125"/>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1" name="Freeform 28"/>
            <p:cNvSpPr>
              <a:spLocks/>
            </p:cNvSpPr>
            <p:nvPr/>
          </p:nvSpPr>
          <p:spPr bwMode="auto">
            <a:xfrm>
              <a:off x="-9043353" y="-881062"/>
              <a:ext cx="85725" cy="82550"/>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2" name="Freeform 29"/>
            <p:cNvSpPr>
              <a:spLocks/>
            </p:cNvSpPr>
            <p:nvPr/>
          </p:nvSpPr>
          <p:spPr bwMode="auto">
            <a:xfrm>
              <a:off x="-12742863" y="-1033462"/>
              <a:ext cx="82550" cy="82550"/>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13" name="Rounded Rectangle 191"/>
          <p:cNvSpPr/>
          <p:nvPr/>
        </p:nvSpPr>
        <p:spPr>
          <a:xfrm>
            <a:off x="2736524" y="3335221"/>
            <a:ext cx="514006"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Load Balancer</a:t>
            </a:r>
          </a:p>
        </p:txBody>
      </p:sp>
      <p:grpSp>
        <p:nvGrpSpPr>
          <p:cNvPr id="67" name="Group 713"/>
          <p:cNvGrpSpPr/>
          <p:nvPr/>
        </p:nvGrpSpPr>
        <p:grpSpPr>
          <a:xfrm>
            <a:off x="2547189" y="3107395"/>
            <a:ext cx="462403" cy="121200"/>
            <a:chOff x="2129791" y="3385289"/>
            <a:chExt cx="483538" cy="126740"/>
          </a:xfrm>
        </p:grpSpPr>
        <p:sp>
          <p:nvSpPr>
            <p:cNvPr id="715" name="Freeform 22"/>
            <p:cNvSpPr>
              <a:spLocks/>
            </p:cNvSpPr>
            <p:nvPr/>
          </p:nvSpPr>
          <p:spPr bwMode="auto">
            <a:xfrm>
              <a:off x="2155006" y="3385289"/>
              <a:ext cx="458323" cy="106611"/>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rgbClr val="435153">
                    <a:lumMod val="50000"/>
                  </a:srgbClr>
                </a:gs>
                <a:gs pos="31000">
                  <a:srgbClr val="435153">
                    <a:lumMod val="75000"/>
                  </a:srgb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6" name="Freeform 23"/>
            <p:cNvSpPr>
              <a:spLocks/>
            </p:cNvSpPr>
            <p:nvPr/>
          </p:nvSpPr>
          <p:spPr bwMode="auto">
            <a:xfrm>
              <a:off x="2129791" y="3413246"/>
              <a:ext cx="453873" cy="98783"/>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7" name="Freeform 24"/>
            <p:cNvSpPr>
              <a:spLocks/>
            </p:cNvSpPr>
            <p:nvPr/>
          </p:nvSpPr>
          <p:spPr bwMode="auto">
            <a:xfrm>
              <a:off x="2159678" y="3423907"/>
              <a:ext cx="386015" cy="80517"/>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8" name="Freeform 25"/>
            <p:cNvSpPr>
              <a:spLocks/>
            </p:cNvSpPr>
            <p:nvPr/>
          </p:nvSpPr>
          <p:spPr bwMode="auto">
            <a:xfrm>
              <a:off x="2159678" y="3423907"/>
              <a:ext cx="386015" cy="31313"/>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rgbClr val="435153">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9" name="Freeform 26"/>
            <p:cNvSpPr>
              <a:spLocks/>
            </p:cNvSpPr>
            <p:nvPr/>
          </p:nvSpPr>
          <p:spPr bwMode="auto">
            <a:xfrm>
              <a:off x="2133129" y="3448286"/>
              <a:ext cx="17428" cy="43241"/>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0" name="Freeform 27"/>
            <p:cNvSpPr>
              <a:spLocks/>
            </p:cNvSpPr>
            <p:nvPr/>
          </p:nvSpPr>
          <p:spPr bwMode="auto">
            <a:xfrm>
              <a:off x="2555556" y="3465807"/>
              <a:ext cx="19653" cy="42868"/>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1" name="Freeform 28"/>
            <p:cNvSpPr>
              <a:spLocks/>
            </p:cNvSpPr>
            <p:nvPr/>
          </p:nvSpPr>
          <p:spPr bwMode="auto">
            <a:xfrm>
              <a:off x="2565198" y="3493764"/>
              <a:ext cx="10012" cy="9692"/>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2" name="Freeform 29"/>
            <p:cNvSpPr>
              <a:spLocks/>
            </p:cNvSpPr>
            <p:nvPr/>
          </p:nvSpPr>
          <p:spPr bwMode="auto">
            <a:xfrm>
              <a:off x="2133129" y="3475871"/>
              <a:ext cx="9641" cy="9692"/>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23" name="Rounded Rectangle 191"/>
          <p:cNvSpPr/>
          <p:nvPr/>
        </p:nvSpPr>
        <p:spPr>
          <a:xfrm>
            <a:off x="2669217" y="2972594"/>
            <a:ext cx="285124"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WSA</a:t>
            </a:r>
          </a:p>
        </p:txBody>
      </p:sp>
      <p:grpSp>
        <p:nvGrpSpPr>
          <p:cNvPr id="69" name="Group 724"/>
          <p:cNvGrpSpPr/>
          <p:nvPr/>
        </p:nvGrpSpPr>
        <p:grpSpPr>
          <a:xfrm>
            <a:off x="4078782" y="3456644"/>
            <a:ext cx="414737" cy="146293"/>
            <a:chOff x="8929533" y="-3143770"/>
            <a:chExt cx="4737107" cy="1662632"/>
          </a:xfrm>
        </p:grpSpPr>
        <p:grpSp>
          <p:nvGrpSpPr>
            <p:cNvPr id="72" name="Group 736"/>
            <p:cNvGrpSpPr/>
            <p:nvPr/>
          </p:nvGrpSpPr>
          <p:grpSpPr>
            <a:xfrm>
              <a:off x="8929533" y="-3143770"/>
              <a:ext cx="4737107" cy="1662632"/>
              <a:chOff x="8929533" y="-3143770"/>
              <a:chExt cx="4737107" cy="1662632"/>
            </a:xfrm>
          </p:grpSpPr>
          <p:sp>
            <p:nvSpPr>
              <p:cNvPr id="740" name="Freeform 30"/>
              <p:cNvSpPr>
                <a:spLocks/>
              </p:cNvSpPr>
              <p:nvPr/>
            </p:nvSpPr>
            <p:spPr bwMode="auto">
              <a:xfrm>
                <a:off x="9558190" y="-2163763"/>
                <a:ext cx="831850" cy="552450"/>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1" name="Freeform 31"/>
              <p:cNvSpPr>
                <a:spLocks/>
              </p:cNvSpPr>
              <p:nvPr/>
            </p:nvSpPr>
            <p:spPr bwMode="auto">
              <a:xfrm>
                <a:off x="11469540" y="-2074863"/>
                <a:ext cx="831850" cy="552450"/>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2" name="Freeform 32"/>
              <p:cNvSpPr>
                <a:spLocks/>
              </p:cNvSpPr>
              <p:nvPr/>
            </p:nvSpPr>
            <p:spPr bwMode="auto">
              <a:xfrm>
                <a:off x="8929540" y="-2817813"/>
                <a:ext cx="4152900" cy="317500"/>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3" name="Freeform 33"/>
              <p:cNvSpPr>
                <a:spLocks/>
              </p:cNvSpPr>
              <p:nvPr/>
            </p:nvSpPr>
            <p:spPr bwMode="auto">
              <a:xfrm>
                <a:off x="8929533" y="-2557465"/>
                <a:ext cx="4152894" cy="1076327"/>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4" name="Freeform 34"/>
              <p:cNvSpPr>
                <a:spLocks/>
              </p:cNvSpPr>
              <p:nvPr/>
            </p:nvSpPr>
            <p:spPr bwMode="auto">
              <a:xfrm>
                <a:off x="13082440" y="-3073402"/>
                <a:ext cx="584200" cy="1573213"/>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5" name="Freeform 35"/>
              <p:cNvSpPr>
                <a:spLocks/>
              </p:cNvSpPr>
              <p:nvPr/>
            </p:nvSpPr>
            <p:spPr bwMode="auto">
              <a:xfrm>
                <a:off x="8929540" y="-3143770"/>
                <a:ext cx="4737100" cy="364057"/>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676767">
                  <a:lumMod val="50000"/>
                </a:srgbClr>
              </a:solidFill>
              <a:ln>
                <a:noFill/>
              </a:ln>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grpSp>
        <p:sp>
          <p:nvSpPr>
            <p:cNvPr id="738" name="Rectangle 737"/>
            <p:cNvSpPr/>
            <p:nvPr/>
          </p:nvSpPr>
          <p:spPr>
            <a:xfrm>
              <a:off x="9794081" y="-1887538"/>
              <a:ext cx="370510" cy="171862"/>
            </a:xfrm>
            <a:prstGeom prst="rect">
              <a:avLst/>
            </a:prstGeom>
            <a:solidFill>
              <a:srgbClr val="232429"/>
            </a:solidFill>
            <a:ln w="25400" cap="flat" cmpd="sng" algn="ctr">
              <a:noFill/>
              <a:prstDash val="solid"/>
            </a:ln>
            <a:effectLst/>
          </p:spPr>
          <p:txBody>
            <a:bodyPr rtlCol="0" anchor="ctr"/>
            <a:lstStyle/>
            <a:p>
              <a:pPr algn="ctr" defTabSz="913661">
                <a:defRPr/>
              </a:pPr>
              <a:endParaRPr lang="en-US" sz="1400" kern="0">
                <a:solidFill>
                  <a:prstClr val="white"/>
                </a:solidFill>
                <a:latin typeface="+mj-lt"/>
                <a:ea typeface="+mn-ea"/>
                <a:cs typeface="+mn-cs"/>
              </a:endParaRPr>
            </a:p>
          </p:txBody>
        </p:sp>
        <p:sp>
          <p:nvSpPr>
            <p:cNvPr id="739" name="Rectangle 738"/>
            <p:cNvSpPr/>
            <p:nvPr/>
          </p:nvSpPr>
          <p:spPr>
            <a:xfrm>
              <a:off x="11719942" y="-1801607"/>
              <a:ext cx="370510" cy="171862"/>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726" name="Rounded Rectangle 191"/>
          <p:cNvSpPr/>
          <p:nvPr/>
        </p:nvSpPr>
        <p:spPr>
          <a:xfrm>
            <a:off x="4154980" y="3335221"/>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PBR</a:t>
            </a:r>
          </a:p>
        </p:txBody>
      </p:sp>
      <p:grpSp>
        <p:nvGrpSpPr>
          <p:cNvPr id="77" name="Group 726"/>
          <p:cNvGrpSpPr/>
          <p:nvPr/>
        </p:nvGrpSpPr>
        <p:grpSpPr>
          <a:xfrm>
            <a:off x="4011460" y="3093620"/>
            <a:ext cx="453878" cy="160140"/>
            <a:chOff x="3553591" y="3364929"/>
            <a:chExt cx="474623" cy="167460"/>
          </a:xfrm>
        </p:grpSpPr>
        <p:sp>
          <p:nvSpPr>
            <p:cNvPr id="729"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0"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1"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2"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3"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4"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5" name="Rectangle 734"/>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736" name="Rectangle 735"/>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728" name="Rounded Rectangle 191"/>
          <p:cNvSpPr/>
          <p:nvPr/>
        </p:nvSpPr>
        <p:spPr>
          <a:xfrm>
            <a:off x="3972824" y="2972594"/>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ISR </a:t>
            </a:r>
            <a:r>
              <a:rPr lang="en-US" sz="600" kern="0" dirty="0" smtClean="0">
                <a:latin typeface="+mj-lt"/>
              </a:rPr>
              <a:t>G2</a:t>
            </a:r>
            <a:endParaRPr lang="en-US" sz="600" kern="0" dirty="0">
              <a:latin typeface="+mj-lt"/>
            </a:endParaRPr>
          </a:p>
        </p:txBody>
      </p:sp>
      <p:cxnSp>
        <p:nvCxnSpPr>
          <p:cNvPr id="746" name="Straight Connector 745"/>
          <p:cNvCxnSpPr/>
          <p:nvPr/>
        </p:nvCxnSpPr>
        <p:spPr>
          <a:xfrm>
            <a:off x="4695197" y="3338328"/>
            <a:ext cx="0" cy="262330"/>
          </a:xfrm>
          <a:prstGeom prst="line">
            <a:avLst/>
          </a:prstGeom>
          <a:noFill/>
          <a:ln w="9525" cap="flat" cmpd="sng" algn="ctr">
            <a:solidFill>
              <a:srgbClr val="435153"/>
            </a:solidFill>
            <a:prstDash val="solid"/>
          </a:ln>
          <a:effectLst/>
        </p:spPr>
      </p:cxnSp>
      <p:cxnSp>
        <p:nvCxnSpPr>
          <p:cNvPr id="760" name="Straight Connector 759"/>
          <p:cNvCxnSpPr/>
          <p:nvPr/>
        </p:nvCxnSpPr>
        <p:spPr>
          <a:xfrm>
            <a:off x="3829232" y="2984298"/>
            <a:ext cx="0" cy="262330"/>
          </a:xfrm>
          <a:prstGeom prst="line">
            <a:avLst/>
          </a:prstGeom>
          <a:noFill/>
          <a:ln w="9525" cap="flat" cmpd="sng" algn="ctr">
            <a:solidFill>
              <a:srgbClr val="435153"/>
            </a:solidFill>
            <a:prstDash val="solid"/>
          </a:ln>
          <a:effectLst/>
        </p:spPr>
      </p:cxnSp>
      <p:sp>
        <p:nvSpPr>
          <p:cNvPr id="762" name="Rounded Rectangle 191"/>
          <p:cNvSpPr/>
          <p:nvPr/>
        </p:nvSpPr>
        <p:spPr>
          <a:xfrm>
            <a:off x="3394534" y="3335221"/>
            <a:ext cx="54619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Explicit/PAC</a:t>
            </a:r>
          </a:p>
        </p:txBody>
      </p:sp>
      <p:grpSp>
        <p:nvGrpSpPr>
          <p:cNvPr id="82" name="Group 762"/>
          <p:cNvGrpSpPr/>
          <p:nvPr/>
        </p:nvGrpSpPr>
        <p:grpSpPr>
          <a:xfrm>
            <a:off x="3378489" y="3079388"/>
            <a:ext cx="242947" cy="170398"/>
            <a:chOff x="2959121" y="3359566"/>
            <a:chExt cx="254051" cy="178186"/>
          </a:xfrm>
        </p:grpSpPr>
        <p:sp>
          <p:nvSpPr>
            <p:cNvPr id="769" name="Freeform 136"/>
            <p:cNvSpPr>
              <a:spLocks noEditPoints="1"/>
            </p:cNvSpPr>
            <p:nvPr/>
          </p:nvSpPr>
          <p:spPr bwMode="auto">
            <a:xfrm>
              <a:off x="2959121" y="3485550"/>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70" name="Freeform 136"/>
            <p:cNvSpPr>
              <a:spLocks noEditPoints="1"/>
            </p:cNvSpPr>
            <p:nvPr/>
          </p:nvSpPr>
          <p:spPr bwMode="auto">
            <a:xfrm>
              <a:off x="2959121" y="3422558"/>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sp>
          <p:nvSpPr>
            <p:cNvPr id="771" name="Freeform 136"/>
            <p:cNvSpPr>
              <a:spLocks noEditPoints="1"/>
            </p:cNvSpPr>
            <p:nvPr/>
          </p:nvSpPr>
          <p:spPr bwMode="auto">
            <a:xfrm>
              <a:off x="2959121" y="3359566"/>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grpSp>
      <p:sp>
        <p:nvSpPr>
          <p:cNvPr id="764" name="Rounded Rectangle 191"/>
          <p:cNvSpPr/>
          <p:nvPr/>
        </p:nvSpPr>
        <p:spPr>
          <a:xfrm>
            <a:off x="3284336" y="2972594"/>
            <a:ext cx="431246"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Explicit/PAC</a:t>
            </a:r>
          </a:p>
        </p:txBody>
      </p:sp>
      <p:grpSp>
        <p:nvGrpSpPr>
          <p:cNvPr id="83" name="Group 764"/>
          <p:cNvGrpSpPr/>
          <p:nvPr/>
        </p:nvGrpSpPr>
        <p:grpSpPr>
          <a:xfrm>
            <a:off x="3546158" y="3439844"/>
            <a:ext cx="242947" cy="170398"/>
            <a:chOff x="2959121" y="3379886"/>
            <a:chExt cx="254051" cy="178186"/>
          </a:xfrm>
        </p:grpSpPr>
        <p:sp>
          <p:nvSpPr>
            <p:cNvPr id="766" name="Freeform 136"/>
            <p:cNvSpPr>
              <a:spLocks noEditPoints="1"/>
            </p:cNvSpPr>
            <p:nvPr/>
          </p:nvSpPr>
          <p:spPr bwMode="auto">
            <a:xfrm>
              <a:off x="2959121" y="3505870"/>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67" name="Freeform 136"/>
            <p:cNvSpPr>
              <a:spLocks noEditPoints="1"/>
            </p:cNvSpPr>
            <p:nvPr/>
          </p:nvSpPr>
          <p:spPr bwMode="auto">
            <a:xfrm>
              <a:off x="2959121" y="3442878"/>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sp>
          <p:nvSpPr>
            <p:cNvPr id="768" name="Freeform 136"/>
            <p:cNvSpPr>
              <a:spLocks noEditPoints="1"/>
            </p:cNvSpPr>
            <p:nvPr/>
          </p:nvSpPr>
          <p:spPr bwMode="auto">
            <a:xfrm>
              <a:off x="2959121" y="3379886"/>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grpSp>
      <p:grpSp>
        <p:nvGrpSpPr>
          <p:cNvPr id="94" name="Group 771"/>
          <p:cNvGrpSpPr/>
          <p:nvPr/>
        </p:nvGrpSpPr>
        <p:grpSpPr>
          <a:xfrm>
            <a:off x="1849537" y="3730614"/>
            <a:ext cx="469484" cy="807887"/>
            <a:chOff x="2273348" y="3963321"/>
            <a:chExt cx="490943" cy="844813"/>
          </a:xfrm>
        </p:grpSpPr>
        <p:cxnSp>
          <p:nvCxnSpPr>
            <p:cNvPr id="773" name="Straight Connector 772"/>
            <p:cNvCxnSpPr/>
            <p:nvPr/>
          </p:nvCxnSpPr>
          <p:spPr>
            <a:xfrm flipV="1">
              <a:off x="2273348" y="4520380"/>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74" name="Straight Connector 773"/>
            <p:cNvCxnSpPr/>
            <p:nvPr/>
          </p:nvCxnSpPr>
          <p:spPr>
            <a:xfrm>
              <a:off x="2764291" y="3963321"/>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grpSp>
        <p:nvGrpSpPr>
          <p:cNvPr id="95" name="Group 774"/>
          <p:cNvGrpSpPr/>
          <p:nvPr/>
        </p:nvGrpSpPr>
        <p:grpSpPr>
          <a:xfrm>
            <a:off x="3006949" y="3731810"/>
            <a:ext cx="469484" cy="807886"/>
            <a:chOff x="3787922" y="3964575"/>
            <a:chExt cx="490943" cy="844812"/>
          </a:xfrm>
        </p:grpSpPr>
        <p:cxnSp>
          <p:nvCxnSpPr>
            <p:cNvPr id="776" name="Straight Connector 775"/>
            <p:cNvCxnSpPr/>
            <p:nvPr/>
          </p:nvCxnSpPr>
          <p:spPr>
            <a:xfrm flipV="1">
              <a:off x="3787922" y="4521633"/>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77" name="Straight Connector 776"/>
            <p:cNvCxnSpPr/>
            <p:nvPr/>
          </p:nvCxnSpPr>
          <p:spPr>
            <a:xfrm>
              <a:off x="4278864" y="3964575"/>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sp>
        <p:nvSpPr>
          <p:cNvPr id="778" name="Freeform 777"/>
          <p:cNvSpPr/>
          <p:nvPr/>
        </p:nvSpPr>
        <p:spPr>
          <a:xfrm>
            <a:off x="4764528" y="3654135"/>
            <a:ext cx="322365" cy="495282"/>
          </a:xfrm>
          <a:custGeom>
            <a:avLst/>
            <a:gdLst>
              <a:gd name="connsiteX0" fmla="*/ 259649 w 337099"/>
              <a:gd name="connsiteY0" fmla="*/ 0 h 517920"/>
              <a:gd name="connsiteX1" fmla="*/ 337099 w 337099"/>
              <a:gd name="connsiteY1" fmla="*/ 73586 h 517920"/>
              <a:gd name="connsiteX2" fmla="*/ 293967 w 337099"/>
              <a:gd name="connsiteY2" fmla="*/ 73586 h 517920"/>
              <a:gd name="connsiteX3" fmla="*/ 293967 w 337099"/>
              <a:gd name="connsiteY3" fmla="*/ 517920 h 517920"/>
              <a:gd name="connsiteX4" fmla="*/ 0 w 337099"/>
              <a:gd name="connsiteY4" fmla="*/ 517920 h 517920"/>
              <a:gd name="connsiteX5" fmla="*/ 0 w 337099"/>
              <a:gd name="connsiteY5" fmla="*/ 449285 h 517920"/>
              <a:gd name="connsiteX6" fmla="*/ 225332 w 337099"/>
              <a:gd name="connsiteY6" fmla="*/ 449285 h 517920"/>
              <a:gd name="connsiteX7" fmla="*/ 225332 w 337099"/>
              <a:gd name="connsiteY7" fmla="*/ 73586 h 517920"/>
              <a:gd name="connsiteX8" fmla="*/ 182199 w 337099"/>
              <a:gd name="connsiteY8" fmla="*/ 73586 h 5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099" h="517920">
                <a:moveTo>
                  <a:pt x="259649" y="0"/>
                </a:moveTo>
                <a:lnTo>
                  <a:pt x="337099" y="73586"/>
                </a:lnTo>
                <a:lnTo>
                  <a:pt x="293967" y="73586"/>
                </a:lnTo>
                <a:lnTo>
                  <a:pt x="293967" y="517920"/>
                </a:lnTo>
                <a:lnTo>
                  <a:pt x="0" y="517920"/>
                </a:lnTo>
                <a:lnTo>
                  <a:pt x="0" y="449285"/>
                </a:lnTo>
                <a:lnTo>
                  <a:pt x="225332" y="449285"/>
                </a:lnTo>
                <a:lnTo>
                  <a:pt x="225332" y="73586"/>
                </a:lnTo>
                <a:lnTo>
                  <a:pt x="182199"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79" name="Freeform 778"/>
          <p:cNvSpPr/>
          <p:nvPr/>
        </p:nvSpPr>
        <p:spPr>
          <a:xfrm>
            <a:off x="2913429" y="3639933"/>
            <a:ext cx="1062268" cy="496011"/>
          </a:xfrm>
          <a:custGeom>
            <a:avLst/>
            <a:gdLst>
              <a:gd name="connsiteX0" fmla="*/ 1033371 w 1110821"/>
              <a:gd name="connsiteY0" fmla="*/ 0 h 518682"/>
              <a:gd name="connsiteX1" fmla="*/ 1110821 w 1110821"/>
              <a:gd name="connsiteY1" fmla="*/ 73586 h 518682"/>
              <a:gd name="connsiteX2" fmla="*/ 1067689 w 1110821"/>
              <a:gd name="connsiteY2" fmla="*/ 73586 h 518682"/>
              <a:gd name="connsiteX3" fmla="*/ 1067689 w 1110821"/>
              <a:gd name="connsiteY3" fmla="*/ 517920 h 518682"/>
              <a:gd name="connsiteX4" fmla="*/ 926903 w 1110821"/>
              <a:gd name="connsiteY4" fmla="*/ 517920 h 518682"/>
              <a:gd name="connsiteX5" fmla="*/ 773722 w 1110821"/>
              <a:gd name="connsiteY5" fmla="*/ 517920 h 518682"/>
              <a:gd name="connsiteX6" fmla="*/ 602192 w 1110821"/>
              <a:gd name="connsiteY6" fmla="*/ 517920 h 518682"/>
              <a:gd name="connsiteX7" fmla="*/ 602192 w 1110821"/>
              <a:gd name="connsiteY7" fmla="*/ 518682 h 518682"/>
              <a:gd name="connsiteX8" fmla="*/ 90299 w 1110821"/>
              <a:gd name="connsiteY8" fmla="*/ 518682 h 518682"/>
              <a:gd name="connsiteX9" fmla="*/ 90299 w 1110821"/>
              <a:gd name="connsiteY9" fmla="*/ 517774 h 518682"/>
              <a:gd name="connsiteX10" fmla="*/ 0 w 1110821"/>
              <a:gd name="connsiteY10" fmla="*/ 517774 h 518682"/>
              <a:gd name="connsiteX11" fmla="*/ 0 w 1110821"/>
              <a:gd name="connsiteY11" fmla="*/ 450029 h 518682"/>
              <a:gd name="connsiteX12" fmla="*/ 90299 w 1110821"/>
              <a:gd name="connsiteY12" fmla="*/ 450029 h 518682"/>
              <a:gd name="connsiteX13" fmla="*/ 90299 w 1110821"/>
              <a:gd name="connsiteY13" fmla="*/ 446499 h 518682"/>
              <a:gd name="connsiteX14" fmla="*/ 602192 w 1110821"/>
              <a:gd name="connsiteY14" fmla="*/ 446499 h 518682"/>
              <a:gd name="connsiteX15" fmla="*/ 602192 w 1110821"/>
              <a:gd name="connsiteY15" fmla="*/ 448622 h 518682"/>
              <a:gd name="connsiteX16" fmla="*/ 926903 w 1110821"/>
              <a:gd name="connsiteY16" fmla="*/ 448622 h 518682"/>
              <a:gd name="connsiteX17" fmla="*/ 926903 w 1110821"/>
              <a:gd name="connsiteY17" fmla="*/ 449285 h 518682"/>
              <a:gd name="connsiteX18" fmla="*/ 999054 w 1110821"/>
              <a:gd name="connsiteY18" fmla="*/ 449285 h 518682"/>
              <a:gd name="connsiteX19" fmla="*/ 999054 w 1110821"/>
              <a:gd name="connsiteY19" fmla="*/ 73586 h 518682"/>
              <a:gd name="connsiteX20" fmla="*/ 955921 w 1110821"/>
              <a:gd name="connsiteY20" fmla="*/ 73586 h 51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0821" h="518682">
                <a:moveTo>
                  <a:pt x="1033371" y="0"/>
                </a:moveTo>
                <a:lnTo>
                  <a:pt x="1110821" y="73586"/>
                </a:lnTo>
                <a:lnTo>
                  <a:pt x="1067689" y="73586"/>
                </a:lnTo>
                <a:lnTo>
                  <a:pt x="1067689" y="517920"/>
                </a:lnTo>
                <a:lnTo>
                  <a:pt x="926903" y="517920"/>
                </a:lnTo>
                <a:lnTo>
                  <a:pt x="773722" y="517920"/>
                </a:lnTo>
                <a:lnTo>
                  <a:pt x="602192" y="517920"/>
                </a:lnTo>
                <a:lnTo>
                  <a:pt x="602192" y="518682"/>
                </a:lnTo>
                <a:lnTo>
                  <a:pt x="90299" y="518682"/>
                </a:lnTo>
                <a:lnTo>
                  <a:pt x="90299" y="517774"/>
                </a:lnTo>
                <a:lnTo>
                  <a:pt x="0" y="517774"/>
                </a:lnTo>
                <a:lnTo>
                  <a:pt x="0" y="450029"/>
                </a:lnTo>
                <a:lnTo>
                  <a:pt x="90299" y="450029"/>
                </a:lnTo>
                <a:lnTo>
                  <a:pt x="90299" y="446499"/>
                </a:lnTo>
                <a:lnTo>
                  <a:pt x="602192" y="446499"/>
                </a:lnTo>
                <a:lnTo>
                  <a:pt x="602192" y="448622"/>
                </a:lnTo>
                <a:lnTo>
                  <a:pt x="926903" y="448622"/>
                </a:lnTo>
                <a:lnTo>
                  <a:pt x="926903" y="449285"/>
                </a:lnTo>
                <a:lnTo>
                  <a:pt x="999054" y="449285"/>
                </a:lnTo>
                <a:lnTo>
                  <a:pt x="999054" y="73586"/>
                </a:lnTo>
                <a:lnTo>
                  <a:pt x="955921"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80" name="Freeform 779"/>
          <p:cNvSpPr/>
          <p:nvPr/>
        </p:nvSpPr>
        <p:spPr>
          <a:xfrm>
            <a:off x="1734714" y="3654135"/>
            <a:ext cx="322365" cy="495282"/>
          </a:xfrm>
          <a:custGeom>
            <a:avLst/>
            <a:gdLst>
              <a:gd name="connsiteX0" fmla="*/ 259649 w 337099"/>
              <a:gd name="connsiteY0" fmla="*/ 0 h 517920"/>
              <a:gd name="connsiteX1" fmla="*/ 337099 w 337099"/>
              <a:gd name="connsiteY1" fmla="*/ 73586 h 517920"/>
              <a:gd name="connsiteX2" fmla="*/ 293967 w 337099"/>
              <a:gd name="connsiteY2" fmla="*/ 73586 h 517920"/>
              <a:gd name="connsiteX3" fmla="*/ 293967 w 337099"/>
              <a:gd name="connsiteY3" fmla="*/ 517920 h 517920"/>
              <a:gd name="connsiteX4" fmla="*/ 0 w 337099"/>
              <a:gd name="connsiteY4" fmla="*/ 517920 h 517920"/>
              <a:gd name="connsiteX5" fmla="*/ 0 w 337099"/>
              <a:gd name="connsiteY5" fmla="*/ 449285 h 517920"/>
              <a:gd name="connsiteX6" fmla="*/ 225332 w 337099"/>
              <a:gd name="connsiteY6" fmla="*/ 449285 h 517920"/>
              <a:gd name="connsiteX7" fmla="*/ 225332 w 337099"/>
              <a:gd name="connsiteY7" fmla="*/ 73586 h 517920"/>
              <a:gd name="connsiteX8" fmla="*/ 182199 w 337099"/>
              <a:gd name="connsiteY8" fmla="*/ 73586 h 5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099" h="517920">
                <a:moveTo>
                  <a:pt x="259649" y="0"/>
                </a:moveTo>
                <a:lnTo>
                  <a:pt x="337099" y="73586"/>
                </a:lnTo>
                <a:lnTo>
                  <a:pt x="293967" y="73586"/>
                </a:lnTo>
                <a:lnTo>
                  <a:pt x="293967" y="517920"/>
                </a:lnTo>
                <a:lnTo>
                  <a:pt x="0" y="517920"/>
                </a:lnTo>
                <a:lnTo>
                  <a:pt x="0" y="449285"/>
                </a:lnTo>
                <a:lnTo>
                  <a:pt x="225332" y="449285"/>
                </a:lnTo>
                <a:lnTo>
                  <a:pt x="225332" y="73586"/>
                </a:lnTo>
                <a:lnTo>
                  <a:pt x="182199"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81" name="Rectangle 780"/>
          <p:cNvSpPr/>
          <p:nvPr/>
        </p:nvSpPr>
        <p:spPr>
          <a:xfrm>
            <a:off x="745971" y="2942415"/>
            <a:ext cx="559019" cy="694540"/>
          </a:xfrm>
          <a:prstGeom prst="rect">
            <a:avLst/>
          </a:prstGeom>
          <a:solidFill>
            <a:schemeClr val="accent3">
              <a:lumMod val="75000"/>
            </a:schemeClr>
          </a:solidFill>
          <a:ln w="6350" cap="flat" cmpd="sng" algn="ctr">
            <a:solidFill>
              <a:schemeClr val="bg1">
                <a:lumMod val="50000"/>
              </a:schemeClr>
            </a:solidFill>
            <a:prstDash val="solid"/>
          </a:ln>
          <a:effectLst/>
        </p:spPr>
        <p:txBody>
          <a:bodyPr lIns="45718" tIns="45718" rIns="0" bIns="45718" rtlCol="0" anchor="b"/>
          <a:lstStyle/>
          <a:p>
            <a:pPr defTabSz="913661">
              <a:defRPr/>
            </a:pPr>
            <a:r>
              <a:rPr lang="ja-JP" altLang="en-US" sz="700" kern="0" dirty="0" smtClean="0">
                <a:solidFill>
                  <a:schemeClr val="bg1"/>
                </a:solidFill>
                <a:latin typeface="+mj-lt"/>
                <a:ea typeface="+mn-ea"/>
                <a:cs typeface="+mn-cs"/>
              </a:rPr>
              <a:t>トラフィック</a:t>
            </a:r>
            <a:endParaRPr lang="en-US" altLang="ja-JP" sz="700" kern="0" dirty="0" smtClean="0">
              <a:solidFill>
                <a:schemeClr val="bg1"/>
              </a:solidFill>
              <a:latin typeface="+mj-lt"/>
              <a:ea typeface="+mn-ea"/>
              <a:cs typeface="+mn-cs"/>
            </a:endParaRPr>
          </a:p>
          <a:p>
            <a:pPr defTabSz="913661">
              <a:defRPr/>
            </a:pPr>
            <a:r>
              <a:rPr lang="ja-JP" altLang="en-US" sz="700" kern="0" dirty="0" smtClean="0">
                <a:solidFill>
                  <a:schemeClr val="bg1"/>
                </a:solidFill>
                <a:latin typeface="+mj-lt"/>
                <a:ea typeface="+mn-ea"/>
                <a:cs typeface="+mn-cs"/>
              </a:rPr>
              <a:t>リダイレクト</a:t>
            </a:r>
            <a:endParaRPr lang="en-US" altLang="ja-JP" sz="700" kern="0" dirty="0" smtClean="0">
              <a:solidFill>
                <a:schemeClr val="bg1"/>
              </a:solidFill>
              <a:latin typeface="+mj-lt"/>
              <a:ea typeface="+mn-ea"/>
              <a:cs typeface="+mn-cs"/>
            </a:endParaRPr>
          </a:p>
          <a:p>
            <a:pPr defTabSz="913661">
              <a:defRPr/>
            </a:pPr>
            <a:r>
              <a:rPr lang="ja-JP" altLang="en-US" sz="700" kern="0" dirty="0" smtClean="0">
                <a:solidFill>
                  <a:schemeClr val="bg1"/>
                </a:solidFill>
                <a:latin typeface="+mj-lt"/>
                <a:ea typeface="+mn-ea"/>
                <a:cs typeface="+mn-cs"/>
              </a:rPr>
              <a:t>方法</a:t>
            </a:r>
            <a:endParaRPr lang="en-US" sz="700" kern="0" dirty="0">
              <a:solidFill>
                <a:schemeClr val="bg1"/>
              </a:solidFill>
              <a:latin typeface="+mj-lt"/>
              <a:ea typeface="+mn-ea"/>
              <a:cs typeface="+mn-cs"/>
            </a:endParaRPr>
          </a:p>
        </p:txBody>
      </p:sp>
      <p:sp>
        <p:nvSpPr>
          <p:cNvPr id="782" name="Freeform 246"/>
          <p:cNvSpPr>
            <a:spLocks noEditPoints="1"/>
          </p:cNvSpPr>
          <p:nvPr/>
        </p:nvSpPr>
        <p:spPr bwMode="auto">
          <a:xfrm>
            <a:off x="844787" y="3011501"/>
            <a:ext cx="355066" cy="232720"/>
          </a:xfrm>
          <a:custGeom>
            <a:avLst/>
            <a:gdLst>
              <a:gd name="T0" fmla="*/ 947 w 1585"/>
              <a:gd name="T1" fmla="*/ 428 h 1236"/>
              <a:gd name="T2" fmla="*/ 482 w 1585"/>
              <a:gd name="T3" fmla="*/ 1085 h 1236"/>
              <a:gd name="T4" fmla="*/ 432 w 1585"/>
              <a:gd name="T5" fmla="*/ 1116 h 1236"/>
              <a:gd name="T6" fmla="*/ 92 w 1585"/>
              <a:gd name="T7" fmla="*/ 1118 h 1236"/>
              <a:gd name="T8" fmla="*/ 45 w 1585"/>
              <a:gd name="T9" fmla="*/ 1099 h 1236"/>
              <a:gd name="T10" fmla="*/ 12 w 1585"/>
              <a:gd name="T11" fmla="*/ 1058 h 1236"/>
              <a:gd name="T12" fmla="*/ 0 w 1585"/>
              <a:gd name="T13" fmla="*/ 1004 h 1236"/>
              <a:gd name="T14" fmla="*/ 8 w 1585"/>
              <a:gd name="T15" fmla="*/ 959 h 1236"/>
              <a:gd name="T16" fmla="*/ 38 w 1585"/>
              <a:gd name="T17" fmla="*/ 914 h 1236"/>
              <a:gd name="T18" fmla="*/ 82 w 1585"/>
              <a:gd name="T19" fmla="*/ 890 h 1236"/>
              <a:gd name="T20" fmla="*/ 225 w 1585"/>
              <a:gd name="T21" fmla="*/ 894 h 1236"/>
              <a:gd name="T22" fmla="*/ 357 w 1585"/>
              <a:gd name="T23" fmla="*/ 890 h 1236"/>
              <a:gd name="T24" fmla="*/ 424 w 1585"/>
              <a:gd name="T25" fmla="*/ 808 h 1236"/>
              <a:gd name="T26" fmla="*/ 881 w 1585"/>
              <a:gd name="T27" fmla="*/ 159 h 1236"/>
              <a:gd name="T28" fmla="*/ 927 w 1585"/>
              <a:gd name="T29" fmla="*/ 123 h 1236"/>
              <a:gd name="T30" fmla="*/ 1217 w 1585"/>
              <a:gd name="T31" fmla="*/ 117 h 1236"/>
              <a:gd name="T32" fmla="*/ 1231 w 1585"/>
              <a:gd name="T33" fmla="*/ 7 h 1236"/>
              <a:gd name="T34" fmla="*/ 1252 w 1585"/>
              <a:gd name="T35" fmla="*/ 2 h 1236"/>
              <a:gd name="T36" fmla="*/ 1427 w 1585"/>
              <a:gd name="T37" fmla="*/ 103 h 1236"/>
              <a:gd name="T38" fmla="*/ 1572 w 1585"/>
              <a:gd name="T39" fmla="*/ 213 h 1236"/>
              <a:gd name="T40" fmla="*/ 1585 w 1585"/>
              <a:gd name="T41" fmla="*/ 234 h 1236"/>
              <a:gd name="T42" fmla="*/ 1570 w 1585"/>
              <a:gd name="T43" fmla="*/ 260 h 1236"/>
              <a:gd name="T44" fmla="*/ 1400 w 1585"/>
              <a:gd name="T45" fmla="*/ 384 h 1236"/>
              <a:gd name="T46" fmla="*/ 1252 w 1585"/>
              <a:gd name="T47" fmla="*/ 465 h 1236"/>
              <a:gd name="T48" fmla="*/ 1232 w 1585"/>
              <a:gd name="T49" fmla="*/ 463 h 1236"/>
              <a:gd name="T50" fmla="*/ 1221 w 1585"/>
              <a:gd name="T51" fmla="*/ 431 h 1236"/>
              <a:gd name="T52" fmla="*/ 1150 w 1585"/>
              <a:gd name="T53" fmla="*/ 344 h 1236"/>
              <a:gd name="T54" fmla="*/ 1013 w 1585"/>
              <a:gd name="T55" fmla="*/ 345 h 1236"/>
              <a:gd name="T56" fmla="*/ 168 w 1585"/>
              <a:gd name="T57" fmla="*/ 346 h 1236"/>
              <a:gd name="T58" fmla="*/ 347 w 1585"/>
              <a:gd name="T59" fmla="*/ 345 h 1236"/>
              <a:gd name="T60" fmla="*/ 419 w 1585"/>
              <a:gd name="T61" fmla="*/ 423 h 1236"/>
              <a:gd name="T62" fmla="*/ 489 w 1585"/>
              <a:gd name="T63" fmla="*/ 159 h 1236"/>
              <a:gd name="T64" fmla="*/ 454 w 1585"/>
              <a:gd name="T65" fmla="*/ 128 h 1236"/>
              <a:gd name="T66" fmla="*/ 103 w 1585"/>
              <a:gd name="T67" fmla="*/ 117 h 1236"/>
              <a:gd name="T68" fmla="*/ 63 w 1585"/>
              <a:gd name="T69" fmla="*/ 125 h 1236"/>
              <a:gd name="T70" fmla="*/ 24 w 1585"/>
              <a:gd name="T71" fmla="*/ 158 h 1236"/>
              <a:gd name="T72" fmla="*/ 2 w 1585"/>
              <a:gd name="T73" fmla="*/ 209 h 1236"/>
              <a:gd name="T74" fmla="*/ 2 w 1585"/>
              <a:gd name="T75" fmla="*/ 255 h 1236"/>
              <a:gd name="T76" fmla="*/ 24 w 1585"/>
              <a:gd name="T77" fmla="*/ 306 h 1236"/>
              <a:gd name="T78" fmla="*/ 63 w 1585"/>
              <a:gd name="T79" fmla="*/ 339 h 1236"/>
              <a:gd name="T80" fmla="*/ 103 w 1585"/>
              <a:gd name="T81" fmla="*/ 347 h 1236"/>
              <a:gd name="T82" fmla="*/ 1577 w 1585"/>
              <a:gd name="T83" fmla="*/ 1022 h 1236"/>
              <a:gd name="T84" fmla="*/ 1501 w 1585"/>
              <a:gd name="T85" fmla="*/ 1085 h 1236"/>
              <a:gd name="T86" fmla="*/ 1283 w 1585"/>
              <a:gd name="T87" fmla="*/ 1222 h 1236"/>
              <a:gd name="T88" fmla="*/ 1234 w 1585"/>
              <a:gd name="T89" fmla="*/ 1235 h 1236"/>
              <a:gd name="T90" fmla="*/ 1225 w 1585"/>
              <a:gd name="T91" fmla="*/ 1221 h 1236"/>
              <a:gd name="T92" fmla="*/ 1215 w 1585"/>
              <a:gd name="T93" fmla="*/ 1118 h 1236"/>
              <a:gd name="T94" fmla="*/ 927 w 1585"/>
              <a:gd name="T95" fmla="*/ 1112 h 1236"/>
              <a:gd name="T96" fmla="*/ 881 w 1585"/>
              <a:gd name="T97" fmla="*/ 1076 h 1236"/>
              <a:gd name="T98" fmla="*/ 904 w 1585"/>
              <a:gd name="T99" fmla="*/ 744 h 1236"/>
              <a:gd name="T100" fmla="*/ 1006 w 1585"/>
              <a:gd name="T101" fmla="*/ 886 h 1236"/>
              <a:gd name="T102" fmla="*/ 1044 w 1585"/>
              <a:gd name="T103" fmla="*/ 892 h 1236"/>
              <a:gd name="T104" fmla="*/ 1217 w 1585"/>
              <a:gd name="T105" fmla="*/ 889 h 1236"/>
              <a:gd name="T106" fmla="*/ 1231 w 1585"/>
              <a:gd name="T107" fmla="*/ 777 h 1236"/>
              <a:gd name="T108" fmla="*/ 1252 w 1585"/>
              <a:gd name="T109" fmla="*/ 772 h 1236"/>
              <a:gd name="T110" fmla="*/ 1427 w 1585"/>
              <a:gd name="T111" fmla="*/ 873 h 1236"/>
              <a:gd name="T112" fmla="*/ 1572 w 1585"/>
              <a:gd name="T113" fmla="*/ 983 h 1236"/>
              <a:gd name="T114" fmla="*/ 1585 w 1585"/>
              <a:gd name="T115" fmla="*/ 1004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1236">
                <a:moveTo>
                  <a:pt x="1010" y="346"/>
                </a:moveTo>
                <a:lnTo>
                  <a:pt x="1010" y="346"/>
                </a:lnTo>
                <a:lnTo>
                  <a:pt x="1003" y="354"/>
                </a:lnTo>
                <a:lnTo>
                  <a:pt x="990" y="371"/>
                </a:lnTo>
                <a:lnTo>
                  <a:pt x="947" y="428"/>
                </a:lnTo>
                <a:lnTo>
                  <a:pt x="816" y="612"/>
                </a:lnTo>
                <a:lnTo>
                  <a:pt x="651" y="844"/>
                </a:lnTo>
                <a:lnTo>
                  <a:pt x="489" y="1076"/>
                </a:lnTo>
                <a:lnTo>
                  <a:pt x="489" y="1076"/>
                </a:lnTo>
                <a:lnTo>
                  <a:pt x="482" y="1085"/>
                </a:lnTo>
                <a:lnTo>
                  <a:pt x="473" y="1095"/>
                </a:lnTo>
                <a:lnTo>
                  <a:pt x="463" y="1102"/>
                </a:lnTo>
                <a:lnTo>
                  <a:pt x="454" y="1108"/>
                </a:lnTo>
                <a:lnTo>
                  <a:pt x="443" y="1112"/>
                </a:lnTo>
                <a:lnTo>
                  <a:pt x="432" y="1116"/>
                </a:lnTo>
                <a:lnTo>
                  <a:pt x="421" y="1118"/>
                </a:lnTo>
                <a:lnTo>
                  <a:pt x="409" y="1118"/>
                </a:lnTo>
                <a:lnTo>
                  <a:pt x="103" y="1118"/>
                </a:lnTo>
                <a:lnTo>
                  <a:pt x="103" y="1118"/>
                </a:lnTo>
                <a:lnTo>
                  <a:pt x="92" y="1118"/>
                </a:lnTo>
                <a:lnTo>
                  <a:pt x="82" y="1116"/>
                </a:lnTo>
                <a:lnTo>
                  <a:pt x="72" y="1114"/>
                </a:lnTo>
                <a:lnTo>
                  <a:pt x="63" y="1110"/>
                </a:lnTo>
                <a:lnTo>
                  <a:pt x="53" y="1105"/>
                </a:lnTo>
                <a:lnTo>
                  <a:pt x="45" y="1099"/>
                </a:lnTo>
                <a:lnTo>
                  <a:pt x="38" y="1092"/>
                </a:lnTo>
                <a:lnTo>
                  <a:pt x="30" y="1085"/>
                </a:lnTo>
                <a:lnTo>
                  <a:pt x="24" y="1077"/>
                </a:lnTo>
                <a:lnTo>
                  <a:pt x="18" y="1068"/>
                </a:lnTo>
                <a:lnTo>
                  <a:pt x="12" y="1058"/>
                </a:lnTo>
                <a:lnTo>
                  <a:pt x="8" y="1049"/>
                </a:lnTo>
                <a:lnTo>
                  <a:pt x="5" y="1038"/>
                </a:lnTo>
                <a:lnTo>
                  <a:pt x="2" y="1026"/>
                </a:lnTo>
                <a:lnTo>
                  <a:pt x="0" y="1016"/>
                </a:lnTo>
                <a:lnTo>
                  <a:pt x="0" y="1004"/>
                </a:lnTo>
                <a:lnTo>
                  <a:pt x="0" y="1004"/>
                </a:lnTo>
                <a:lnTo>
                  <a:pt x="0" y="992"/>
                </a:lnTo>
                <a:lnTo>
                  <a:pt x="2" y="980"/>
                </a:lnTo>
                <a:lnTo>
                  <a:pt x="5" y="970"/>
                </a:lnTo>
                <a:lnTo>
                  <a:pt x="8" y="959"/>
                </a:lnTo>
                <a:lnTo>
                  <a:pt x="12" y="948"/>
                </a:lnTo>
                <a:lnTo>
                  <a:pt x="18" y="939"/>
                </a:lnTo>
                <a:lnTo>
                  <a:pt x="24" y="929"/>
                </a:lnTo>
                <a:lnTo>
                  <a:pt x="30" y="921"/>
                </a:lnTo>
                <a:lnTo>
                  <a:pt x="38" y="914"/>
                </a:lnTo>
                <a:lnTo>
                  <a:pt x="45" y="907"/>
                </a:lnTo>
                <a:lnTo>
                  <a:pt x="53" y="902"/>
                </a:lnTo>
                <a:lnTo>
                  <a:pt x="63" y="896"/>
                </a:lnTo>
                <a:lnTo>
                  <a:pt x="72" y="893"/>
                </a:lnTo>
                <a:lnTo>
                  <a:pt x="82" y="890"/>
                </a:lnTo>
                <a:lnTo>
                  <a:pt x="92" y="888"/>
                </a:lnTo>
                <a:lnTo>
                  <a:pt x="103" y="888"/>
                </a:lnTo>
                <a:lnTo>
                  <a:pt x="103" y="888"/>
                </a:lnTo>
                <a:lnTo>
                  <a:pt x="167" y="892"/>
                </a:lnTo>
                <a:lnTo>
                  <a:pt x="225" y="894"/>
                </a:lnTo>
                <a:lnTo>
                  <a:pt x="286" y="894"/>
                </a:lnTo>
                <a:lnTo>
                  <a:pt x="286" y="894"/>
                </a:lnTo>
                <a:lnTo>
                  <a:pt x="324" y="894"/>
                </a:lnTo>
                <a:lnTo>
                  <a:pt x="346" y="892"/>
                </a:lnTo>
                <a:lnTo>
                  <a:pt x="357" y="890"/>
                </a:lnTo>
                <a:lnTo>
                  <a:pt x="360" y="889"/>
                </a:lnTo>
                <a:lnTo>
                  <a:pt x="360" y="889"/>
                </a:lnTo>
                <a:lnTo>
                  <a:pt x="367" y="881"/>
                </a:lnTo>
                <a:lnTo>
                  <a:pt x="382" y="864"/>
                </a:lnTo>
                <a:lnTo>
                  <a:pt x="424" y="808"/>
                </a:lnTo>
                <a:lnTo>
                  <a:pt x="483" y="725"/>
                </a:lnTo>
                <a:lnTo>
                  <a:pt x="556" y="624"/>
                </a:lnTo>
                <a:lnTo>
                  <a:pt x="721" y="391"/>
                </a:lnTo>
                <a:lnTo>
                  <a:pt x="881" y="159"/>
                </a:lnTo>
                <a:lnTo>
                  <a:pt x="881" y="159"/>
                </a:lnTo>
                <a:lnTo>
                  <a:pt x="889" y="150"/>
                </a:lnTo>
                <a:lnTo>
                  <a:pt x="898" y="141"/>
                </a:lnTo>
                <a:lnTo>
                  <a:pt x="907" y="133"/>
                </a:lnTo>
                <a:lnTo>
                  <a:pt x="917" y="128"/>
                </a:lnTo>
                <a:lnTo>
                  <a:pt x="927" y="123"/>
                </a:lnTo>
                <a:lnTo>
                  <a:pt x="938" y="119"/>
                </a:lnTo>
                <a:lnTo>
                  <a:pt x="950" y="117"/>
                </a:lnTo>
                <a:lnTo>
                  <a:pt x="962" y="117"/>
                </a:lnTo>
                <a:lnTo>
                  <a:pt x="1217" y="117"/>
                </a:lnTo>
                <a:lnTo>
                  <a:pt x="1217" y="117"/>
                </a:lnTo>
                <a:lnTo>
                  <a:pt x="1219" y="74"/>
                </a:lnTo>
                <a:lnTo>
                  <a:pt x="1223" y="39"/>
                </a:lnTo>
                <a:lnTo>
                  <a:pt x="1225" y="26"/>
                </a:lnTo>
                <a:lnTo>
                  <a:pt x="1227" y="15"/>
                </a:lnTo>
                <a:lnTo>
                  <a:pt x="1231" y="7"/>
                </a:lnTo>
                <a:lnTo>
                  <a:pt x="1233" y="4"/>
                </a:lnTo>
                <a:lnTo>
                  <a:pt x="1243" y="0"/>
                </a:lnTo>
                <a:lnTo>
                  <a:pt x="1243" y="0"/>
                </a:lnTo>
                <a:lnTo>
                  <a:pt x="1246" y="1"/>
                </a:lnTo>
                <a:lnTo>
                  <a:pt x="1252" y="2"/>
                </a:lnTo>
                <a:lnTo>
                  <a:pt x="1267" y="9"/>
                </a:lnTo>
                <a:lnTo>
                  <a:pt x="1288" y="19"/>
                </a:lnTo>
                <a:lnTo>
                  <a:pt x="1311" y="32"/>
                </a:lnTo>
                <a:lnTo>
                  <a:pt x="1367" y="64"/>
                </a:lnTo>
                <a:lnTo>
                  <a:pt x="1427" y="103"/>
                </a:lnTo>
                <a:lnTo>
                  <a:pt x="1486" y="143"/>
                </a:lnTo>
                <a:lnTo>
                  <a:pt x="1513" y="162"/>
                </a:lnTo>
                <a:lnTo>
                  <a:pt x="1537" y="181"/>
                </a:lnTo>
                <a:lnTo>
                  <a:pt x="1557" y="197"/>
                </a:lnTo>
                <a:lnTo>
                  <a:pt x="1572" y="213"/>
                </a:lnTo>
                <a:lnTo>
                  <a:pt x="1578" y="218"/>
                </a:lnTo>
                <a:lnTo>
                  <a:pt x="1582" y="224"/>
                </a:lnTo>
                <a:lnTo>
                  <a:pt x="1585" y="229"/>
                </a:lnTo>
                <a:lnTo>
                  <a:pt x="1585" y="234"/>
                </a:lnTo>
                <a:lnTo>
                  <a:pt x="1585" y="234"/>
                </a:lnTo>
                <a:lnTo>
                  <a:pt x="1585" y="239"/>
                </a:lnTo>
                <a:lnTo>
                  <a:pt x="1582" y="244"/>
                </a:lnTo>
                <a:lnTo>
                  <a:pt x="1577" y="252"/>
                </a:lnTo>
                <a:lnTo>
                  <a:pt x="1570" y="260"/>
                </a:lnTo>
                <a:lnTo>
                  <a:pt x="1570" y="260"/>
                </a:lnTo>
                <a:lnTo>
                  <a:pt x="1558" y="272"/>
                </a:lnTo>
                <a:lnTo>
                  <a:pt x="1541" y="285"/>
                </a:lnTo>
                <a:lnTo>
                  <a:pt x="1501" y="315"/>
                </a:lnTo>
                <a:lnTo>
                  <a:pt x="1453" y="350"/>
                </a:lnTo>
                <a:lnTo>
                  <a:pt x="1400" y="384"/>
                </a:lnTo>
                <a:lnTo>
                  <a:pt x="1349" y="416"/>
                </a:lnTo>
                <a:lnTo>
                  <a:pt x="1303" y="442"/>
                </a:lnTo>
                <a:lnTo>
                  <a:pt x="1283" y="452"/>
                </a:lnTo>
                <a:lnTo>
                  <a:pt x="1266" y="461"/>
                </a:lnTo>
                <a:lnTo>
                  <a:pt x="1252" y="465"/>
                </a:lnTo>
                <a:lnTo>
                  <a:pt x="1243" y="466"/>
                </a:lnTo>
                <a:lnTo>
                  <a:pt x="1243" y="466"/>
                </a:lnTo>
                <a:lnTo>
                  <a:pt x="1234" y="465"/>
                </a:lnTo>
                <a:lnTo>
                  <a:pt x="1234" y="465"/>
                </a:lnTo>
                <a:lnTo>
                  <a:pt x="1232" y="463"/>
                </a:lnTo>
                <a:lnTo>
                  <a:pt x="1230" y="461"/>
                </a:lnTo>
                <a:lnTo>
                  <a:pt x="1227" y="457"/>
                </a:lnTo>
                <a:lnTo>
                  <a:pt x="1225" y="451"/>
                </a:lnTo>
                <a:lnTo>
                  <a:pt x="1223" y="442"/>
                </a:lnTo>
                <a:lnTo>
                  <a:pt x="1221" y="431"/>
                </a:lnTo>
                <a:lnTo>
                  <a:pt x="1218" y="396"/>
                </a:lnTo>
                <a:lnTo>
                  <a:pt x="1218" y="396"/>
                </a:lnTo>
                <a:lnTo>
                  <a:pt x="1215" y="346"/>
                </a:lnTo>
                <a:lnTo>
                  <a:pt x="1215" y="346"/>
                </a:lnTo>
                <a:lnTo>
                  <a:pt x="1150" y="344"/>
                </a:lnTo>
                <a:lnTo>
                  <a:pt x="1080" y="342"/>
                </a:lnTo>
                <a:lnTo>
                  <a:pt x="1080" y="342"/>
                </a:lnTo>
                <a:lnTo>
                  <a:pt x="1044" y="342"/>
                </a:lnTo>
                <a:lnTo>
                  <a:pt x="1024" y="344"/>
                </a:lnTo>
                <a:lnTo>
                  <a:pt x="1013" y="345"/>
                </a:lnTo>
                <a:lnTo>
                  <a:pt x="1010" y="346"/>
                </a:lnTo>
                <a:lnTo>
                  <a:pt x="1010" y="346"/>
                </a:lnTo>
                <a:close/>
                <a:moveTo>
                  <a:pt x="103" y="347"/>
                </a:moveTo>
                <a:lnTo>
                  <a:pt x="103" y="347"/>
                </a:lnTo>
                <a:lnTo>
                  <a:pt x="168" y="346"/>
                </a:lnTo>
                <a:lnTo>
                  <a:pt x="228" y="345"/>
                </a:lnTo>
                <a:lnTo>
                  <a:pt x="289" y="344"/>
                </a:lnTo>
                <a:lnTo>
                  <a:pt x="289" y="344"/>
                </a:lnTo>
                <a:lnTo>
                  <a:pt x="326" y="345"/>
                </a:lnTo>
                <a:lnTo>
                  <a:pt x="347" y="345"/>
                </a:lnTo>
                <a:lnTo>
                  <a:pt x="362" y="346"/>
                </a:lnTo>
                <a:lnTo>
                  <a:pt x="362" y="346"/>
                </a:lnTo>
                <a:lnTo>
                  <a:pt x="369" y="354"/>
                </a:lnTo>
                <a:lnTo>
                  <a:pt x="382" y="371"/>
                </a:lnTo>
                <a:lnTo>
                  <a:pt x="419" y="423"/>
                </a:lnTo>
                <a:lnTo>
                  <a:pt x="468" y="492"/>
                </a:lnTo>
                <a:lnTo>
                  <a:pt x="517" y="568"/>
                </a:lnTo>
                <a:lnTo>
                  <a:pt x="527" y="581"/>
                </a:lnTo>
                <a:lnTo>
                  <a:pt x="659" y="396"/>
                </a:lnTo>
                <a:lnTo>
                  <a:pt x="489" y="159"/>
                </a:lnTo>
                <a:lnTo>
                  <a:pt x="489" y="159"/>
                </a:lnTo>
                <a:lnTo>
                  <a:pt x="482" y="150"/>
                </a:lnTo>
                <a:lnTo>
                  <a:pt x="473" y="141"/>
                </a:lnTo>
                <a:lnTo>
                  <a:pt x="463" y="133"/>
                </a:lnTo>
                <a:lnTo>
                  <a:pt x="454" y="128"/>
                </a:lnTo>
                <a:lnTo>
                  <a:pt x="443" y="123"/>
                </a:lnTo>
                <a:lnTo>
                  <a:pt x="432" y="119"/>
                </a:lnTo>
                <a:lnTo>
                  <a:pt x="421" y="117"/>
                </a:lnTo>
                <a:lnTo>
                  <a:pt x="410" y="117"/>
                </a:lnTo>
                <a:lnTo>
                  <a:pt x="103" y="117"/>
                </a:lnTo>
                <a:lnTo>
                  <a:pt x="103" y="117"/>
                </a:lnTo>
                <a:lnTo>
                  <a:pt x="92" y="117"/>
                </a:lnTo>
                <a:lnTo>
                  <a:pt x="82" y="119"/>
                </a:lnTo>
                <a:lnTo>
                  <a:pt x="72" y="122"/>
                </a:lnTo>
                <a:lnTo>
                  <a:pt x="63" y="125"/>
                </a:lnTo>
                <a:lnTo>
                  <a:pt x="53" y="130"/>
                </a:lnTo>
                <a:lnTo>
                  <a:pt x="45" y="136"/>
                </a:lnTo>
                <a:lnTo>
                  <a:pt x="38" y="143"/>
                </a:lnTo>
                <a:lnTo>
                  <a:pt x="30" y="150"/>
                </a:lnTo>
                <a:lnTo>
                  <a:pt x="24" y="158"/>
                </a:lnTo>
                <a:lnTo>
                  <a:pt x="18" y="168"/>
                </a:lnTo>
                <a:lnTo>
                  <a:pt x="12" y="177"/>
                </a:lnTo>
                <a:lnTo>
                  <a:pt x="8" y="187"/>
                </a:lnTo>
                <a:lnTo>
                  <a:pt x="5" y="197"/>
                </a:lnTo>
                <a:lnTo>
                  <a:pt x="2" y="209"/>
                </a:lnTo>
                <a:lnTo>
                  <a:pt x="0" y="220"/>
                </a:lnTo>
                <a:lnTo>
                  <a:pt x="0" y="231"/>
                </a:lnTo>
                <a:lnTo>
                  <a:pt x="0" y="231"/>
                </a:lnTo>
                <a:lnTo>
                  <a:pt x="0" y="243"/>
                </a:lnTo>
                <a:lnTo>
                  <a:pt x="2" y="255"/>
                </a:lnTo>
                <a:lnTo>
                  <a:pt x="5" y="267"/>
                </a:lnTo>
                <a:lnTo>
                  <a:pt x="8" y="278"/>
                </a:lnTo>
                <a:lnTo>
                  <a:pt x="12" y="287"/>
                </a:lnTo>
                <a:lnTo>
                  <a:pt x="18" y="296"/>
                </a:lnTo>
                <a:lnTo>
                  <a:pt x="24" y="306"/>
                </a:lnTo>
                <a:lnTo>
                  <a:pt x="30" y="314"/>
                </a:lnTo>
                <a:lnTo>
                  <a:pt x="38" y="321"/>
                </a:lnTo>
                <a:lnTo>
                  <a:pt x="45" y="328"/>
                </a:lnTo>
                <a:lnTo>
                  <a:pt x="54" y="334"/>
                </a:lnTo>
                <a:lnTo>
                  <a:pt x="63" y="339"/>
                </a:lnTo>
                <a:lnTo>
                  <a:pt x="72" y="342"/>
                </a:lnTo>
                <a:lnTo>
                  <a:pt x="83" y="345"/>
                </a:lnTo>
                <a:lnTo>
                  <a:pt x="92" y="347"/>
                </a:lnTo>
                <a:lnTo>
                  <a:pt x="103" y="347"/>
                </a:lnTo>
                <a:lnTo>
                  <a:pt x="103" y="347"/>
                </a:lnTo>
                <a:close/>
                <a:moveTo>
                  <a:pt x="1585" y="1004"/>
                </a:moveTo>
                <a:lnTo>
                  <a:pt x="1585" y="1004"/>
                </a:lnTo>
                <a:lnTo>
                  <a:pt x="1585" y="1009"/>
                </a:lnTo>
                <a:lnTo>
                  <a:pt x="1582" y="1016"/>
                </a:lnTo>
                <a:lnTo>
                  <a:pt x="1577" y="1022"/>
                </a:lnTo>
                <a:lnTo>
                  <a:pt x="1570" y="1030"/>
                </a:lnTo>
                <a:lnTo>
                  <a:pt x="1570" y="1030"/>
                </a:lnTo>
                <a:lnTo>
                  <a:pt x="1558" y="1042"/>
                </a:lnTo>
                <a:lnTo>
                  <a:pt x="1541" y="1055"/>
                </a:lnTo>
                <a:lnTo>
                  <a:pt x="1501" y="1085"/>
                </a:lnTo>
                <a:lnTo>
                  <a:pt x="1452" y="1120"/>
                </a:lnTo>
                <a:lnTo>
                  <a:pt x="1400" y="1155"/>
                </a:lnTo>
                <a:lnTo>
                  <a:pt x="1349" y="1186"/>
                </a:lnTo>
                <a:lnTo>
                  <a:pt x="1303" y="1213"/>
                </a:lnTo>
                <a:lnTo>
                  <a:pt x="1283" y="1222"/>
                </a:lnTo>
                <a:lnTo>
                  <a:pt x="1265" y="1231"/>
                </a:lnTo>
                <a:lnTo>
                  <a:pt x="1252" y="1235"/>
                </a:lnTo>
                <a:lnTo>
                  <a:pt x="1243" y="1236"/>
                </a:lnTo>
                <a:lnTo>
                  <a:pt x="1243" y="1236"/>
                </a:lnTo>
                <a:lnTo>
                  <a:pt x="1234" y="1235"/>
                </a:lnTo>
                <a:lnTo>
                  <a:pt x="1234" y="1235"/>
                </a:lnTo>
                <a:lnTo>
                  <a:pt x="1232" y="1234"/>
                </a:lnTo>
                <a:lnTo>
                  <a:pt x="1230" y="1231"/>
                </a:lnTo>
                <a:lnTo>
                  <a:pt x="1227" y="1227"/>
                </a:lnTo>
                <a:lnTo>
                  <a:pt x="1225" y="1221"/>
                </a:lnTo>
                <a:lnTo>
                  <a:pt x="1223" y="1213"/>
                </a:lnTo>
                <a:lnTo>
                  <a:pt x="1221" y="1201"/>
                </a:lnTo>
                <a:lnTo>
                  <a:pt x="1218" y="1166"/>
                </a:lnTo>
                <a:lnTo>
                  <a:pt x="1218" y="1166"/>
                </a:lnTo>
                <a:lnTo>
                  <a:pt x="1215" y="1118"/>
                </a:lnTo>
                <a:lnTo>
                  <a:pt x="962" y="1118"/>
                </a:lnTo>
                <a:lnTo>
                  <a:pt x="962" y="1118"/>
                </a:lnTo>
                <a:lnTo>
                  <a:pt x="950" y="1118"/>
                </a:lnTo>
                <a:lnTo>
                  <a:pt x="938" y="1116"/>
                </a:lnTo>
                <a:lnTo>
                  <a:pt x="927" y="1112"/>
                </a:lnTo>
                <a:lnTo>
                  <a:pt x="917" y="1108"/>
                </a:lnTo>
                <a:lnTo>
                  <a:pt x="907" y="1102"/>
                </a:lnTo>
                <a:lnTo>
                  <a:pt x="898" y="1095"/>
                </a:lnTo>
                <a:lnTo>
                  <a:pt x="889" y="1085"/>
                </a:lnTo>
                <a:lnTo>
                  <a:pt x="881" y="1076"/>
                </a:lnTo>
                <a:lnTo>
                  <a:pt x="712" y="840"/>
                </a:lnTo>
                <a:lnTo>
                  <a:pt x="845" y="654"/>
                </a:lnTo>
                <a:lnTo>
                  <a:pt x="853" y="667"/>
                </a:lnTo>
                <a:lnTo>
                  <a:pt x="853" y="667"/>
                </a:lnTo>
                <a:lnTo>
                  <a:pt x="904" y="744"/>
                </a:lnTo>
                <a:lnTo>
                  <a:pt x="951" y="814"/>
                </a:lnTo>
                <a:lnTo>
                  <a:pt x="971" y="842"/>
                </a:lnTo>
                <a:lnTo>
                  <a:pt x="989" y="866"/>
                </a:lnTo>
                <a:lnTo>
                  <a:pt x="1002" y="881"/>
                </a:lnTo>
                <a:lnTo>
                  <a:pt x="1006" y="886"/>
                </a:lnTo>
                <a:lnTo>
                  <a:pt x="1010" y="889"/>
                </a:lnTo>
                <a:lnTo>
                  <a:pt x="1010" y="889"/>
                </a:lnTo>
                <a:lnTo>
                  <a:pt x="1012" y="889"/>
                </a:lnTo>
                <a:lnTo>
                  <a:pt x="1023" y="890"/>
                </a:lnTo>
                <a:lnTo>
                  <a:pt x="1044" y="892"/>
                </a:lnTo>
                <a:lnTo>
                  <a:pt x="1078" y="893"/>
                </a:lnTo>
                <a:lnTo>
                  <a:pt x="1078" y="893"/>
                </a:lnTo>
                <a:lnTo>
                  <a:pt x="1152" y="892"/>
                </a:lnTo>
                <a:lnTo>
                  <a:pt x="1217" y="889"/>
                </a:lnTo>
                <a:lnTo>
                  <a:pt x="1217" y="889"/>
                </a:lnTo>
                <a:lnTo>
                  <a:pt x="1219" y="846"/>
                </a:lnTo>
                <a:lnTo>
                  <a:pt x="1223" y="810"/>
                </a:lnTo>
                <a:lnTo>
                  <a:pt x="1225" y="797"/>
                </a:lnTo>
                <a:lnTo>
                  <a:pt x="1227" y="785"/>
                </a:lnTo>
                <a:lnTo>
                  <a:pt x="1231" y="777"/>
                </a:lnTo>
                <a:lnTo>
                  <a:pt x="1233" y="774"/>
                </a:lnTo>
                <a:lnTo>
                  <a:pt x="1243" y="771"/>
                </a:lnTo>
                <a:lnTo>
                  <a:pt x="1243" y="771"/>
                </a:lnTo>
                <a:lnTo>
                  <a:pt x="1246" y="771"/>
                </a:lnTo>
                <a:lnTo>
                  <a:pt x="1252" y="772"/>
                </a:lnTo>
                <a:lnTo>
                  <a:pt x="1267" y="779"/>
                </a:lnTo>
                <a:lnTo>
                  <a:pt x="1288" y="789"/>
                </a:lnTo>
                <a:lnTo>
                  <a:pt x="1311" y="802"/>
                </a:lnTo>
                <a:lnTo>
                  <a:pt x="1367" y="834"/>
                </a:lnTo>
                <a:lnTo>
                  <a:pt x="1427" y="873"/>
                </a:lnTo>
                <a:lnTo>
                  <a:pt x="1486" y="913"/>
                </a:lnTo>
                <a:lnTo>
                  <a:pt x="1513" y="932"/>
                </a:lnTo>
                <a:lnTo>
                  <a:pt x="1537" y="951"/>
                </a:lnTo>
                <a:lnTo>
                  <a:pt x="1557" y="967"/>
                </a:lnTo>
                <a:lnTo>
                  <a:pt x="1572" y="983"/>
                </a:lnTo>
                <a:lnTo>
                  <a:pt x="1578" y="988"/>
                </a:lnTo>
                <a:lnTo>
                  <a:pt x="1582" y="994"/>
                </a:lnTo>
                <a:lnTo>
                  <a:pt x="1585" y="999"/>
                </a:lnTo>
                <a:lnTo>
                  <a:pt x="1585" y="1004"/>
                </a:lnTo>
                <a:lnTo>
                  <a:pt x="1585" y="1004"/>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83" name="Rounded Rectangle 191"/>
          <p:cNvSpPr/>
          <p:nvPr/>
        </p:nvSpPr>
        <p:spPr>
          <a:xfrm>
            <a:off x="1112478" y="4327057"/>
            <a:ext cx="829758"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pPr>
            <a:r>
              <a:rPr lang="ja-JP" altLang="en-US" sz="900" kern="0" dirty="0" smtClean="0">
                <a:solidFill>
                  <a:srgbClr val="676767"/>
                </a:solidFill>
                <a:latin typeface="+mj-lt"/>
              </a:rPr>
              <a:t>本社</a:t>
            </a:r>
            <a:endParaRPr lang="en-US" sz="900" kern="0" dirty="0">
              <a:solidFill>
                <a:srgbClr val="676767"/>
              </a:solidFill>
              <a:latin typeface="+mj-lt"/>
            </a:endParaRPr>
          </a:p>
        </p:txBody>
      </p:sp>
      <p:sp>
        <p:nvSpPr>
          <p:cNvPr id="784" name="Freeform 113"/>
          <p:cNvSpPr>
            <a:spLocks noEditPoints="1"/>
          </p:cNvSpPr>
          <p:nvPr/>
        </p:nvSpPr>
        <p:spPr bwMode="auto">
          <a:xfrm>
            <a:off x="5289025" y="3868420"/>
            <a:ext cx="287340" cy="387661"/>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rgbClr val="585858"/>
          </a:solidFill>
          <a:ln>
            <a:noFill/>
          </a:ln>
          <a:extLst/>
        </p:spPr>
        <p:txBody>
          <a:bodyPr vert="horz" wrap="square" lIns="91436" tIns="45718" rIns="91436" bIns="45718" numCol="1" anchor="t" anchorCtr="0" compatLnSpc="1">
            <a:prstTxWarp prst="textNoShape">
              <a:avLst/>
            </a:prstTxWarp>
          </a:bodyPr>
          <a:lstStyle/>
          <a:p>
            <a:endParaRPr lang="en-US">
              <a:latin typeface="+mj-lt"/>
            </a:endParaRPr>
          </a:p>
        </p:txBody>
      </p:sp>
      <p:grpSp>
        <p:nvGrpSpPr>
          <p:cNvPr id="801" name="Group 784"/>
          <p:cNvGrpSpPr/>
          <p:nvPr/>
        </p:nvGrpSpPr>
        <p:grpSpPr>
          <a:xfrm>
            <a:off x="4695752" y="3731810"/>
            <a:ext cx="469484" cy="807886"/>
            <a:chOff x="3787922" y="3964575"/>
            <a:chExt cx="490943" cy="844812"/>
          </a:xfrm>
        </p:grpSpPr>
        <p:cxnSp>
          <p:nvCxnSpPr>
            <p:cNvPr id="786" name="Straight Connector 785"/>
            <p:cNvCxnSpPr/>
            <p:nvPr/>
          </p:nvCxnSpPr>
          <p:spPr>
            <a:xfrm flipV="1">
              <a:off x="3787922" y="4521633"/>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87" name="Straight Connector 786"/>
            <p:cNvCxnSpPr/>
            <p:nvPr/>
          </p:nvCxnSpPr>
          <p:spPr>
            <a:xfrm>
              <a:off x="4278864" y="3964575"/>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sp>
        <p:nvSpPr>
          <p:cNvPr id="790" name="Rectangle 789"/>
          <p:cNvSpPr/>
          <p:nvPr/>
        </p:nvSpPr>
        <p:spPr>
          <a:xfrm>
            <a:off x="5637089" y="3125017"/>
            <a:ext cx="75488" cy="961876"/>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791" name="Rectangle 790"/>
          <p:cNvSpPr/>
          <p:nvPr/>
        </p:nvSpPr>
        <p:spPr>
          <a:xfrm rot="16200000">
            <a:off x="5616759" y="3994413"/>
            <a:ext cx="73475" cy="1181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792" name="Rounded Rectangle 191"/>
          <p:cNvSpPr/>
          <p:nvPr/>
        </p:nvSpPr>
        <p:spPr>
          <a:xfrm>
            <a:off x="5054965" y="4327057"/>
            <a:ext cx="786948" cy="185499"/>
          </a:xfrm>
          <a:prstGeom prst="rect">
            <a:avLst/>
          </a:prstGeom>
          <a:noFill/>
          <a:ln w="25400" cap="flat" cmpd="sng" algn="ctr">
            <a:noFill/>
            <a:prstDash val="solid"/>
          </a:ln>
          <a:effectLst/>
        </p:spPr>
        <p:txBody>
          <a:bodyPr lIns="0" tIns="34289" rIns="0" bIns="34289" rtlCol="0" anchor="ctr"/>
          <a:lstStyle/>
          <a:p>
            <a:pPr algn="ctr" defTabSz="685288" fontAlgn="auto">
              <a:spcBef>
                <a:spcPts val="0"/>
              </a:spcBef>
              <a:spcAft>
                <a:spcPts val="0"/>
              </a:spcAft>
              <a:defRPr/>
            </a:pPr>
            <a:r>
              <a:rPr lang="en-US" sz="900" kern="0" dirty="0" smtClean="0">
                <a:solidFill>
                  <a:srgbClr val="676767"/>
                </a:solidFill>
                <a:latin typeface="+mj-lt"/>
              </a:rPr>
              <a:t>BYOD</a:t>
            </a:r>
            <a:endParaRPr lang="en-US" sz="900" kern="0" dirty="0">
              <a:solidFill>
                <a:srgbClr val="676767"/>
              </a:solidFill>
              <a:latin typeface="+mj-lt"/>
            </a:endParaRPr>
          </a:p>
        </p:txBody>
      </p:sp>
      <p:grpSp>
        <p:nvGrpSpPr>
          <p:cNvPr id="802" name="Group 792"/>
          <p:cNvGrpSpPr/>
          <p:nvPr/>
        </p:nvGrpSpPr>
        <p:grpSpPr>
          <a:xfrm>
            <a:off x="6523824" y="3018217"/>
            <a:ext cx="840435" cy="847835"/>
            <a:chOff x="8996814" y="3218366"/>
            <a:chExt cx="878848" cy="886587"/>
          </a:xfrm>
        </p:grpSpPr>
        <p:sp>
          <p:nvSpPr>
            <p:cNvPr id="794" name="Rounded Rectangle 191"/>
            <p:cNvSpPr/>
            <p:nvPr/>
          </p:nvSpPr>
          <p:spPr>
            <a:xfrm>
              <a:off x="9185814" y="3960737"/>
              <a:ext cx="689848" cy="144216"/>
            </a:xfrm>
            <a:prstGeom prst="rect">
              <a:avLst/>
            </a:prstGeom>
            <a:noFill/>
            <a:ln w="25400" cap="flat" cmpd="sng" algn="ctr">
              <a:noFill/>
              <a:prstDash val="solid"/>
            </a:ln>
            <a:effectLst/>
          </p:spPr>
          <p:txBody>
            <a:bodyPr rtlCol="0" anchor="ctr"/>
            <a:lstStyle/>
            <a:p>
              <a:pPr algn="ctr" defTabSz="913710">
                <a:defRPr/>
              </a:pPr>
              <a:r>
                <a:rPr lang="en-US" sz="1000" kern="0" dirty="0">
                  <a:solidFill>
                    <a:srgbClr val="676767"/>
                  </a:solidFill>
                  <a:latin typeface="+mj-lt"/>
                </a:rPr>
                <a:t>Admin</a:t>
              </a:r>
            </a:p>
          </p:txBody>
        </p:sp>
        <p:grpSp>
          <p:nvGrpSpPr>
            <p:cNvPr id="803" name="Group 794"/>
            <p:cNvGrpSpPr/>
            <p:nvPr/>
          </p:nvGrpSpPr>
          <p:grpSpPr>
            <a:xfrm>
              <a:off x="8996814" y="3218366"/>
              <a:ext cx="771032" cy="702649"/>
              <a:chOff x="6430918" y="3787229"/>
              <a:chExt cx="771032" cy="702649"/>
            </a:xfrm>
          </p:grpSpPr>
          <p:sp>
            <p:nvSpPr>
              <p:cNvPr id="796" name="Freeform 795"/>
              <p:cNvSpPr/>
              <p:nvPr/>
            </p:nvSpPr>
            <p:spPr>
              <a:xfrm>
                <a:off x="6430918" y="3932956"/>
                <a:ext cx="387297" cy="351293"/>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7" name="Oval 23"/>
              <p:cNvSpPr/>
              <p:nvPr/>
            </p:nvSpPr>
            <p:spPr bwMode="auto">
              <a:xfrm>
                <a:off x="6480253" y="4253309"/>
                <a:ext cx="280781" cy="16708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8" name="Rounded Rectangle 13"/>
              <p:cNvSpPr/>
              <p:nvPr/>
            </p:nvSpPr>
            <p:spPr bwMode="auto">
              <a:xfrm>
                <a:off x="6701329" y="4087371"/>
                <a:ext cx="464423" cy="402507"/>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9" name="Oval 798"/>
              <p:cNvSpPr/>
              <p:nvPr/>
            </p:nvSpPr>
            <p:spPr bwMode="auto">
              <a:xfrm>
                <a:off x="6835328" y="3787229"/>
                <a:ext cx="281935" cy="270741"/>
              </a:xfrm>
              <a:prstGeom prst="ellipse">
                <a:avLst/>
              </a:pr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800" name="Rounded Rectangle 14"/>
              <p:cNvSpPr/>
              <p:nvPr/>
            </p:nvSpPr>
            <p:spPr bwMode="auto">
              <a:xfrm>
                <a:off x="6908223" y="4127518"/>
                <a:ext cx="293727" cy="283609"/>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grpSp>
      </p:grpSp>
      <p:sp>
        <p:nvSpPr>
          <p:cNvPr id="437" name="Rectangle 436"/>
          <p:cNvSpPr/>
          <p:nvPr/>
        </p:nvSpPr>
        <p:spPr>
          <a:xfrm rot="5400000">
            <a:off x="610507" y="3397310"/>
            <a:ext cx="104932" cy="137411"/>
          </a:xfrm>
          <a:prstGeom prst="rect">
            <a:avLst/>
          </a:prstGeom>
          <a:solidFill>
            <a:srgbClr val="EEEEF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433" name="Rectangle 846"/>
          <p:cNvSpPr/>
          <p:nvPr/>
        </p:nvSpPr>
        <p:spPr>
          <a:xfrm>
            <a:off x="7144606" y="1230890"/>
            <a:ext cx="89390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sp>
        <p:nvSpPr>
          <p:cNvPr id="92" name="Oval 91"/>
          <p:cNvSpPr/>
          <p:nvPr/>
        </p:nvSpPr>
        <p:spPr>
          <a:xfrm>
            <a:off x="7012664" y="1600449"/>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3" name="Freeform 92"/>
          <p:cNvSpPr>
            <a:spLocks noEditPoints="1"/>
          </p:cNvSpPr>
          <p:nvPr/>
        </p:nvSpPr>
        <p:spPr bwMode="auto">
          <a:xfrm>
            <a:off x="7048760" y="1642974"/>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1" name="Oval 100"/>
          <p:cNvSpPr/>
          <p:nvPr/>
        </p:nvSpPr>
        <p:spPr>
          <a:xfrm>
            <a:off x="7012664" y="1866213"/>
            <a:ext cx="199447" cy="191528"/>
          </a:xfrm>
          <a:prstGeom prst="ellipse">
            <a:avLst/>
          </a:prstGeom>
          <a:solidFill>
            <a:srgbClr val="C00000"/>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02" name="Rectangle 49"/>
          <p:cNvSpPr>
            <a:spLocks noChangeArrowheads="1"/>
          </p:cNvSpPr>
          <p:nvPr/>
        </p:nvSpPr>
        <p:spPr bwMode="auto">
          <a:xfrm>
            <a:off x="7048949" y="1980746"/>
            <a:ext cx="82259" cy="27375"/>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3" name="Rectangle 50"/>
          <p:cNvSpPr>
            <a:spLocks noChangeArrowheads="1"/>
          </p:cNvSpPr>
          <p:nvPr/>
        </p:nvSpPr>
        <p:spPr bwMode="auto">
          <a:xfrm>
            <a:off x="7090082" y="1950633"/>
            <a:ext cx="82259" cy="27375"/>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4" name="Rectangle 51"/>
          <p:cNvSpPr>
            <a:spLocks noChangeArrowheads="1"/>
          </p:cNvSpPr>
          <p:nvPr/>
        </p:nvSpPr>
        <p:spPr bwMode="auto">
          <a:xfrm>
            <a:off x="7134877" y="1980746"/>
            <a:ext cx="37465" cy="27375"/>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5" name="Rectangle 52"/>
          <p:cNvSpPr>
            <a:spLocks noChangeArrowheads="1"/>
          </p:cNvSpPr>
          <p:nvPr/>
        </p:nvSpPr>
        <p:spPr bwMode="auto">
          <a:xfrm>
            <a:off x="7134877" y="1920914"/>
            <a:ext cx="37465" cy="26983"/>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6" name="Rectangle 53"/>
          <p:cNvSpPr>
            <a:spLocks noChangeArrowheads="1"/>
          </p:cNvSpPr>
          <p:nvPr/>
        </p:nvSpPr>
        <p:spPr bwMode="auto">
          <a:xfrm>
            <a:off x="7048952" y="1950633"/>
            <a:ext cx="37057" cy="27375"/>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7" name="Rectangle 54"/>
          <p:cNvSpPr>
            <a:spLocks noChangeArrowheads="1"/>
          </p:cNvSpPr>
          <p:nvPr/>
        </p:nvSpPr>
        <p:spPr bwMode="auto">
          <a:xfrm>
            <a:off x="7048949" y="1920914"/>
            <a:ext cx="82259" cy="26983"/>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3" name="Oval 112"/>
          <p:cNvSpPr/>
          <p:nvPr/>
        </p:nvSpPr>
        <p:spPr>
          <a:xfrm>
            <a:off x="7012664" y="1334687"/>
            <a:ext cx="199447" cy="191528"/>
          </a:xfrm>
          <a:prstGeom prst="ellipse">
            <a:avLst/>
          </a:prstGeom>
          <a:solidFill>
            <a:schemeClr val="accent4"/>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14" name="Freeform 8"/>
          <p:cNvSpPr>
            <a:spLocks/>
          </p:cNvSpPr>
          <p:nvPr/>
        </p:nvSpPr>
        <p:spPr bwMode="auto">
          <a:xfrm>
            <a:off x="7064525" y="1394143"/>
            <a:ext cx="99219" cy="7375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000000"/>
              </a:solidFill>
              <a:latin typeface="+mj-lt"/>
            </a:endParaRPr>
          </a:p>
        </p:txBody>
      </p:sp>
      <p:sp>
        <p:nvSpPr>
          <p:cNvPr id="535" name="Oval 534"/>
          <p:cNvSpPr/>
          <p:nvPr/>
        </p:nvSpPr>
        <p:spPr>
          <a:xfrm>
            <a:off x="1339893"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3" name="Oval 542"/>
          <p:cNvSpPr/>
          <p:nvPr/>
        </p:nvSpPr>
        <p:spPr>
          <a:xfrm>
            <a:off x="2338286"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5" name="Oval 544"/>
          <p:cNvSpPr/>
          <p:nvPr/>
        </p:nvSpPr>
        <p:spPr>
          <a:xfrm>
            <a:off x="3323221"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7" name="Oval 546"/>
          <p:cNvSpPr/>
          <p:nvPr/>
        </p:nvSpPr>
        <p:spPr>
          <a:xfrm>
            <a:off x="5124147"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9" name="Oval 548"/>
          <p:cNvSpPr/>
          <p:nvPr/>
        </p:nvSpPr>
        <p:spPr>
          <a:xfrm>
            <a:off x="5916689"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33" name="Oval 532"/>
          <p:cNvSpPr/>
          <p:nvPr/>
        </p:nvSpPr>
        <p:spPr>
          <a:xfrm>
            <a:off x="6644966"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434" name="Right Arrow 433"/>
          <p:cNvSpPr/>
          <p:nvPr/>
        </p:nvSpPr>
        <p:spPr>
          <a:xfrm flipH="1">
            <a:off x="5294738" y="3429931"/>
            <a:ext cx="417838" cy="132390"/>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435" name="Right Arrow 434"/>
          <p:cNvSpPr/>
          <p:nvPr/>
        </p:nvSpPr>
        <p:spPr>
          <a:xfrm flipH="1">
            <a:off x="5294738" y="3067366"/>
            <a:ext cx="417838" cy="132390"/>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grpSp>
        <p:nvGrpSpPr>
          <p:cNvPr id="805" name="Group 431"/>
          <p:cNvGrpSpPr/>
          <p:nvPr/>
        </p:nvGrpSpPr>
        <p:grpSpPr>
          <a:xfrm>
            <a:off x="7709858" y="1840828"/>
            <a:ext cx="288218" cy="151566"/>
            <a:chOff x="7234599" y="1342765"/>
            <a:chExt cx="307449" cy="161680"/>
          </a:xfrm>
        </p:grpSpPr>
        <p:sp>
          <p:nvSpPr>
            <p:cNvPr id="436" name="Rectangle 435"/>
            <p:cNvSpPr/>
            <p:nvPr/>
          </p:nvSpPr>
          <p:spPr>
            <a:xfrm>
              <a:off x="7234599" y="1342765"/>
              <a:ext cx="307449" cy="161680"/>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438" name="Freeform 65"/>
            <p:cNvSpPr>
              <a:spLocks noEditPoints="1"/>
            </p:cNvSpPr>
            <p:nvPr/>
          </p:nvSpPr>
          <p:spPr bwMode="auto">
            <a:xfrm>
              <a:off x="7268757" y="1379552"/>
              <a:ext cx="82997" cy="85404"/>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439" name="Freeform 66"/>
            <p:cNvSpPr>
              <a:spLocks/>
            </p:cNvSpPr>
            <p:nvPr/>
          </p:nvSpPr>
          <p:spPr bwMode="auto">
            <a:xfrm>
              <a:off x="7350188" y="1379552"/>
              <a:ext cx="79863" cy="85404"/>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0" name="Freeform 67"/>
            <p:cNvSpPr>
              <a:spLocks noEditPoints="1"/>
            </p:cNvSpPr>
            <p:nvPr/>
          </p:nvSpPr>
          <p:spPr bwMode="auto">
            <a:xfrm>
              <a:off x="7436388" y="1379552"/>
              <a:ext cx="63304" cy="85404"/>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nvGrpSpPr>
          <p:cNvPr id="806" name="Group 10"/>
          <p:cNvGrpSpPr/>
          <p:nvPr/>
        </p:nvGrpSpPr>
        <p:grpSpPr>
          <a:xfrm>
            <a:off x="7012664" y="2113459"/>
            <a:ext cx="199447" cy="191528"/>
            <a:chOff x="7106606" y="2272255"/>
            <a:chExt cx="208563" cy="200282"/>
          </a:xfrm>
        </p:grpSpPr>
        <p:sp>
          <p:nvSpPr>
            <p:cNvPr id="441" name="Oval 440"/>
            <p:cNvSpPr/>
            <p:nvPr/>
          </p:nvSpPr>
          <p:spPr>
            <a:xfrm>
              <a:off x="7106606" y="2272255"/>
              <a:ext cx="208563" cy="200282"/>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rtlCol="0" anchor="ctr"/>
            <a:lstStyle/>
            <a:p>
              <a:pPr algn="ctr" defTabSz="1218539">
                <a:defRPr/>
              </a:pPr>
              <a:endParaRPr lang="en-US" sz="2400" kern="0">
                <a:solidFill>
                  <a:prstClr val="white"/>
                </a:solidFill>
                <a:latin typeface="+mj-lt"/>
              </a:endParaRPr>
            </a:p>
          </p:txBody>
        </p:sp>
        <p:grpSp>
          <p:nvGrpSpPr>
            <p:cNvPr id="807" name="Group 441"/>
            <p:cNvGrpSpPr/>
            <p:nvPr/>
          </p:nvGrpSpPr>
          <p:grpSpPr>
            <a:xfrm>
              <a:off x="7144603" y="2327545"/>
              <a:ext cx="130936" cy="95002"/>
              <a:chOff x="11664752" y="2672824"/>
              <a:chExt cx="166844" cy="126062"/>
            </a:xfrm>
          </p:grpSpPr>
          <p:sp>
            <p:nvSpPr>
              <p:cNvPr id="443"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4"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5"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6"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7"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8"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808" name="Group 448"/>
          <p:cNvGrpSpPr/>
          <p:nvPr/>
        </p:nvGrpSpPr>
        <p:grpSpPr>
          <a:xfrm>
            <a:off x="3777373" y="1973641"/>
            <a:ext cx="199447" cy="191528"/>
            <a:chOff x="7106606" y="2272255"/>
            <a:chExt cx="208563" cy="200282"/>
          </a:xfrm>
        </p:grpSpPr>
        <p:sp>
          <p:nvSpPr>
            <p:cNvPr id="450" name="Oval 449"/>
            <p:cNvSpPr/>
            <p:nvPr/>
          </p:nvSpPr>
          <p:spPr>
            <a:xfrm>
              <a:off x="7106606" y="2272255"/>
              <a:ext cx="208563" cy="200282"/>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rtlCol="0" anchor="ctr"/>
            <a:lstStyle/>
            <a:p>
              <a:pPr algn="ctr" defTabSz="1218539">
                <a:defRPr/>
              </a:pPr>
              <a:endParaRPr lang="en-US" sz="2400" kern="0">
                <a:solidFill>
                  <a:prstClr val="white"/>
                </a:solidFill>
                <a:latin typeface="+mj-lt"/>
              </a:endParaRPr>
            </a:p>
          </p:txBody>
        </p:sp>
        <p:grpSp>
          <p:nvGrpSpPr>
            <p:cNvPr id="809" name="Group 450"/>
            <p:cNvGrpSpPr/>
            <p:nvPr/>
          </p:nvGrpSpPr>
          <p:grpSpPr>
            <a:xfrm>
              <a:off x="7144603" y="2327545"/>
              <a:ext cx="130936" cy="95002"/>
              <a:chOff x="11664752" y="2672824"/>
              <a:chExt cx="166844" cy="126062"/>
            </a:xfrm>
          </p:grpSpPr>
          <p:sp>
            <p:nvSpPr>
              <p:cNvPr id="452"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7"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8"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9"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60"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61"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sp>
        <p:nvSpPr>
          <p:cNvPr id="462" name="Rectangle 846"/>
          <p:cNvSpPr/>
          <p:nvPr/>
        </p:nvSpPr>
        <p:spPr>
          <a:xfrm>
            <a:off x="8065748" y="1228147"/>
            <a:ext cx="67338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sp>
        <p:nvSpPr>
          <p:cNvPr id="159" name="Oval 158"/>
          <p:cNvSpPr/>
          <p:nvPr/>
        </p:nvSpPr>
        <p:spPr>
          <a:xfrm>
            <a:off x="8650373" y="1853244"/>
            <a:ext cx="199447" cy="191528"/>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grpSp>
        <p:nvGrpSpPr>
          <p:cNvPr id="810" name="Group 159"/>
          <p:cNvGrpSpPr/>
          <p:nvPr/>
        </p:nvGrpSpPr>
        <p:grpSpPr>
          <a:xfrm>
            <a:off x="8686709" y="1906116"/>
            <a:ext cx="125213" cy="90850"/>
            <a:chOff x="11664752" y="2672824"/>
            <a:chExt cx="166844" cy="126062"/>
          </a:xfrm>
        </p:grpSpPr>
        <p:sp>
          <p:nvSpPr>
            <p:cNvPr id="161"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2"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3"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4"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5"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6"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169" name="Oval 168"/>
          <p:cNvSpPr/>
          <p:nvPr/>
        </p:nvSpPr>
        <p:spPr>
          <a:xfrm>
            <a:off x="8650373" y="1591034"/>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70" name="Freeform 169"/>
          <p:cNvSpPr>
            <a:spLocks noEditPoints="1"/>
          </p:cNvSpPr>
          <p:nvPr/>
        </p:nvSpPr>
        <p:spPr bwMode="auto">
          <a:xfrm>
            <a:off x="8686469" y="1633560"/>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pic>
        <p:nvPicPr>
          <p:cNvPr id="472" name="Picture 10" descr="C:\Users\ecoffey\AppData\Local\Temp\Rar$DRa0.220\30074_Device_service_module_default_256.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4795" y="3277124"/>
            <a:ext cx="233876" cy="331243"/>
          </a:xfrm>
          <a:prstGeom prst="rect">
            <a:avLst/>
          </a:prstGeom>
          <a:noFill/>
          <a:extLst>
            <a:ext uri="{909E8E84-426E-40dd-AFC4-6F175D3DCCD1}">
              <a14:hiddenFill xmlns:a14="http://schemas.microsoft.com/office/drawing/2010/main">
                <a:solidFill>
                  <a:srgbClr val="FFFFFF"/>
                </a:solidFill>
              </a14:hiddenFill>
            </a:ext>
          </a:extLst>
        </p:spPr>
      </p:pic>
      <p:sp>
        <p:nvSpPr>
          <p:cNvPr id="429" name="Rounded Rectangle 191"/>
          <p:cNvSpPr/>
          <p:nvPr/>
        </p:nvSpPr>
        <p:spPr>
          <a:xfrm>
            <a:off x="4307116" y="2972594"/>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err="1">
                <a:latin typeface="+mj-lt"/>
              </a:rPr>
              <a:t>ISR</a:t>
            </a:r>
            <a:r>
              <a:rPr lang="en-US" sz="600" kern="0" dirty="0">
                <a:latin typeface="+mj-lt"/>
              </a:rPr>
              <a:t> </a:t>
            </a:r>
            <a:r>
              <a:rPr lang="en-US" sz="600" kern="0" dirty="0" smtClean="0">
                <a:latin typeface="+mj-lt"/>
              </a:rPr>
              <a:t>4K</a:t>
            </a:r>
            <a:endParaRPr lang="en-US" sz="600" kern="0" dirty="0">
              <a:latin typeface="+mj-lt"/>
            </a:endParaRPr>
          </a:p>
        </p:txBody>
      </p:sp>
      <p:sp>
        <p:nvSpPr>
          <p:cNvPr id="431" name="Rectangle 846"/>
          <p:cNvSpPr/>
          <p:nvPr/>
        </p:nvSpPr>
        <p:spPr>
          <a:xfrm>
            <a:off x="5656627" y="1232114"/>
            <a:ext cx="67338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grpSp>
        <p:nvGrpSpPr>
          <p:cNvPr id="432" name="Group 431"/>
          <p:cNvGrpSpPr/>
          <p:nvPr/>
        </p:nvGrpSpPr>
        <p:grpSpPr>
          <a:xfrm>
            <a:off x="8380248" y="1221828"/>
            <a:ext cx="409406" cy="230832"/>
            <a:chOff x="9215617" y="1449165"/>
            <a:chExt cx="409406" cy="230832"/>
          </a:xfrm>
        </p:grpSpPr>
        <p:sp>
          <p:nvSpPr>
            <p:cNvPr id="442" name="Rectangle 441"/>
            <p:cNvSpPr/>
            <p:nvPr/>
          </p:nvSpPr>
          <p:spPr>
            <a:xfrm>
              <a:off x="9278797" y="1491408"/>
              <a:ext cx="288218" cy="151566"/>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449" name="TextBox 448"/>
            <p:cNvSpPr txBox="1"/>
            <p:nvPr/>
          </p:nvSpPr>
          <p:spPr>
            <a:xfrm>
              <a:off x="9215617" y="1449165"/>
              <a:ext cx="409406" cy="230832"/>
            </a:xfrm>
            <a:prstGeom prst="rect">
              <a:avLst/>
            </a:prstGeom>
            <a:noFill/>
          </p:spPr>
          <p:txBody>
            <a:bodyPr wrap="square" rtlCol="0">
              <a:spAutoFit/>
            </a:bodyPr>
            <a:lstStyle/>
            <a:p>
              <a:r>
                <a:rPr lang="en-US" sz="900" dirty="0" smtClean="0">
                  <a:solidFill>
                    <a:schemeClr val="bg1"/>
                  </a:solidFill>
                </a:rPr>
                <a:t>CTA</a:t>
              </a:r>
              <a:endParaRPr lang="en-US" sz="900" dirty="0">
                <a:solidFill>
                  <a:schemeClr val="bg1"/>
                </a:solidFill>
              </a:endParaRPr>
            </a:p>
          </p:txBody>
        </p:sp>
      </p:grpSp>
      <p:grpSp>
        <p:nvGrpSpPr>
          <p:cNvPr id="451" name="Group 746"/>
          <p:cNvGrpSpPr/>
          <p:nvPr/>
        </p:nvGrpSpPr>
        <p:grpSpPr>
          <a:xfrm>
            <a:off x="4793779" y="2958146"/>
            <a:ext cx="437216" cy="301701"/>
            <a:chOff x="4913891" y="3155554"/>
            <a:chExt cx="457200" cy="315491"/>
          </a:xfrm>
        </p:grpSpPr>
        <p:grpSp>
          <p:nvGrpSpPr>
            <p:cNvPr id="453" name="Group 747"/>
            <p:cNvGrpSpPr/>
            <p:nvPr/>
          </p:nvGrpSpPr>
          <p:grpSpPr>
            <a:xfrm>
              <a:off x="5020557" y="3263552"/>
              <a:ext cx="243869" cy="207493"/>
              <a:chOff x="4372034" y="3328885"/>
              <a:chExt cx="281541" cy="239546"/>
            </a:xfrm>
          </p:grpSpPr>
          <p:sp>
            <p:nvSpPr>
              <p:cNvPr id="465" name="Freeform 38"/>
              <p:cNvSpPr>
                <a:spLocks/>
              </p:cNvSpPr>
              <p:nvPr/>
            </p:nvSpPr>
            <p:spPr bwMode="auto">
              <a:xfrm>
                <a:off x="4453260" y="3406329"/>
                <a:ext cx="123541" cy="124192"/>
              </a:xfrm>
              <a:custGeom>
                <a:avLst/>
                <a:gdLst>
                  <a:gd name="T0" fmla="*/ 1626 w 1628"/>
                  <a:gd name="T1" fmla="*/ 856 h 1628"/>
                  <a:gd name="T2" fmla="*/ 1612 w 1628"/>
                  <a:gd name="T3" fmla="*/ 978 h 1628"/>
                  <a:gd name="T4" fmla="*/ 1578 w 1628"/>
                  <a:gd name="T5" fmla="*/ 1094 h 1628"/>
                  <a:gd name="T6" fmla="*/ 1530 w 1628"/>
                  <a:gd name="T7" fmla="*/ 1202 h 1628"/>
                  <a:gd name="T8" fmla="*/ 1466 w 1628"/>
                  <a:gd name="T9" fmla="*/ 1302 h 1628"/>
                  <a:gd name="T10" fmla="*/ 1390 w 1628"/>
                  <a:gd name="T11" fmla="*/ 1390 h 1628"/>
                  <a:gd name="T12" fmla="*/ 1302 w 1628"/>
                  <a:gd name="T13" fmla="*/ 1466 h 1628"/>
                  <a:gd name="T14" fmla="*/ 1202 w 1628"/>
                  <a:gd name="T15" fmla="*/ 1530 h 1628"/>
                  <a:gd name="T16" fmla="*/ 1094 w 1628"/>
                  <a:gd name="T17" fmla="*/ 1578 h 1628"/>
                  <a:gd name="T18" fmla="*/ 978 w 1628"/>
                  <a:gd name="T19" fmla="*/ 1612 h 1628"/>
                  <a:gd name="T20" fmla="*/ 856 w 1628"/>
                  <a:gd name="T21" fmla="*/ 1626 h 1628"/>
                  <a:gd name="T22" fmla="*/ 772 w 1628"/>
                  <a:gd name="T23" fmla="*/ 1626 h 1628"/>
                  <a:gd name="T24" fmla="*/ 650 w 1628"/>
                  <a:gd name="T25" fmla="*/ 1612 h 1628"/>
                  <a:gd name="T26" fmla="*/ 534 w 1628"/>
                  <a:gd name="T27" fmla="*/ 1578 h 1628"/>
                  <a:gd name="T28" fmla="*/ 426 w 1628"/>
                  <a:gd name="T29" fmla="*/ 1530 h 1628"/>
                  <a:gd name="T30" fmla="*/ 326 w 1628"/>
                  <a:gd name="T31" fmla="*/ 1466 h 1628"/>
                  <a:gd name="T32" fmla="*/ 238 w 1628"/>
                  <a:gd name="T33" fmla="*/ 1390 h 1628"/>
                  <a:gd name="T34" fmla="*/ 162 w 1628"/>
                  <a:gd name="T35" fmla="*/ 1302 h 1628"/>
                  <a:gd name="T36" fmla="*/ 98 w 1628"/>
                  <a:gd name="T37" fmla="*/ 1202 h 1628"/>
                  <a:gd name="T38" fmla="*/ 50 w 1628"/>
                  <a:gd name="T39" fmla="*/ 1094 h 1628"/>
                  <a:gd name="T40" fmla="*/ 16 w 1628"/>
                  <a:gd name="T41" fmla="*/ 978 h 1628"/>
                  <a:gd name="T42" fmla="*/ 2 w 1628"/>
                  <a:gd name="T43" fmla="*/ 856 h 1628"/>
                  <a:gd name="T44" fmla="*/ 2 w 1628"/>
                  <a:gd name="T45" fmla="*/ 772 h 1628"/>
                  <a:gd name="T46" fmla="*/ 16 w 1628"/>
                  <a:gd name="T47" fmla="*/ 650 h 1628"/>
                  <a:gd name="T48" fmla="*/ 50 w 1628"/>
                  <a:gd name="T49" fmla="*/ 534 h 1628"/>
                  <a:gd name="T50" fmla="*/ 98 w 1628"/>
                  <a:gd name="T51" fmla="*/ 426 h 1628"/>
                  <a:gd name="T52" fmla="*/ 162 w 1628"/>
                  <a:gd name="T53" fmla="*/ 326 h 1628"/>
                  <a:gd name="T54" fmla="*/ 238 w 1628"/>
                  <a:gd name="T55" fmla="*/ 238 h 1628"/>
                  <a:gd name="T56" fmla="*/ 326 w 1628"/>
                  <a:gd name="T57" fmla="*/ 162 h 1628"/>
                  <a:gd name="T58" fmla="*/ 426 w 1628"/>
                  <a:gd name="T59" fmla="*/ 98 h 1628"/>
                  <a:gd name="T60" fmla="*/ 534 w 1628"/>
                  <a:gd name="T61" fmla="*/ 50 h 1628"/>
                  <a:gd name="T62" fmla="*/ 650 w 1628"/>
                  <a:gd name="T63" fmla="*/ 16 h 1628"/>
                  <a:gd name="T64" fmla="*/ 772 w 1628"/>
                  <a:gd name="T65" fmla="*/ 2 h 1628"/>
                  <a:gd name="T66" fmla="*/ 856 w 1628"/>
                  <a:gd name="T67" fmla="*/ 2 h 1628"/>
                  <a:gd name="T68" fmla="*/ 978 w 1628"/>
                  <a:gd name="T69" fmla="*/ 16 h 1628"/>
                  <a:gd name="T70" fmla="*/ 1094 w 1628"/>
                  <a:gd name="T71" fmla="*/ 50 h 1628"/>
                  <a:gd name="T72" fmla="*/ 1202 w 1628"/>
                  <a:gd name="T73" fmla="*/ 98 h 1628"/>
                  <a:gd name="T74" fmla="*/ 1302 w 1628"/>
                  <a:gd name="T75" fmla="*/ 162 h 1628"/>
                  <a:gd name="T76" fmla="*/ 1390 w 1628"/>
                  <a:gd name="T77" fmla="*/ 238 h 1628"/>
                  <a:gd name="T78" fmla="*/ 1466 w 1628"/>
                  <a:gd name="T79" fmla="*/ 326 h 1628"/>
                  <a:gd name="T80" fmla="*/ 1530 w 1628"/>
                  <a:gd name="T81" fmla="*/ 426 h 1628"/>
                  <a:gd name="T82" fmla="*/ 1578 w 1628"/>
                  <a:gd name="T83" fmla="*/ 534 h 1628"/>
                  <a:gd name="T84" fmla="*/ 1612 w 1628"/>
                  <a:gd name="T85" fmla="*/ 650 h 1628"/>
                  <a:gd name="T86" fmla="*/ 1626 w 1628"/>
                  <a:gd name="T87" fmla="*/ 772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28" h="1628">
                    <a:moveTo>
                      <a:pt x="1628" y="814"/>
                    </a:moveTo>
                    <a:lnTo>
                      <a:pt x="1628" y="814"/>
                    </a:lnTo>
                    <a:lnTo>
                      <a:pt x="1626" y="856"/>
                    </a:lnTo>
                    <a:lnTo>
                      <a:pt x="1624" y="898"/>
                    </a:lnTo>
                    <a:lnTo>
                      <a:pt x="1618" y="938"/>
                    </a:lnTo>
                    <a:lnTo>
                      <a:pt x="1612" y="978"/>
                    </a:lnTo>
                    <a:lnTo>
                      <a:pt x="1602" y="1018"/>
                    </a:lnTo>
                    <a:lnTo>
                      <a:pt x="1592" y="1056"/>
                    </a:lnTo>
                    <a:lnTo>
                      <a:pt x="1578" y="1094"/>
                    </a:lnTo>
                    <a:lnTo>
                      <a:pt x="1564" y="1130"/>
                    </a:lnTo>
                    <a:lnTo>
                      <a:pt x="1548" y="1166"/>
                    </a:lnTo>
                    <a:lnTo>
                      <a:pt x="1530" y="1202"/>
                    </a:lnTo>
                    <a:lnTo>
                      <a:pt x="1510" y="1236"/>
                    </a:lnTo>
                    <a:lnTo>
                      <a:pt x="1488" y="1270"/>
                    </a:lnTo>
                    <a:lnTo>
                      <a:pt x="1466" y="1302"/>
                    </a:lnTo>
                    <a:lnTo>
                      <a:pt x="1442" y="1332"/>
                    </a:lnTo>
                    <a:lnTo>
                      <a:pt x="1416" y="1362"/>
                    </a:lnTo>
                    <a:lnTo>
                      <a:pt x="1390" y="1390"/>
                    </a:lnTo>
                    <a:lnTo>
                      <a:pt x="1362" y="1416"/>
                    </a:lnTo>
                    <a:lnTo>
                      <a:pt x="1332" y="1442"/>
                    </a:lnTo>
                    <a:lnTo>
                      <a:pt x="1302" y="1466"/>
                    </a:lnTo>
                    <a:lnTo>
                      <a:pt x="1270" y="1488"/>
                    </a:lnTo>
                    <a:lnTo>
                      <a:pt x="1236" y="1510"/>
                    </a:lnTo>
                    <a:lnTo>
                      <a:pt x="1202" y="1530"/>
                    </a:lnTo>
                    <a:lnTo>
                      <a:pt x="1166" y="1548"/>
                    </a:lnTo>
                    <a:lnTo>
                      <a:pt x="1130" y="1564"/>
                    </a:lnTo>
                    <a:lnTo>
                      <a:pt x="1094" y="1578"/>
                    </a:lnTo>
                    <a:lnTo>
                      <a:pt x="1056" y="1592"/>
                    </a:lnTo>
                    <a:lnTo>
                      <a:pt x="1018" y="1602"/>
                    </a:lnTo>
                    <a:lnTo>
                      <a:pt x="978" y="1612"/>
                    </a:lnTo>
                    <a:lnTo>
                      <a:pt x="938" y="1618"/>
                    </a:lnTo>
                    <a:lnTo>
                      <a:pt x="898" y="1624"/>
                    </a:lnTo>
                    <a:lnTo>
                      <a:pt x="856" y="1626"/>
                    </a:lnTo>
                    <a:lnTo>
                      <a:pt x="814" y="1628"/>
                    </a:lnTo>
                    <a:lnTo>
                      <a:pt x="814" y="1628"/>
                    </a:lnTo>
                    <a:lnTo>
                      <a:pt x="772" y="1626"/>
                    </a:lnTo>
                    <a:lnTo>
                      <a:pt x="730" y="1624"/>
                    </a:lnTo>
                    <a:lnTo>
                      <a:pt x="690" y="1618"/>
                    </a:lnTo>
                    <a:lnTo>
                      <a:pt x="650" y="1612"/>
                    </a:lnTo>
                    <a:lnTo>
                      <a:pt x="610" y="1602"/>
                    </a:lnTo>
                    <a:lnTo>
                      <a:pt x="572" y="1592"/>
                    </a:lnTo>
                    <a:lnTo>
                      <a:pt x="534" y="1578"/>
                    </a:lnTo>
                    <a:lnTo>
                      <a:pt x="498" y="1564"/>
                    </a:lnTo>
                    <a:lnTo>
                      <a:pt x="462" y="1548"/>
                    </a:lnTo>
                    <a:lnTo>
                      <a:pt x="426" y="1530"/>
                    </a:lnTo>
                    <a:lnTo>
                      <a:pt x="392" y="1510"/>
                    </a:lnTo>
                    <a:lnTo>
                      <a:pt x="358" y="1488"/>
                    </a:lnTo>
                    <a:lnTo>
                      <a:pt x="326" y="1466"/>
                    </a:lnTo>
                    <a:lnTo>
                      <a:pt x="296" y="1442"/>
                    </a:lnTo>
                    <a:lnTo>
                      <a:pt x="266" y="1416"/>
                    </a:lnTo>
                    <a:lnTo>
                      <a:pt x="238" y="1390"/>
                    </a:lnTo>
                    <a:lnTo>
                      <a:pt x="212" y="1362"/>
                    </a:lnTo>
                    <a:lnTo>
                      <a:pt x="186" y="1332"/>
                    </a:lnTo>
                    <a:lnTo>
                      <a:pt x="162" y="1302"/>
                    </a:lnTo>
                    <a:lnTo>
                      <a:pt x="140" y="1270"/>
                    </a:lnTo>
                    <a:lnTo>
                      <a:pt x="118" y="1236"/>
                    </a:lnTo>
                    <a:lnTo>
                      <a:pt x="98" y="1202"/>
                    </a:lnTo>
                    <a:lnTo>
                      <a:pt x="80" y="1166"/>
                    </a:lnTo>
                    <a:lnTo>
                      <a:pt x="64" y="1130"/>
                    </a:lnTo>
                    <a:lnTo>
                      <a:pt x="50" y="1094"/>
                    </a:lnTo>
                    <a:lnTo>
                      <a:pt x="36" y="1056"/>
                    </a:lnTo>
                    <a:lnTo>
                      <a:pt x="26" y="1018"/>
                    </a:lnTo>
                    <a:lnTo>
                      <a:pt x="16" y="978"/>
                    </a:lnTo>
                    <a:lnTo>
                      <a:pt x="10" y="938"/>
                    </a:lnTo>
                    <a:lnTo>
                      <a:pt x="4" y="898"/>
                    </a:lnTo>
                    <a:lnTo>
                      <a:pt x="2" y="856"/>
                    </a:lnTo>
                    <a:lnTo>
                      <a:pt x="0" y="814"/>
                    </a:lnTo>
                    <a:lnTo>
                      <a:pt x="0" y="814"/>
                    </a:lnTo>
                    <a:lnTo>
                      <a:pt x="2" y="772"/>
                    </a:lnTo>
                    <a:lnTo>
                      <a:pt x="4" y="730"/>
                    </a:lnTo>
                    <a:lnTo>
                      <a:pt x="10" y="690"/>
                    </a:lnTo>
                    <a:lnTo>
                      <a:pt x="16" y="650"/>
                    </a:lnTo>
                    <a:lnTo>
                      <a:pt x="26" y="610"/>
                    </a:lnTo>
                    <a:lnTo>
                      <a:pt x="36" y="572"/>
                    </a:lnTo>
                    <a:lnTo>
                      <a:pt x="50" y="534"/>
                    </a:lnTo>
                    <a:lnTo>
                      <a:pt x="64" y="498"/>
                    </a:lnTo>
                    <a:lnTo>
                      <a:pt x="80" y="462"/>
                    </a:lnTo>
                    <a:lnTo>
                      <a:pt x="98" y="426"/>
                    </a:lnTo>
                    <a:lnTo>
                      <a:pt x="118" y="392"/>
                    </a:lnTo>
                    <a:lnTo>
                      <a:pt x="140" y="358"/>
                    </a:lnTo>
                    <a:lnTo>
                      <a:pt x="162" y="326"/>
                    </a:lnTo>
                    <a:lnTo>
                      <a:pt x="186" y="296"/>
                    </a:lnTo>
                    <a:lnTo>
                      <a:pt x="212" y="266"/>
                    </a:lnTo>
                    <a:lnTo>
                      <a:pt x="238" y="238"/>
                    </a:lnTo>
                    <a:lnTo>
                      <a:pt x="266" y="212"/>
                    </a:lnTo>
                    <a:lnTo>
                      <a:pt x="296" y="186"/>
                    </a:lnTo>
                    <a:lnTo>
                      <a:pt x="326" y="162"/>
                    </a:lnTo>
                    <a:lnTo>
                      <a:pt x="358" y="140"/>
                    </a:lnTo>
                    <a:lnTo>
                      <a:pt x="392" y="118"/>
                    </a:lnTo>
                    <a:lnTo>
                      <a:pt x="426" y="98"/>
                    </a:lnTo>
                    <a:lnTo>
                      <a:pt x="462" y="80"/>
                    </a:lnTo>
                    <a:lnTo>
                      <a:pt x="498" y="64"/>
                    </a:lnTo>
                    <a:lnTo>
                      <a:pt x="534" y="50"/>
                    </a:lnTo>
                    <a:lnTo>
                      <a:pt x="572" y="36"/>
                    </a:lnTo>
                    <a:lnTo>
                      <a:pt x="610" y="26"/>
                    </a:lnTo>
                    <a:lnTo>
                      <a:pt x="650" y="16"/>
                    </a:lnTo>
                    <a:lnTo>
                      <a:pt x="690" y="10"/>
                    </a:lnTo>
                    <a:lnTo>
                      <a:pt x="730" y="4"/>
                    </a:lnTo>
                    <a:lnTo>
                      <a:pt x="772" y="2"/>
                    </a:lnTo>
                    <a:lnTo>
                      <a:pt x="814" y="0"/>
                    </a:lnTo>
                    <a:lnTo>
                      <a:pt x="814" y="0"/>
                    </a:lnTo>
                    <a:lnTo>
                      <a:pt x="856" y="2"/>
                    </a:lnTo>
                    <a:lnTo>
                      <a:pt x="898" y="4"/>
                    </a:lnTo>
                    <a:lnTo>
                      <a:pt x="938" y="10"/>
                    </a:lnTo>
                    <a:lnTo>
                      <a:pt x="978" y="16"/>
                    </a:lnTo>
                    <a:lnTo>
                      <a:pt x="1018" y="26"/>
                    </a:lnTo>
                    <a:lnTo>
                      <a:pt x="1056" y="36"/>
                    </a:lnTo>
                    <a:lnTo>
                      <a:pt x="1094" y="50"/>
                    </a:lnTo>
                    <a:lnTo>
                      <a:pt x="1130" y="64"/>
                    </a:lnTo>
                    <a:lnTo>
                      <a:pt x="1166" y="80"/>
                    </a:lnTo>
                    <a:lnTo>
                      <a:pt x="1202" y="98"/>
                    </a:lnTo>
                    <a:lnTo>
                      <a:pt x="1236" y="118"/>
                    </a:lnTo>
                    <a:lnTo>
                      <a:pt x="1270" y="140"/>
                    </a:lnTo>
                    <a:lnTo>
                      <a:pt x="1302" y="162"/>
                    </a:lnTo>
                    <a:lnTo>
                      <a:pt x="1332" y="186"/>
                    </a:lnTo>
                    <a:lnTo>
                      <a:pt x="1362" y="212"/>
                    </a:lnTo>
                    <a:lnTo>
                      <a:pt x="1390" y="238"/>
                    </a:lnTo>
                    <a:lnTo>
                      <a:pt x="1416" y="266"/>
                    </a:lnTo>
                    <a:lnTo>
                      <a:pt x="1442" y="296"/>
                    </a:lnTo>
                    <a:lnTo>
                      <a:pt x="1466" y="326"/>
                    </a:lnTo>
                    <a:lnTo>
                      <a:pt x="1488" y="358"/>
                    </a:lnTo>
                    <a:lnTo>
                      <a:pt x="1510" y="392"/>
                    </a:lnTo>
                    <a:lnTo>
                      <a:pt x="1530" y="426"/>
                    </a:lnTo>
                    <a:lnTo>
                      <a:pt x="1548" y="462"/>
                    </a:lnTo>
                    <a:lnTo>
                      <a:pt x="1564" y="498"/>
                    </a:lnTo>
                    <a:lnTo>
                      <a:pt x="1578" y="534"/>
                    </a:lnTo>
                    <a:lnTo>
                      <a:pt x="1592" y="572"/>
                    </a:lnTo>
                    <a:lnTo>
                      <a:pt x="1602" y="610"/>
                    </a:lnTo>
                    <a:lnTo>
                      <a:pt x="1612" y="650"/>
                    </a:lnTo>
                    <a:lnTo>
                      <a:pt x="1618" y="690"/>
                    </a:lnTo>
                    <a:lnTo>
                      <a:pt x="1624" y="730"/>
                    </a:lnTo>
                    <a:lnTo>
                      <a:pt x="1626" y="772"/>
                    </a:lnTo>
                    <a:lnTo>
                      <a:pt x="1628" y="814"/>
                    </a:lnTo>
                    <a:lnTo>
                      <a:pt x="1628" y="814"/>
                    </a:lnTo>
                    <a:close/>
                  </a:path>
                </a:pathLst>
              </a:custGeom>
              <a:solidFill>
                <a:srgbClr val="FFFFFF"/>
              </a:solidFill>
              <a:ln w="12700">
                <a:noFill/>
                <a:prstDash val="solid"/>
                <a:round/>
                <a:headEnd/>
                <a:tailEnd/>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466" name="Freeform 36"/>
              <p:cNvSpPr>
                <a:spLocks/>
              </p:cNvSpPr>
              <p:nvPr/>
            </p:nvSpPr>
            <p:spPr bwMode="auto">
              <a:xfrm>
                <a:off x="4454777" y="3429824"/>
                <a:ext cx="103659" cy="98408"/>
              </a:xfrm>
              <a:custGeom>
                <a:avLst/>
                <a:gdLst>
                  <a:gd name="T0" fmla="*/ 64 w 1366"/>
                  <a:gd name="T1" fmla="*/ 248 h 1290"/>
                  <a:gd name="T2" fmla="*/ 200 w 1366"/>
                  <a:gd name="T3" fmla="*/ 154 h 1290"/>
                  <a:gd name="T4" fmla="*/ 338 w 1366"/>
                  <a:gd name="T5" fmla="*/ 82 h 1290"/>
                  <a:gd name="T6" fmla="*/ 462 w 1366"/>
                  <a:gd name="T7" fmla="*/ 36 h 1290"/>
                  <a:gd name="T8" fmla="*/ 598 w 1366"/>
                  <a:gd name="T9" fmla="*/ 6 h 1290"/>
                  <a:gd name="T10" fmla="*/ 744 w 1366"/>
                  <a:gd name="T11" fmla="*/ 2 h 1290"/>
                  <a:gd name="T12" fmla="*/ 894 w 1366"/>
                  <a:gd name="T13" fmla="*/ 32 h 1290"/>
                  <a:gd name="T14" fmla="*/ 1020 w 1366"/>
                  <a:gd name="T15" fmla="*/ 88 h 1290"/>
                  <a:gd name="T16" fmla="*/ 1096 w 1366"/>
                  <a:gd name="T17" fmla="*/ 136 h 1290"/>
                  <a:gd name="T18" fmla="*/ 1172 w 1366"/>
                  <a:gd name="T19" fmla="*/ 198 h 1290"/>
                  <a:gd name="T20" fmla="*/ 1210 w 1366"/>
                  <a:gd name="T21" fmla="*/ 238 h 1290"/>
                  <a:gd name="T22" fmla="*/ 1264 w 1366"/>
                  <a:gd name="T23" fmla="*/ 320 h 1290"/>
                  <a:gd name="T24" fmla="*/ 1328 w 1366"/>
                  <a:gd name="T25" fmla="*/ 466 h 1290"/>
                  <a:gd name="T26" fmla="*/ 1352 w 1366"/>
                  <a:gd name="T27" fmla="*/ 564 h 1290"/>
                  <a:gd name="T28" fmla="*/ 1364 w 1366"/>
                  <a:gd name="T29" fmla="*/ 674 h 1290"/>
                  <a:gd name="T30" fmla="*/ 1362 w 1366"/>
                  <a:gd name="T31" fmla="*/ 798 h 1290"/>
                  <a:gd name="T32" fmla="*/ 1340 w 1366"/>
                  <a:gd name="T33" fmla="*/ 936 h 1290"/>
                  <a:gd name="T34" fmla="*/ 1294 w 1366"/>
                  <a:gd name="T35" fmla="*/ 1084 h 1290"/>
                  <a:gd name="T36" fmla="*/ 1248 w 1366"/>
                  <a:gd name="T37" fmla="*/ 1158 h 1290"/>
                  <a:gd name="T38" fmla="*/ 1152 w 1366"/>
                  <a:gd name="T39" fmla="*/ 1218 h 1290"/>
                  <a:gd name="T40" fmla="*/ 1066 w 1366"/>
                  <a:gd name="T41" fmla="*/ 1256 h 1290"/>
                  <a:gd name="T42" fmla="*/ 960 w 1366"/>
                  <a:gd name="T43" fmla="*/ 1284 h 1290"/>
                  <a:gd name="T44" fmla="*/ 938 w 1366"/>
                  <a:gd name="T45" fmla="*/ 1264 h 1290"/>
                  <a:gd name="T46" fmla="*/ 1008 w 1366"/>
                  <a:gd name="T47" fmla="*/ 1146 h 1290"/>
                  <a:gd name="T48" fmla="*/ 1076 w 1366"/>
                  <a:gd name="T49" fmla="*/ 992 h 1290"/>
                  <a:gd name="T50" fmla="*/ 1108 w 1366"/>
                  <a:gd name="T51" fmla="*/ 884 h 1290"/>
                  <a:gd name="T52" fmla="*/ 1128 w 1366"/>
                  <a:gd name="T53" fmla="*/ 770 h 1290"/>
                  <a:gd name="T54" fmla="*/ 1128 w 1366"/>
                  <a:gd name="T55" fmla="*/ 654 h 1290"/>
                  <a:gd name="T56" fmla="*/ 1102 w 1366"/>
                  <a:gd name="T57" fmla="*/ 538 h 1290"/>
                  <a:gd name="T58" fmla="*/ 1046 w 1366"/>
                  <a:gd name="T59" fmla="*/ 428 h 1290"/>
                  <a:gd name="T60" fmla="*/ 988 w 1366"/>
                  <a:gd name="T61" fmla="*/ 358 h 1290"/>
                  <a:gd name="T62" fmla="*/ 916 w 1366"/>
                  <a:gd name="T63" fmla="*/ 302 h 1290"/>
                  <a:gd name="T64" fmla="*/ 830 w 1366"/>
                  <a:gd name="T65" fmla="*/ 262 h 1290"/>
                  <a:gd name="T66" fmla="*/ 746 w 1366"/>
                  <a:gd name="T67" fmla="*/ 240 h 1290"/>
                  <a:gd name="T68" fmla="*/ 646 w 1366"/>
                  <a:gd name="T69" fmla="*/ 236 h 1290"/>
                  <a:gd name="T70" fmla="*/ 532 w 1366"/>
                  <a:gd name="T71" fmla="*/ 256 h 1290"/>
                  <a:gd name="T72" fmla="*/ 406 w 1366"/>
                  <a:gd name="T73" fmla="*/ 310 h 1290"/>
                  <a:gd name="T74" fmla="*/ 266 w 1366"/>
                  <a:gd name="T75" fmla="*/ 404 h 1290"/>
                  <a:gd name="T76" fmla="*/ 118 w 1366"/>
                  <a:gd name="T77" fmla="*/ 546 h 1290"/>
                  <a:gd name="T78" fmla="*/ 12 w 1366"/>
                  <a:gd name="T79" fmla="*/ 672 h 1290"/>
                  <a:gd name="T80" fmla="*/ 0 w 1366"/>
                  <a:gd name="T81" fmla="*/ 520 h 1290"/>
                  <a:gd name="T82" fmla="*/ 6 w 1366"/>
                  <a:gd name="T83" fmla="*/ 390 h 1290"/>
                  <a:gd name="T84" fmla="*/ 26 w 1366"/>
                  <a:gd name="T85" fmla="*/ 298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6" h="1290">
                    <a:moveTo>
                      <a:pt x="36" y="272"/>
                    </a:moveTo>
                    <a:lnTo>
                      <a:pt x="36" y="272"/>
                    </a:lnTo>
                    <a:lnTo>
                      <a:pt x="64" y="248"/>
                    </a:lnTo>
                    <a:lnTo>
                      <a:pt x="98" y="222"/>
                    </a:lnTo>
                    <a:lnTo>
                      <a:pt x="144" y="190"/>
                    </a:lnTo>
                    <a:lnTo>
                      <a:pt x="200" y="154"/>
                    </a:lnTo>
                    <a:lnTo>
                      <a:pt x="264" y="118"/>
                    </a:lnTo>
                    <a:lnTo>
                      <a:pt x="300" y="100"/>
                    </a:lnTo>
                    <a:lnTo>
                      <a:pt x="338" y="82"/>
                    </a:lnTo>
                    <a:lnTo>
                      <a:pt x="378" y="66"/>
                    </a:lnTo>
                    <a:lnTo>
                      <a:pt x="420" y="50"/>
                    </a:lnTo>
                    <a:lnTo>
                      <a:pt x="462" y="36"/>
                    </a:lnTo>
                    <a:lnTo>
                      <a:pt x="506" y="24"/>
                    </a:lnTo>
                    <a:lnTo>
                      <a:pt x="552" y="14"/>
                    </a:lnTo>
                    <a:lnTo>
                      <a:pt x="598" y="6"/>
                    </a:lnTo>
                    <a:lnTo>
                      <a:pt x="646" y="2"/>
                    </a:lnTo>
                    <a:lnTo>
                      <a:pt x="694" y="0"/>
                    </a:lnTo>
                    <a:lnTo>
                      <a:pt x="744" y="2"/>
                    </a:lnTo>
                    <a:lnTo>
                      <a:pt x="794" y="8"/>
                    </a:lnTo>
                    <a:lnTo>
                      <a:pt x="844" y="18"/>
                    </a:lnTo>
                    <a:lnTo>
                      <a:pt x="894" y="32"/>
                    </a:lnTo>
                    <a:lnTo>
                      <a:pt x="944" y="50"/>
                    </a:lnTo>
                    <a:lnTo>
                      <a:pt x="996" y="74"/>
                    </a:lnTo>
                    <a:lnTo>
                      <a:pt x="1020" y="88"/>
                    </a:lnTo>
                    <a:lnTo>
                      <a:pt x="1046" y="102"/>
                    </a:lnTo>
                    <a:lnTo>
                      <a:pt x="1072" y="118"/>
                    </a:lnTo>
                    <a:lnTo>
                      <a:pt x="1096" y="136"/>
                    </a:lnTo>
                    <a:lnTo>
                      <a:pt x="1122" y="156"/>
                    </a:lnTo>
                    <a:lnTo>
                      <a:pt x="1146" y="176"/>
                    </a:lnTo>
                    <a:lnTo>
                      <a:pt x="1172" y="198"/>
                    </a:lnTo>
                    <a:lnTo>
                      <a:pt x="1196" y="222"/>
                    </a:lnTo>
                    <a:lnTo>
                      <a:pt x="1196" y="222"/>
                    </a:lnTo>
                    <a:lnTo>
                      <a:pt x="1210" y="238"/>
                    </a:lnTo>
                    <a:lnTo>
                      <a:pt x="1224" y="258"/>
                    </a:lnTo>
                    <a:lnTo>
                      <a:pt x="1242" y="286"/>
                    </a:lnTo>
                    <a:lnTo>
                      <a:pt x="1264" y="320"/>
                    </a:lnTo>
                    <a:lnTo>
                      <a:pt x="1286" y="362"/>
                    </a:lnTo>
                    <a:lnTo>
                      <a:pt x="1308" y="412"/>
                    </a:lnTo>
                    <a:lnTo>
                      <a:pt x="1328" y="466"/>
                    </a:lnTo>
                    <a:lnTo>
                      <a:pt x="1336" y="498"/>
                    </a:lnTo>
                    <a:lnTo>
                      <a:pt x="1344" y="530"/>
                    </a:lnTo>
                    <a:lnTo>
                      <a:pt x="1352" y="564"/>
                    </a:lnTo>
                    <a:lnTo>
                      <a:pt x="1356" y="598"/>
                    </a:lnTo>
                    <a:lnTo>
                      <a:pt x="1362" y="636"/>
                    </a:lnTo>
                    <a:lnTo>
                      <a:pt x="1364" y="674"/>
                    </a:lnTo>
                    <a:lnTo>
                      <a:pt x="1366" y="714"/>
                    </a:lnTo>
                    <a:lnTo>
                      <a:pt x="1364" y="754"/>
                    </a:lnTo>
                    <a:lnTo>
                      <a:pt x="1362" y="798"/>
                    </a:lnTo>
                    <a:lnTo>
                      <a:pt x="1358" y="842"/>
                    </a:lnTo>
                    <a:lnTo>
                      <a:pt x="1350" y="888"/>
                    </a:lnTo>
                    <a:lnTo>
                      <a:pt x="1340" y="936"/>
                    </a:lnTo>
                    <a:lnTo>
                      <a:pt x="1328" y="984"/>
                    </a:lnTo>
                    <a:lnTo>
                      <a:pt x="1312" y="1034"/>
                    </a:lnTo>
                    <a:lnTo>
                      <a:pt x="1294" y="1084"/>
                    </a:lnTo>
                    <a:lnTo>
                      <a:pt x="1272" y="1138"/>
                    </a:lnTo>
                    <a:lnTo>
                      <a:pt x="1272" y="1138"/>
                    </a:lnTo>
                    <a:lnTo>
                      <a:pt x="1248" y="1158"/>
                    </a:lnTo>
                    <a:lnTo>
                      <a:pt x="1218" y="1178"/>
                    </a:lnTo>
                    <a:lnTo>
                      <a:pt x="1178" y="1204"/>
                    </a:lnTo>
                    <a:lnTo>
                      <a:pt x="1152" y="1218"/>
                    </a:lnTo>
                    <a:lnTo>
                      <a:pt x="1126" y="1230"/>
                    </a:lnTo>
                    <a:lnTo>
                      <a:pt x="1098" y="1244"/>
                    </a:lnTo>
                    <a:lnTo>
                      <a:pt x="1066" y="1256"/>
                    </a:lnTo>
                    <a:lnTo>
                      <a:pt x="1032" y="1266"/>
                    </a:lnTo>
                    <a:lnTo>
                      <a:pt x="998" y="1276"/>
                    </a:lnTo>
                    <a:lnTo>
                      <a:pt x="960" y="1284"/>
                    </a:lnTo>
                    <a:lnTo>
                      <a:pt x="920" y="1290"/>
                    </a:lnTo>
                    <a:lnTo>
                      <a:pt x="920" y="1290"/>
                    </a:lnTo>
                    <a:lnTo>
                      <a:pt x="938" y="1264"/>
                    </a:lnTo>
                    <a:lnTo>
                      <a:pt x="956" y="1234"/>
                    </a:lnTo>
                    <a:lnTo>
                      <a:pt x="980" y="1194"/>
                    </a:lnTo>
                    <a:lnTo>
                      <a:pt x="1008" y="1146"/>
                    </a:lnTo>
                    <a:lnTo>
                      <a:pt x="1036" y="1090"/>
                    </a:lnTo>
                    <a:lnTo>
                      <a:pt x="1062" y="1026"/>
                    </a:lnTo>
                    <a:lnTo>
                      <a:pt x="1076" y="992"/>
                    </a:lnTo>
                    <a:lnTo>
                      <a:pt x="1088" y="958"/>
                    </a:lnTo>
                    <a:lnTo>
                      <a:pt x="1098" y="922"/>
                    </a:lnTo>
                    <a:lnTo>
                      <a:pt x="1108" y="884"/>
                    </a:lnTo>
                    <a:lnTo>
                      <a:pt x="1116" y="848"/>
                    </a:lnTo>
                    <a:lnTo>
                      <a:pt x="1122" y="810"/>
                    </a:lnTo>
                    <a:lnTo>
                      <a:pt x="1128" y="770"/>
                    </a:lnTo>
                    <a:lnTo>
                      <a:pt x="1130" y="732"/>
                    </a:lnTo>
                    <a:lnTo>
                      <a:pt x="1130" y="692"/>
                    </a:lnTo>
                    <a:lnTo>
                      <a:pt x="1128" y="654"/>
                    </a:lnTo>
                    <a:lnTo>
                      <a:pt x="1122" y="614"/>
                    </a:lnTo>
                    <a:lnTo>
                      <a:pt x="1114" y="576"/>
                    </a:lnTo>
                    <a:lnTo>
                      <a:pt x="1102" y="538"/>
                    </a:lnTo>
                    <a:lnTo>
                      <a:pt x="1088" y="500"/>
                    </a:lnTo>
                    <a:lnTo>
                      <a:pt x="1068" y="464"/>
                    </a:lnTo>
                    <a:lnTo>
                      <a:pt x="1046" y="428"/>
                    </a:lnTo>
                    <a:lnTo>
                      <a:pt x="1020" y="392"/>
                    </a:lnTo>
                    <a:lnTo>
                      <a:pt x="988" y="358"/>
                    </a:lnTo>
                    <a:lnTo>
                      <a:pt x="988" y="358"/>
                    </a:lnTo>
                    <a:lnTo>
                      <a:pt x="970" y="342"/>
                    </a:lnTo>
                    <a:lnTo>
                      <a:pt x="946" y="324"/>
                    </a:lnTo>
                    <a:lnTo>
                      <a:pt x="916" y="302"/>
                    </a:lnTo>
                    <a:lnTo>
                      <a:pt x="876" y="282"/>
                    </a:lnTo>
                    <a:lnTo>
                      <a:pt x="854" y="272"/>
                    </a:lnTo>
                    <a:lnTo>
                      <a:pt x="830" y="262"/>
                    </a:lnTo>
                    <a:lnTo>
                      <a:pt x="804" y="252"/>
                    </a:lnTo>
                    <a:lnTo>
                      <a:pt x="776" y="246"/>
                    </a:lnTo>
                    <a:lnTo>
                      <a:pt x="746" y="240"/>
                    </a:lnTo>
                    <a:lnTo>
                      <a:pt x="714" y="236"/>
                    </a:lnTo>
                    <a:lnTo>
                      <a:pt x="682" y="234"/>
                    </a:lnTo>
                    <a:lnTo>
                      <a:pt x="646" y="236"/>
                    </a:lnTo>
                    <a:lnTo>
                      <a:pt x="610" y="240"/>
                    </a:lnTo>
                    <a:lnTo>
                      <a:pt x="572" y="246"/>
                    </a:lnTo>
                    <a:lnTo>
                      <a:pt x="532" y="256"/>
                    </a:lnTo>
                    <a:lnTo>
                      <a:pt x="492" y="270"/>
                    </a:lnTo>
                    <a:lnTo>
                      <a:pt x="450" y="288"/>
                    </a:lnTo>
                    <a:lnTo>
                      <a:pt x="406" y="310"/>
                    </a:lnTo>
                    <a:lnTo>
                      <a:pt x="360" y="336"/>
                    </a:lnTo>
                    <a:lnTo>
                      <a:pt x="314" y="366"/>
                    </a:lnTo>
                    <a:lnTo>
                      <a:pt x="266" y="404"/>
                    </a:lnTo>
                    <a:lnTo>
                      <a:pt x="218" y="444"/>
                    </a:lnTo>
                    <a:lnTo>
                      <a:pt x="168" y="492"/>
                    </a:lnTo>
                    <a:lnTo>
                      <a:pt x="118" y="546"/>
                    </a:lnTo>
                    <a:lnTo>
                      <a:pt x="66" y="606"/>
                    </a:lnTo>
                    <a:lnTo>
                      <a:pt x="12" y="672"/>
                    </a:lnTo>
                    <a:lnTo>
                      <a:pt x="12" y="672"/>
                    </a:lnTo>
                    <a:lnTo>
                      <a:pt x="6" y="628"/>
                    </a:lnTo>
                    <a:lnTo>
                      <a:pt x="2" y="580"/>
                    </a:lnTo>
                    <a:lnTo>
                      <a:pt x="0" y="520"/>
                    </a:lnTo>
                    <a:lnTo>
                      <a:pt x="0" y="456"/>
                    </a:lnTo>
                    <a:lnTo>
                      <a:pt x="2" y="422"/>
                    </a:lnTo>
                    <a:lnTo>
                      <a:pt x="6" y="390"/>
                    </a:lnTo>
                    <a:lnTo>
                      <a:pt x="10" y="356"/>
                    </a:lnTo>
                    <a:lnTo>
                      <a:pt x="16" y="326"/>
                    </a:lnTo>
                    <a:lnTo>
                      <a:pt x="26" y="298"/>
                    </a:lnTo>
                    <a:lnTo>
                      <a:pt x="36" y="272"/>
                    </a:lnTo>
                    <a:lnTo>
                      <a:pt x="36" y="272"/>
                    </a:lnTo>
                    <a:close/>
                  </a:path>
                </a:pathLst>
              </a:custGeom>
              <a:gradFill>
                <a:gsLst>
                  <a:gs pos="100000">
                    <a:srgbClr val="00B0F0">
                      <a:lumMod val="50000"/>
                    </a:srgbClr>
                  </a:gs>
                  <a:gs pos="0">
                    <a:srgbClr val="00B050"/>
                  </a:gs>
                </a:gsLst>
                <a:lin ang="2700000" scaled="1"/>
              </a:gra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467" name="Freeform 37"/>
              <p:cNvSpPr>
                <a:spLocks/>
              </p:cNvSpPr>
              <p:nvPr/>
            </p:nvSpPr>
            <p:spPr bwMode="auto">
              <a:xfrm>
                <a:off x="4501826" y="3409380"/>
                <a:ext cx="72850" cy="81473"/>
              </a:xfrm>
              <a:custGeom>
                <a:avLst/>
                <a:gdLst>
                  <a:gd name="T0" fmla="*/ 316 w 960"/>
                  <a:gd name="T1" fmla="*/ 0 h 1068"/>
                  <a:gd name="T2" fmla="*/ 288 w 960"/>
                  <a:gd name="T3" fmla="*/ 14 h 1068"/>
                  <a:gd name="T4" fmla="*/ 224 w 960"/>
                  <a:gd name="T5" fmla="*/ 58 h 1068"/>
                  <a:gd name="T6" fmla="*/ 146 w 960"/>
                  <a:gd name="T7" fmla="*/ 130 h 1068"/>
                  <a:gd name="T8" fmla="*/ 108 w 960"/>
                  <a:gd name="T9" fmla="*/ 176 h 1068"/>
                  <a:gd name="T10" fmla="*/ 72 w 960"/>
                  <a:gd name="T11" fmla="*/ 228 h 1068"/>
                  <a:gd name="T12" fmla="*/ 40 w 960"/>
                  <a:gd name="T13" fmla="*/ 286 h 1068"/>
                  <a:gd name="T14" fmla="*/ 16 w 960"/>
                  <a:gd name="T15" fmla="*/ 352 h 1068"/>
                  <a:gd name="T16" fmla="*/ 2 w 960"/>
                  <a:gd name="T17" fmla="*/ 424 h 1068"/>
                  <a:gd name="T18" fmla="*/ 0 w 960"/>
                  <a:gd name="T19" fmla="*/ 500 h 1068"/>
                  <a:gd name="T20" fmla="*/ 12 w 960"/>
                  <a:gd name="T21" fmla="*/ 584 h 1068"/>
                  <a:gd name="T22" fmla="*/ 38 w 960"/>
                  <a:gd name="T23" fmla="*/ 674 h 1068"/>
                  <a:gd name="T24" fmla="*/ 86 w 960"/>
                  <a:gd name="T25" fmla="*/ 770 h 1068"/>
                  <a:gd name="T26" fmla="*/ 152 w 960"/>
                  <a:gd name="T27" fmla="*/ 870 h 1068"/>
                  <a:gd name="T28" fmla="*/ 162 w 960"/>
                  <a:gd name="T29" fmla="*/ 880 h 1068"/>
                  <a:gd name="T30" fmla="*/ 192 w 960"/>
                  <a:gd name="T31" fmla="*/ 908 h 1068"/>
                  <a:gd name="T32" fmla="*/ 244 w 960"/>
                  <a:gd name="T33" fmla="*/ 944 h 1068"/>
                  <a:gd name="T34" fmla="*/ 320 w 960"/>
                  <a:gd name="T35" fmla="*/ 984 h 1068"/>
                  <a:gd name="T36" fmla="*/ 424 w 960"/>
                  <a:gd name="T37" fmla="*/ 1022 h 1068"/>
                  <a:gd name="T38" fmla="*/ 520 w 960"/>
                  <a:gd name="T39" fmla="*/ 1046 h 1068"/>
                  <a:gd name="T40" fmla="*/ 596 w 960"/>
                  <a:gd name="T41" fmla="*/ 1058 h 1068"/>
                  <a:gd name="T42" fmla="*/ 678 w 960"/>
                  <a:gd name="T43" fmla="*/ 1064 h 1068"/>
                  <a:gd name="T44" fmla="*/ 768 w 960"/>
                  <a:gd name="T45" fmla="*/ 1068 h 1068"/>
                  <a:gd name="T46" fmla="*/ 868 w 960"/>
                  <a:gd name="T47" fmla="*/ 1064 h 1068"/>
                  <a:gd name="T48" fmla="*/ 920 w 960"/>
                  <a:gd name="T49" fmla="*/ 1060 h 1068"/>
                  <a:gd name="T50" fmla="*/ 952 w 960"/>
                  <a:gd name="T51" fmla="*/ 916 h 1068"/>
                  <a:gd name="T52" fmla="*/ 960 w 960"/>
                  <a:gd name="T53" fmla="*/ 870 h 1068"/>
                  <a:gd name="T54" fmla="*/ 876 w 960"/>
                  <a:gd name="T55" fmla="*/ 878 h 1068"/>
                  <a:gd name="T56" fmla="*/ 784 w 960"/>
                  <a:gd name="T57" fmla="*/ 882 h 1068"/>
                  <a:gd name="T58" fmla="*/ 676 w 960"/>
                  <a:gd name="T59" fmla="*/ 878 h 1068"/>
                  <a:gd name="T60" fmla="*/ 556 w 960"/>
                  <a:gd name="T61" fmla="*/ 864 h 1068"/>
                  <a:gd name="T62" fmla="*/ 468 w 960"/>
                  <a:gd name="T63" fmla="*/ 842 h 1068"/>
                  <a:gd name="T64" fmla="*/ 412 w 960"/>
                  <a:gd name="T65" fmla="*/ 824 h 1068"/>
                  <a:gd name="T66" fmla="*/ 360 w 960"/>
                  <a:gd name="T67" fmla="*/ 798 h 1068"/>
                  <a:gd name="T68" fmla="*/ 312 w 960"/>
                  <a:gd name="T69" fmla="*/ 766 h 1068"/>
                  <a:gd name="T70" fmla="*/ 270 w 960"/>
                  <a:gd name="T71" fmla="*/ 728 h 1068"/>
                  <a:gd name="T72" fmla="*/ 252 w 960"/>
                  <a:gd name="T73" fmla="*/ 708 h 1068"/>
                  <a:gd name="T74" fmla="*/ 226 w 960"/>
                  <a:gd name="T75" fmla="*/ 668 h 1068"/>
                  <a:gd name="T76" fmla="*/ 198 w 960"/>
                  <a:gd name="T77" fmla="*/ 606 h 1068"/>
                  <a:gd name="T78" fmla="*/ 180 w 960"/>
                  <a:gd name="T79" fmla="*/ 546 h 1068"/>
                  <a:gd name="T80" fmla="*/ 172 w 960"/>
                  <a:gd name="T81" fmla="*/ 502 h 1068"/>
                  <a:gd name="T82" fmla="*/ 172 w 960"/>
                  <a:gd name="T83" fmla="*/ 454 h 1068"/>
                  <a:gd name="T84" fmla="*/ 180 w 960"/>
                  <a:gd name="T85" fmla="*/ 402 h 1068"/>
                  <a:gd name="T86" fmla="*/ 198 w 960"/>
                  <a:gd name="T87" fmla="*/ 350 h 1068"/>
                  <a:gd name="T88" fmla="*/ 228 w 960"/>
                  <a:gd name="T89" fmla="*/ 298 h 1068"/>
                  <a:gd name="T90" fmla="*/ 270 w 960"/>
                  <a:gd name="T91" fmla="*/ 246 h 1068"/>
                  <a:gd name="T92" fmla="*/ 330 w 960"/>
                  <a:gd name="T93" fmla="*/ 196 h 1068"/>
                  <a:gd name="T94" fmla="*/ 406 w 960"/>
                  <a:gd name="T95" fmla="*/ 148 h 1068"/>
                  <a:gd name="T96" fmla="*/ 500 w 960"/>
                  <a:gd name="T97" fmla="*/ 102 h 1068"/>
                  <a:gd name="T98" fmla="*/ 556 w 960"/>
                  <a:gd name="T99" fmla="*/ 80 h 1068"/>
                  <a:gd name="T100" fmla="*/ 512 w 960"/>
                  <a:gd name="T101" fmla="*/ 52 h 1068"/>
                  <a:gd name="T102" fmla="*/ 444 w 960"/>
                  <a:gd name="T103" fmla="*/ 22 h 1068"/>
                  <a:gd name="T104" fmla="*/ 382 w 960"/>
                  <a:gd name="T105" fmla="*/ 4 h 1068"/>
                  <a:gd name="T106" fmla="*/ 338 w 960"/>
                  <a:gd name="T107" fmla="*/ 0 h 1068"/>
                  <a:gd name="T108" fmla="*/ 316 w 960"/>
                  <a:gd name="T109"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0" h="1068">
                    <a:moveTo>
                      <a:pt x="316" y="0"/>
                    </a:moveTo>
                    <a:lnTo>
                      <a:pt x="316" y="0"/>
                    </a:lnTo>
                    <a:lnTo>
                      <a:pt x="306" y="4"/>
                    </a:lnTo>
                    <a:lnTo>
                      <a:pt x="288" y="14"/>
                    </a:lnTo>
                    <a:lnTo>
                      <a:pt x="258" y="34"/>
                    </a:lnTo>
                    <a:lnTo>
                      <a:pt x="224" y="58"/>
                    </a:lnTo>
                    <a:lnTo>
                      <a:pt x="186" y="90"/>
                    </a:lnTo>
                    <a:lnTo>
                      <a:pt x="146" y="130"/>
                    </a:lnTo>
                    <a:lnTo>
                      <a:pt x="128" y="152"/>
                    </a:lnTo>
                    <a:lnTo>
                      <a:pt x="108" y="176"/>
                    </a:lnTo>
                    <a:lnTo>
                      <a:pt x="90" y="200"/>
                    </a:lnTo>
                    <a:lnTo>
                      <a:pt x="72" y="228"/>
                    </a:lnTo>
                    <a:lnTo>
                      <a:pt x="56" y="256"/>
                    </a:lnTo>
                    <a:lnTo>
                      <a:pt x="40" y="286"/>
                    </a:lnTo>
                    <a:lnTo>
                      <a:pt x="28" y="318"/>
                    </a:lnTo>
                    <a:lnTo>
                      <a:pt x="16" y="352"/>
                    </a:lnTo>
                    <a:lnTo>
                      <a:pt x="8" y="386"/>
                    </a:lnTo>
                    <a:lnTo>
                      <a:pt x="2" y="424"/>
                    </a:lnTo>
                    <a:lnTo>
                      <a:pt x="0" y="462"/>
                    </a:lnTo>
                    <a:lnTo>
                      <a:pt x="0" y="500"/>
                    </a:lnTo>
                    <a:lnTo>
                      <a:pt x="4" y="542"/>
                    </a:lnTo>
                    <a:lnTo>
                      <a:pt x="12" y="584"/>
                    </a:lnTo>
                    <a:lnTo>
                      <a:pt x="22" y="628"/>
                    </a:lnTo>
                    <a:lnTo>
                      <a:pt x="38" y="674"/>
                    </a:lnTo>
                    <a:lnTo>
                      <a:pt x="60" y="720"/>
                    </a:lnTo>
                    <a:lnTo>
                      <a:pt x="86" y="770"/>
                    </a:lnTo>
                    <a:lnTo>
                      <a:pt x="116" y="818"/>
                    </a:lnTo>
                    <a:lnTo>
                      <a:pt x="152" y="870"/>
                    </a:lnTo>
                    <a:lnTo>
                      <a:pt x="152" y="870"/>
                    </a:lnTo>
                    <a:lnTo>
                      <a:pt x="162" y="880"/>
                    </a:lnTo>
                    <a:lnTo>
                      <a:pt x="174" y="892"/>
                    </a:lnTo>
                    <a:lnTo>
                      <a:pt x="192" y="908"/>
                    </a:lnTo>
                    <a:lnTo>
                      <a:pt x="214" y="924"/>
                    </a:lnTo>
                    <a:lnTo>
                      <a:pt x="244" y="944"/>
                    </a:lnTo>
                    <a:lnTo>
                      <a:pt x="278" y="964"/>
                    </a:lnTo>
                    <a:lnTo>
                      <a:pt x="320" y="984"/>
                    </a:lnTo>
                    <a:lnTo>
                      <a:pt x="368" y="1004"/>
                    </a:lnTo>
                    <a:lnTo>
                      <a:pt x="424" y="1022"/>
                    </a:lnTo>
                    <a:lnTo>
                      <a:pt x="486" y="1040"/>
                    </a:lnTo>
                    <a:lnTo>
                      <a:pt x="520" y="1046"/>
                    </a:lnTo>
                    <a:lnTo>
                      <a:pt x="558" y="1052"/>
                    </a:lnTo>
                    <a:lnTo>
                      <a:pt x="596" y="1058"/>
                    </a:lnTo>
                    <a:lnTo>
                      <a:pt x="636" y="1062"/>
                    </a:lnTo>
                    <a:lnTo>
                      <a:pt x="678" y="1064"/>
                    </a:lnTo>
                    <a:lnTo>
                      <a:pt x="722" y="1066"/>
                    </a:lnTo>
                    <a:lnTo>
                      <a:pt x="768" y="1068"/>
                    </a:lnTo>
                    <a:lnTo>
                      <a:pt x="816" y="1066"/>
                    </a:lnTo>
                    <a:lnTo>
                      <a:pt x="868" y="1064"/>
                    </a:lnTo>
                    <a:lnTo>
                      <a:pt x="920" y="1060"/>
                    </a:lnTo>
                    <a:lnTo>
                      <a:pt x="920" y="1060"/>
                    </a:lnTo>
                    <a:lnTo>
                      <a:pt x="938" y="980"/>
                    </a:lnTo>
                    <a:lnTo>
                      <a:pt x="952" y="916"/>
                    </a:lnTo>
                    <a:lnTo>
                      <a:pt x="960" y="870"/>
                    </a:lnTo>
                    <a:lnTo>
                      <a:pt x="960" y="870"/>
                    </a:lnTo>
                    <a:lnTo>
                      <a:pt x="938" y="874"/>
                    </a:lnTo>
                    <a:lnTo>
                      <a:pt x="876" y="878"/>
                    </a:lnTo>
                    <a:lnTo>
                      <a:pt x="832" y="880"/>
                    </a:lnTo>
                    <a:lnTo>
                      <a:pt x="784" y="882"/>
                    </a:lnTo>
                    <a:lnTo>
                      <a:pt x="732" y="882"/>
                    </a:lnTo>
                    <a:lnTo>
                      <a:pt x="676" y="878"/>
                    </a:lnTo>
                    <a:lnTo>
                      <a:pt x="616" y="872"/>
                    </a:lnTo>
                    <a:lnTo>
                      <a:pt x="556" y="864"/>
                    </a:lnTo>
                    <a:lnTo>
                      <a:pt x="498" y="852"/>
                    </a:lnTo>
                    <a:lnTo>
                      <a:pt x="468" y="842"/>
                    </a:lnTo>
                    <a:lnTo>
                      <a:pt x="440" y="834"/>
                    </a:lnTo>
                    <a:lnTo>
                      <a:pt x="412" y="824"/>
                    </a:lnTo>
                    <a:lnTo>
                      <a:pt x="386" y="812"/>
                    </a:lnTo>
                    <a:lnTo>
                      <a:pt x="360" y="798"/>
                    </a:lnTo>
                    <a:lnTo>
                      <a:pt x="336" y="782"/>
                    </a:lnTo>
                    <a:lnTo>
                      <a:pt x="312" y="766"/>
                    </a:lnTo>
                    <a:lnTo>
                      <a:pt x="290" y="748"/>
                    </a:lnTo>
                    <a:lnTo>
                      <a:pt x="270" y="728"/>
                    </a:lnTo>
                    <a:lnTo>
                      <a:pt x="252" y="708"/>
                    </a:lnTo>
                    <a:lnTo>
                      <a:pt x="252" y="708"/>
                    </a:lnTo>
                    <a:lnTo>
                      <a:pt x="240" y="690"/>
                    </a:lnTo>
                    <a:lnTo>
                      <a:pt x="226" y="668"/>
                    </a:lnTo>
                    <a:lnTo>
                      <a:pt x="212" y="640"/>
                    </a:lnTo>
                    <a:lnTo>
                      <a:pt x="198" y="606"/>
                    </a:lnTo>
                    <a:lnTo>
                      <a:pt x="184" y="568"/>
                    </a:lnTo>
                    <a:lnTo>
                      <a:pt x="180" y="546"/>
                    </a:lnTo>
                    <a:lnTo>
                      <a:pt x="176" y="524"/>
                    </a:lnTo>
                    <a:lnTo>
                      <a:pt x="172" y="502"/>
                    </a:lnTo>
                    <a:lnTo>
                      <a:pt x="172" y="478"/>
                    </a:lnTo>
                    <a:lnTo>
                      <a:pt x="172" y="454"/>
                    </a:lnTo>
                    <a:lnTo>
                      <a:pt x="174" y="428"/>
                    </a:lnTo>
                    <a:lnTo>
                      <a:pt x="180" y="402"/>
                    </a:lnTo>
                    <a:lnTo>
                      <a:pt x="188" y="376"/>
                    </a:lnTo>
                    <a:lnTo>
                      <a:pt x="198" y="350"/>
                    </a:lnTo>
                    <a:lnTo>
                      <a:pt x="210" y="324"/>
                    </a:lnTo>
                    <a:lnTo>
                      <a:pt x="228" y="298"/>
                    </a:lnTo>
                    <a:lnTo>
                      <a:pt x="246" y="272"/>
                    </a:lnTo>
                    <a:lnTo>
                      <a:pt x="270" y="246"/>
                    </a:lnTo>
                    <a:lnTo>
                      <a:pt x="298" y="222"/>
                    </a:lnTo>
                    <a:lnTo>
                      <a:pt x="330" y="196"/>
                    </a:lnTo>
                    <a:lnTo>
                      <a:pt x="364" y="172"/>
                    </a:lnTo>
                    <a:lnTo>
                      <a:pt x="406" y="148"/>
                    </a:lnTo>
                    <a:lnTo>
                      <a:pt x="450" y="124"/>
                    </a:lnTo>
                    <a:lnTo>
                      <a:pt x="500" y="102"/>
                    </a:lnTo>
                    <a:lnTo>
                      <a:pt x="556" y="80"/>
                    </a:lnTo>
                    <a:lnTo>
                      <a:pt x="556" y="80"/>
                    </a:lnTo>
                    <a:lnTo>
                      <a:pt x="536" y="66"/>
                    </a:lnTo>
                    <a:lnTo>
                      <a:pt x="512" y="52"/>
                    </a:lnTo>
                    <a:lnTo>
                      <a:pt x="482" y="38"/>
                    </a:lnTo>
                    <a:lnTo>
                      <a:pt x="444" y="22"/>
                    </a:lnTo>
                    <a:lnTo>
                      <a:pt x="404" y="10"/>
                    </a:lnTo>
                    <a:lnTo>
                      <a:pt x="382" y="4"/>
                    </a:lnTo>
                    <a:lnTo>
                      <a:pt x="360" y="2"/>
                    </a:lnTo>
                    <a:lnTo>
                      <a:pt x="338" y="0"/>
                    </a:lnTo>
                    <a:lnTo>
                      <a:pt x="316" y="0"/>
                    </a:lnTo>
                    <a:lnTo>
                      <a:pt x="316" y="0"/>
                    </a:lnTo>
                    <a:close/>
                  </a:path>
                </a:pathLst>
              </a:custGeom>
              <a:gradFill>
                <a:gsLst>
                  <a:gs pos="89000">
                    <a:srgbClr val="00B0F0">
                      <a:lumMod val="75000"/>
                    </a:srgbClr>
                  </a:gs>
                  <a:gs pos="0">
                    <a:srgbClr val="00B050"/>
                  </a:gs>
                </a:gsLst>
                <a:lin ang="2700000" scaled="1"/>
              </a:gra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470" name="Freeform 167"/>
              <p:cNvSpPr>
                <a:spLocks noEditPoints="1"/>
              </p:cNvSpPr>
              <p:nvPr/>
            </p:nvSpPr>
            <p:spPr bwMode="auto">
              <a:xfrm>
                <a:off x="4372034" y="3328885"/>
                <a:ext cx="281541" cy="239546"/>
              </a:xfrm>
              <a:custGeom>
                <a:avLst/>
                <a:gdLst>
                  <a:gd name="T0" fmla="*/ 26 w 689"/>
                  <a:gd name="T1" fmla="*/ 0 h 582"/>
                  <a:gd name="T2" fmla="*/ 5 w 689"/>
                  <a:gd name="T3" fmla="*/ 15 h 582"/>
                  <a:gd name="T4" fmla="*/ 0 w 689"/>
                  <a:gd name="T5" fmla="*/ 550 h 582"/>
                  <a:gd name="T6" fmla="*/ 5 w 689"/>
                  <a:gd name="T7" fmla="*/ 567 h 582"/>
                  <a:gd name="T8" fmla="*/ 26 w 689"/>
                  <a:gd name="T9" fmla="*/ 582 h 582"/>
                  <a:gd name="T10" fmla="*/ 663 w 689"/>
                  <a:gd name="T11" fmla="*/ 582 h 582"/>
                  <a:gd name="T12" fmla="*/ 684 w 689"/>
                  <a:gd name="T13" fmla="*/ 567 h 582"/>
                  <a:gd name="T14" fmla="*/ 689 w 689"/>
                  <a:gd name="T15" fmla="*/ 32 h 582"/>
                  <a:gd name="T16" fmla="*/ 684 w 689"/>
                  <a:gd name="T17" fmla="*/ 15 h 582"/>
                  <a:gd name="T18" fmla="*/ 663 w 689"/>
                  <a:gd name="T19" fmla="*/ 0 h 582"/>
                  <a:gd name="T20" fmla="*/ 231 w 689"/>
                  <a:gd name="T21" fmla="*/ 40 h 582"/>
                  <a:gd name="T22" fmla="*/ 248 w 689"/>
                  <a:gd name="T23" fmla="*/ 48 h 582"/>
                  <a:gd name="T24" fmla="*/ 255 w 689"/>
                  <a:gd name="T25" fmla="*/ 66 h 582"/>
                  <a:gd name="T26" fmla="*/ 251 w 689"/>
                  <a:gd name="T27" fmla="*/ 79 h 582"/>
                  <a:gd name="T28" fmla="*/ 236 w 689"/>
                  <a:gd name="T29" fmla="*/ 89 h 582"/>
                  <a:gd name="T30" fmla="*/ 221 w 689"/>
                  <a:gd name="T31" fmla="*/ 87 h 582"/>
                  <a:gd name="T32" fmla="*/ 209 w 689"/>
                  <a:gd name="T33" fmla="*/ 75 h 582"/>
                  <a:gd name="T34" fmla="*/ 208 w 689"/>
                  <a:gd name="T35" fmla="*/ 60 h 582"/>
                  <a:gd name="T36" fmla="*/ 217 w 689"/>
                  <a:gd name="T37" fmla="*/ 46 h 582"/>
                  <a:gd name="T38" fmla="*/ 231 w 689"/>
                  <a:gd name="T39" fmla="*/ 40 h 582"/>
                  <a:gd name="T40" fmla="*/ 159 w 689"/>
                  <a:gd name="T41" fmla="*/ 43 h 582"/>
                  <a:gd name="T42" fmla="*/ 173 w 689"/>
                  <a:gd name="T43" fmla="*/ 55 h 582"/>
                  <a:gd name="T44" fmla="*/ 174 w 689"/>
                  <a:gd name="T45" fmla="*/ 70 h 582"/>
                  <a:gd name="T46" fmla="*/ 163 w 689"/>
                  <a:gd name="T47" fmla="*/ 86 h 582"/>
                  <a:gd name="T48" fmla="*/ 150 w 689"/>
                  <a:gd name="T49" fmla="*/ 90 h 582"/>
                  <a:gd name="T50" fmla="*/ 132 w 689"/>
                  <a:gd name="T51" fmla="*/ 82 h 582"/>
                  <a:gd name="T52" fmla="*/ 125 w 689"/>
                  <a:gd name="T53" fmla="*/ 66 h 582"/>
                  <a:gd name="T54" fmla="*/ 129 w 689"/>
                  <a:gd name="T55" fmla="*/ 51 h 582"/>
                  <a:gd name="T56" fmla="*/ 144 w 689"/>
                  <a:gd name="T57" fmla="*/ 42 h 582"/>
                  <a:gd name="T58" fmla="*/ 67 w 689"/>
                  <a:gd name="T59" fmla="*/ 40 h 582"/>
                  <a:gd name="T60" fmla="*/ 85 w 689"/>
                  <a:gd name="T61" fmla="*/ 48 h 582"/>
                  <a:gd name="T62" fmla="*/ 92 w 689"/>
                  <a:gd name="T63" fmla="*/ 66 h 582"/>
                  <a:gd name="T64" fmla="*/ 88 w 689"/>
                  <a:gd name="T65" fmla="*/ 79 h 582"/>
                  <a:gd name="T66" fmla="*/ 73 w 689"/>
                  <a:gd name="T67" fmla="*/ 89 h 582"/>
                  <a:gd name="T68" fmla="*/ 58 w 689"/>
                  <a:gd name="T69" fmla="*/ 87 h 582"/>
                  <a:gd name="T70" fmla="*/ 46 w 689"/>
                  <a:gd name="T71" fmla="*/ 75 h 582"/>
                  <a:gd name="T72" fmla="*/ 44 w 689"/>
                  <a:gd name="T73" fmla="*/ 60 h 582"/>
                  <a:gd name="T74" fmla="*/ 54 w 689"/>
                  <a:gd name="T75" fmla="*/ 46 h 582"/>
                  <a:gd name="T76" fmla="*/ 67 w 689"/>
                  <a:gd name="T77" fmla="*/ 40 h 582"/>
                  <a:gd name="T78" fmla="*/ 646 w 689"/>
                  <a:gd name="T79" fmla="*/ 518 h 582"/>
                  <a:gd name="T80" fmla="*/ 628 w 689"/>
                  <a:gd name="T81" fmla="*/ 535 h 582"/>
                  <a:gd name="T82" fmla="*/ 73 w 689"/>
                  <a:gd name="T83" fmla="*/ 538 h 582"/>
                  <a:gd name="T84" fmla="*/ 50 w 689"/>
                  <a:gd name="T85" fmla="*/ 528 h 582"/>
                  <a:gd name="T86" fmla="*/ 40 w 689"/>
                  <a:gd name="T87" fmla="*/ 505 h 582"/>
                  <a:gd name="T88" fmla="*/ 43 w 689"/>
                  <a:gd name="T89" fmla="*/ 172 h 582"/>
                  <a:gd name="T90" fmla="*/ 61 w 689"/>
                  <a:gd name="T91" fmla="*/ 155 h 582"/>
                  <a:gd name="T92" fmla="*/ 616 w 689"/>
                  <a:gd name="T93" fmla="*/ 152 h 582"/>
                  <a:gd name="T94" fmla="*/ 639 w 689"/>
                  <a:gd name="T95" fmla="*/ 162 h 582"/>
                  <a:gd name="T96" fmla="*/ 649 w 689"/>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9" h="582">
                    <a:moveTo>
                      <a:pt x="657" y="0"/>
                    </a:moveTo>
                    <a:lnTo>
                      <a:pt x="32" y="0"/>
                    </a:lnTo>
                    <a:lnTo>
                      <a:pt x="32" y="0"/>
                    </a:lnTo>
                    <a:lnTo>
                      <a:pt x="26" y="0"/>
                    </a:lnTo>
                    <a:lnTo>
                      <a:pt x="19" y="3"/>
                    </a:lnTo>
                    <a:lnTo>
                      <a:pt x="13" y="5"/>
                    </a:lnTo>
                    <a:lnTo>
                      <a:pt x="9" y="9"/>
                    </a:lnTo>
                    <a:lnTo>
                      <a:pt x="5" y="15"/>
                    </a:lnTo>
                    <a:lnTo>
                      <a:pt x="3" y="20"/>
                    </a:lnTo>
                    <a:lnTo>
                      <a:pt x="0" y="25"/>
                    </a:lnTo>
                    <a:lnTo>
                      <a:pt x="0" y="32"/>
                    </a:lnTo>
                    <a:lnTo>
                      <a:pt x="0" y="550"/>
                    </a:lnTo>
                    <a:lnTo>
                      <a:pt x="0" y="550"/>
                    </a:lnTo>
                    <a:lnTo>
                      <a:pt x="0" y="557"/>
                    </a:lnTo>
                    <a:lnTo>
                      <a:pt x="3" y="562"/>
                    </a:lnTo>
                    <a:lnTo>
                      <a:pt x="5" y="567"/>
                    </a:lnTo>
                    <a:lnTo>
                      <a:pt x="9" y="573"/>
                    </a:lnTo>
                    <a:lnTo>
                      <a:pt x="13" y="577"/>
                    </a:lnTo>
                    <a:lnTo>
                      <a:pt x="19" y="580"/>
                    </a:lnTo>
                    <a:lnTo>
                      <a:pt x="26" y="582"/>
                    </a:lnTo>
                    <a:lnTo>
                      <a:pt x="32" y="582"/>
                    </a:lnTo>
                    <a:lnTo>
                      <a:pt x="657" y="582"/>
                    </a:lnTo>
                    <a:lnTo>
                      <a:pt x="657" y="582"/>
                    </a:lnTo>
                    <a:lnTo>
                      <a:pt x="663" y="582"/>
                    </a:lnTo>
                    <a:lnTo>
                      <a:pt x="669" y="580"/>
                    </a:lnTo>
                    <a:lnTo>
                      <a:pt x="674" y="577"/>
                    </a:lnTo>
                    <a:lnTo>
                      <a:pt x="680" y="573"/>
                    </a:lnTo>
                    <a:lnTo>
                      <a:pt x="684" y="567"/>
                    </a:lnTo>
                    <a:lnTo>
                      <a:pt x="686" y="562"/>
                    </a:lnTo>
                    <a:lnTo>
                      <a:pt x="689" y="557"/>
                    </a:lnTo>
                    <a:lnTo>
                      <a:pt x="689" y="550"/>
                    </a:lnTo>
                    <a:lnTo>
                      <a:pt x="689" y="32"/>
                    </a:lnTo>
                    <a:lnTo>
                      <a:pt x="689" y="32"/>
                    </a:lnTo>
                    <a:lnTo>
                      <a:pt x="689" y="25"/>
                    </a:lnTo>
                    <a:lnTo>
                      <a:pt x="686" y="20"/>
                    </a:lnTo>
                    <a:lnTo>
                      <a:pt x="684" y="15"/>
                    </a:lnTo>
                    <a:lnTo>
                      <a:pt x="680" y="9"/>
                    </a:lnTo>
                    <a:lnTo>
                      <a:pt x="674" y="5"/>
                    </a:lnTo>
                    <a:lnTo>
                      <a:pt x="669" y="3"/>
                    </a:lnTo>
                    <a:lnTo>
                      <a:pt x="663" y="0"/>
                    </a:lnTo>
                    <a:lnTo>
                      <a:pt x="657" y="0"/>
                    </a:lnTo>
                    <a:lnTo>
                      <a:pt x="657" y="0"/>
                    </a:lnTo>
                    <a:close/>
                    <a:moveTo>
                      <a:pt x="231" y="40"/>
                    </a:moveTo>
                    <a:lnTo>
                      <a:pt x="231" y="40"/>
                    </a:lnTo>
                    <a:lnTo>
                      <a:pt x="236" y="42"/>
                    </a:lnTo>
                    <a:lnTo>
                      <a:pt x="240" y="43"/>
                    </a:lnTo>
                    <a:lnTo>
                      <a:pt x="244" y="46"/>
                    </a:lnTo>
                    <a:lnTo>
                      <a:pt x="248" y="48"/>
                    </a:lnTo>
                    <a:lnTo>
                      <a:pt x="251" y="51"/>
                    </a:lnTo>
                    <a:lnTo>
                      <a:pt x="253" y="55"/>
                    </a:lnTo>
                    <a:lnTo>
                      <a:pt x="255" y="60"/>
                    </a:lnTo>
                    <a:lnTo>
                      <a:pt x="255" y="66"/>
                    </a:lnTo>
                    <a:lnTo>
                      <a:pt x="255" y="66"/>
                    </a:lnTo>
                    <a:lnTo>
                      <a:pt x="255" y="70"/>
                    </a:lnTo>
                    <a:lnTo>
                      <a:pt x="253" y="75"/>
                    </a:lnTo>
                    <a:lnTo>
                      <a:pt x="251" y="79"/>
                    </a:lnTo>
                    <a:lnTo>
                      <a:pt x="248" y="82"/>
                    </a:lnTo>
                    <a:lnTo>
                      <a:pt x="244" y="86"/>
                    </a:lnTo>
                    <a:lnTo>
                      <a:pt x="240" y="87"/>
                    </a:lnTo>
                    <a:lnTo>
                      <a:pt x="236" y="89"/>
                    </a:lnTo>
                    <a:lnTo>
                      <a:pt x="231" y="90"/>
                    </a:lnTo>
                    <a:lnTo>
                      <a:pt x="231" y="90"/>
                    </a:lnTo>
                    <a:lnTo>
                      <a:pt x="226" y="89"/>
                    </a:lnTo>
                    <a:lnTo>
                      <a:pt x="221" y="87"/>
                    </a:lnTo>
                    <a:lnTo>
                      <a:pt x="217" y="86"/>
                    </a:lnTo>
                    <a:lnTo>
                      <a:pt x="213" y="82"/>
                    </a:lnTo>
                    <a:lnTo>
                      <a:pt x="210" y="79"/>
                    </a:lnTo>
                    <a:lnTo>
                      <a:pt x="209" y="75"/>
                    </a:lnTo>
                    <a:lnTo>
                      <a:pt x="208" y="70"/>
                    </a:lnTo>
                    <a:lnTo>
                      <a:pt x="206" y="66"/>
                    </a:lnTo>
                    <a:lnTo>
                      <a:pt x="206" y="66"/>
                    </a:lnTo>
                    <a:lnTo>
                      <a:pt x="208" y="60"/>
                    </a:lnTo>
                    <a:lnTo>
                      <a:pt x="209" y="55"/>
                    </a:lnTo>
                    <a:lnTo>
                      <a:pt x="210" y="51"/>
                    </a:lnTo>
                    <a:lnTo>
                      <a:pt x="213" y="48"/>
                    </a:lnTo>
                    <a:lnTo>
                      <a:pt x="217" y="46"/>
                    </a:lnTo>
                    <a:lnTo>
                      <a:pt x="221" y="43"/>
                    </a:lnTo>
                    <a:lnTo>
                      <a:pt x="226" y="42"/>
                    </a:lnTo>
                    <a:lnTo>
                      <a:pt x="231" y="40"/>
                    </a:lnTo>
                    <a:lnTo>
                      <a:pt x="231" y="40"/>
                    </a:lnTo>
                    <a:close/>
                    <a:moveTo>
                      <a:pt x="150" y="40"/>
                    </a:moveTo>
                    <a:lnTo>
                      <a:pt x="150" y="40"/>
                    </a:lnTo>
                    <a:lnTo>
                      <a:pt x="154" y="42"/>
                    </a:lnTo>
                    <a:lnTo>
                      <a:pt x="159" y="43"/>
                    </a:lnTo>
                    <a:lnTo>
                      <a:pt x="163" y="46"/>
                    </a:lnTo>
                    <a:lnTo>
                      <a:pt x="167" y="48"/>
                    </a:lnTo>
                    <a:lnTo>
                      <a:pt x="170" y="51"/>
                    </a:lnTo>
                    <a:lnTo>
                      <a:pt x="173" y="55"/>
                    </a:lnTo>
                    <a:lnTo>
                      <a:pt x="174" y="60"/>
                    </a:lnTo>
                    <a:lnTo>
                      <a:pt x="174" y="66"/>
                    </a:lnTo>
                    <a:lnTo>
                      <a:pt x="174" y="66"/>
                    </a:lnTo>
                    <a:lnTo>
                      <a:pt x="174" y="70"/>
                    </a:lnTo>
                    <a:lnTo>
                      <a:pt x="173" y="75"/>
                    </a:lnTo>
                    <a:lnTo>
                      <a:pt x="170" y="79"/>
                    </a:lnTo>
                    <a:lnTo>
                      <a:pt x="167" y="82"/>
                    </a:lnTo>
                    <a:lnTo>
                      <a:pt x="163" y="86"/>
                    </a:lnTo>
                    <a:lnTo>
                      <a:pt x="159" y="87"/>
                    </a:lnTo>
                    <a:lnTo>
                      <a:pt x="154" y="89"/>
                    </a:lnTo>
                    <a:lnTo>
                      <a:pt x="150" y="90"/>
                    </a:lnTo>
                    <a:lnTo>
                      <a:pt x="150" y="90"/>
                    </a:lnTo>
                    <a:lnTo>
                      <a:pt x="144" y="89"/>
                    </a:lnTo>
                    <a:lnTo>
                      <a:pt x="140" y="87"/>
                    </a:lnTo>
                    <a:lnTo>
                      <a:pt x="136" y="86"/>
                    </a:lnTo>
                    <a:lnTo>
                      <a:pt x="132" y="82"/>
                    </a:lnTo>
                    <a:lnTo>
                      <a:pt x="129" y="79"/>
                    </a:lnTo>
                    <a:lnTo>
                      <a:pt x="127" y="75"/>
                    </a:lnTo>
                    <a:lnTo>
                      <a:pt x="125" y="70"/>
                    </a:lnTo>
                    <a:lnTo>
                      <a:pt x="125" y="66"/>
                    </a:lnTo>
                    <a:lnTo>
                      <a:pt x="125" y="66"/>
                    </a:lnTo>
                    <a:lnTo>
                      <a:pt x="125" y="60"/>
                    </a:lnTo>
                    <a:lnTo>
                      <a:pt x="127" y="55"/>
                    </a:lnTo>
                    <a:lnTo>
                      <a:pt x="129" y="51"/>
                    </a:lnTo>
                    <a:lnTo>
                      <a:pt x="132" y="48"/>
                    </a:lnTo>
                    <a:lnTo>
                      <a:pt x="136" y="46"/>
                    </a:lnTo>
                    <a:lnTo>
                      <a:pt x="140" y="43"/>
                    </a:lnTo>
                    <a:lnTo>
                      <a:pt x="144" y="42"/>
                    </a:lnTo>
                    <a:lnTo>
                      <a:pt x="150" y="40"/>
                    </a:lnTo>
                    <a:lnTo>
                      <a:pt x="150" y="40"/>
                    </a:lnTo>
                    <a:close/>
                    <a:moveTo>
                      <a:pt x="67" y="40"/>
                    </a:moveTo>
                    <a:lnTo>
                      <a:pt x="67" y="40"/>
                    </a:lnTo>
                    <a:lnTo>
                      <a:pt x="73" y="42"/>
                    </a:lnTo>
                    <a:lnTo>
                      <a:pt x="77" y="43"/>
                    </a:lnTo>
                    <a:lnTo>
                      <a:pt x="81" y="46"/>
                    </a:lnTo>
                    <a:lnTo>
                      <a:pt x="85" y="48"/>
                    </a:lnTo>
                    <a:lnTo>
                      <a:pt x="88" y="51"/>
                    </a:lnTo>
                    <a:lnTo>
                      <a:pt x="90" y="55"/>
                    </a:lnTo>
                    <a:lnTo>
                      <a:pt x="92" y="60"/>
                    </a:lnTo>
                    <a:lnTo>
                      <a:pt x="92" y="66"/>
                    </a:lnTo>
                    <a:lnTo>
                      <a:pt x="92" y="66"/>
                    </a:lnTo>
                    <a:lnTo>
                      <a:pt x="92" y="70"/>
                    </a:lnTo>
                    <a:lnTo>
                      <a:pt x="90" y="75"/>
                    </a:lnTo>
                    <a:lnTo>
                      <a:pt x="88" y="79"/>
                    </a:lnTo>
                    <a:lnTo>
                      <a:pt x="85" y="82"/>
                    </a:lnTo>
                    <a:lnTo>
                      <a:pt x="81" y="86"/>
                    </a:lnTo>
                    <a:lnTo>
                      <a:pt x="77" y="87"/>
                    </a:lnTo>
                    <a:lnTo>
                      <a:pt x="73" y="89"/>
                    </a:lnTo>
                    <a:lnTo>
                      <a:pt x="67" y="90"/>
                    </a:lnTo>
                    <a:lnTo>
                      <a:pt x="67" y="90"/>
                    </a:lnTo>
                    <a:lnTo>
                      <a:pt x="63" y="89"/>
                    </a:lnTo>
                    <a:lnTo>
                      <a:pt x="58" y="87"/>
                    </a:lnTo>
                    <a:lnTo>
                      <a:pt x="54" y="86"/>
                    </a:lnTo>
                    <a:lnTo>
                      <a:pt x="51" y="82"/>
                    </a:lnTo>
                    <a:lnTo>
                      <a:pt x="47" y="79"/>
                    </a:lnTo>
                    <a:lnTo>
                      <a:pt x="46" y="75"/>
                    </a:lnTo>
                    <a:lnTo>
                      <a:pt x="44" y="70"/>
                    </a:lnTo>
                    <a:lnTo>
                      <a:pt x="43" y="66"/>
                    </a:lnTo>
                    <a:lnTo>
                      <a:pt x="43" y="66"/>
                    </a:lnTo>
                    <a:lnTo>
                      <a:pt x="44" y="60"/>
                    </a:lnTo>
                    <a:lnTo>
                      <a:pt x="46" y="55"/>
                    </a:lnTo>
                    <a:lnTo>
                      <a:pt x="47" y="51"/>
                    </a:lnTo>
                    <a:lnTo>
                      <a:pt x="51" y="48"/>
                    </a:lnTo>
                    <a:lnTo>
                      <a:pt x="54" y="46"/>
                    </a:lnTo>
                    <a:lnTo>
                      <a:pt x="58" y="43"/>
                    </a:lnTo>
                    <a:lnTo>
                      <a:pt x="63" y="42"/>
                    </a:lnTo>
                    <a:lnTo>
                      <a:pt x="67" y="40"/>
                    </a:lnTo>
                    <a:lnTo>
                      <a:pt x="67" y="40"/>
                    </a:lnTo>
                    <a:close/>
                    <a:moveTo>
                      <a:pt x="649" y="505"/>
                    </a:moveTo>
                    <a:lnTo>
                      <a:pt x="649" y="505"/>
                    </a:lnTo>
                    <a:lnTo>
                      <a:pt x="647" y="511"/>
                    </a:lnTo>
                    <a:lnTo>
                      <a:pt x="646" y="518"/>
                    </a:lnTo>
                    <a:lnTo>
                      <a:pt x="643" y="523"/>
                    </a:lnTo>
                    <a:lnTo>
                      <a:pt x="639" y="528"/>
                    </a:lnTo>
                    <a:lnTo>
                      <a:pt x="634" y="532"/>
                    </a:lnTo>
                    <a:lnTo>
                      <a:pt x="628" y="535"/>
                    </a:lnTo>
                    <a:lnTo>
                      <a:pt x="623" y="536"/>
                    </a:lnTo>
                    <a:lnTo>
                      <a:pt x="616" y="538"/>
                    </a:lnTo>
                    <a:lnTo>
                      <a:pt x="73" y="538"/>
                    </a:lnTo>
                    <a:lnTo>
                      <a:pt x="73" y="538"/>
                    </a:lnTo>
                    <a:lnTo>
                      <a:pt x="66" y="536"/>
                    </a:lnTo>
                    <a:lnTo>
                      <a:pt x="61" y="535"/>
                    </a:lnTo>
                    <a:lnTo>
                      <a:pt x="55" y="532"/>
                    </a:lnTo>
                    <a:lnTo>
                      <a:pt x="50" y="528"/>
                    </a:lnTo>
                    <a:lnTo>
                      <a:pt x="46" y="523"/>
                    </a:lnTo>
                    <a:lnTo>
                      <a:pt x="43" y="518"/>
                    </a:lnTo>
                    <a:lnTo>
                      <a:pt x="40" y="511"/>
                    </a:lnTo>
                    <a:lnTo>
                      <a:pt x="40" y="505"/>
                    </a:lnTo>
                    <a:lnTo>
                      <a:pt x="40" y="185"/>
                    </a:lnTo>
                    <a:lnTo>
                      <a:pt x="40" y="185"/>
                    </a:lnTo>
                    <a:lnTo>
                      <a:pt x="40" y="179"/>
                    </a:lnTo>
                    <a:lnTo>
                      <a:pt x="43" y="172"/>
                    </a:lnTo>
                    <a:lnTo>
                      <a:pt x="46" y="167"/>
                    </a:lnTo>
                    <a:lnTo>
                      <a:pt x="50" y="162"/>
                    </a:lnTo>
                    <a:lnTo>
                      <a:pt x="55" y="158"/>
                    </a:lnTo>
                    <a:lnTo>
                      <a:pt x="61" y="155"/>
                    </a:lnTo>
                    <a:lnTo>
                      <a:pt x="66" y="154"/>
                    </a:lnTo>
                    <a:lnTo>
                      <a:pt x="73" y="152"/>
                    </a:lnTo>
                    <a:lnTo>
                      <a:pt x="616" y="152"/>
                    </a:lnTo>
                    <a:lnTo>
                      <a:pt x="616" y="152"/>
                    </a:lnTo>
                    <a:lnTo>
                      <a:pt x="623" y="154"/>
                    </a:lnTo>
                    <a:lnTo>
                      <a:pt x="628" y="155"/>
                    </a:lnTo>
                    <a:lnTo>
                      <a:pt x="634" y="158"/>
                    </a:lnTo>
                    <a:lnTo>
                      <a:pt x="639" y="162"/>
                    </a:lnTo>
                    <a:lnTo>
                      <a:pt x="643" y="167"/>
                    </a:lnTo>
                    <a:lnTo>
                      <a:pt x="646" y="172"/>
                    </a:lnTo>
                    <a:lnTo>
                      <a:pt x="647" y="179"/>
                    </a:lnTo>
                    <a:lnTo>
                      <a:pt x="649" y="185"/>
                    </a:lnTo>
                    <a:lnTo>
                      <a:pt x="649" y="505"/>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grpSp>
        <p:sp>
          <p:nvSpPr>
            <p:cNvPr id="463" name="Rounded Rectangle 191"/>
            <p:cNvSpPr/>
            <p:nvPr/>
          </p:nvSpPr>
          <p:spPr>
            <a:xfrm>
              <a:off x="4913891" y="3155554"/>
              <a:ext cx="457200" cy="91440"/>
            </a:xfrm>
            <a:prstGeom prst="rect">
              <a:avLst/>
            </a:prstGeom>
            <a:noFill/>
            <a:ln w="25400" cap="flat" cmpd="sng" algn="ctr">
              <a:noFill/>
              <a:prstDash val="solid"/>
            </a:ln>
            <a:effectLst/>
          </p:spPr>
          <p:txBody>
            <a:bodyPr lIns="0" rIns="0" rtlCol="0" anchor="ctr"/>
            <a:lstStyle/>
            <a:p>
              <a:pPr algn="ctr" defTabSz="685282">
                <a:defRPr/>
              </a:pPr>
              <a:r>
                <a:rPr lang="en-US" sz="600" kern="0" dirty="0">
                  <a:latin typeface="+mj-lt"/>
                </a:rPr>
                <a:t>AnyConnect</a:t>
              </a:r>
            </a:p>
          </p:txBody>
        </p:sp>
      </p:grpSp>
    </p:spTree>
    <p:extLst>
      <p:ext uri="{BB962C8B-B14F-4D97-AF65-F5344CB8AC3E}">
        <p14:creationId xmlns:p14="http://schemas.microsoft.com/office/powerpoint/2010/main" val="1159385842"/>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Rectangle 473"/>
          <p:cNvSpPr/>
          <p:nvPr/>
        </p:nvSpPr>
        <p:spPr>
          <a:xfrm>
            <a:off x="745971" y="2904259"/>
            <a:ext cx="8123223" cy="1648139"/>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6" tIns="34294" rIns="68586" bIns="34294" rtlCol="0" anchor="ctr"/>
          <a:lstStyle/>
          <a:p>
            <a:pPr algn="ctr" fontAlgn="auto">
              <a:spcBef>
                <a:spcPts val="0"/>
              </a:spcBef>
              <a:spcAft>
                <a:spcPts val="0"/>
              </a:spcAft>
            </a:pPr>
            <a:endParaRPr lang="en-IN" sz="1400" dirty="0">
              <a:solidFill>
                <a:srgbClr val="FFFFFF"/>
              </a:solidFill>
              <a:latin typeface="+mj-lt"/>
              <a:cs typeface="Arial" panose="020B0604020202020204" pitchFamily="34" charset="0"/>
            </a:endParaRPr>
          </a:p>
        </p:txBody>
      </p:sp>
      <p:sp>
        <p:nvSpPr>
          <p:cNvPr id="158" name="Rectangle 157"/>
          <p:cNvSpPr/>
          <p:nvPr/>
        </p:nvSpPr>
        <p:spPr>
          <a:xfrm>
            <a:off x="745967" y="746273"/>
            <a:ext cx="8123224" cy="2153887"/>
          </a:xfrm>
          <a:prstGeom prst="rect">
            <a:avLst/>
          </a:prstGeom>
          <a:solidFill>
            <a:schemeClr val="bg1">
              <a:lumMod val="95000"/>
            </a:schemeClr>
          </a:solidFill>
          <a:ln w="3175" cap="flat" cmpd="sng" algn="ctr">
            <a:solidFill>
              <a:schemeClr val="bg1">
                <a:lumMod val="50000"/>
              </a:schemeClr>
            </a:solidFill>
            <a:prstDash val="solid"/>
          </a:ln>
          <a:effectLst/>
        </p:spPr>
        <p:txBody>
          <a:bodyPr lIns="91436" tIns="45718" rIns="91436" bIns="45718" rtlCol="0" anchor="ctr"/>
          <a:lstStyle/>
          <a:p>
            <a:pPr algn="ctr" defTabSz="1218173">
              <a:defRPr/>
            </a:pPr>
            <a:endParaRPr lang="en-US" sz="2400" kern="0">
              <a:solidFill>
                <a:prstClr val="white"/>
              </a:solidFill>
              <a:latin typeface="+mj-lt"/>
            </a:endParaRPr>
          </a:p>
        </p:txBody>
      </p:sp>
      <p:cxnSp>
        <p:nvCxnSpPr>
          <p:cNvPr id="469" name="Straight Connector 468"/>
          <p:cNvCxnSpPr/>
          <p:nvPr/>
        </p:nvCxnSpPr>
        <p:spPr>
          <a:xfrm>
            <a:off x="7108401" y="746273"/>
            <a:ext cx="0" cy="215798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p:nvPr/>
        </p:nvCxnSpPr>
        <p:spPr>
          <a:xfrm>
            <a:off x="3884344" y="746273"/>
            <a:ext cx="0" cy="2157984"/>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45" name="Rectangle 244"/>
          <p:cNvSpPr/>
          <p:nvPr/>
        </p:nvSpPr>
        <p:spPr>
          <a:xfrm>
            <a:off x="887858" y="23408"/>
            <a:ext cx="8256142" cy="502920"/>
          </a:xfrm>
          <a:prstGeom prst="rect">
            <a:avLst/>
          </a:prstGeom>
          <a:solidFill>
            <a:schemeClr val="accent1"/>
          </a:solidFill>
          <a:ln w="3175" cap="flat" cmpd="sng" algn="ctr">
            <a:solidFill>
              <a:srgbClr val="0079A4"/>
            </a:solidFill>
            <a:prstDash val="solid"/>
          </a:ln>
          <a:effectLst/>
        </p:spPr>
        <p:txBody>
          <a:bodyPr lIns="91436" tIns="45718" rIns="91436" bIns="45718" rtlCol="0" anchor="ctr"/>
          <a:lstStyle/>
          <a:p>
            <a:pPr algn="ctr" defTabSz="913630"/>
            <a:r>
              <a:rPr lang="en-US" sz="2400" kern="0" dirty="0">
                <a:solidFill>
                  <a:prstClr val="white"/>
                </a:solidFill>
                <a:latin typeface="+mj-lt"/>
              </a:rPr>
              <a:t>Cisco Web Security </a:t>
            </a:r>
          </a:p>
        </p:txBody>
      </p:sp>
      <p:sp>
        <p:nvSpPr>
          <p:cNvPr id="246" name="Rectangle 245"/>
          <p:cNvSpPr/>
          <p:nvPr/>
        </p:nvSpPr>
        <p:spPr>
          <a:xfrm>
            <a:off x="1" y="23407"/>
            <a:ext cx="894702" cy="502920"/>
          </a:xfrm>
          <a:prstGeom prst="rect">
            <a:avLst/>
          </a:prstGeom>
          <a:solidFill>
            <a:schemeClr val="tx2"/>
          </a:solidFill>
        </p:spPr>
        <p:txBody>
          <a:bodyPr wrap="square" lIns="68523" tIns="68523" rIns="68523" bIns="68523" anchor="ctr">
            <a:noAutofit/>
          </a:bodyPr>
          <a:lstStyle/>
          <a:p>
            <a:pPr algn="ctr" defTabSz="513921">
              <a:lnSpc>
                <a:spcPct val="95000"/>
              </a:lnSpc>
              <a:spcBef>
                <a:spcPts val="810"/>
              </a:spcBef>
              <a:buClr>
                <a:srgbClr val="D81F28"/>
              </a:buClr>
              <a:buSzPct val="90000"/>
            </a:pPr>
            <a:endParaRPr lang="en-US" sz="1500" kern="0" dirty="0">
              <a:solidFill>
                <a:srgbClr val="FFFFFF"/>
              </a:solidFill>
              <a:latin typeface="+mj-lt"/>
              <a:cs typeface="CiscoSans"/>
            </a:endParaRPr>
          </a:p>
        </p:txBody>
      </p:sp>
      <p:grpSp>
        <p:nvGrpSpPr>
          <p:cNvPr id="30" name="Group 261"/>
          <p:cNvGrpSpPr>
            <a:grpSpLocks noChangeAspect="1"/>
          </p:cNvGrpSpPr>
          <p:nvPr/>
        </p:nvGrpSpPr>
        <p:grpSpPr>
          <a:xfrm>
            <a:off x="8053299" y="59042"/>
            <a:ext cx="633498" cy="439719"/>
            <a:chOff x="8365057" y="228525"/>
            <a:chExt cx="582779" cy="404516"/>
          </a:xfrm>
        </p:grpSpPr>
        <p:sp>
          <p:nvSpPr>
            <p:cNvPr id="253" name="Oval 2"/>
            <p:cNvSpPr/>
            <p:nvPr/>
          </p:nvSpPr>
          <p:spPr bwMode="auto">
            <a:xfrm>
              <a:off x="8365057" y="228525"/>
              <a:ext cx="582779" cy="404516"/>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82253" tIns="41127" rIns="41127" bIns="82253" numCol="1" spcCol="0" rtlCol="0" fromWordArt="0" anchor="b" anchorCtr="0" forceAA="0" compatLnSpc="1">
              <a:prstTxWarp prst="textNoShape">
                <a:avLst/>
              </a:prstTxWarp>
              <a:noAutofit/>
            </a:bodyPr>
            <a:lstStyle/>
            <a:p>
              <a:pPr algn="ctr" defTabSz="822142">
                <a:defRPr/>
              </a:pPr>
              <a:endParaRPr lang="en-US" kern="0" spc="-45" dirty="0" err="1">
                <a:gradFill>
                  <a:gsLst>
                    <a:gs pos="0">
                      <a:srgbClr val="FFFFFF"/>
                    </a:gs>
                    <a:gs pos="100000">
                      <a:srgbClr val="FFFFFF"/>
                    </a:gs>
                  </a:gsLst>
                  <a:lin ang="5400000" scaled="0"/>
                </a:gradFill>
                <a:latin typeface="+mj-lt"/>
                <a:ea typeface="Segoe UI" pitchFamily="34" charset="0"/>
                <a:cs typeface="Segoe UI" pitchFamily="34" charset="0"/>
              </a:endParaRPr>
            </a:p>
          </p:txBody>
        </p:sp>
        <p:grpSp>
          <p:nvGrpSpPr>
            <p:cNvPr id="737" name="Group 253"/>
            <p:cNvGrpSpPr/>
            <p:nvPr/>
          </p:nvGrpSpPr>
          <p:grpSpPr>
            <a:xfrm>
              <a:off x="8455611" y="410086"/>
              <a:ext cx="375284" cy="116057"/>
              <a:chOff x="11164204" y="489310"/>
              <a:chExt cx="500378" cy="154743"/>
            </a:xfrm>
          </p:grpSpPr>
          <p:sp>
            <p:nvSpPr>
              <p:cNvPr id="255" name="Freeform 22"/>
              <p:cNvSpPr>
                <a:spLocks/>
              </p:cNvSpPr>
              <p:nvPr/>
            </p:nvSpPr>
            <p:spPr bwMode="auto">
              <a:xfrm rot="20679101">
                <a:off x="11198231" y="489310"/>
                <a:ext cx="97855" cy="104132"/>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6" name="Freeform 23"/>
              <p:cNvSpPr>
                <a:spLocks/>
              </p:cNvSpPr>
              <p:nvPr/>
            </p:nvSpPr>
            <p:spPr bwMode="auto">
              <a:xfrm rot="20679101">
                <a:off x="11164204" y="539921"/>
                <a:ext cx="97855" cy="104132"/>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7" name="Freeform 6"/>
              <p:cNvSpPr>
                <a:spLocks/>
              </p:cNvSpPr>
              <p:nvPr/>
            </p:nvSpPr>
            <p:spPr bwMode="auto">
              <a:xfrm>
                <a:off x="11302237" y="519616"/>
                <a:ext cx="108401" cy="11675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8" name="Freeform 7"/>
              <p:cNvSpPr>
                <a:spLocks/>
              </p:cNvSpPr>
              <p:nvPr/>
            </p:nvSpPr>
            <p:spPr bwMode="auto">
              <a:xfrm>
                <a:off x="11408562" y="521888"/>
                <a:ext cx="158237" cy="11211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259" name="Freeform 8"/>
              <p:cNvSpPr>
                <a:spLocks/>
              </p:cNvSpPr>
              <p:nvPr/>
            </p:nvSpPr>
            <p:spPr bwMode="auto">
              <a:xfrm>
                <a:off x="11562268" y="519616"/>
                <a:ext cx="102314" cy="11675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rgbClr val="6379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grpSp>
      </p:grpSp>
      <p:sp>
        <p:nvSpPr>
          <p:cNvPr id="247" name="Oval 2"/>
          <p:cNvSpPr/>
          <p:nvPr/>
        </p:nvSpPr>
        <p:spPr bwMode="auto">
          <a:xfrm>
            <a:off x="150398" y="69208"/>
            <a:ext cx="618034" cy="410787"/>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09665" tIns="54834" rIns="54834" bIns="109665" numCol="1" spcCol="0" rtlCol="0" fromWordArt="0" anchor="b" anchorCtr="0" forceAA="0" compatLnSpc="1">
            <a:prstTxWarp prst="textNoShape">
              <a:avLst/>
            </a:prstTxWarp>
            <a:noAutofit/>
          </a:bodyPr>
          <a:lstStyle/>
          <a:p>
            <a:pPr algn="ctr" defTabSz="1096189">
              <a:defRPr/>
            </a:pPr>
            <a:endParaRPr lang="en-US" sz="2400" kern="0" spc="-60" dirty="0" err="1">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248" name="Rectangle 247"/>
          <p:cNvSpPr/>
          <p:nvPr/>
        </p:nvSpPr>
        <p:spPr>
          <a:xfrm>
            <a:off x="154493" y="167209"/>
            <a:ext cx="633239" cy="311607"/>
          </a:xfrm>
          <a:prstGeom prst="rect">
            <a:avLst/>
          </a:prstGeom>
        </p:spPr>
        <p:txBody>
          <a:bodyPr wrap="none" lIns="91436" tIns="45718" rIns="91436" bIns="45718">
            <a:spAutoFit/>
          </a:bodyPr>
          <a:lstStyle/>
          <a:p>
            <a:pPr defTabSz="914103">
              <a:defRPr/>
            </a:pPr>
            <a:r>
              <a:rPr lang="en-US" sz="1400" kern="0" dirty="0">
                <a:ln w="3175">
                  <a:noFill/>
                </a:ln>
                <a:solidFill>
                  <a:srgbClr val="435153">
                    <a:lumMod val="50000"/>
                  </a:srgbClr>
                </a:solidFill>
                <a:latin typeface="+mj-lt"/>
                <a:cs typeface="Arial" charset="0"/>
              </a:rPr>
              <a:t>Talos</a:t>
            </a:r>
            <a:endParaRPr lang="en-US" kern="0" dirty="0">
              <a:solidFill>
                <a:srgbClr val="435153">
                  <a:lumMod val="50000"/>
                </a:srgbClr>
              </a:solidFill>
              <a:latin typeface="+mj-lt"/>
            </a:endParaRPr>
          </a:p>
        </p:txBody>
      </p:sp>
      <p:grpSp>
        <p:nvGrpSpPr>
          <p:cNvPr id="748" name="Group 79"/>
          <p:cNvGrpSpPr/>
          <p:nvPr/>
        </p:nvGrpSpPr>
        <p:grpSpPr>
          <a:xfrm>
            <a:off x="775280" y="168579"/>
            <a:ext cx="257417" cy="247198"/>
            <a:chOff x="775274" y="334231"/>
            <a:chExt cx="257417" cy="247198"/>
          </a:xfrm>
        </p:grpSpPr>
        <p:sp>
          <p:nvSpPr>
            <p:cNvPr id="249" name="Oval 248"/>
            <p:cNvSpPr/>
            <p:nvPr/>
          </p:nvSpPr>
          <p:spPr>
            <a:xfrm>
              <a:off x="775274" y="334231"/>
              <a:ext cx="257417" cy="247198"/>
            </a:xfrm>
            <a:prstGeom prst="ellipse">
              <a:avLst/>
            </a:prstGeom>
            <a:solidFill>
              <a:srgbClr val="0B0B0D"/>
            </a:solidFill>
            <a:ln w="9525" cap="flat" cmpd="sng" algn="ctr">
              <a:gradFill flip="none" rotWithShape="1">
                <a:gsLst>
                  <a:gs pos="0">
                    <a:srgbClr val="D81F28"/>
                  </a:gs>
                  <a:gs pos="96000">
                    <a:srgbClr val="00B0F0"/>
                  </a:gs>
                </a:gsLst>
                <a:lin ang="5400000" scaled="1"/>
                <a:tileRect/>
              </a:gradFill>
              <a:prstDash val="solid"/>
            </a:ln>
            <a:effectLst/>
          </p:spPr>
          <p:txBody>
            <a:bodyPr rtlCol="0" anchor="ctr"/>
            <a:lstStyle/>
            <a:p>
              <a:pPr algn="ctr" defTabSz="1218173">
                <a:defRPr/>
              </a:pPr>
              <a:endParaRPr lang="en-US" sz="2400" kern="0">
                <a:solidFill>
                  <a:prstClr val="white"/>
                </a:solidFill>
                <a:latin typeface="+mj-lt"/>
              </a:endParaRPr>
            </a:p>
          </p:txBody>
        </p:sp>
        <p:sp>
          <p:nvSpPr>
            <p:cNvPr id="250" name="Freeform 427"/>
            <p:cNvSpPr>
              <a:spLocks noEditPoints="1"/>
            </p:cNvSpPr>
            <p:nvPr/>
          </p:nvSpPr>
          <p:spPr bwMode="auto">
            <a:xfrm>
              <a:off x="818147" y="384494"/>
              <a:ext cx="76554" cy="159927"/>
            </a:xfrm>
            <a:custGeom>
              <a:avLst/>
              <a:gdLst>
                <a:gd name="T0" fmla="*/ 496 w 798"/>
                <a:gd name="T1" fmla="*/ 1229 h 1735"/>
                <a:gd name="T2" fmla="*/ 436 w 798"/>
                <a:gd name="T3" fmla="*/ 1169 h 1735"/>
                <a:gd name="T4" fmla="*/ 391 w 798"/>
                <a:gd name="T5" fmla="*/ 1110 h 1735"/>
                <a:gd name="T6" fmla="*/ 351 w 798"/>
                <a:gd name="T7" fmla="*/ 1037 h 1735"/>
                <a:gd name="T8" fmla="*/ 326 w 798"/>
                <a:gd name="T9" fmla="*/ 971 h 1735"/>
                <a:gd name="T10" fmla="*/ 307 w 798"/>
                <a:gd name="T11" fmla="*/ 882 h 1735"/>
                <a:gd name="T12" fmla="*/ 302 w 798"/>
                <a:gd name="T13" fmla="*/ 808 h 1735"/>
                <a:gd name="T14" fmla="*/ 304 w 798"/>
                <a:gd name="T15" fmla="*/ 752 h 1735"/>
                <a:gd name="T16" fmla="*/ 313 w 798"/>
                <a:gd name="T17" fmla="*/ 697 h 1735"/>
                <a:gd name="T18" fmla="*/ 327 w 798"/>
                <a:gd name="T19" fmla="*/ 642 h 1735"/>
                <a:gd name="T20" fmla="*/ 347 w 798"/>
                <a:gd name="T21" fmla="*/ 589 h 1735"/>
                <a:gd name="T22" fmla="*/ 397 w 798"/>
                <a:gd name="T23" fmla="*/ 497 h 1735"/>
                <a:gd name="T24" fmla="*/ 464 w 798"/>
                <a:gd name="T25" fmla="*/ 415 h 1735"/>
                <a:gd name="T26" fmla="*/ 577 w 798"/>
                <a:gd name="T27" fmla="*/ 328 h 1735"/>
                <a:gd name="T28" fmla="*/ 668 w 798"/>
                <a:gd name="T29" fmla="*/ 285 h 1735"/>
                <a:gd name="T30" fmla="*/ 723 w 798"/>
                <a:gd name="T31" fmla="*/ 236 h 1735"/>
                <a:gd name="T32" fmla="*/ 749 w 798"/>
                <a:gd name="T33" fmla="*/ 168 h 1735"/>
                <a:gd name="T34" fmla="*/ 739 w 798"/>
                <a:gd name="T35" fmla="*/ 95 h 1735"/>
                <a:gd name="T36" fmla="*/ 707 w 798"/>
                <a:gd name="T37" fmla="*/ 45 h 1735"/>
                <a:gd name="T38" fmla="*/ 646 w 798"/>
                <a:gd name="T39" fmla="*/ 7 h 1735"/>
                <a:gd name="T40" fmla="*/ 573 w 798"/>
                <a:gd name="T41" fmla="*/ 2 h 1735"/>
                <a:gd name="T42" fmla="*/ 463 w 798"/>
                <a:gd name="T43" fmla="*/ 47 h 1735"/>
                <a:gd name="T44" fmla="*/ 284 w 798"/>
                <a:gd name="T45" fmla="*/ 171 h 1735"/>
                <a:gd name="T46" fmla="*/ 173 w 798"/>
                <a:gd name="T47" fmla="*/ 293 h 1735"/>
                <a:gd name="T48" fmla="*/ 74 w 798"/>
                <a:gd name="T49" fmla="*/ 462 h 1735"/>
                <a:gd name="T50" fmla="*/ 71 w 798"/>
                <a:gd name="T51" fmla="*/ 469 h 1735"/>
                <a:gd name="T52" fmla="*/ 40 w 798"/>
                <a:gd name="T53" fmla="*/ 551 h 1735"/>
                <a:gd name="T54" fmla="*/ 18 w 798"/>
                <a:gd name="T55" fmla="*/ 636 h 1735"/>
                <a:gd name="T56" fmla="*/ 4 w 798"/>
                <a:gd name="T57" fmla="*/ 721 h 1735"/>
                <a:gd name="T58" fmla="*/ 0 w 798"/>
                <a:gd name="T59" fmla="*/ 813 h 1735"/>
                <a:gd name="T60" fmla="*/ 6 w 798"/>
                <a:gd name="T61" fmla="*/ 909 h 1735"/>
                <a:gd name="T62" fmla="*/ 20 w 798"/>
                <a:gd name="T63" fmla="*/ 986 h 1735"/>
                <a:gd name="T64" fmla="*/ 38 w 798"/>
                <a:gd name="T65" fmla="*/ 1059 h 1735"/>
                <a:gd name="T66" fmla="*/ 68 w 798"/>
                <a:gd name="T67" fmla="*/ 1142 h 1735"/>
                <a:gd name="T68" fmla="*/ 102 w 798"/>
                <a:gd name="T69" fmla="*/ 1214 h 1735"/>
                <a:gd name="T70" fmla="*/ 197 w 798"/>
                <a:gd name="T71" fmla="*/ 1355 h 1735"/>
                <a:gd name="T72" fmla="*/ 184 w 798"/>
                <a:gd name="T73" fmla="*/ 1610 h 1735"/>
                <a:gd name="T74" fmla="*/ 149 w 798"/>
                <a:gd name="T75" fmla="*/ 1659 h 1735"/>
                <a:gd name="T76" fmla="*/ 152 w 798"/>
                <a:gd name="T77" fmla="*/ 1707 h 1735"/>
                <a:gd name="T78" fmla="*/ 203 w 798"/>
                <a:gd name="T79" fmla="*/ 1733 h 1735"/>
                <a:gd name="T80" fmla="*/ 639 w 798"/>
                <a:gd name="T81" fmla="*/ 1734 h 1735"/>
                <a:gd name="T82" fmla="*/ 719 w 798"/>
                <a:gd name="T83" fmla="*/ 1706 h 1735"/>
                <a:gd name="T84" fmla="*/ 776 w 798"/>
                <a:gd name="T85" fmla="*/ 1642 h 1735"/>
                <a:gd name="T86" fmla="*/ 798 w 798"/>
                <a:gd name="T87" fmla="*/ 1559 h 1735"/>
                <a:gd name="T88" fmla="*/ 792 w 798"/>
                <a:gd name="T89" fmla="*/ 1127 h 1735"/>
                <a:gd name="T90" fmla="*/ 761 w 798"/>
                <a:gd name="T91" fmla="*/ 1085 h 1735"/>
                <a:gd name="T92" fmla="*/ 709 w 798"/>
                <a:gd name="T93" fmla="*/ 1093 h 1735"/>
                <a:gd name="T94" fmla="*/ 315 w 798"/>
                <a:gd name="T95" fmla="*/ 265 h 1735"/>
                <a:gd name="T96" fmla="*/ 437 w 798"/>
                <a:gd name="T97" fmla="*/ 166 h 1735"/>
                <a:gd name="T98" fmla="*/ 576 w 798"/>
                <a:gd name="T99" fmla="*/ 94 h 1735"/>
                <a:gd name="T100" fmla="*/ 622 w 798"/>
                <a:gd name="T101" fmla="*/ 95 h 1735"/>
                <a:gd name="T102" fmla="*/ 655 w 798"/>
                <a:gd name="T103" fmla="*/ 129 h 1735"/>
                <a:gd name="T104" fmla="*/ 658 w 798"/>
                <a:gd name="T105" fmla="*/ 163 h 1735"/>
                <a:gd name="T106" fmla="*/ 626 w 798"/>
                <a:gd name="T107" fmla="*/ 204 h 1735"/>
                <a:gd name="T108" fmla="*/ 532 w 798"/>
                <a:gd name="T109" fmla="*/ 250 h 1735"/>
                <a:gd name="T110" fmla="*/ 401 w 798"/>
                <a:gd name="T111" fmla="*/ 351 h 1735"/>
                <a:gd name="T112" fmla="*/ 369 w 798"/>
                <a:gd name="T113" fmla="*/ 367 h 1735"/>
                <a:gd name="T114" fmla="*/ 321 w 798"/>
                <a:gd name="T115" fmla="*/ 355 h 1735"/>
                <a:gd name="T116" fmla="*/ 302 w 798"/>
                <a:gd name="T117" fmla="*/ 331 h 1735"/>
                <a:gd name="T118" fmla="*/ 307 w 798"/>
                <a:gd name="T119" fmla="*/ 274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5">
                  <a:moveTo>
                    <a:pt x="672" y="1122"/>
                  </a:moveTo>
                  <a:lnTo>
                    <a:pt x="535" y="1259"/>
                  </a:lnTo>
                  <a:lnTo>
                    <a:pt x="535" y="1259"/>
                  </a:lnTo>
                  <a:lnTo>
                    <a:pt x="515" y="1245"/>
                  </a:lnTo>
                  <a:lnTo>
                    <a:pt x="496" y="1229"/>
                  </a:lnTo>
                  <a:lnTo>
                    <a:pt x="477" y="1212"/>
                  </a:lnTo>
                  <a:lnTo>
                    <a:pt x="459" y="1195"/>
                  </a:lnTo>
                  <a:lnTo>
                    <a:pt x="459" y="1195"/>
                  </a:lnTo>
                  <a:lnTo>
                    <a:pt x="436" y="1169"/>
                  </a:lnTo>
                  <a:lnTo>
                    <a:pt x="436" y="1169"/>
                  </a:lnTo>
                  <a:lnTo>
                    <a:pt x="424" y="1154"/>
                  </a:lnTo>
                  <a:lnTo>
                    <a:pt x="411" y="1138"/>
                  </a:lnTo>
                  <a:lnTo>
                    <a:pt x="411" y="1138"/>
                  </a:lnTo>
                  <a:lnTo>
                    <a:pt x="401" y="1124"/>
                  </a:lnTo>
                  <a:lnTo>
                    <a:pt x="391" y="1110"/>
                  </a:lnTo>
                  <a:lnTo>
                    <a:pt x="391" y="1110"/>
                  </a:lnTo>
                  <a:lnTo>
                    <a:pt x="376" y="1085"/>
                  </a:lnTo>
                  <a:lnTo>
                    <a:pt x="362" y="1060"/>
                  </a:lnTo>
                  <a:lnTo>
                    <a:pt x="362" y="1060"/>
                  </a:lnTo>
                  <a:lnTo>
                    <a:pt x="351" y="1037"/>
                  </a:lnTo>
                  <a:lnTo>
                    <a:pt x="351" y="1037"/>
                  </a:lnTo>
                  <a:lnTo>
                    <a:pt x="340" y="1010"/>
                  </a:lnTo>
                  <a:lnTo>
                    <a:pt x="330" y="982"/>
                  </a:lnTo>
                  <a:lnTo>
                    <a:pt x="330" y="982"/>
                  </a:lnTo>
                  <a:lnTo>
                    <a:pt x="326" y="971"/>
                  </a:lnTo>
                  <a:lnTo>
                    <a:pt x="326" y="971"/>
                  </a:lnTo>
                  <a:lnTo>
                    <a:pt x="317" y="936"/>
                  </a:lnTo>
                  <a:lnTo>
                    <a:pt x="310" y="901"/>
                  </a:lnTo>
                  <a:lnTo>
                    <a:pt x="310" y="901"/>
                  </a:lnTo>
                  <a:lnTo>
                    <a:pt x="307" y="882"/>
                  </a:lnTo>
                  <a:lnTo>
                    <a:pt x="307" y="882"/>
                  </a:lnTo>
                  <a:lnTo>
                    <a:pt x="303" y="846"/>
                  </a:lnTo>
                  <a:lnTo>
                    <a:pt x="302" y="827"/>
                  </a:lnTo>
                  <a:lnTo>
                    <a:pt x="302" y="808"/>
                  </a:lnTo>
                  <a:lnTo>
                    <a:pt x="302" y="808"/>
                  </a:lnTo>
                  <a:lnTo>
                    <a:pt x="302" y="806"/>
                  </a:lnTo>
                  <a:lnTo>
                    <a:pt x="302" y="806"/>
                  </a:lnTo>
                  <a:lnTo>
                    <a:pt x="303" y="778"/>
                  </a:lnTo>
                  <a:lnTo>
                    <a:pt x="304" y="752"/>
                  </a:lnTo>
                  <a:lnTo>
                    <a:pt x="304" y="752"/>
                  </a:lnTo>
                  <a:lnTo>
                    <a:pt x="308" y="726"/>
                  </a:lnTo>
                  <a:lnTo>
                    <a:pt x="308" y="726"/>
                  </a:lnTo>
                  <a:lnTo>
                    <a:pt x="310" y="712"/>
                  </a:lnTo>
                  <a:lnTo>
                    <a:pt x="313" y="697"/>
                  </a:lnTo>
                  <a:lnTo>
                    <a:pt x="313" y="697"/>
                  </a:lnTo>
                  <a:lnTo>
                    <a:pt x="315" y="687"/>
                  </a:lnTo>
                  <a:lnTo>
                    <a:pt x="318" y="676"/>
                  </a:lnTo>
                  <a:lnTo>
                    <a:pt x="318" y="676"/>
                  </a:lnTo>
                  <a:lnTo>
                    <a:pt x="323" y="659"/>
                  </a:lnTo>
                  <a:lnTo>
                    <a:pt x="327" y="642"/>
                  </a:lnTo>
                  <a:lnTo>
                    <a:pt x="327" y="642"/>
                  </a:lnTo>
                  <a:lnTo>
                    <a:pt x="333" y="627"/>
                  </a:lnTo>
                  <a:lnTo>
                    <a:pt x="333" y="627"/>
                  </a:lnTo>
                  <a:lnTo>
                    <a:pt x="339" y="608"/>
                  </a:lnTo>
                  <a:lnTo>
                    <a:pt x="347" y="589"/>
                  </a:lnTo>
                  <a:lnTo>
                    <a:pt x="347" y="589"/>
                  </a:lnTo>
                  <a:lnTo>
                    <a:pt x="358" y="565"/>
                  </a:lnTo>
                  <a:lnTo>
                    <a:pt x="369" y="542"/>
                  </a:lnTo>
                  <a:lnTo>
                    <a:pt x="383" y="519"/>
                  </a:lnTo>
                  <a:lnTo>
                    <a:pt x="397" y="497"/>
                  </a:lnTo>
                  <a:lnTo>
                    <a:pt x="412" y="475"/>
                  </a:lnTo>
                  <a:lnTo>
                    <a:pt x="429" y="454"/>
                  </a:lnTo>
                  <a:lnTo>
                    <a:pt x="446" y="435"/>
                  </a:lnTo>
                  <a:lnTo>
                    <a:pt x="464" y="415"/>
                  </a:lnTo>
                  <a:lnTo>
                    <a:pt x="464" y="415"/>
                  </a:lnTo>
                  <a:lnTo>
                    <a:pt x="486" y="395"/>
                  </a:lnTo>
                  <a:lnTo>
                    <a:pt x="507" y="376"/>
                  </a:lnTo>
                  <a:lnTo>
                    <a:pt x="530" y="359"/>
                  </a:lnTo>
                  <a:lnTo>
                    <a:pt x="553" y="343"/>
                  </a:lnTo>
                  <a:lnTo>
                    <a:pt x="577" y="328"/>
                  </a:lnTo>
                  <a:lnTo>
                    <a:pt x="602" y="314"/>
                  </a:lnTo>
                  <a:lnTo>
                    <a:pt x="627" y="302"/>
                  </a:lnTo>
                  <a:lnTo>
                    <a:pt x="654" y="291"/>
                  </a:lnTo>
                  <a:lnTo>
                    <a:pt x="654" y="291"/>
                  </a:lnTo>
                  <a:lnTo>
                    <a:pt x="668" y="285"/>
                  </a:lnTo>
                  <a:lnTo>
                    <a:pt x="682" y="277"/>
                  </a:lnTo>
                  <a:lnTo>
                    <a:pt x="693" y="268"/>
                  </a:lnTo>
                  <a:lnTo>
                    <a:pt x="704" y="258"/>
                  </a:lnTo>
                  <a:lnTo>
                    <a:pt x="714" y="247"/>
                  </a:lnTo>
                  <a:lnTo>
                    <a:pt x="723" y="236"/>
                  </a:lnTo>
                  <a:lnTo>
                    <a:pt x="730" y="223"/>
                  </a:lnTo>
                  <a:lnTo>
                    <a:pt x="737" y="210"/>
                  </a:lnTo>
                  <a:lnTo>
                    <a:pt x="742" y="197"/>
                  </a:lnTo>
                  <a:lnTo>
                    <a:pt x="746" y="183"/>
                  </a:lnTo>
                  <a:lnTo>
                    <a:pt x="749" y="168"/>
                  </a:lnTo>
                  <a:lnTo>
                    <a:pt x="750" y="154"/>
                  </a:lnTo>
                  <a:lnTo>
                    <a:pt x="749" y="140"/>
                  </a:lnTo>
                  <a:lnTo>
                    <a:pt x="747" y="125"/>
                  </a:lnTo>
                  <a:lnTo>
                    <a:pt x="744" y="110"/>
                  </a:lnTo>
                  <a:lnTo>
                    <a:pt x="739" y="95"/>
                  </a:lnTo>
                  <a:lnTo>
                    <a:pt x="739" y="95"/>
                  </a:lnTo>
                  <a:lnTo>
                    <a:pt x="732" y="82"/>
                  </a:lnTo>
                  <a:lnTo>
                    <a:pt x="725" y="68"/>
                  </a:lnTo>
                  <a:lnTo>
                    <a:pt x="716" y="56"/>
                  </a:lnTo>
                  <a:lnTo>
                    <a:pt x="707" y="45"/>
                  </a:lnTo>
                  <a:lnTo>
                    <a:pt x="696" y="35"/>
                  </a:lnTo>
                  <a:lnTo>
                    <a:pt x="685" y="27"/>
                  </a:lnTo>
                  <a:lnTo>
                    <a:pt x="672" y="18"/>
                  </a:lnTo>
                  <a:lnTo>
                    <a:pt x="659" y="12"/>
                  </a:lnTo>
                  <a:lnTo>
                    <a:pt x="646" y="7"/>
                  </a:lnTo>
                  <a:lnTo>
                    <a:pt x="632" y="3"/>
                  </a:lnTo>
                  <a:lnTo>
                    <a:pt x="617" y="1"/>
                  </a:lnTo>
                  <a:lnTo>
                    <a:pt x="603" y="0"/>
                  </a:lnTo>
                  <a:lnTo>
                    <a:pt x="588" y="0"/>
                  </a:lnTo>
                  <a:lnTo>
                    <a:pt x="573" y="2"/>
                  </a:lnTo>
                  <a:lnTo>
                    <a:pt x="558" y="5"/>
                  </a:lnTo>
                  <a:lnTo>
                    <a:pt x="544" y="10"/>
                  </a:lnTo>
                  <a:lnTo>
                    <a:pt x="544" y="10"/>
                  </a:lnTo>
                  <a:lnTo>
                    <a:pt x="503" y="28"/>
                  </a:lnTo>
                  <a:lnTo>
                    <a:pt x="463" y="47"/>
                  </a:lnTo>
                  <a:lnTo>
                    <a:pt x="425" y="67"/>
                  </a:lnTo>
                  <a:lnTo>
                    <a:pt x="388" y="91"/>
                  </a:lnTo>
                  <a:lnTo>
                    <a:pt x="352" y="115"/>
                  </a:lnTo>
                  <a:lnTo>
                    <a:pt x="317" y="143"/>
                  </a:lnTo>
                  <a:lnTo>
                    <a:pt x="284" y="171"/>
                  </a:lnTo>
                  <a:lnTo>
                    <a:pt x="252" y="202"/>
                  </a:lnTo>
                  <a:lnTo>
                    <a:pt x="252" y="202"/>
                  </a:lnTo>
                  <a:lnTo>
                    <a:pt x="224" y="231"/>
                  </a:lnTo>
                  <a:lnTo>
                    <a:pt x="197" y="261"/>
                  </a:lnTo>
                  <a:lnTo>
                    <a:pt x="173" y="293"/>
                  </a:lnTo>
                  <a:lnTo>
                    <a:pt x="150" y="324"/>
                  </a:lnTo>
                  <a:lnTo>
                    <a:pt x="129" y="358"/>
                  </a:lnTo>
                  <a:lnTo>
                    <a:pt x="108" y="392"/>
                  </a:lnTo>
                  <a:lnTo>
                    <a:pt x="90" y="426"/>
                  </a:lnTo>
                  <a:lnTo>
                    <a:pt x="74" y="462"/>
                  </a:lnTo>
                  <a:lnTo>
                    <a:pt x="74" y="462"/>
                  </a:lnTo>
                  <a:lnTo>
                    <a:pt x="72" y="466"/>
                  </a:lnTo>
                  <a:lnTo>
                    <a:pt x="72" y="466"/>
                  </a:lnTo>
                  <a:lnTo>
                    <a:pt x="71" y="469"/>
                  </a:lnTo>
                  <a:lnTo>
                    <a:pt x="71" y="469"/>
                  </a:lnTo>
                  <a:lnTo>
                    <a:pt x="57" y="502"/>
                  </a:lnTo>
                  <a:lnTo>
                    <a:pt x="45" y="535"/>
                  </a:lnTo>
                  <a:lnTo>
                    <a:pt x="45" y="535"/>
                  </a:lnTo>
                  <a:lnTo>
                    <a:pt x="40" y="551"/>
                  </a:lnTo>
                  <a:lnTo>
                    <a:pt x="40" y="551"/>
                  </a:lnTo>
                  <a:lnTo>
                    <a:pt x="31" y="583"/>
                  </a:lnTo>
                  <a:lnTo>
                    <a:pt x="23" y="615"/>
                  </a:lnTo>
                  <a:lnTo>
                    <a:pt x="23" y="615"/>
                  </a:lnTo>
                  <a:lnTo>
                    <a:pt x="21" y="625"/>
                  </a:lnTo>
                  <a:lnTo>
                    <a:pt x="18" y="636"/>
                  </a:lnTo>
                  <a:lnTo>
                    <a:pt x="18" y="636"/>
                  </a:lnTo>
                  <a:lnTo>
                    <a:pt x="13" y="668"/>
                  </a:lnTo>
                  <a:lnTo>
                    <a:pt x="7" y="701"/>
                  </a:lnTo>
                  <a:lnTo>
                    <a:pt x="7" y="701"/>
                  </a:lnTo>
                  <a:lnTo>
                    <a:pt x="4" y="721"/>
                  </a:lnTo>
                  <a:lnTo>
                    <a:pt x="4" y="721"/>
                  </a:lnTo>
                  <a:lnTo>
                    <a:pt x="1" y="764"/>
                  </a:lnTo>
                  <a:lnTo>
                    <a:pt x="0" y="808"/>
                  </a:lnTo>
                  <a:lnTo>
                    <a:pt x="0" y="808"/>
                  </a:lnTo>
                  <a:lnTo>
                    <a:pt x="0" y="813"/>
                  </a:lnTo>
                  <a:lnTo>
                    <a:pt x="0" y="813"/>
                  </a:lnTo>
                  <a:lnTo>
                    <a:pt x="1" y="849"/>
                  </a:lnTo>
                  <a:lnTo>
                    <a:pt x="4" y="884"/>
                  </a:lnTo>
                  <a:lnTo>
                    <a:pt x="4" y="884"/>
                  </a:lnTo>
                  <a:lnTo>
                    <a:pt x="6" y="909"/>
                  </a:lnTo>
                  <a:lnTo>
                    <a:pt x="6" y="909"/>
                  </a:lnTo>
                  <a:lnTo>
                    <a:pt x="11" y="936"/>
                  </a:lnTo>
                  <a:lnTo>
                    <a:pt x="15" y="963"/>
                  </a:lnTo>
                  <a:lnTo>
                    <a:pt x="15" y="963"/>
                  </a:lnTo>
                  <a:lnTo>
                    <a:pt x="20" y="986"/>
                  </a:lnTo>
                  <a:lnTo>
                    <a:pt x="20" y="986"/>
                  </a:lnTo>
                  <a:lnTo>
                    <a:pt x="27" y="1020"/>
                  </a:lnTo>
                  <a:lnTo>
                    <a:pt x="36" y="1053"/>
                  </a:lnTo>
                  <a:lnTo>
                    <a:pt x="36" y="1053"/>
                  </a:lnTo>
                  <a:lnTo>
                    <a:pt x="38" y="1059"/>
                  </a:lnTo>
                  <a:lnTo>
                    <a:pt x="38" y="1059"/>
                  </a:lnTo>
                  <a:lnTo>
                    <a:pt x="50" y="1097"/>
                  </a:lnTo>
                  <a:lnTo>
                    <a:pt x="65" y="1134"/>
                  </a:lnTo>
                  <a:lnTo>
                    <a:pt x="65" y="1134"/>
                  </a:lnTo>
                  <a:lnTo>
                    <a:pt x="68" y="1142"/>
                  </a:lnTo>
                  <a:lnTo>
                    <a:pt x="68" y="1142"/>
                  </a:lnTo>
                  <a:lnTo>
                    <a:pt x="83" y="1175"/>
                  </a:lnTo>
                  <a:lnTo>
                    <a:pt x="100" y="1209"/>
                  </a:lnTo>
                  <a:lnTo>
                    <a:pt x="100" y="1209"/>
                  </a:lnTo>
                  <a:lnTo>
                    <a:pt x="102" y="1214"/>
                  </a:lnTo>
                  <a:lnTo>
                    <a:pt x="102" y="1214"/>
                  </a:lnTo>
                  <a:lnTo>
                    <a:pt x="123" y="1251"/>
                  </a:lnTo>
                  <a:lnTo>
                    <a:pt x="146" y="1286"/>
                  </a:lnTo>
                  <a:lnTo>
                    <a:pt x="171" y="1322"/>
                  </a:lnTo>
                  <a:lnTo>
                    <a:pt x="197" y="1355"/>
                  </a:lnTo>
                  <a:lnTo>
                    <a:pt x="225" y="1387"/>
                  </a:lnTo>
                  <a:lnTo>
                    <a:pt x="254" y="1418"/>
                  </a:lnTo>
                  <a:lnTo>
                    <a:pt x="286" y="1448"/>
                  </a:lnTo>
                  <a:lnTo>
                    <a:pt x="318" y="1476"/>
                  </a:lnTo>
                  <a:lnTo>
                    <a:pt x="184" y="1610"/>
                  </a:lnTo>
                  <a:lnTo>
                    <a:pt x="184" y="1610"/>
                  </a:lnTo>
                  <a:lnTo>
                    <a:pt x="173" y="1623"/>
                  </a:lnTo>
                  <a:lnTo>
                    <a:pt x="162" y="1635"/>
                  </a:lnTo>
                  <a:lnTo>
                    <a:pt x="155" y="1647"/>
                  </a:lnTo>
                  <a:lnTo>
                    <a:pt x="149" y="1659"/>
                  </a:lnTo>
                  <a:lnTo>
                    <a:pt x="146" y="1670"/>
                  </a:lnTo>
                  <a:lnTo>
                    <a:pt x="145" y="1680"/>
                  </a:lnTo>
                  <a:lnTo>
                    <a:pt x="145" y="1689"/>
                  </a:lnTo>
                  <a:lnTo>
                    <a:pt x="148" y="1698"/>
                  </a:lnTo>
                  <a:lnTo>
                    <a:pt x="152" y="1707"/>
                  </a:lnTo>
                  <a:lnTo>
                    <a:pt x="158" y="1714"/>
                  </a:lnTo>
                  <a:lnTo>
                    <a:pt x="167" y="1720"/>
                  </a:lnTo>
                  <a:lnTo>
                    <a:pt x="177" y="1726"/>
                  </a:lnTo>
                  <a:lnTo>
                    <a:pt x="189" y="1730"/>
                  </a:lnTo>
                  <a:lnTo>
                    <a:pt x="203" y="1733"/>
                  </a:lnTo>
                  <a:lnTo>
                    <a:pt x="219" y="1735"/>
                  </a:lnTo>
                  <a:lnTo>
                    <a:pt x="236" y="1735"/>
                  </a:lnTo>
                  <a:lnTo>
                    <a:pt x="620" y="1735"/>
                  </a:lnTo>
                  <a:lnTo>
                    <a:pt x="620" y="1735"/>
                  </a:lnTo>
                  <a:lnTo>
                    <a:pt x="639" y="1734"/>
                  </a:lnTo>
                  <a:lnTo>
                    <a:pt x="656" y="1732"/>
                  </a:lnTo>
                  <a:lnTo>
                    <a:pt x="673" y="1727"/>
                  </a:lnTo>
                  <a:lnTo>
                    <a:pt x="690" y="1722"/>
                  </a:lnTo>
                  <a:lnTo>
                    <a:pt x="705" y="1714"/>
                  </a:lnTo>
                  <a:lnTo>
                    <a:pt x="719" y="1706"/>
                  </a:lnTo>
                  <a:lnTo>
                    <a:pt x="732" y="1695"/>
                  </a:lnTo>
                  <a:lnTo>
                    <a:pt x="746" y="1683"/>
                  </a:lnTo>
                  <a:lnTo>
                    <a:pt x="757" y="1671"/>
                  </a:lnTo>
                  <a:lnTo>
                    <a:pt x="767" y="1658"/>
                  </a:lnTo>
                  <a:lnTo>
                    <a:pt x="776" y="1642"/>
                  </a:lnTo>
                  <a:lnTo>
                    <a:pt x="783" y="1627"/>
                  </a:lnTo>
                  <a:lnTo>
                    <a:pt x="790" y="1611"/>
                  </a:lnTo>
                  <a:lnTo>
                    <a:pt x="794" y="1594"/>
                  </a:lnTo>
                  <a:lnTo>
                    <a:pt x="797" y="1576"/>
                  </a:lnTo>
                  <a:lnTo>
                    <a:pt x="798" y="1559"/>
                  </a:lnTo>
                  <a:lnTo>
                    <a:pt x="798" y="1174"/>
                  </a:lnTo>
                  <a:lnTo>
                    <a:pt x="798" y="1174"/>
                  </a:lnTo>
                  <a:lnTo>
                    <a:pt x="797" y="1157"/>
                  </a:lnTo>
                  <a:lnTo>
                    <a:pt x="795" y="1140"/>
                  </a:lnTo>
                  <a:lnTo>
                    <a:pt x="792" y="1127"/>
                  </a:lnTo>
                  <a:lnTo>
                    <a:pt x="788" y="1115"/>
                  </a:lnTo>
                  <a:lnTo>
                    <a:pt x="782" y="1105"/>
                  </a:lnTo>
                  <a:lnTo>
                    <a:pt x="776" y="1097"/>
                  </a:lnTo>
                  <a:lnTo>
                    <a:pt x="769" y="1089"/>
                  </a:lnTo>
                  <a:lnTo>
                    <a:pt x="761" y="1085"/>
                  </a:lnTo>
                  <a:lnTo>
                    <a:pt x="752" y="1083"/>
                  </a:lnTo>
                  <a:lnTo>
                    <a:pt x="743" y="1082"/>
                  </a:lnTo>
                  <a:lnTo>
                    <a:pt x="731" y="1083"/>
                  </a:lnTo>
                  <a:lnTo>
                    <a:pt x="721" y="1087"/>
                  </a:lnTo>
                  <a:lnTo>
                    <a:pt x="709" y="1093"/>
                  </a:lnTo>
                  <a:lnTo>
                    <a:pt x="698" y="1101"/>
                  </a:lnTo>
                  <a:lnTo>
                    <a:pt x="686" y="1110"/>
                  </a:lnTo>
                  <a:lnTo>
                    <a:pt x="672" y="1122"/>
                  </a:lnTo>
                  <a:lnTo>
                    <a:pt x="672" y="1122"/>
                  </a:lnTo>
                  <a:close/>
                  <a:moveTo>
                    <a:pt x="315" y="265"/>
                  </a:moveTo>
                  <a:lnTo>
                    <a:pt x="315" y="265"/>
                  </a:lnTo>
                  <a:lnTo>
                    <a:pt x="344" y="238"/>
                  </a:lnTo>
                  <a:lnTo>
                    <a:pt x="374" y="212"/>
                  </a:lnTo>
                  <a:lnTo>
                    <a:pt x="405" y="189"/>
                  </a:lnTo>
                  <a:lnTo>
                    <a:pt x="437" y="166"/>
                  </a:lnTo>
                  <a:lnTo>
                    <a:pt x="470" y="146"/>
                  </a:lnTo>
                  <a:lnTo>
                    <a:pt x="505" y="127"/>
                  </a:lnTo>
                  <a:lnTo>
                    <a:pt x="541" y="109"/>
                  </a:lnTo>
                  <a:lnTo>
                    <a:pt x="576" y="94"/>
                  </a:lnTo>
                  <a:lnTo>
                    <a:pt x="576" y="94"/>
                  </a:lnTo>
                  <a:lnTo>
                    <a:pt x="583" y="92"/>
                  </a:lnTo>
                  <a:lnTo>
                    <a:pt x="589" y="91"/>
                  </a:lnTo>
                  <a:lnTo>
                    <a:pt x="600" y="90"/>
                  </a:lnTo>
                  <a:lnTo>
                    <a:pt x="612" y="92"/>
                  </a:lnTo>
                  <a:lnTo>
                    <a:pt x="622" y="95"/>
                  </a:lnTo>
                  <a:lnTo>
                    <a:pt x="633" y="101"/>
                  </a:lnTo>
                  <a:lnTo>
                    <a:pt x="642" y="108"/>
                  </a:lnTo>
                  <a:lnTo>
                    <a:pt x="649" y="117"/>
                  </a:lnTo>
                  <a:lnTo>
                    <a:pt x="652" y="122"/>
                  </a:lnTo>
                  <a:lnTo>
                    <a:pt x="655" y="129"/>
                  </a:lnTo>
                  <a:lnTo>
                    <a:pt x="655" y="129"/>
                  </a:lnTo>
                  <a:lnTo>
                    <a:pt x="657" y="134"/>
                  </a:lnTo>
                  <a:lnTo>
                    <a:pt x="658" y="140"/>
                  </a:lnTo>
                  <a:lnTo>
                    <a:pt x="659" y="152"/>
                  </a:lnTo>
                  <a:lnTo>
                    <a:pt x="658" y="163"/>
                  </a:lnTo>
                  <a:lnTo>
                    <a:pt x="654" y="175"/>
                  </a:lnTo>
                  <a:lnTo>
                    <a:pt x="649" y="185"/>
                  </a:lnTo>
                  <a:lnTo>
                    <a:pt x="641" y="194"/>
                  </a:lnTo>
                  <a:lnTo>
                    <a:pt x="632" y="201"/>
                  </a:lnTo>
                  <a:lnTo>
                    <a:pt x="626" y="204"/>
                  </a:lnTo>
                  <a:lnTo>
                    <a:pt x="620" y="206"/>
                  </a:lnTo>
                  <a:lnTo>
                    <a:pt x="620" y="206"/>
                  </a:lnTo>
                  <a:lnTo>
                    <a:pt x="590" y="219"/>
                  </a:lnTo>
                  <a:lnTo>
                    <a:pt x="560" y="234"/>
                  </a:lnTo>
                  <a:lnTo>
                    <a:pt x="532" y="250"/>
                  </a:lnTo>
                  <a:lnTo>
                    <a:pt x="503" y="267"/>
                  </a:lnTo>
                  <a:lnTo>
                    <a:pt x="477" y="286"/>
                  </a:lnTo>
                  <a:lnTo>
                    <a:pt x="450" y="306"/>
                  </a:lnTo>
                  <a:lnTo>
                    <a:pt x="425" y="328"/>
                  </a:lnTo>
                  <a:lnTo>
                    <a:pt x="401" y="351"/>
                  </a:lnTo>
                  <a:lnTo>
                    <a:pt x="401" y="351"/>
                  </a:lnTo>
                  <a:lnTo>
                    <a:pt x="396" y="355"/>
                  </a:lnTo>
                  <a:lnTo>
                    <a:pt x="391" y="359"/>
                  </a:lnTo>
                  <a:lnTo>
                    <a:pt x="381" y="364"/>
                  </a:lnTo>
                  <a:lnTo>
                    <a:pt x="369" y="367"/>
                  </a:lnTo>
                  <a:lnTo>
                    <a:pt x="358" y="368"/>
                  </a:lnTo>
                  <a:lnTo>
                    <a:pt x="347" y="367"/>
                  </a:lnTo>
                  <a:lnTo>
                    <a:pt x="336" y="364"/>
                  </a:lnTo>
                  <a:lnTo>
                    <a:pt x="325" y="359"/>
                  </a:lnTo>
                  <a:lnTo>
                    <a:pt x="321" y="355"/>
                  </a:lnTo>
                  <a:lnTo>
                    <a:pt x="315" y="351"/>
                  </a:lnTo>
                  <a:lnTo>
                    <a:pt x="315" y="351"/>
                  </a:lnTo>
                  <a:lnTo>
                    <a:pt x="311" y="347"/>
                  </a:lnTo>
                  <a:lnTo>
                    <a:pt x="307" y="342"/>
                  </a:lnTo>
                  <a:lnTo>
                    <a:pt x="302" y="331"/>
                  </a:lnTo>
                  <a:lnTo>
                    <a:pt x="299" y="319"/>
                  </a:lnTo>
                  <a:lnTo>
                    <a:pt x="298" y="308"/>
                  </a:lnTo>
                  <a:lnTo>
                    <a:pt x="299" y="297"/>
                  </a:lnTo>
                  <a:lnTo>
                    <a:pt x="302" y="286"/>
                  </a:lnTo>
                  <a:lnTo>
                    <a:pt x="307" y="274"/>
                  </a:lnTo>
                  <a:lnTo>
                    <a:pt x="311" y="270"/>
                  </a:lnTo>
                  <a:lnTo>
                    <a:pt x="315" y="265"/>
                  </a:lnTo>
                  <a:lnTo>
                    <a:pt x="315" y="265"/>
                  </a:lnTo>
                  <a:close/>
                </a:path>
              </a:pathLst>
            </a:custGeom>
            <a:solidFill>
              <a:schemeClr val="accent4"/>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sp>
          <p:nvSpPr>
            <p:cNvPr id="251" name="Freeform 428"/>
            <p:cNvSpPr>
              <a:spLocks noEditPoints="1"/>
            </p:cNvSpPr>
            <p:nvPr/>
          </p:nvSpPr>
          <p:spPr bwMode="auto">
            <a:xfrm>
              <a:off x="906117" y="373530"/>
              <a:ext cx="78883" cy="159927"/>
            </a:xfrm>
            <a:custGeom>
              <a:avLst/>
              <a:gdLst>
                <a:gd name="T0" fmla="*/ 794 w 798"/>
                <a:gd name="T1" fmla="*/ 850 h 1736"/>
                <a:gd name="T2" fmla="*/ 783 w 798"/>
                <a:gd name="T3" fmla="*/ 772 h 1736"/>
                <a:gd name="T4" fmla="*/ 762 w 798"/>
                <a:gd name="T5" fmla="*/ 681 h 1736"/>
                <a:gd name="T6" fmla="*/ 731 w 798"/>
                <a:gd name="T7" fmla="*/ 594 h 1736"/>
                <a:gd name="T8" fmla="*/ 697 w 798"/>
                <a:gd name="T9" fmla="*/ 522 h 1736"/>
                <a:gd name="T10" fmla="*/ 602 w 798"/>
                <a:gd name="T11" fmla="*/ 380 h 1736"/>
                <a:gd name="T12" fmla="*/ 614 w 798"/>
                <a:gd name="T13" fmla="*/ 125 h 1736"/>
                <a:gd name="T14" fmla="*/ 649 w 798"/>
                <a:gd name="T15" fmla="*/ 76 h 1736"/>
                <a:gd name="T16" fmla="*/ 647 w 798"/>
                <a:gd name="T17" fmla="*/ 28 h 1736"/>
                <a:gd name="T18" fmla="*/ 596 w 798"/>
                <a:gd name="T19" fmla="*/ 2 h 1736"/>
                <a:gd name="T20" fmla="*/ 160 w 798"/>
                <a:gd name="T21" fmla="*/ 1 h 1736"/>
                <a:gd name="T22" fmla="*/ 79 w 798"/>
                <a:gd name="T23" fmla="*/ 29 h 1736"/>
                <a:gd name="T24" fmla="*/ 23 w 798"/>
                <a:gd name="T25" fmla="*/ 93 h 1736"/>
                <a:gd name="T26" fmla="*/ 0 w 798"/>
                <a:gd name="T27" fmla="*/ 177 h 1736"/>
                <a:gd name="T28" fmla="*/ 6 w 798"/>
                <a:gd name="T29" fmla="*/ 608 h 1736"/>
                <a:gd name="T30" fmla="*/ 38 w 798"/>
                <a:gd name="T31" fmla="*/ 650 h 1736"/>
                <a:gd name="T32" fmla="*/ 89 w 798"/>
                <a:gd name="T33" fmla="*/ 642 h 1736"/>
                <a:gd name="T34" fmla="*/ 263 w 798"/>
                <a:gd name="T35" fmla="*/ 476 h 1736"/>
                <a:gd name="T36" fmla="*/ 339 w 798"/>
                <a:gd name="T37" fmla="*/ 539 h 1736"/>
                <a:gd name="T38" fmla="*/ 387 w 798"/>
                <a:gd name="T39" fmla="*/ 596 h 1736"/>
                <a:gd name="T40" fmla="*/ 436 w 798"/>
                <a:gd name="T41" fmla="*/ 675 h 1736"/>
                <a:gd name="T42" fmla="*/ 468 w 798"/>
                <a:gd name="T43" fmla="*/ 753 h 1736"/>
                <a:gd name="T44" fmla="*/ 489 w 798"/>
                <a:gd name="T45" fmla="*/ 834 h 1736"/>
                <a:gd name="T46" fmla="*/ 496 w 798"/>
                <a:gd name="T47" fmla="*/ 908 h 1736"/>
                <a:gd name="T48" fmla="*/ 494 w 798"/>
                <a:gd name="T49" fmla="*/ 983 h 1736"/>
                <a:gd name="T50" fmla="*/ 486 w 798"/>
                <a:gd name="T51" fmla="*/ 1038 h 1736"/>
                <a:gd name="T52" fmla="*/ 471 w 798"/>
                <a:gd name="T53" fmla="*/ 1093 h 1736"/>
                <a:gd name="T54" fmla="*/ 452 w 798"/>
                <a:gd name="T55" fmla="*/ 1146 h 1736"/>
                <a:gd name="T56" fmla="*/ 401 w 798"/>
                <a:gd name="T57" fmla="*/ 1238 h 1736"/>
                <a:gd name="T58" fmla="*/ 334 w 798"/>
                <a:gd name="T59" fmla="*/ 1320 h 1736"/>
                <a:gd name="T60" fmla="*/ 221 w 798"/>
                <a:gd name="T61" fmla="*/ 1407 h 1736"/>
                <a:gd name="T62" fmla="*/ 131 w 798"/>
                <a:gd name="T63" fmla="*/ 1450 h 1736"/>
                <a:gd name="T64" fmla="*/ 76 w 798"/>
                <a:gd name="T65" fmla="*/ 1499 h 1736"/>
                <a:gd name="T66" fmla="*/ 50 w 798"/>
                <a:gd name="T67" fmla="*/ 1567 h 1736"/>
                <a:gd name="T68" fmla="*/ 59 w 798"/>
                <a:gd name="T69" fmla="*/ 1640 h 1736"/>
                <a:gd name="T70" fmla="*/ 92 w 798"/>
                <a:gd name="T71" fmla="*/ 1690 h 1736"/>
                <a:gd name="T72" fmla="*/ 153 w 798"/>
                <a:gd name="T73" fmla="*/ 1728 h 1736"/>
                <a:gd name="T74" fmla="*/ 226 w 798"/>
                <a:gd name="T75" fmla="*/ 1734 h 1736"/>
                <a:gd name="T76" fmla="*/ 335 w 798"/>
                <a:gd name="T77" fmla="*/ 1689 h 1736"/>
                <a:gd name="T78" fmla="*/ 514 w 798"/>
                <a:gd name="T79" fmla="*/ 1563 h 1736"/>
                <a:gd name="T80" fmla="*/ 625 w 798"/>
                <a:gd name="T81" fmla="*/ 1442 h 1736"/>
                <a:gd name="T82" fmla="*/ 725 w 798"/>
                <a:gd name="T83" fmla="*/ 1273 h 1736"/>
                <a:gd name="T84" fmla="*/ 728 w 798"/>
                <a:gd name="T85" fmla="*/ 1266 h 1736"/>
                <a:gd name="T86" fmla="*/ 759 w 798"/>
                <a:gd name="T87" fmla="*/ 1184 h 1736"/>
                <a:gd name="T88" fmla="*/ 780 w 798"/>
                <a:gd name="T89" fmla="*/ 1099 h 1736"/>
                <a:gd name="T90" fmla="*/ 794 w 798"/>
                <a:gd name="T91" fmla="*/ 1015 h 1736"/>
                <a:gd name="T92" fmla="*/ 798 w 798"/>
                <a:gd name="T93" fmla="*/ 923 h 1736"/>
                <a:gd name="T94" fmla="*/ 424 w 798"/>
                <a:gd name="T95" fmla="*/ 1523 h 1736"/>
                <a:gd name="T96" fmla="*/ 258 w 798"/>
                <a:gd name="T97" fmla="*/ 1626 h 1736"/>
                <a:gd name="T98" fmla="*/ 198 w 798"/>
                <a:gd name="T99" fmla="*/ 1645 h 1736"/>
                <a:gd name="T100" fmla="*/ 149 w 798"/>
                <a:gd name="T101" fmla="*/ 1618 h 1736"/>
                <a:gd name="T102" fmla="*/ 140 w 798"/>
                <a:gd name="T103" fmla="*/ 1595 h 1736"/>
                <a:gd name="T104" fmla="*/ 157 w 798"/>
                <a:gd name="T105" fmla="*/ 1542 h 1736"/>
                <a:gd name="T106" fmla="*/ 208 w 798"/>
                <a:gd name="T107" fmla="*/ 1516 h 1736"/>
                <a:gd name="T108" fmla="*/ 348 w 798"/>
                <a:gd name="T109" fmla="*/ 1429 h 1736"/>
                <a:gd name="T110" fmla="*/ 407 w 798"/>
                <a:gd name="T111" fmla="*/ 1376 h 1736"/>
                <a:gd name="T112" fmla="*/ 463 w 798"/>
                <a:gd name="T113" fmla="*/ 1371 h 1736"/>
                <a:gd name="T114" fmla="*/ 487 w 798"/>
                <a:gd name="T115" fmla="*/ 1389 h 1736"/>
                <a:gd name="T116" fmla="*/ 500 w 798"/>
                <a:gd name="T117" fmla="*/ 1438 h 1736"/>
                <a:gd name="T118" fmla="*/ 483 w 798"/>
                <a:gd name="T119" fmla="*/ 1470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6">
                  <a:moveTo>
                    <a:pt x="798" y="923"/>
                  </a:moveTo>
                  <a:lnTo>
                    <a:pt x="798" y="923"/>
                  </a:lnTo>
                  <a:lnTo>
                    <a:pt x="797" y="886"/>
                  </a:lnTo>
                  <a:lnTo>
                    <a:pt x="794" y="850"/>
                  </a:lnTo>
                  <a:lnTo>
                    <a:pt x="794" y="850"/>
                  </a:lnTo>
                  <a:lnTo>
                    <a:pt x="792" y="827"/>
                  </a:lnTo>
                  <a:lnTo>
                    <a:pt x="792" y="827"/>
                  </a:lnTo>
                  <a:lnTo>
                    <a:pt x="787" y="799"/>
                  </a:lnTo>
                  <a:lnTo>
                    <a:pt x="783" y="772"/>
                  </a:lnTo>
                  <a:lnTo>
                    <a:pt x="783" y="772"/>
                  </a:lnTo>
                  <a:lnTo>
                    <a:pt x="779" y="749"/>
                  </a:lnTo>
                  <a:lnTo>
                    <a:pt x="779" y="749"/>
                  </a:lnTo>
                  <a:lnTo>
                    <a:pt x="771" y="715"/>
                  </a:lnTo>
                  <a:lnTo>
                    <a:pt x="762" y="681"/>
                  </a:lnTo>
                  <a:lnTo>
                    <a:pt x="762" y="681"/>
                  </a:lnTo>
                  <a:lnTo>
                    <a:pt x="761" y="677"/>
                  </a:lnTo>
                  <a:lnTo>
                    <a:pt x="761" y="677"/>
                  </a:lnTo>
                  <a:lnTo>
                    <a:pt x="748" y="638"/>
                  </a:lnTo>
                  <a:lnTo>
                    <a:pt x="733" y="601"/>
                  </a:lnTo>
                  <a:lnTo>
                    <a:pt x="731" y="594"/>
                  </a:lnTo>
                  <a:lnTo>
                    <a:pt x="731" y="594"/>
                  </a:lnTo>
                  <a:lnTo>
                    <a:pt x="716" y="560"/>
                  </a:lnTo>
                  <a:lnTo>
                    <a:pt x="699" y="525"/>
                  </a:lnTo>
                  <a:lnTo>
                    <a:pt x="699" y="525"/>
                  </a:lnTo>
                  <a:lnTo>
                    <a:pt x="697" y="522"/>
                  </a:lnTo>
                  <a:lnTo>
                    <a:pt x="697" y="522"/>
                  </a:lnTo>
                  <a:lnTo>
                    <a:pt x="675" y="484"/>
                  </a:lnTo>
                  <a:lnTo>
                    <a:pt x="653" y="449"/>
                  </a:lnTo>
                  <a:lnTo>
                    <a:pt x="628" y="414"/>
                  </a:lnTo>
                  <a:lnTo>
                    <a:pt x="602" y="380"/>
                  </a:lnTo>
                  <a:lnTo>
                    <a:pt x="573" y="348"/>
                  </a:lnTo>
                  <a:lnTo>
                    <a:pt x="544" y="317"/>
                  </a:lnTo>
                  <a:lnTo>
                    <a:pt x="513" y="287"/>
                  </a:lnTo>
                  <a:lnTo>
                    <a:pt x="479" y="260"/>
                  </a:lnTo>
                  <a:lnTo>
                    <a:pt x="614" y="125"/>
                  </a:lnTo>
                  <a:lnTo>
                    <a:pt x="614" y="125"/>
                  </a:lnTo>
                  <a:lnTo>
                    <a:pt x="626" y="112"/>
                  </a:lnTo>
                  <a:lnTo>
                    <a:pt x="635" y="100"/>
                  </a:lnTo>
                  <a:lnTo>
                    <a:pt x="644" y="87"/>
                  </a:lnTo>
                  <a:lnTo>
                    <a:pt x="649" y="76"/>
                  </a:lnTo>
                  <a:lnTo>
                    <a:pt x="653" y="65"/>
                  </a:lnTo>
                  <a:lnTo>
                    <a:pt x="654" y="55"/>
                  </a:lnTo>
                  <a:lnTo>
                    <a:pt x="654" y="46"/>
                  </a:lnTo>
                  <a:lnTo>
                    <a:pt x="651" y="36"/>
                  </a:lnTo>
                  <a:lnTo>
                    <a:pt x="647" y="28"/>
                  </a:lnTo>
                  <a:lnTo>
                    <a:pt x="640" y="21"/>
                  </a:lnTo>
                  <a:lnTo>
                    <a:pt x="631" y="15"/>
                  </a:lnTo>
                  <a:lnTo>
                    <a:pt x="621" y="9"/>
                  </a:lnTo>
                  <a:lnTo>
                    <a:pt x="609" y="5"/>
                  </a:lnTo>
                  <a:lnTo>
                    <a:pt x="596" y="2"/>
                  </a:lnTo>
                  <a:lnTo>
                    <a:pt x="579" y="0"/>
                  </a:lnTo>
                  <a:lnTo>
                    <a:pt x="562" y="0"/>
                  </a:lnTo>
                  <a:lnTo>
                    <a:pt x="178" y="0"/>
                  </a:lnTo>
                  <a:lnTo>
                    <a:pt x="178" y="0"/>
                  </a:lnTo>
                  <a:lnTo>
                    <a:pt x="160" y="1"/>
                  </a:lnTo>
                  <a:lnTo>
                    <a:pt x="142" y="3"/>
                  </a:lnTo>
                  <a:lnTo>
                    <a:pt x="126" y="7"/>
                  </a:lnTo>
                  <a:lnTo>
                    <a:pt x="109" y="13"/>
                  </a:lnTo>
                  <a:lnTo>
                    <a:pt x="94" y="21"/>
                  </a:lnTo>
                  <a:lnTo>
                    <a:pt x="79" y="29"/>
                  </a:lnTo>
                  <a:lnTo>
                    <a:pt x="65" y="40"/>
                  </a:lnTo>
                  <a:lnTo>
                    <a:pt x="53" y="52"/>
                  </a:lnTo>
                  <a:lnTo>
                    <a:pt x="41" y="64"/>
                  </a:lnTo>
                  <a:lnTo>
                    <a:pt x="31" y="78"/>
                  </a:lnTo>
                  <a:lnTo>
                    <a:pt x="23" y="93"/>
                  </a:lnTo>
                  <a:lnTo>
                    <a:pt x="14" y="108"/>
                  </a:lnTo>
                  <a:lnTo>
                    <a:pt x="8" y="124"/>
                  </a:lnTo>
                  <a:lnTo>
                    <a:pt x="4" y="142"/>
                  </a:lnTo>
                  <a:lnTo>
                    <a:pt x="1" y="159"/>
                  </a:lnTo>
                  <a:lnTo>
                    <a:pt x="0" y="177"/>
                  </a:lnTo>
                  <a:lnTo>
                    <a:pt x="0" y="561"/>
                  </a:lnTo>
                  <a:lnTo>
                    <a:pt x="0" y="561"/>
                  </a:lnTo>
                  <a:lnTo>
                    <a:pt x="1" y="579"/>
                  </a:lnTo>
                  <a:lnTo>
                    <a:pt x="3" y="594"/>
                  </a:lnTo>
                  <a:lnTo>
                    <a:pt x="6" y="608"/>
                  </a:lnTo>
                  <a:lnTo>
                    <a:pt x="10" y="620"/>
                  </a:lnTo>
                  <a:lnTo>
                    <a:pt x="15" y="630"/>
                  </a:lnTo>
                  <a:lnTo>
                    <a:pt x="23" y="638"/>
                  </a:lnTo>
                  <a:lnTo>
                    <a:pt x="30" y="645"/>
                  </a:lnTo>
                  <a:lnTo>
                    <a:pt x="38" y="650"/>
                  </a:lnTo>
                  <a:lnTo>
                    <a:pt x="46" y="653"/>
                  </a:lnTo>
                  <a:lnTo>
                    <a:pt x="56" y="653"/>
                  </a:lnTo>
                  <a:lnTo>
                    <a:pt x="66" y="652"/>
                  </a:lnTo>
                  <a:lnTo>
                    <a:pt x="78" y="647"/>
                  </a:lnTo>
                  <a:lnTo>
                    <a:pt x="89" y="642"/>
                  </a:lnTo>
                  <a:lnTo>
                    <a:pt x="101" y="634"/>
                  </a:lnTo>
                  <a:lnTo>
                    <a:pt x="113" y="625"/>
                  </a:lnTo>
                  <a:lnTo>
                    <a:pt x="126" y="613"/>
                  </a:lnTo>
                  <a:lnTo>
                    <a:pt x="263" y="476"/>
                  </a:lnTo>
                  <a:lnTo>
                    <a:pt x="263" y="476"/>
                  </a:lnTo>
                  <a:lnTo>
                    <a:pt x="284" y="490"/>
                  </a:lnTo>
                  <a:lnTo>
                    <a:pt x="303" y="506"/>
                  </a:lnTo>
                  <a:lnTo>
                    <a:pt x="321" y="522"/>
                  </a:lnTo>
                  <a:lnTo>
                    <a:pt x="339" y="539"/>
                  </a:lnTo>
                  <a:lnTo>
                    <a:pt x="339" y="539"/>
                  </a:lnTo>
                  <a:lnTo>
                    <a:pt x="351" y="553"/>
                  </a:lnTo>
                  <a:lnTo>
                    <a:pt x="362" y="566"/>
                  </a:lnTo>
                  <a:lnTo>
                    <a:pt x="362" y="566"/>
                  </a:lnTo>
                  <a:lnTo>
                    <a:pt x="375" y="581"/>
                  </a:lnTo>
                  <a:lnTo>
                    <a:pt x="387" y="596"/>
                  </a:lnTo>
                  <a:lnTo>
                    <a:pt x="387" y="596"/>
                  </a:lnTo>
                  <a:lnTo>
                    <a:pt x="408" y="627"/>
                  </a:lnTo>
                  <a:lnTo>
                    <a:pt x="408" y="627"/>
                  </a:lnTo>
                  <a:lnTo>
                    <a:pt x="422" y="651"/>
                  </a:lnTo>
                  <a:lnTo>
                    <a:pt x="436" y="675"/>
                  </a:lnTo>
                  <a:lnTo>
                    <a:pt x="436" y="675"/>
                  </a:lnTo>
                  <a:lnTo>
                    <a:pt x="447" y="698"/>
                  </a:lnTo>
                  <a:lnTo>
                    <a:pt x="447" y="698"/>
                  </a:lnTo>
                  <a:lnTo>
                    <a:pt x="458" y="725"/>
                  </a:lnTo>
                  <a:lnTo>
                    <a:pt x="468" y="753"/>
                  </a:lnTo>
                  <a:lnTo>
                    <a:pt x="468" y="753"/>
                  </a:lnTo>
                  <a:lnTo>
                    <a:pt x="472" y="764"/>
                  </a:lnTo>
                  <a:lnTo>
                    <a:pt x="472" y="764"/>
                  </a:lnTo>
                  <a:lnTo>
                    <a:pt x="482" y="798"/>
                  </a:lnTo>
                  <a:lnTo>
                    <a:pt x="489" y="834"/>
                  </a:lnTo>
                  <a:lnTo>
                    <a:pt x="489" y="834"/>
                  </a:lnTo>
                  <a:lnTo>
                    <a:pt x="491" y="853"/>
                  </a:lnTo>
                  <a:lnTo>
                    <a:pt x="491" y="853"/>
                  </a:lnTo>
                  <a:lnTo>
                    <a:pt x="495" y="889"/>
                  </a:lnTo>
                  <a:lnTo>
                    <a:pt x="496" y="908"/>
                  </a:lnTo>
                  <a:lnTo>
                    <a:pt x="497" y="927"/>
                  </a:lnTo>
                  <a:lnTo>
                    <a:pt x="497" y="927"/>
                  </a:lnTo>
                  <a:lnTo>
                    <a:pt x="497" y="927"/>
                  </a:lnTo>
                  <a:lnTo>
                    <a:pt x="496" y="956"/>
                  </a:lnTo>
                  <a:lnTo>
                    <a:pt x="494" y="983"/>
                  </a:lnTo>
                  <a:lnTo>
                    <a:pt x="494" y="983"/>
                  </a:lnTo>
                  <a:lnTo>
                    <a:pt x="491" y="1007"/>
                  </a:lnTo>
                  <a:lnTo>
                    <a:pt x="491" y="1007"/>
                  </a:lnTo>
                  <a:lnTo>
                    <a:pt x="488" y="1023"/>
                  </a:lnTo>
                  <a:lnTo>
                    <a:pt x="486" y="1038"/>
                  </a:lnTo>
                  <a:lnTo>
                    <a:pt x="486" y="1038"/>
                  </a:lnTo>
                  <a:lnTo>
                    <a:pt x="480" y="1059"/>
                  </a:lnTo>
                  <a:lnTo>
                    <a:pt x="480" y="1059"/>
                  </a:lnTo>
                  <a:lnTo>
                    <a:pt x="476" y="1076"/>
                  </a:lnTo>
                  <a:lnTo>
                    <a:pt x="471" y="1093"/>
                  </a:lnTo>
                  <a:lnTo>
                    <a:pt x="471" y="1093"/>
                  </a:lnTo>
                  <a:lnTo>
                    <a:pt x="466" y="1108"/>
                  </a:lnTo>
                  <a:lnTo>
                    <a:pt x="466" y="1108"/>
                  </a:lnTo>
                  <a:lnTo>
                    <a:pt x="459" y="1127"/>
                  </a:lnTo>
                  <a:lnTo>
                    <a:pt x="452" y="1146"/>
                  </a:lnTo>
                  <a:lnTo>
                    <a:pt x="452" y="1146"/>
                  </a:lnTo>
                  <a:lnTo>
                    <a:pt x="441" y="1170"/>
                  </a:lnTo>
                  <a:lnTo>
                    <a:pt x="428" y="1193"/>
                  </a:lnTo>
                  <a:lnTo>
                    <a:pt x="415" y="1216"/>
                  </a:lnTo>
                  <a:lnTo>
                    <a:pt x="401" y="1238"/>
                  </a:lnTo>
                  <a:lnTo>
                    <a:pt x="386" y="1259"/>
                  </a:lnTo>
                  <a:lnTo>
                    <a:pt x="369" y="1281"/>
                  </a:lnTo>
                  <a:lnTo>
                    <a:pt x="352" y="1300"/>
                  </a:lnTo>
                  <a:lnTo>
                    <a:pt x="334" y="1320"/>
                  </a:lnTo>
                  <a:lnTo>
                    <a:pt x="334" y="1320"/>
                  </a:lnTo>
                  <a:lnTo>
                    <a:pt x="313" y="1340"/>
                  </a:lnTo>
                  <a:lnTo>
                    <a:pt x="291" y="1358"/>
                  </a:lnTo>
                  <a:lnTo>
                    <a:pt x="268" y="1376"/>
                  </a:lnTo>
                  <a:lnTo>
                    <a:pt x="245" y="1392"/>
                  </a:lnTo>
                  <a:lnTo>
                    <a:pt x="221" y="1407"/>
                  </a:lnTo>
                  <a:lnTo>
                    <a:pt x="196" y="1421"/>
                  </a:lnTo>
                  <a:lnTo>
                    <a:pt x="170" y="1433"/>
                  </a:lnTo>
                  <a:lnTo>
                    <a:pt x="145" y="1444"/>
                  </a:lnTo>
                  <a:lnTo>
                    <a:pt x="145" y="1444"/>
                  </a:lnTo>
                  <a:lnTo>
                    <a:pt x="131" y="1450"/>
                  </a:lnTo>
                  <a:lnTo>
                    <a:pt x="117" y="1458"/>
                  </a:lnTo>
                  <a:lnTo>
                    <a:pt x="105" y="1468"/>
                  </a:lnTo>
                  <a:lnTo>
                    <a:pt x="94" y="1477"/>
                  </a:lnTo>
                  <a:lnTo>
                    <a:pt x="85" y="1488"/>
                  </a:lnTo>
                  <a:lnTo>
                    <a:pt x="76" y="1499"/>
                  </a:lnTo>
                  <a:lnTo>
                    <a:pt x="67" y="1511"/>
                  </a:lnTo>
                  <a:lnTo>
                    <a:pt x="61" y="1525"/>
                  </a:lnTo>
                  <a:lnTo>
                    <a:pt x="56" y="1538"/>
                  </a:lnTo>
                  <a:lnTo>
                    <a:pt x="52" y="1552"/>
                  </a:lnTo>
                  <a:lnTo>
                    <a:pt x="50" y="1567"/>
                  </a:lnTo>
                  <a:lnTo>
                    <a:pt x="49" y="1581"/>
                  </a:lnTo>
                  <a:lnTo>
                    <a:pt x="49" y="1596"/>
                  </a:lnTo>
                  <a:lnTo>
                    <a:pt x="51" y="1610"/>
                  </a:lnTo>
                  <a:lnTo>
                    <a:pt x="54" y="1626"/>
                  </a:lnTo>
                  <a:lnTo>
                    <a:pt x="59" y="1640"/>
                  </a:lnTo>
                  <a:lnTo>
                    <a:pt x="59" y="1640"/>
                  </a:lnTo>
                  <a:lnTo>
                    <a:pt x="65" y="1654"/>
                  </a:lnTo>
                  <a:lnTo>
                    <a:pt x="74" y="1668"/>
                  </a:lnTo>
                  <a:lnTo>
                    <a:pt x="82" y="1679"/>
                  </a:lnTo>
                  <a:lnTo>
                    <a:pt x="92" y="1690"/>
                  </a:lnTo>
                  <a:lnTo>
                    <a:pt x="102" y="1700"/>
                  </a:lnTo>
                  <a:lnTo>
                    <a:pt x="114" y="1709"/>
                  </a:lnTo>
                  <a:lnTo>
                    <a:pt x="127" y="1716"/>
                  </a:lnTo>
                  <a:lnTo>
                    <a:pt x="140" y="1723"/>
                  </a:lnTo>
                  <a:lnTo>
                    <a:pt x="153" y="1728"/>
                  </a:lnTo>
                  <a:lnTo>
                    <a:pt x="167" y="1732"/>
                  </a:lnTo>
                  <a:lnTo>
                    <a:pt x="182" y="1735"/>
                  </a:lnTo>
                  <a:lnTo>
                    <a:pt x="196" y="1736"/>
                  </a:lnTo>
                  <a:lnTo>
                    <a:pt x="210" y="1735"/>
                  </a:lnTo>
                  <a:lnTo>
                    <a:pt x="226" y="1734"/>
                  </a:lnTo>
                  <a:lnTo>
                    <a:pt x="240" y="1730"/>
                  </a:lnTo>
                  <a:lnTo>
                    <a:pt x="255" y="1725"/>
                  </a:lnTo>
                  <a:lnTo>
                    <a:pt x="255" y="1725"/>
                  </a:lnTo>
                  <a:lnTo>
                    <a:pt x="296" y="1708"/>
                  </a:lnTo>
                  <a:lnTo>
                    <a:pt x="335" y="1689"/>
                  </a:lnTo>
                  <a:lnTo>
                    <a:pt x="373" y="1668"/>
                  </a:lnTo>
                  <a:lnTo>
                    <a:pt x="410" y="1644"/>
                  </a:lnTo>
                  <a:lnTo>
                    <a:pt x="447" y="1620"/>
                  </a:lnTo>
                  <a:lnTo>
                    <a:pt x="482" y="1593"/>
                  </a:lnTo>
                  <a:lnTo>
                    <a:pt x="514" y="1563"/>
                  </a:lnTo>
                  <a:lnTo>
                    <a:pt x="547" y="1533"/>
                  </a:lnTo>
                  <a:lnTo>
                    <a:pt x="547" y="1533"/>
                  </a:lnTo>
                  <a:lnTo>
                    <a:pt x="574" y="1504"/>
                  </a:lnTo>
                  <a:lnTo>
                    <a:pt x="601" y="1474"/>
                  </a:lnTo>
                  <a:lnTo>
                    <a:pt x="625" y="1442"/>
                  </a:lnTo>
                  <a:lnTo>
                    <a:pt x="649" y="1410"/>
                  </a:lnTo>
                  <a:lnTo>
                    <a:pt x="670" y="1377"/>
                  </a:lnTo>
                  <a:lnTo>
                    <a:pt x="691" y="1343"/>
                  </a:lnTo>
                  <a:lnTo>
                    <a:pt x="708" y="1308"/>
                  </a:lnTo>
                  <a:lnTo>
                    <a:pt x="725" y="1273"/>
                  </a:lnTo>
                  <a:lnTo>
                    <a:pt x="725" y="1273"/>
                  </a:lnTo>
                  <a:lnTo>
                    <a:pt x="727" y="1269"/>
                  </a:lnTo>
                  <a:lnTo>
                    <a:pt x="727" y="1269"/>
                  </a:lnTo>
                  <a:lnTo>
                    <a:pt x="728" y="1266"/>
                  </a:lnTo>
                  <a:lnTo>
                    <a:pt x="728" y="1266"/>
                  </a:lnTo>
                  <a:lnTo>
                    <a:pt x="742" y="1233"/>
                  </a:lnTo>
                  <a:lnTo>
                    <a:pt x="754" y="1198"/>
                  </a:lnTo>
                  <a:lnTo>
                    <a:pt x="754" y="1198"/>
                  </a:lnTo>
                  <a:lnTo>
                    <a:pt x="759" y="1184"/>
                  </a:lnTo>
                  <a:lnTo>
                    <a:pt x="759" y="1184"/>
                  </a:lnTo>
                  <a:lnTo>
                    <a:pt x="768" y="1151"/>
                  </a:lnTo>
                  <a:lnTo>
                    <a:pt x="776" y="1118"/>
                  </a:lnTo>
                  <a:lnTo>
                    <a:pt x="776" y="1118"/>
                  </a:lnTo>
                  <a:lnTo>
                    <a:pt x="778" y="1109"/>
                  </a:lnTo>
                  <a:lnTo>
                    <a:pt x="780" y="1099"/>
                  </a:lnTo>
                  <a:lnTo>
                    <a:pt x="780" y="1099"/>
                  </a:lnTo>
                  <a:lnTo>
                    <a:pt x="786" y="1066"/>
                  </a:lnTo>
                  <a:lnTo>
                    <a:pt x="791" y="1031"/>
                  </a:lnTo>
                  <a:lnTo>
                    <a:pt x="791" y="1031"/>
                  </a:lnTo>
                  <a:lnTo>
                    <a:pt x="794" y="1015"/>
                  </a:lnTo>
                  <a:lnTo>
                    <a:pt x="794" y="1015"/>
                  </a:lnTo>
                  <a:lnTo>
                    <a:pt x="797" y="971"/>
                  </a:lnTo>
                  <a:lnTo>
                    <a:pt x="798" y="927"/>
                  </a:lnTo>
                  <a:lnTo>
                    <a:pt x="798" y="927"/>
                  </a:lnTo>
                  <a:lnTo>
                    <a:pt x="798" y="923"/>
                  </a:lnTo>
                  <a:lnTo>
                    <a:pt x="798" y="923"/>
                  </a:lnTo>
                  <a:close/>
                  <a:moveTo>
                    <a:pt x="483" y="1470"/>
                  </a:moveTo>
                  <a:lnTo>
                    <a:pt x="483" y="1470"/>
                  </a:lnTo>
                  <a:lnTo>
                    <a:pt x="454" y="1497"/>
                  </a:lnTo>
                  <a:lnTo>
                    <a:pt x="424" y="1523"/>
                  </a:lnTo>
                  <a:lnTo>
                    <a:pt x="393" y="1546"/>
                  </a:lnTo>
                  <a:lnTo>
                    <a:pt x="361" y="1569"/>
                  </a:lnTo>
                  <a:lnTo>
                    <a:pt x="328" y="1589"/>
                  </a:lnTo>
                  <a:lnTo>
                    <a:pt x="294" y="1608"/>
                  </a:lnTo>
                  <a:lnTo>
                    <a:pt x="258" y="1626"/>
                  </a:lnTo>
                  <a:lnTo>
                    <a:pt x="221" y="1641"/>
                  </a:lnTo>
                  <a:lnTo>
                    <a:pt x="221" y="1641"/>
                  </a:lnTo>
                  <a:lnTo>
                    <a:pt x="216" y="1643"/>
                  </a:lnTo>
                  <a:lnTo>
                    <a:pt x="210" y="1644"/>
                  </a:lnTo>
                  <a:lnTo>
                    <a:pt x="198" y="1645"/>
                  </a:lnTo>
                  <a:lnTo>
                    <a:pt x="187" y="1644"/>
                  </a:lnTo>
                  <a:lnTo>
                    <a:pt x="176" y="1640"/>
                  </a:lnTo>
                  <a:lnTo>
                    <a:pt x="165" y="1635"/>
                  </a:lnTo>
                  <a:lnTo>
                    <a:pt x="156" y="1627"/>
                  </a:lnTo>
                  <a:lnTo>
                    <a:pt x="149" y="1618"/>
                  </a:lnTo>
                  <a:lnTo>
                    <a:pt x="146" y="1612"/>
                  </a:lnTo>
                  <a:lnTo>
                    <a:pt x="144" y="1607"/>
                  </a:lnTo>
                  <a:lnTo>
                    <a:pt x="144" y="1607"/>
                  </a:lnTo>
                  <a:lnTo>
                    <a:pt x="142" y="1601"/>
                  </a:lnTo>
                  <a:lnTo>
                    <a:pt x="140" y="1595"/>
                  </a:lnTo>
                  <a:lnTo>
                    <a:pt x="140" y="1583"/>
                  </a:lnTo>
                  <a:lnTo>
                    <a:pt x="141" y="1572"/>
                  </a:lnTo>
                  <a:lnTo>
                    <a:pt x="144" y="1560"/>
                  </a:lnTo>
                  <a:lnTo>
                    <a:pt x="150" y="1550"/>
                  </a:lnTo>
                  <a:lnTo>
                    <a:pt x="157" y="1542"/>
                  </a:lnTo>
                  <a:lnTo>
                    <a:pt x="166" y="1534"/>
                  </a:lnTo>
                  <a:lnTo>
                    <a:pt x="171" y="1531"/>
                  </a:lnTo>
                  <a:lnTo>
                    <a:pt x="178" y="1529"/>
                  </a:lnTo>
                  <a:lnTo>
                    <a:pt x="178" y="1529"/>
                  </a:lnTo>
                  <a:lnTo>
                    <a:pt x="208" y="1516"/>
                  </a:lnTo>
                  <a:lnTo>
                    <a:pt x="238" y="1501"/>
                  </a:lnTo>
                  <a:lnTo>
                    <a:pt x="267" y="1485"/>
                  </a:lnTo>
                  <a:lnTo>
                    <a:pt x="295" y="1468"/>
                  </a:lnTo>
                  <a:lnTo>
                    <a:pt x="322" y="1449"/>
                  </a:lnTo>
                  <a:lnTo>
                    <a:pt x="348" y="1429"/>
                  </a:lnTo>
                  <a:lnTo>
                    <a:pt x="373" y="1407"/>
                  </a:lnTo>
                  <a:lnTo>
                    <a:pt x="398" y="1384"/>
                  </a:lnTo>
                  <a:lnTo>
                    <a:pt x="398" y="1384"/>
                  </a:lnTo>
                  <a:lnTo>
                    <a:pt x="402" y="1380"/>
                  </a:lnTo>
                  <a:lnTo>
                    <a:pt x="407" y="1376"/>
                  </a:lnTo>
                  <a:lnTo>
                    <a:pt x="417" y="1371"/>
                  </a:lnTo>
                  <a:lnTo>
                    <a:pt x="428" y="1368"/>
                  </a:lnTo>
                  <a:lnTo>
                    <a:pt x="440" y="1367"/>
                  </a:lnTo>
                  <a:lnTo>
                    <a:pt x="452" y="1368"/>
                  </a:lnTo>
                  <a:lnTo>
                    <a:pt x="463" y="1371"/>
                  </a:lnTo>
                  <a:lnTo>
                    <a:pt x="473" y="1376"/>
                  </a:lnTo>
                  <a:lnTo>
                    <a:pt x="478" y="1380"/>
                  </a:lnTo>
                  <a:lnTo>
                    <a:pt x="483" y="1384"/>
                  </a:lnTo>
                  <a:lnTo>
                    <a:pt x="483" y="1384"/>
                  </a:lnTo>
                  <a:lnTo>
                    <a:pt x="487" y="1389"/>
                  </a:lnTo>
                  <a:lnTo>
                    <a:pt x="491" y="1393"/>
                  </a:lnTo>
                  <a:lnTo>
                    <a:pt x="496" y="1404"/>
                  </a:lnTo>
                  <a:lnTo>
                    <a:pt x="500" y="1416"/>
                  </a:lnTo>
                  <a:lnTo>
                    <a:pt x="501" y="1427"/>
                  </a:lnTo>
                  <a:lnTo>
                    <a:pt x="500" y="1438"/>
                  </a:lnTo>
                  <a:lnTo>
                    <a:pt x="496" y="1449"/>
                  </a:lnTo>
                  <a:lnTo>
                    <a:pt x="491" y="1459"/>
                  </a:lnTo>
                  <a:lnTo>
                    <a:pt x="487" y="1465"/>
                  </a:lnTo>
                  <a:lnTo>
                    <a:pt x="483" y="1470"/>
                  </a:lnTo>
                  <a:lnTo>
                    <a:pt x="483" y="1470"/>
                  </a:lnTo>
                  <a:close/>
                </a:path>
              </a:pathLst>
            </a:custGeom>
            <a:solidFill>
              <a:schemeClr val="accent5"/>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grpSp>
      <p:grpSp>
        <p:nvGrpSpPr>
          <p:cNvPr id="804" name="Group 452"/>
          <p:cNvGrpSpPr/>
          <p:nvPr/>
        </p:nvGrpSpPr>
        <p:grpSpPr>
          <a:xfrm>
            <a:off x="1248373" y="58768"/>
            <a:ext cx="1600337" cy="436202"/>
            <a:chOff x="1058898" y="186328"/>
            <a:chExt cx="1855141" cy="505654"/>
          </a:xfrm>
          <a:effectLst/>
        </p:grpSpPr>
        <p:sp>
          <p:nvSpPr>
            <p:cNvPr id="454" name="Freeform 453"/>
            <p:cNvSpPr/>
            <p:nvPr/>
          </p:nvSpPr>
          <p:spPr>
            <a:xfrm>
              <a:off x="2412434" y="186328"/>
              <a:ext cx="501605" cy="505654"/>
            </a:xfrm>
            <a:custGeom>
              <a:avLst/>
              <a:gdLst>
                <a:gd name="connsiteX0" fmla="*/ 452960 w 501605"/>
                <a:gd name="connsiteY0" fmla="*/ 229818 h 505654"/>
                <a:gd name="connsiteX1" fmla="*/ 367081 w 501605"/>
                <a:gd name="connsiteY1" fmla="*/ 239377 h 505654"/>
                <a:gd name="connsiteX2" fmla="*/ 356323 w 501605"/>
                <a:gd name="connsiteY2" fmla="*/ 305199 h 505654"/>
                <a:gd name="connsiteX3" fmla="*/ 428564 w 501605"/>
                <a:gd name="connsiteY3" fmla="*/ 346540 h 505654"/>
                <a:gd name="connsiteX4" fmla="*/ 452960 w 501605"/>
                <a:gd name="connsiteY4" fmla="*/ 229818 h 505654"/>
                <a:gd name="connsiteX5" fmla="*/ 248779 w 501605"/>
                <a:gd name="connsiteY5" fmla="*/ 227417 h 505654"/>
                <a:gd name="connsiteX6" fmla="*/ 223368 w 501605"/>
                <a:gd name="connsiteY6" fmla="*/ 252828 h 505654"/>
                <a:gd name="connsiteX7" fmla="*/ 248779 w 501605"/>
                <a:gd name="connsiteY7" fmla="*/ 278239 h 505654"/>
                <a:gd name="connsiteX8" fmla="*/ 274190 w 501605"/>
                <a:gd name="connsiteY8" fmla="*/ 252828 h 505654"/>
                <a:gd name="connsiteX9" fmla="*/ 248779 w 501605"/>
                <a:gd name="connsiteY9" fmla="*/ 227417 h 505654"/>
                <a:gd name="connsiteX10" fmla="*/ 248778 w 501605"/>
                <a:gd name="connsiteY10" fmla="*/ 199164 h 505654"/>
                <a:gd name="connsiteX11" fmla="*/ 302442 w 501605"/>
                <a:gd name="connsiteY11" fmla="*/ 252827 h 505654"/>
                <a:gd name="connsiteX12" fmla="*/ 248778 w 501605"/>
                <a:gd name="connsiteY12" fmla="*/ 306490 h 505654"/>
                <a:gd name="connsiteX13" fmla="*/ 195115 w 501605"/>
                <a:gd name="connsiteY13" fmla="*/ 252827 h 505654"/>
                <a:gd name="connsiteX14" fmla="*/ 248778 w 501605"/>
                <a:gd name="connsiteY14" fmla="*/ 199164 h 505654"/>
                <a:gd name="connsiteX15" fmla="*/ 248778 w 501605"/>
                <a:gd name="connsiteY15" fmla="*/ 172268 h 505654"/>
                <a:gd name="connsiteX16" fmla="*/ 168219 w 501605"/>
                <a:gd name="connsiteY16" fmla="*/ 252827 h 505654"/>
                <a:gd name="connsiteX17" fmla="*/ 248778 w 501605"/>
                <a:gd name="connsiteY17" fmla="*/ 333386 h 505654"/>
                <a:gd name="connsiteX18" fmla="*/ 329337 w 501605"/>
                <a:gd name="connsiteY18" fmla="*/ 252827 h 505654"/>
                <a:gd name="connsiteX19" fmla="*/ 248778 w 501605"/>
                <a:gd name="connsiteY19" fmla="*/ 172268 h 505654"/>
                <a:gd name="connsiteX20" fmla="*/ 441058 w 501605"/>
                <a:gd name="connsiteY20" fmla="*/ 167875 h 505654"/>
                <a:gd name="connsiteX21" fmla="*/ 359176 w 501605"/>
                <a:gd name="connsiteY21" fmla="*/ 199205 h 505654"/>
                <a:gd name="connsiteX22" fmla="*/ 366035 w 501605"/>
                <a:gd name="connsiteY22" fmla="*/ 222131 h 505654"/>
                <a:gd name="connsiteX23" fmla="*/ 451669 w 501605"/>
                <a:gd name="connsiteY23" fmla="*/ 203344 h 505654"/>
                <a:gd name="connsiteX24" fmla="*/ 441058 w 501605"/>
                <a:gd name="connsiteY24" fmla="*/ 167875 h 505654"/>
                <a:gd name="connsiteX25" fmla="*/ 248778 w 501605"/>
                <a:gd name="connsiteY25" fmla="*/ 0 h 505654"/>
                <a:gd name="connsiteX26" fmla="*/ 501605 w 501605"/>
                <a:gd name="connsiteY26" fmla="*/ 252827 h 505654"/>
                <a:gd name="connsiteX27" fmla="*/ 248778 w 501605"/>
                <a:gd name="connsiteY27" fmla="*/ 505654 h 505654"/>
                <a:gd name="connsiteX28" fmla="*/ 150367 w 501605"/>
                <a:gd name="connsiteY28" fmla="*/ 485786 h 505654"/>
                <a:gd name="connsiteX29" fmla="*/ 121352 w 501605"/>
                <a:gd name="connsiteY29" fmla="*/ 470037 h 505654"/>
                <a:gd name="connsiteX30" fmla="*/ 132673 w 501605"/>
                <a:gd name="connsiteY30" fmla="*/ 453246 h 505654"/>
                <a:gd name="connsiteX31" fmla="*/ 139416 w 501605"/>
                <a:gd name="connsiteY31" fmla="*/ 419845 h 505654"/>
                <a:gd name="connsiteX32" fmla="*/ 139416 w 501605"/>
                <a:gd name="connsiteY32" fmla="*/ 318583 h 505654"/>
                <a:gd name="connsiteX33" fmla="*/ 53606 w 501605"/>
                <a:gd name="connsiteY33" fmla="*/ 232773 h 505654"/>
                <a:gd name="connsiteX34" fmla="*/ 0 w 501605"/>
                <a:gd name="connsiteY34" fmla="*/ 232773 h 505654"/>
                <a:gd name="connsiteX35" fmla="*/ 15820 w 501605"/>
                <a:gd name="connsiteY35" fmla="*/ 154416 h 505654"/>
                <a:gd name="connsiteX36" fmla="*/ 248778 w 501605"/>
                <a:gd name="connsiteY36" fmla="*/ 0 h 50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1605" h="505654">
                  <a:moveTo>
                    <a:pt x="452960" y="229818"/>
                  </a:moveTo>
                  <a:lnTo>
                    <a:pt x="367081" y="239377"/>
                  </a:lnTo>
                  <a:cubicBezTo>
                    <a:pt x="370067" y="261317"/>
                    <a:pt x="367053" y="284116"/>
                    <a:pt x="356323" y="305199"/>
                  </a:cubicBezTo>
                  <a:lnTo>
                    <a:pt x="428564" y="346540"/>
                  </a:lnTo>
                  <a:cubicBezTo>
                    <a:pt x="444412" y="309348"/>
                    <a:pt x="456830" y="273869"/>
                    <a:pt x="452960" y="229818"/>
                  </a:cubicBezTo>
                  <a:close/>
                  <a:moveTo>
                    <a:pt x="248779" y="227417"/>
                  </a:moveTo>
                  <a:cubicBezTo>
                    <a:pt x="234745" y="227417"/>
                    <a:pt x="223368" y="238794"/>
                    <a:pt x="223368" y="252828"/>
                  </a:cubicBezTo>
                  <a:cubicBezTo>
                    <a:pt x="223368" y="266862"/>
                    <a:pt x="234745" y="278239"/>
                    <a:pt x="248779" y="278239"/>
                  </a:cubicBezTo>
                  <a:cubicBezTo>
                    <a:pt x="262813" y="278239"/>
                    <a:pt x="274190" y="266862"/>
                    <a:pt x="274190" y="252828"/>
                  </a:cubicBezTo>
                  <a:cubicBezTo>
                    <a:pt x="274190" y="238794"/>
                    <a:pt x="262813" y="227417"/>
                    <a:pt x="248779" y="227417"/>
                  </a:cubicBezTo>
                  <a:close/>
                  <a:moveTo>
                    <a:pt x="248778" y="199164"/>
                  </a:moveTo>
                  <a:cubicBezTo>
                    <a:pt x="278416" y="199164"/>
                    <a:pt x="302442" y="223190"/>
                    <a:pt x="302442" y="252827"/>
                  </a:cubicBezTo>
                  <a:cubicBezTo>
                    <a:pt x="302442" y="282464"/>
                    <a:pt x="278416" y="306490"/>
                    <a:pt x="248778" y="306490"/>
                  </a:cubicBezTo>
                  <a:cubicBezTo>
                    <a:pt x="219141" y="306490"/>
                    <a:pt x="195115" y="282464"/>
                    <a:pt x="195115" y="252827"/>
                  </a:cubicBezTo>
                  <a:cubicBezTo>
                    <a:pt x="195115" y="223190"/>
                    <a:pt x="219141" y="199164"/>
                    <a:pt x="248778" y="199164"/>
                  </a:cubicBezTo>
                  <a:close/>
                  <a:moveTo>
                    <a:pt x="248778" y="172268"/>
                  </a:moveTo>
                  <a:cubicBezTo>
                    <a:pt x="204287" y="172268"/>
                    <a:pt x="168219" y="208335"/>
                    <a:pt x="168219" y="252827"/>
                  </a:cubicBezTo>
                  <a:cubicBezTo>
                    <a:pt x="168219" y="297319"/>
                    <a:pt x="204287" y="333386"/>
                    <a:pt x="248778" y="333386"/>
                  </a:cubicBezTo>
                  <a:cubicBezTo>
                    <a:pt x="293270" y="333386"/>
                    <a:pt x="329337" y="297319"/>
                    <a:pt x="329337" y="252827"/>
                  </a:cubicBezTo>
                  <a:cubicBezTo>
                    <a:pt x="329337" y="208335"/>
                    <a:pt x="293270" y="172268"/>
                    <a:pt x="248778" y="172268"/>
                  </a:cubicBezTo>
                  <a:close/>
                  <a:moveTo>
                    <a:pt x="441058" y="167875"/>
                  </a:moveTo>
                  <a:lnTo>
                    <a:pt x="359176" y="199205"/>
                  </a:lnTo>
                  <a:cubicBezTo>
                    <a:pt x="364034" y="206847"/>
                    <a:pt x="366320" y="214489"/>
                    <a:pt x="366035" y="222131"/>
                  </a:cubicBezTo>
                  <a:lnTo>
                    <a:pt x="451669" y="203344"/>
                  </a:lnTo>
                  <a:cubicBezTo>
                    <a:pt x="448775" y="191521"/>
                    <a:pt x="446524" y="179698"/>
                    <a:pt x="441058" y="167875"/>
                  </a:cubicBezTo>
                  <a:close/>
                  <a:moveTo>
                    <a:pt x="248778" y="0"/>
                  </a:moveTo>
                  <a:cubicBezTo>
                    <a:pt x="388410" y="0"/>
                    <a:pt x="501605" y="113195"/>
                    <a:pt x="501605" y="252827"/>
                  </a:cubicBezTo>
                  <a:cubicBezTo>
                    <a:pt x="501605" y="392459"/>
                    <a:pt x="388410" y="505654"/>
                    <a:pt x="248778" y="505654"/>
                  </a:cubicBezTo>
                  <a:cubicBezTo>
                    <a:pt x="213870" y="505654"/>
                    <a:pt x="180614" y="498579"/>
                    <a:pt x="150367" y="485786"/>
                  </a:cubicBezTo>
                  <a:lnTo>
                    <a:pt x="121352" y="470037"/>
                  </a:lnTo>
                  <a:lnTo>
                    <a:pt x="132673" y="453246"/>
                  </a:lnTo>
                  <a:cubicBezTo>
                    <a:pt x="137015" y="442980"/>
                    <a:pt x="139416" y="431693"/>
                    <a:pt x="139416" y="419845"/>
                  </a:cubicBezTo>
                  <a:lnTo>
                    <a:pt x="139416" y="318583"/>
                  </a:lnTo>
                  <a:cubicBezTo>
                    <a:pt x="139416" y="271191"/>
                    <a:pt x="100998" y="232773"/>
                    <a:pt x="53606" y="232773"/>
                  </a:cubicBezTo>
                  <a:lnTo>
                    <a:pt x="0" y="232773"/>
                  </a:lnTo>
                  <a:lnTo>
                    <a:pt x="15820" y="154416"/>
                  </a:lnTo>
                  <a:cubicBezTo>
                    <a:pt x="54201" y="63672"/>
                    <a:pt x="144054" y="0"/>
                    <a:pt x="248778"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algn="ctr"/>
              <a:endParaRPr lang="en-US" sz="800" b="1" dirty="0">
                <a:latin typeface="+mj-lt"/>
                <a:cs typeface="Arial" panose="020B0604020202020204" pitchFamily="34" charset="0"/>
              </a:endParaRPr>
            </a:p>
          </p:txBody>
        </p:sp>
        <p:sp>
          <p:nvSpPr>
            <p:cNvPr id="455" name="Rectangle 454"/>
            <p:cNvSpPr/>
            <p:nvPr/>
          </p:nvSpPr>
          <p:spPr>
            <a:xfrm>
              <a:off x="2465232" y="298791"/>
              <a:ext cx="378611" cy="2585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prstTxWarp prst="textArchUp">
                <a:avLst/>
              </a:prstTxWarp>
            </a:bodyPr>
            <a:lstStyle/>
            <a:p>
              <a:pPr algn="ctr"/>
              <a:r>
                <a:rPr lang="en-US" sz="800" b="1" dirty="0">
                  <a:solidFill>
                    <a:srgbClr val="577190"/>
                  </a:solidFill>
                  <a:latin typeface="+mj-lt"/>
                  <a:cs typeface="Arial" panose="020B0604020202020204" pitchFamily="34" charset="0"/>
                </a:rPr>
                <a:t>WSAv</a:t>
              </a:r>
            </a:p>
          </p:txBody>
        </p:sp>
        <p:sp>
          <p:nvSpPr>
            <p:cNvPr id="456" name="Freeform 455"/>
            <p:cNvSpPr/>
            <p:nvPr/>
          </p:nvSpPr>
          <p:spPr>
            <a:xfrm>
              <a:off x="1058898" y="431270"/>
              <a:ext cx="1478095" cy="260712"/>
            </a:xfrm>
            <a:custGeom>
              <a:avLst/>
              <a:gdLst>
                <a:gd name="connsiteX0" fmla="*/ 1114121 w 2382618"/>
                <a:gd name="connsiteY0" fmla="*/ 172782 h 462280"/>
                <a:gd name="connsiteX1" fmla="*/ 1072907 w 2382618"/>
                <a:gd name="connsiteY1" fmla="*/ 213996 h 462280"/>
                <a:gd name="connsiteX2" fmla="*/ 1072907 w 2382618"/>
                <a:gd name="connsiteY2" fmla="*/ 248285 h 462280"/>
                <a:gd name="connsiteX3" fmla="*/ 1114121 w 2382618"/>
                <a:gd name="connsiteY3" fmla="*/ 289499 h 462280"/>
                <a:gd name="connsiteX4" fmla="*/ 2103111 w 2382618"/>
                <a:gd name="connsiteY4" fmla="*/ 289499 h 462280"/>
                <a:gd name="connsiteX5" fmla="*/ 2144325 w 2382618"/>
                <a:gd name="connsiteY5" fmla="*/ 248285 h 462280"/>
                <a:gd name="connsiteX6" fmla="*/ 2144325 w 2382618"/>
                <a:gd name="connsiteY6" fmla="*/ 213996 h 462280"/>
                <a:gd name="connsiteX7" fmla="*/ 2103111 w 2382618"/>
                <a:gd name="connsiteY7" fmla="*/ 172782 h 462280"/>
                <a:gd name="connsiteX8" fmla="*/ 300516 w 2382618"/>
                <a:gd name="connsiteY8" fmla="*/ 172720 h 462280"/>
                <a:gd name="connsiteX9" fmla="*/ 242096 w 2382618"/>
                <a:gd name="connsiteY9" fmla="*/ 231140 h 462280"/>
                <a:gd name="connsiteX10" fmla="*/ 300516 w 2382618"/>
                <a:gd name="connsiteY10" fmla="*/ 289560 h 462280"/>
                <a:gd name="connsiteX11" fmla="*/ 358936 w 2382618"/>
                <a:gd name="connsiteY11" fmla="*/ 231140 h 462280"/>
                <a:gd name="connsiteX12" fmla="*/ 300516 w 2382618"/>
                <a:gd name="connsiteY12" fmla="*/ 172720 h 462280"/>
                <a:gd name="connsiteX13" fmla="*/ 122768 w 2382618"/>
                <a:gd name="connsiteY13" fmla="*/ 0 h 462280"/>
                <a:gd name="connsiteX14" fmla="*/ 2259850 w 2382618"/>
                <a:gd name="connsiteY14" fmla="*/ 0 h 462280"/>
                <a:gd name="connsiteX15" fmla="*/ 2382618 w 2382618"/>
                <a:gd name="connsiteY15" fmla="*/ 122768 h 462280"/>
                <a:gd name="connsiteX16" fmla="*/ 2382618 w 2382618"/>
                <a:gd name="connsiteY16" fmla="*/ 339512 h 462280"/>
                <a:gd name="connsiteX17" fmla="*/ 2259850 w 2382618"/>
                <a:gd name="connsiteY17" fmla="*/ 462280 h 462280"/>
                <a:gd name="connsiteX18" fmla="*/ 122768 w 2382618"/>
                <a:gd name="connsiteY18" fmla="*/ 462280 h 462280"/>
                <a:gd name="connsiteX19" fmla="*/ 0 w 2382618"/>
                <a:gd name="connsiteY19" fmla="*/ 339512 h 462280"/>
                <a:gd name="connsiteX20" fmla="*/ 0 w 2382618"/>
                <a:gd name="connsiteY20" fmla="*/ 122768 h 462280"/>
                <a:gd name="connsiteX21" fmla="*/ 122768 w 2382618"/>
                <a:gd name="connsiteY21" fmla="*/ 0 h 462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2618" h="462280">
                  <a:moveTo>
                    <a:pt x="1114121" y="172782"/>
                  </a:moveTo>
                  <a:cubicBezTo>
                    <a:pt x="1091359" y="172782"/>
                    <a:pt x="1072907" y="191234"/>
                    <a:pt x="1072907" y="213996"/>
                  </a:cubicBezTo>
                  <a:lnTo>
                    <a:pt x="1072907" y="248285"/>
                  </a:lnTo>
                  <a:cubicBezTo>
                    <a:pt x="1072907" y="271047"/>
                    <a:pt x="1091359" y="289499"/>
                    <a:pt x="1114121" y="289499"/>
                  </a:cubicBezTo>
                  <a:lnTo>
                    <a:pt x="2103111" y="289499"/>
                  </a:lnTo>
                  <a:cubicBezTo>
                    <a:pt x="2125873" y="289499"/>
                    <a:pt x="2144325" y="271047"/>
                    <a:pt x="2144325" y="248285"/>
                  </a:cubicBezTo>
                  <a:lnTo>
                    <a:pt x="2144325" y="213996"/>
                  </a:lnTo>
                  <a:cubicBezTo>
                    <a:pt x="2144325" y="191234"/>
                    <a:pt x="2125873" y="172782"/>
                    <a:pt x="2103111" y="172782"/>
                  </a:cubicBezTo>
                  <a:close/>
                  <a:moveTo>
                    <a:pt x="300516" y="172720"/>
                  </a:moveTo>
                  <a:cubicBezTo>
                    <a:pt x="268252" y="172720"/>
                    <a:pt x="242096" y="198876"/>
                    <a:pt x="242096" y="231140"/>
                  </a:cubicBezTo>
                  <a:cubicBezTo>
                    <a:pt x="242096" y="263404"/>
                    <a:pt x="268252" y="289560"/>
                    <a:pt x="300516" y="289560"/>
                  </a:cubicBezTo>
                  <a:cubicBezTo>
                    <a:pt x="332780" y="289560"/>
                    <a:pt x="358936" y="263404"/>
                    <a:pt x="358936" y="231140"/>
                  </a:cubicBezTo>
                  <a:cubicBezTo>
                    <a:pt x="358936" y="198876"/>
                    <a:pt x="332780" y="172720"/>
                    <a:pt x="300516" y="172720"/>
                  </a:cubicBezTo>
                  <a:close/>
                  <a:moveTo>
                    <a:pt x="122768" y="0"/>
                  </a:moveTo>
                  <a:lnTo>
                    <a:pt x="2259850" y="0"/>
                  </a:lnTo>
                  <a:cubicBezTo>
                    <a:pt x="2327653" y="0"/>
                    <a:pt x="2382618" y="54965"/>
                    <a:pt x="2382618" y="122768"/>
                  </a:cubicBezTo>
                  <a:lnTo>
                    <a:pt x="2382618" y="339512"/>
                  </a:lnTo>
                  <a:cubicBezTo>
                    <a:pt x="2382618" y="407315"/>
                    <a:pt x="2327653" y="462280"/>
                    <a:pt x="2259850" y="462280"/>
                  </a:cubicBezTo>
                  <a:lnTo>
                    <a:pt x="122768" y="462280"/>
                  </a:lnTo>
                  <a:cubicBezTo>
                    <a:pt x="54965" y="462280"/>
                    <a:pt x="0" y="407315"/>
                    <a:pt x="0" y="339512"/>
                  </a:cubicBezTo>
                  <a:lnTo>
                    <a:pt x="0" y="122768"/>
                  </a:lnTo>
                  <a:cubicBezTo>
                    <a:pt x="0" y="54965"/>
                    <a:pt x="54965" y="0"/>
                    <a:pt x="122768"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28600" rtlCol="0" anchor="ctr"/>
            <a:lstStyle/>
            <a:p>
              <a:r>
                <a:rPr lang="en-US" sz="1100" b="1" dirty="0">
                  <a:solidFill>
                    <a:srgbClr val="577190"/>
                  </a:solidFill>
                  <a:latin typeface="+mj-lt"/>
                  <a:cs typeface="Arial" panose="020B0604020202020204" pitchFamily="34" charset="0"/>
                </a:rPr>
                <a:t>WSA</a:t>
              </a:r>
            </a:p>
          </p:txBody>
        </p:sp>
      </p:grpSp>
      <p:sp>
        <p:nvSpPr>
          <p:cNvPr id="464" name="Freeform 463"/>
          <p:cNvSpPr>
            <a:spLocks/>
          </p:cNvSpPr>
          <p:nvPr/>
        </p:nvSpPr>
        <p:spPr bwMode="auto">
          <a:xfrm>
            <a:off x="8085366" y="1239117"/>
            <a:ext cx="655189" cy="1203308"/>
          </a:xfrm>
          <a:custGeom>
            <a:avLst/>
            <a:gdLst>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65340 h 665340"/>
              <a:gd name="connsiteX6" fmla="*/ 0 w 761971"/>
              <a:gd name="connsiteY6" fmla="*/ 66534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50336 h 665340"/>
              <a:gd name="connsiteX6" fmla="*/ 0 w 761971"/>
              <a:gd name="connsiteY6" fmla="*/ 665340 h 665340"/>
              <a:gd name="connsiteX7" fmla="*/ 0 w 761971"/>
              <a:gd name="connsiteY7" fmla="*/ 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0028 w 761971"/>
              <a:gd name="connsiteY5" fmla="*/ 652211 h 665340"/>
              <a:gd name="connsiteX6" fmla="*/ 0 w 761971"/>
              <a:gd name="connsiteY6" fmla="*/ 665340 h 665340"/>
              <a:gd name="connsiteX7" fmla="*/ 0 w 761971"/>
              <a:gd name="connsiteY7" fmla="*/ 0 h 66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71" h="665340">
                <a:moveTo>
                  <a:pt x="0" y="0"/>
                </a:moveTo>
                <a:lnTo>
                  <a:pt x="182340" y="3210"/>
                </a:lnTo>
                <a:lnTo>
                  <a:pt x="370242" y="5806"/>
                </a:lnTo>
                <a:lnTo>
                  <a:pt x="563325" y="8470"/>
                </a:lnTo>
                <a:lnTo>
                  <a:pt x="761971" y="10792"/>
                </a:lnTo>
                <a:cubicBezTo>
                  <a:pt x="761323" y="224598"/>
                  <a:pt x="760676" y="438405"/>
                  <a:pt x="760028" y="652211"/>
                </a:cubicBezTo>
                <a:lnTo>
                  <a:pt x="0" y="665340"/>
                </a:lnTo>
                <a:lnTo>
                  <a:pt x="0" y="0"/>
                </a:ln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a typeface="+mn-ea"/>
              <a:cs typeface="+mn-cs"/>
            </a:endParaRPr>
          </a:p>
        </p:txBody>
      </p:sp>
      <p:sp>
        <p:nvSpPr>
          <p:cNvPr id="529" name="Rectangle 528"/>
          <p:cNvSpPr/>
          <p:nvPr/>
        </p:nvSpPr>
        <p:spPr>
          <a:xfrm>
            <a:off x="5843944" y="3958567"/>
            <a:ext cx="3025246" cy="510465"/>
          </a:xfrm>
          <a:prstGeom prst="rect">
            <a:avLst/>
          </a:prstGeom>
          <a:solidFill>
            <a:schemeClr val="bg1">
              <a:lumMod val="95000"/>
            </a:schemeClr>
          </a:solidFill>
          <a:ln w="3175" cap="flat" cmpd="sng" algn="ctr">
            <a:solidFill>
              <a:schemeClr val="bg1">
                <a:lumMod val="65000"/>
              </a:schemeClr>
            </a:solidFill>
            <a:prstDash val="solid"/>
          </a:ln>
          <a:effectLst/>
        </p:spPr>
        <p:txBody>
          <a:bodyPr lIns="91436" tIns="45718" rIns="91436" bIns="45718" rtlCol="0" anchor="t"/>
          <a:lstStyle/>
          <a:p>
            <a:pPr defTabSz="1218173">
              <a:defRPr/>
            </a:pPr>
            <a:r>
              <a:rPr lang="en-US" sz="1000" kern="0" dirty="0">
                <a:solidFill>
                  <a:srgbClr val="676767">
                    <a:lumMod val="75000"/>
                  </a:srgbClr>
                </a:solidFill>
                <a:latin typeface="+mj-lt"/>
              </a:rPr>
              <a:t>Key:</a:t>
            </a:r>
          </a:p>
        </p:txBody>
      </p:sp>
      <p:sp>
        <p:nvSpPr>
          <p:cNvPr id="231" name="Rectangle 230"/>
          <p:cNvSpPr/>
          <p:nvPr/>
        </p:nvSpPr>
        <p:spPr>
          <a:xfrm>
            <a:off x="5843950" y="2942415"/>
            <a:ext cx="3025245" cy="990942"/>
          </a:xfrm>
          <a:prstGeom prst="rect">
            <a:avLst/>
          </a:prstGeom>
          <a:solidFill>
            <a:schemeClr val="bg1">
              <a:lumMod val="95000"/>
            </a:schemeClr>
          </a:solidFill>
          <a:ln w="635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4" name="Rectangle 3"/>
          <p:cNvSpPr/>
          <p:nvPr/>
        </p:nvSpPr>
        <p:spPr>
          <a:xfrm rot="204779">
            <a:off x="977182" y="772472"/>
            <a:ext cx="2673314" cy="261042"/>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tx2">
                    <a:lumMod val="75000"/>
                  </a:schemeClr>
                </a:solidFill>
                <a:latin typeface="+mj-lt"/>
              </a:rPr>
              <a:t>Before</a:t>
            </a:r>
          </a:p>
        </p:txBody>
      </p:sp>
      <p:sp>
        <p:nvSpPr>
          <p:cNvPr id="2" name="Freeform 13"/>
          <p:cNvSpPr>
            <a:spLocks/>
          </p:cNvSpPr>
          <p:nvPr/>
        </p:nvSpPr>
        <p:spPr bwMode="auto">
          <a:xfrm>
            <a:off x="989889" y="2463389"/>
            <a:ext cx="7760205" cy="257844"/>
          </a:xfrm>
          <a:custGeom>
            <a:avLst/>
            <a:gdLst>
              <a:gd name="T0" fmla="*/ 13526 w 13526"/>
              <a:gd name="T1" fmla="*/ 13 h 467"/>
              <a:gd name="T2" fmla="*/ 13126 w 13526"/>
              <a:gd name="T3" fmla="*/ 7 h 467"/>
              <a:gd name="T4" fmla="*/ 12300 w 13526"/>
              <a:gd name="T5" fmla="*/ 1 h 467"/>
              <a:gd name="T6" fmla="*/ 11798 w 13526"/>
              <a:gd name="T7" fmla="*/ 0 h 467"/>
              <a:gd name="T8" fmla="*/ 11400 w 13526"/>
              <a:gd name="T9" fmla="*/ 1 h 467"/>
              <a:gd name="T10" fmla="*/ 10582 w 13526"/>
              <a:gd name="T11" fmla="*/ 7 h 467"/>
              <a:gd name="T12" fmla="*/ 10104 w 13526"/>
              <a:gd name="T13" fmla="*/ 13 h 467"/>
              <a:gd name="T14" fmla="*/ 9704 w 13526"/>
              <a:gd name="T15" fmla="*/ 19 h 467"/>
              <a:gd name="T16" fmla="*/ 8886 w 13526"/>
              <a:gd name="T17" fmla="*/ 34 h 467"/>
              <a:gd name="T18" fmla="*/ 8411 w 13526"/>
              <a:gd name="T19" fmla="*/ 46 h 467"/>
              <a:gd name="T20" fmla="*/ 8009 w 13526"/>
              <a:gd name="T21" fmla="*/ 55 h 467"/>
              <a:gd name="T22" fmla="*/ 7191 w 13526"/>
              <a:gd name="T23" fmla="*/ 80 h 467"/>
              <a:gd name="T24" fmla="*/ 6717 w 13526"/>
              <a:gd name="T25" fmla="*/ 95 h 467"/>
              <a:gd name="T26" fmla="*/ 6314 w 13526"/>
              <a:gd name="T27" fmla="*/ 110 h 467"/>
              <a:gd name="T28" fmla="*/ 5495 w 13526"/>
              <a:gd name="T29" fmla="*/ 141 h 467"/>
              <a:gd name="T30" fmla="*/ 5023 w 13526"/>
              <a:gd name="T31" fmla="*/ 160 h 467"/>
              <a:gd name="T32" fmla="*/ 4617 w 13526"/>
              <a:gd name="T33" fmla="*/ 178 h 467"/>
              <a:gd name="T34" fmla="*/ 3799 w 13526"/>
              <a:gd name="T35" fmla="*/ 217 h 467"/>
              <a:gd name="T36" fmla="*/ 3329 w 13526"/>
              <a:gd name="T37" fmla="*/ 240 h 467"/>
              <a:gd name="T38" fmla="*/ 2918 w 13526"/>
              <a:gd name="T39" fmla="*/ 261 h 467"/>
              <a:gd name="T40" fmla="*/ 2099 w 13526"/>
              <a:gd name="T41" fmla="*/ 306 h 467"/>
              <a:gd name="T42" fmla="*/ 1636 w 13526"/>
              <a:gd name="T43" fmla="*/ 332 h 467"/>
              <a:gd name="T44" fmla="*/ 1032 w 13526"/>
              <a:gd name="T45" fmla="*/ 369 h 467"/>
              <a:gd name="T46" fmla="*/ 201 w 13526"/>
              <a:gd name="T47" fmla="*/ 423 h 467"/>
              <a:gd name="T48" fmla="*/ 0 w 13526"/>
              <a:gd name="T49" fmla="*/ 437 h 467"/>
              <a:gd name="T50" fmla="*/ 4 w 13526"/>
              <a:gd name="T51" fmla="*/ 466 h 467"/>
              <a:gd name="T52" fmla="*/ 203 w 13526"/>
              <a:gd name="T53" fmla="*/ 453 h 467"/>
              <a:gd name="T54" fmla="*/ 1034 w 13526"/>
              <a:gd name="T55" fmla="*/ 399 h 467"/>
              <a:gd name="T56" fmla="*/ 1697 w 13526"/>
              <a:gd name="T57" fmla="*/ 359 h 467"/>
              <a:gd name="T58" fmla="*/ 2101 w 13526"/>
              <a:gd name="T59" fmla="*/ 336 h 467"/>
              <a:gd name="T60" fmla="*/ 2920 w 13526"/>
              <a:gd name="T61" fmla="*/ 291 h 467"/>
              <a:gd name="T62" fmla="*/ 3391 w 13526"/>
              <a:gd name="T63" fmla="*/ 267 h 467"/>
              <a:gd name="T64" fmla="*/ 3801 w 13526"/>
              <a:gd name="T65" fmla="*/ 247 h 467"/>
              <a:gd name="T66" fmla="*/ 4619 w 13526"/>
              <a:gd name="T67" fmla="*/ 208 h 467"/>
              <a:gd name="T68" fmla="*/ 5084 w 13526"/>
              <a:gd name="T69" fmla="*/ 188 h 467"/>
              <a:gd name="T70" fmla="*/ 5496 w 13526"/>
              <a:gd name="T71" fmla="*/ 171 h 467"/>
              <a:gd name="T72" fmla="*/ 6315 w 13526"/>
              <a:gd name="T73" fmla="*/ 140 h 467"/>
              <a:gd name="T74" fmla="*/ 6778 w 13526"/>
              <a:gd name="T75" fmla="*/ 124 h 467"/>
              <a:gd name="T76" fmla="*/ 7192 w 13526"/>
              <a:gd name="T77" fmla="*/ 110 h 467"/>
              <a:gd name="T78" fmla="*/ 8010 w 13526"/>
              <a:gd name="T79" fmla="*/ 85 h 467"/>
              <a:gd name="T80" fmla="*/ 8471 w 13526"/>
              <a:gd name="T81" fmla="*/ 74 h 467"/>
              <a:gd name="T82" fmla="*/ 8887 w 13526"/>
              <a:gd name="T83" fmla="*/ 64 h 467"/>
              <a:gd name="T84" fmla="*/ 9705 w 13526"/>
              <a:gd name="T85" fmla="*/ 49 h 467"/>
              <a:gd name="T86" fmla="*/ 10165 w 13526"/>
              <a:gd name="T87" fmla="*/ 42 h 467"/>
              <a:gd name="T88" fmla="*/ 10582 w 13526"/>
              <a:gd name="T89" fmla="*/ 37 h 467"/>
              <a:gd name="T90" fmla="*/ 11400 w 13526"/>
              <a:gd name="T91" fmla="*/ 31 h 467"/>
              <a:gd name="T92" fmla="*/ 11877 w 13526"/>
              <a:gd name="T93" fmla="*/ 30 h 467"/>
              <a:gd name="T94" fmla="*/ 12300 w 13526"/>
              <a:gd name="T95" fmla="*/ 31 h 467"/>
              <a:gd name="T96" fmla="*/ 13126 w 13526"/>
              <a:gd name="T97" fmla="*/ 37 h 467"/>
              <a:gd name="T98" fmla="*/ 13526 w 13526"/>
              <a:gd name="T99" fmla="*/ 4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526" h="467">
                <a:moveTo>
                  <a:pt x="13526" y="13"/>
                </a:moveTo>
                <a:lnTo>
                  <a:pt x="13526" y="13"/>
                </a:lnTo>
                <a:lnTo>
                  <a:pt x="13526" y="13"/>
                </a:lnTo>
                <a:lnTo>
                  <a:pt x="13126" y="7"/>
                </a:lnTo>
                <a:lnTo>
                  <a:pt x="12718" y="3"/>
                </a:lnTo>
                <a:lnTo>
                  <a:pt x="12300" y="1"/>
                </a:lnTo>
                <a:lnTo>
                  <a:pt x="11877" y="0"/>
                </a:lnTo>
                <a:lnTo>
                  <a:pt x="11798" y="0"/>
                </a:lnTo>
                <a:lnTo>
                  <a:pt x="11798" y="0"/>
                </a:lnTo>
                <a:lnTo>
                  <a:pt x="11400" y="1"/>
                </a:lnTo>
                <a:lnTo>
                  <a:pt x="10994" y="3"/>
                </a:lnTo>
                <a:lnTo>
                  <a:pt x="10582" y="7"/>
                </a:lnTo>
                <a:lnTo>
                  <a:pt x="10164" y="12"/>
                </a:lnTo>
                <a:lnTo>
                  <a:pt x="10104" y="13"/>
                </a:lnTo>
                <a:lnTo>
                  <a:pt x="10104" y="13"/>
                </a:lnTo>
                <a:lnTo>
                  <a:pt x="9704" y="19"/>
                </a:lnTo>
                <a:lnTo>
                  <a:pt x="9298" y="25"/>
                </a:lnTo>
                <a:lnTo>
                  <a:pt x="8886" y="34"/>
                </a:lnTo>
                <a:lnTo>
                  <a:pt x="8471" y="44"/>
                </a:lnTo>
                <a:lnTo>
                  <a:pt x="8411" y="46"/>
                </a:lnTo>
                <a:lnTo>
                  <a:pt x="8411" y="46"/>
                </a:lnTo>
                <a:lnTo>
                  <a:pt x="8009" y="55"/>
                </a:lnTo>
                <a:lnTo>
                  <a:pt x="7602" y="67"/>
                </a:lnTo>
                <a:lnTo>
                  <a:pt x="7191" y="80"/>
                </a:lnTo>
                <a:lnTo>
                  <a:pt x="6777" y="94"/>
                </a:lnTo>
                <a:lnTo>
                  <a:pt x="6717" y="95"/>
                </a:lnTo>
                <a:lnTo>
                  <a:pt x="6717" y="95"/>
                </a:lnTo>
                <a:lnTo>
                  <a:pt x="6314" y="110"/>
                </a:lnTo>
                <a:lnTo>
                  <a:pt x="5905" y="125"/>
                </a:lnTo>
                <a:lnTo>
                  <a:pt x="5495" y="141"/>
                </a:lnTo>
                <a:lnTo>
                  <a:pt x="5083" y="158"/>
                </a:lnTo>
                <a:lnTo>
                  <a:pt x="5023" y="160"/>
                </a:lnTo>
                <a:lnTo>
                  <a:pt x="5023" y="160"/>
                </a:lnTo>
                <a:lnTo>
                  <a:pt x="4617" y="178"/>
                </a:lnTo>
                <a:lnTo>
                  <a:pt x="4208" y="198"/>
                </a:lnTo>
                <a:lnTo>
                  <a:pt x="3799" y="217"/>
                </a:lnTo>
                <a:lnTo>
                  <a:pt x="3389" y="237"/>
                </a:lnTo>
                <a:lnTo>
                  <a:pt x="3329" y="240"/>
                </a:lnTo>
                <a:lnTo>
                  <a:pt x="3329" y="240"/>
                </a:lnTo>
                <a:lnTo>
                  <a:pt x="2918" y="261"/>
                </a:lnTo>
                <a:lnTo>
                  <a:pt x="2508" y="283"/>
                </a:lnTo>
                <a:lnTo>
                  <a:pt x="2099" y="306"/>
                </a:lnTo>
                <a:lnTo>
                  <a:pt x="1696" y="329"/>
                </a:lnTo>
                <a:lnTo>
                  <a:pt x="1636" y="332"/>
                </a:lnTo>
                <a:lnTo>
                  <a:pt x="1636" y="332"/>
                </a:lnTo>
                <a:lnTo>
                  <a:pt x="1032" y="369"/>
                </a:lnTo>
                <a:lnTo>
                  <a:pt x="550" y="400"/>
                </a:lnTo>
                <a:lnTo>
                  <a:pt x="201" y="423"/>
                </a:lnTo>
                <a:lnTo>
                  <a:pt x="2" y="437"/>
                </a:lnTo>
                <a:lnTo>
                  <a:pt x="0" y="437"/>
                </a:lnTo>
                <a:lnTo>
                  <a:pt x="0" y="467"/>
                </a:lnTo>
                <a:lnTo>
                  <a:pt x="4" y="466"/>
                </a:lnTo>
                <a:lnTo>
                  <a:pt x="4" y="466"/>
                </a:lnTo>
                <a:lnTo>
                  <a:pt x="203" y="453"/>
                </a:lnTo>
                <a:lnTo>
                  <a:pt x="552" y="430"/>
                </a:lnTo>
                <a:lnTo>
                  <a:pt x="1034" y="399"/>
                </a:lnTo>
                <a:lnTo>
                  <a:pt x="1637" y="362"/>
                </a:lnTo>
                <a:lnTo>
                  <a:pt x="1697" y="359"/>
                </a:lnTo>
                <a:lnTo>
                  <a:pt x="1697" y="359"/>
                </a:lnTo>
                <a:lnTo>
                  <a:pt x="2101" y="336"/>
                </a:lnTo>
                <a:lnTo>
                  <a:pt x="2509" y="313"/>
                </a:lnTo>
                <a:lnTo>
                  <a:pt x="2920" y="291"/>
                </a:lnTo>
                <a:lnTo>
                  <a:pt x="3331" y="269"/>
                </a:lnTo>
                <a:lnTo>
                  <a:pt x="3391" y="267"/>
                </a:lnTo>
                <a:lnTo>
                  <a:pt x="3391" y="267"/>
                </a:lnTo>
                <a:lnTo>
                  <a:pt x="3801" y="247"/>
                </a:lnTo>
                <a:lnTo>
                  <a:pt x="4210" y="226"/>
                </a:lnTo>
                <a:lnTo>
                  <a:pt x="4619" y="208"/>
                </a:lnTo>
                <a:lnTo>
                  <a:pt x="5024" y="190"/>
                </a:lnTo>
                <a:lnTo>
                  <a:pt x="5084" y="188"/>
                </a:lnTo>
                <a:lnTo>
                  <a:pt x="5084" y="188"/>
                </a:lnTo>
                <a:lnTo>
                  <a:pt x="5496" y="171"/>
                </a:lnTo>
                <a:lnTo>
                  <a:pt x="5906" y="155"/>
                </a:lnTo>
                <a:lnTo>
                  <a:pt x="6315" y="140"/>
                </a:lnTo>
                <a:lnTo>
                  <a:pt x="6718" y="125"/>
                </a:lnTo>
                <a:lnTo>
                  <a:pt x="6778" y="124"/>
                </a:lnTo>
                <a:lnTo>
                  <a:pt x="6778" y="124"/>
                </a:lnTo>
                <a:lnTo>
                  <a:pt x="7192" y="110"/>
                </a:lnTo>
                <a:lnTo>
                  <a:pt x="7602" y="97"/>
                </a:lnTo>
                <a:lnTo>
                  <a:pt x="8010" y="85"/>
                </a:lnTo>
                <a:lnTo>
                  <a:pt x="8411" y="76"/>
                </a:lnTo>
                <a:lnTo>
                  <a:pt x="8471" y="74"/>
                </a:lnTo>
                <a:lnTo>
                  <a:pt x="8471" y="74"/>
                </a:lnTo>
                <a:lnTo>
                  <a:pt x="8887" y="64"/>
                </a:lnTo>
                <a:lnTo>
                  <a:pt x="9299" y="55"/>
                </a:lnTo>
                <a:lnTo>
                  <a:pt x="9705" y="49"/>
                </a:lnTo>
                <a:lnTo>
                  <a:pt x="10105" y="43"/>
                </a:lnTo>
                <a:lnTo>
                  <a:pt x="10165" y="42"/>
                </a:lnTo>
                <a:lnTo>
                  <a:pt x="10165" y="42"/>
                </a:lnTo>
                <a:lnTo>
                  <a:pt x="10582" y="37"/>
                </a:lnTo>
                <a:lnTo>
                  <a:pt x="10994" y="33"/>
                </a:lnTo>
                <a:lnTo>
                  <a:pt x="11400" y="31"/>
                </a:lnTo>
                <a:lnTo>
                  <a:pt x="11798" y="30"/>
                </a:lnTo>
                <a:lnTo>
                  <a:pt x="11877" y="30"/>
                </a:lnTo>
                <a:lnTo>
                  <a:pt x="11877" y="30"/>
                </a:lnTo>
                <a:lnTo>
                  <a:pt x="12300" y="31"/>
                </a:lnTo>
                <a:lnTo>
                  <a:pt x="12716" y="33"/>
                </a:lnTo>
                <a:lnTo>
                  <a:pt x="13126" y="37"/>
                </a:lnTo>
                <a:lnTo>
                  <a:pt x="13525" y="43"/>
                </a:lnTo>
                <a:lnTo>
                  <a:pt x="13526" y="43"/>
                </a:lnTo>
                <a:lnTo>
                  <a:pt x="13526" y="13"/>
                </a:lnTo>
                <a:close/>
              </a:path>
            </a:pathLst>
          </a:custGeom>
          <a:solidFill>
            <a:schemeClr val="accent3"/>
          </a:solidFill>
          <a:ln>
            <a:noFill/>
          </a:ln>
        </p:spPr>
        <p:txBody>
          <a:bodyPr vert="horz" wrap="square" lIns="91412" tIns="45706" rIns="91412" bIns="45706" numCol="1" anchor="t" anchorCtr="0" compatLnSpc="1">
            <a:prstTxWarp prst="textNoShape">
              <a:avLst/>
            </a:prstTxWarp>
          </a:bodyPr>
          <a:lstStyle/>
          <a:p>
            <a:pPr defTabSz="914103"/>
            <a:endParaRPr lang="en-US" kern="0">
              <a:solidFill>
                <a:srgbClr val="FFFFFF"/>
              </a:solidFill>
              <a:latin typeface="+mj-lt"/>
            </a:endParaRPr>
          </a:p>
        </p:txBody>
      </p:sp>
      <p:sp>
        <p:nvSpPr>
          <p:cNvPr id="3" name="Freeform 14"/>
          <p:cNvSpPr>
            <a:spLocks/>
          </p:cNvSpPr>
          <p:nvPr/>
        </p:nvSpPr>
        <p:spPr bwMode="auto">
          <a:xfrm>
            <a:off x="989889" y="938362"/>
            <a:ext cx="7760205" cy="250131"/>
          </a:xfrm>
          <a:custGeom>
            <a:avLst/>
            <a:gdLst>
              <a:gd name="T0" fmla="*/ 13526 w 13526"/>
              <a:gd name="T1" fmla="*/ 422 h 453"/>
              <a:gd name="T2" fmla="*/ 12812 w 13526"/>
              <a:gd name="T3" fmla="*/ 423 h 453"/>
              <a:gd name="T4" fmla="*/ 12334 w 13526"/>
              <a:gd name="T5" fmla="*/ 422 h 453"/>
              <a:gd name="T6" fmla="*/ 11798 w 13526"/>
              <a:gd name="T7" fmla="*/ 421 h 453"/>
              <a:gd name="T8" fmla="*/ 11386 w 13526"/>
              <a:gd name="T9" fmla="*/ 419 h 453"/>
              <a:gd name="T10" fmla="*/ 10568 w 13526"/>
              <a:gd name="T11" fmla="*/ 413 h 453"/>
              <a:gd name="T12" fmla="*/ 10105 w 13526"/>
              <a:gd name="T13" fmla="*/ 408 h 453"/>
              <a:gd name="T14" fmla="*/ 9692 w 13526"/>
              <a:gd name="T15" fmla="*/ 403 h 453"/>
              <a:gd name="T16" fmla="*/ 8873 w 13526"/>
              <a:gd name="T17" fmla="*/ 391 h 453"/>
              <a:gd name="T18" fmla="*/ 8411 w 13526"/>
              <a:gd name="T19" fmla="*/ 384 h 453"/>
              <a:gd name="T20" fmla="*/ 7997 w 13526"/>
              <a:gd name="T21" fmla="*/ 375 h 453"/>
              <a:gd name="T22" fmla="*/ 7179 w 13526"/>
              <a:gd name="T23" fmla="*/ 357 h 453"/>
              <a:gd name="T24" fmla="*/ 6717 w 13526"/>
              <a:gd name="T25" fmla="*/ 345 h 453"/>
              <a:gd name="T26" fmla="*/ 6302 w 13526"/>
              <a:gd name="T27" fmla="*/ 334 h 453"/>
              <a:gd name="T28" fmla="*/ 5484 w 13526"/>
              <a:gd name="T29" fmla="*/ 307 h 453"/>
              <a:gd name="T30" fmla="*/ 5024 w 13526"/>
              <a:gd name="T31" fmla="*/ 291 h 453"/>
              <a:gd name="T32" fmla="*/ 4606 w 13526"/>
              <a:gd name="T33" fmla="*/ 275 h 453"/>
              <a:gd name="T34" fmla="*/ 3788 w 13526"/>
              <a:gd name="T35" fmla="*/ 241 h 453"/>
              <a:gd name="T36" fmla="*/ 3331 w 13526"/>
              <a:gd name="T37" fmla="*/ 219 h 453"/>
              <a:gd name="T38" fmla="*/ 2906 w 13526"/>
              <a:gd name="T39" fmla="*/ 198 h 453"/>
              <a:gd name="T40" fmla="*/ 2088 w 13526"/>
              <a:gd name="T41" fmla="*/ 152 h 453"/>
              <a:gd name="T42" fmla="*/ 1637 w 13526"/>
              <a:gd name="T43" fmla="*/ 124 h 453"/>
              <a:gd name="T44" fmla="*/ 1314 w 13526"/>
              <a:gd name="T45" fmla="*/ 103 h 453"/>
              <a:gd name="T46" fmla="*/ 772 w 13526"/>
              <a:gd name="T47" fmla="*/ 64 h 453"/>
              <a:gd name="T48" fmla="*/ 366 w 13526"/>
              <a:gd name="T49" fmla="*/ 32 h 453"/>
              <a:gd name="T50" fmla="*/ 5 w 13526"/>
              <a:gd name="T51" fmla="*/ 0 h 453"/>
              <a:gd name="T52" fmla="*/ 0 w 13526"/>
              <a:gd name="T53" fmla="*/ 30 h 453"/>
              <a:gd name="T54" fmla="*/ 2 w 13526"/>
              <a:gd name="T55" fmla="*/ 30 h 453"/>
              <a:gd name="T56" fmla="*/ 363 w 13526"/>
              <a:gd name="T57" fmla="*/ 62 h 453"/>
              <a:gd name="T58" fmla="*/ 770 w 13526"/>
              <a:gd name="T59" fmla="*/ 94 h 453"/>
              <a:gd name="T60" fmla="*/ 1312 w 13526"/>
              <a:gd name="T61" fmla="*/ 133 h 453"/>
              <a:gd name="T62" fmla="*/ 1696 w 13526"/>
              <a:gd name="T63" fmla="*/ 158 h 453"/>
              <a:gd name="T64" fmla="*/ 2086 w 13526"/>
              <a:gd name="T65" fmla="*/ 182 h 453"/>
              <a:gd name="T66" fmla="*/ 2905 w 13526"/>
              <a:gd name="T67" fmla="*/ 228 h 453"/>
              <a:gd name="T68" fmla="*/ 3389 w 13526"/>
              <a:gd name="T69" fmla="*/ 251 h 453"/>
              <a:gd name="T70" fmla="*/ 3787 w 13526"/>
              <a:gd name="T71" fmla="*/ 270 h 453"/>
              <a:gd name="T72" fmla="*/ 4605 w 13526"/>
              <a:gd name="T73" fmla="*/ 305 h 453"/>
              <a:gd name="T74" fmla="*/ 5083 w 13526"/>
              <a:gd name="T75" fmla="*/ 323 h 453"/>
              <a:gd name="T76" fmla="*/ 5483 w 13526"/>
              <a:gd name="T77" fmla="*/ 337 h 453"/>
              <a:gd name="T78" fmla="*/ 6301 w 13526"/>
              <a:gd name="T79" fmla="*/ 363 h 453"/>
              <a:gd name="T80" fmla="*/ 6777 w 13526"/>
              <a:gd name="T81" fmla="*/ 376 h 453"/>
              <a:gd name="T82" fmla="*/ 7178 w 13526"/>
              <a:gd name="T83" fmla="*/ 387 h 453"/>
              <a:gd name="T84" fmla="*/ 7997 w 13526"/>
              <a:gd name="T85" fmla="*/ 405 h 453"/>
              <a:gd name="T86" fmla="*/ 8470 w 13526"/>
              <a:gd name="T87" fmla="*/ 415 h 453"/>
              <a:gd name="T88" fmla="*/ 8873 w 13526"/>
              <a:gd name="T89" fmla="*/ 421 h 453"/>
              <a:gd name="T90" fmla="*/ 9691 w 13526"/>
              <a:gd name="T91" fmla="*/ 433 h 453"/>
              <a:gd name="T92" fmla="*/ 10164 w 13526"/>
              <a:gd name="T93" fmla="*/ 439 h 453"/>
              <a:gd name="T94" fmla="*/ 10568 w 13526"/>
              <a:gd name="T95" fmla="*/ 443 h 453"/>
              <a:gd name="T96" fmla="*/ 11386 w 13526"/>
              <a:gd name="T97" fmla="*/ 449 h 453"/>
              <a:gd name="T98" fmla="*/ 11858 w 13526"/>
              <a:gd name="T99" fmla="*/ 451 h 453"/>
              <a:gd name="T100" fmla="*/ 12334 w 13526"/>
              <a:gd name="T101" fmla="*/ 452 h 453"/>
              <a:gd name="T102" fmla="*/ 12812 w 13526"/>
              <a:gd name="T103" fmla="*/ 453 h 453"/>
              <a:gd name="T104" fmla="*/ 13526 w 13526"/>
              <a:gd name="T105" fmla="*/ 452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526" h="453">
                <a:moveTo>
                  <a:pt x="13526" y="422"/>
                </a:moveTo>
                <a:lnTo>
                  <a:pt x="13526" y="422"/>
                </a:lnTo>
                <a:lnTo>
                  <a:pt x="13526" y="422"/>
                </a:lnTo>
                <a:lnTo>
                  <a:pt x="12812" y="423"/>
                </a:lnTo>
                <a:lnTo>
                  <a:pt x="12812" y="423"/>
                </a:lnTo>
                <a:lnTo>
                  <a:pt x="12334" y="422"/>
                </a:lnTo>
                <a:lnTo>
                  <a:pt x="11858" y="421"/>
                </a:lnTo>
                <a:lnTo>
                  <a:pt x="11798" y="421"/>
                </a:lnTo>
                <a:lnTo>
                  <a:pt x="11798" y="421"/>
                </a:lnTo>
                <a:lnTo>
                  <a:pt x="11386" y="419"/>
                </a:lnTo>
                <a:lnTo>
                  <a:pt x="10975" y="416"/>
                </a:lnTo>
                <a:lnTo>
                  <a:pt x="10568" y="413"/>
                </a:lnTo>
                <a:lnTo>
                  <a:pt x="10165" y="409"/>
                </a:lnTo>
                <a:lnTo>
                  <a:pt x="10105" y="408"/>
                </a:lnTo>
                <a:lnTo>
                  <a:pt x="10105" y="408"/>
                </a:lnTo>
                <a:lnTo>
                  <a:pt x="9692" y="403"/>
                </a:lnTo>
                <a:lnTo>
                  <a:pt x="9280" y="398"/>
                </a:lnTo>
                <a:lnTo>
                  <a:pt x="8873" y="391"/>
                </a:lnTo>
                <a:lnTo>
                  <a:pt x="8471" y="385"/>
                </a:lnTo>
                <a:lnTo>
                  <a:pt x="8411" y="384"/>
                </a:lnTo>
                <a:lnTo>
                  <a:pt x="8411" y="384"/>
                </a:lnTo>
                <a:lnTo>
                  <a:pt x="7997" y="375"/>
                </a:lnTo>
                <a:lnTo>
                  <a:pt x="7586" y="367"/>
                </a:lnTo>
                <a:lnTo>
                  <a:pt x="7179" y="357"/>
                </a:lnTo>
                <a:lnTo>
                  <a:pt x="6777" y="346"/>
                </a:lnTo>
                <a:lnTo>
                  <a:pt x="6717" y="345"/>
                </a:lnTo>
                <a:lnTo>
                  <a:pt x="6717" y="345"/>
                </a:lnTo>
                <a:lnTo>
                  <a:pt x="6302" y="334"/>
                </a:lnTo>
                <a:lnTo>
                  <a:pt x="5890" y="321"/>
                </a:lnTo>
                <a:lnTo>
                  <a:pt x="5484" y="307"/>
                </a:lnTo>
                <a:lnTo>
                  <a:pt x="5084" y="293"/>
                </a:lnTo>
                <a:lnTo>
                  <a:pt x="5024" y="291"/>
                </a:lnTo>
                <a:lnTo>
                  <a:pt x="5024" y="291"/>
                </a:lnTo>
                <a:lnTo>
                  <a:pt x="4606" y="275"/>
                </a:lnTo>
                <a:lnTo>
                  <a:pt x="4194" y="258"/>
                </a:lnTo>
                <a:lnTo>
                  <a:pt x="3788" y="241"/>
                </a:lnTo>
                <a:lnTo>
                  <a:pt x="3391" y="221"/>
                </a:lnTo>
                <a:lnTo>
                  <a:pt x="3331" y="219"/>
                </a:lnTo>
                <a:lnTo>
                  <a:pt x="3331" y="219"/>
                </a:lnTo>
                <a:lnTo>
                  <a:pt x="2906" y="198"/>
                </a:lnTo>
                <a:lnTo>
                  <a:pt x="2491" y="175"/>
                </a:lnTo>
                <a:lnTo>
                  <a:pt x="2088" y="152"/>
                </a:lnTo>
                <a:lnTo>
                  <a:pt x="1697" y="128"/>
                </a:lnTo>
                <a:lnTo>
                  <a:pt x="1637" y="124"/>
                </a:lnTo>
                <a:lnTo>
                  <a:pt x="1637" y="124"/>
                </a:lnTo>
                <a:lnTo>
                  <a:pt x="1314" y="103"/>
                </a:lnTo>
                <a:lnTo>
                  <a:pt x="1026" y="82"/>
                </a:lnTo>
                <a:lnTo>
                  <a:pt x="772" y="64"/>
                </a:lnTo>
                <a:lnTo>
                  <a:pt x="552" y="47"/>
                </a:lnTo>
                <a:lnTo>
                  <a:pt x="366" y="32"/>
                </a:lnTo>
                <a:lnTo>
                  <a:pt x="212" y="19"/>
                </a:lnTo>
                <a:lnTo>
                  <a:pt x="5" y="0"/>
                </a:lnTo>
                <a:lnTo>
                  <a:pt x="0" y="0"/>
                </a:lnTo>
                <a:lnTo>
                  <a:pt x="0" y="30"/>
                </a:lnTo>
                <a:lnTo>
                  <a:pt x="2" y="30"/>
                </a:lnTo>
                <a:lnTo>
                  <a:pt x="2" y="30"/>
                </a:lnTo>
                <a:lnTo>
                  <a:pt x="210" y="49"/>
                </a:lnTo>
                <a:lnTo>
                  <a:pt x="363" y="62"/>
                </a:lnTo>
                <a:lnTo>
                  <a:pt x="550" y="77"/>
                </a:lnTo>
                <a:lnTo>
                  <a:pt x="770" y="94"/>
                </a:lnTo>
                <a:lnTo>
                  <a:pt x="1023" y="112"/>
                </a:lnTo>
                <a:lnTo>
                  <a:pt x="1312" y="133"/>
                </a:lnTo>
                <a:lnTo>
                  <a:pt x="1636" y="154"/>
                </a:lnTo>
                <a:lnTo>
                  <a:pt x="1696" y="158"/>
                </a:lnTo>
                <a:lnTo>
                  <a:pt x="1696" y="158"/>
                </a:lnTo>
                <a:lnTo>
                  <a:pt x="2086" y="182"/>
                </a:lnTo>
                <a:lnTo>
                  <a:pt x="2490" y="205"/>
                </a:lnTo>
                <a:lnTo>
                  <a:pt x="2905" y="228"/>
                </a:lnTo>
                <a:lnTo>
                  <a:pt x="3329" y="249"/>
                </a:lnTo>
                <a:lnTo>
                  <a:pt x="3389" y="251"/>
                </a:lnTo>
                <a:lnTo>
                  <a:pt x="3389" y="251"/>
                </a:lnTo>
                <a:lnTo>
                  <a:pt x="3787" y="270"/>
                </a:lnTo>
                <a:lnTo>
                  <a:pt x="4192" y="288"/>
                </a:lnTo>
                <a:lnTo>
                  <a:pt x="4605" y="305"/>
                </a:lnTo>
                <a:lnTo>
                  <a:pt x="5023" y="321"/>
                </a:lnTo>
                <a:lnTo>
                  <a:pt x="5083" y="323"/>
                </a:lnTo>
                <a:lnTo>
                  <a:pt x="5083" y="323"/>
                </a:lnTo>
                <a:lnTo>
                  <a:pt x="5483" y="337"/>
                </a:lnTo>
                <a:lnTo>
                  <a:pt x="5890" y="351"/>
                </a:lnTo>
                <a:lnTo>
                  <a:pt x="6301" y="363"/>
                </a:lnTo>
                <a:lnTo>
                  <a:pt x="6717" y="375"/>
                </a:lnTo>
                <a:lnTo>
                  <a:pt x="6777" y="376"/>
                </a:lnTo>
                <a:lnTo>
                  <a:pt x="6777" y="376"/>
                </a:lnTo>
                <a:lnTo>
                  <a:pt x="7178" y="387"/>
                </a:lnTo>
                <a:lnTo>
                  <a:pt x="7585" y="397"/>
                </a:lnTo>
                <a:lnTo>
                  <a:pt x="7997" y="405"/>
                </a:lnTo>
                <a:lnTo>
                  <a:pt x="8410" y="414"/>
                </a:lnTo>
                <a:lnTo>
                  <a:pt x="8470" y="415"/>
                </a:lnTo>
                <a:lnTo>
                  <a:pt x="8470" y="415"/>
                </a:lnTo>
                <a:lnTo>
                  <a:pt x="8873" y="421"/>
                </a:lnTo>
                <a:lnTo>
                  <a:pt x="9280" y="428"/>
                </a:lnTo>
                <a:lnTo>
                  <a:pt x="9691" y="433"/>
                </a:lnTo>
                <a:lnTo>
                  <a:pt x="10104" y="438"/>
                </a:lnTo>
                <a:lnTo>
                  <a:pt x="10164" y="439"/>
                </a:lnTo>
                <a:lnTo>
                  <a:pt x="10164" y="439"/>
                </a:lnTo>
                <a:lnTo>
                  <a:pt x="10568" y="443"/>
                </a:lnTo>
                <a:lnTo>
                  <a:pt x="10975" y="446"/>
                </a:lnTo>
                <a:lnTo>
                  <a:pt x="11386" y="449"/>
                </a:lnTo>
                <a:lnTo>
                  <a:pt x="11798" y="451"/>
                </a:lnTo>
                <a:lnTo>
                  <a:pt x="11858" y="451"/>
                </a:lnTo>
                <a:lnTo>
                  <a:pt x="11858" y="451"/>
                </a:lnTo>
                <a:lnTo>
                  <a:pt x="12334" y="452"/>
                </a:lnTo>
                <a:lnTo>
                  <a:pt x="12812" y="453"/>
                </a:lnTo>
                <a:lnTo>
                  <a:pt x="12812" y="453"/>
                </a:lnTo>
                <a:lnTo>
                  <a:pt x="13526" y="452"/>
                </a:lnTo>
                <a:lnTo>
                  <a:pt x="13526" y="452"/>
                </a:lnTo>
                <a:lnTo>
                  <a:pt x="13526" y="422"/>
                </a:lnTo>
                <a:close/>
              </a:path>
            </a:pathLst>
          </a:custGeom>
          <a:solidFill>
            <a:schemeClr val="accent3"/>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5" name="Rectangle 4"/>
          <p:cNvSpPr/>
          <p:nvPr/>
        </p:nvSpPr>
        <p:spPr>
          <a:xfrm>
            <a:off x="7259026" y="970517"/>
            <a:ext cx="1309564" cy="179947"/>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accent6">
                    <a:lumMod val="75000"/>
                  </a:schemeClr>
                </a:solidFill>
                <a:latin typeface="+mj-lt"/>
              </a:rPr>
              <a:t>After</a:t>
            </a:r>
          </a:p>
        </p:txBody>
      </p:sp>
      <p:sp>
        <p:nvSpPr>
          <p:cNvPr id="6" name="Rectangle 5"/>
          <p:cNvSpPr/>
          <p:nvPr/>
        </p:nvSpPr>
        <p:spPr>
          <a:xfrm rot="60000">
            <a:off x="3898016" y="898228"/>
            <a:ext cx="3182153" cy="255898"/>
          </a:xfrm>
          <a:prstGeom prst="rect">
            <a:avLst/>
          </a:prstGeom>
          <a:noFill/>
          <a:ln w="25400" cap="flat" cmpd="sng" algn="ctr">
            <a:noFill/>
            <a:prstDash val="solid"/>
          </a:ln>
          <a:effectLst/>
        </p:spPr>
        <p:txBody>
          <a:bodyPr lIns="91436" tIns="45718" rIns="91436" bIns="45718" rtlCol="0" anchor="ctr"/>
          <a:lstStyle/>
          <a:p>
            <a:pPr algn="ctr" defTabSz="1218539">
              <a:defRPr/>
            </a:pPr>
            <a:r>
              <a:rPr lang="en-US" sz="1600" kern="0" dirty="0">
                <a:solidFill>
                  <a:schemeClr val="accent5">
                    <a:lumMod val="75000"/>
                  </a:schemeClr>
                </a:solidFill>
                <a:latin typeface="+mj-lt"/>
              </a:rPr>
              <a:t>During</a:t>
            </a:r>
          </a:p>
        </p:txBody>
      </p:sp>
      <p:sp>
        <p:nvSpPr>
          <p:cNvPr id="7" name="Freeform 6"/>
          <p:cNvSpPr>
            <a:spLocks/>
          </p:cNvSpPr>
          <p:nvPr/>
        </p:nvSpPr>
        <p:spPr bwMode="auto">
          <a:xfrm>
            <a:off x="989886" y="993459"/>
            <a:ext cx="937468" cy="1672677"/>
          </a:xfrm>
          <a:custGeom>
            <a:avLst/>
            <a:gdLst>
              <a:gd name="T0" fmla="*/ 0 w 1634"/>
              <a:gd name="T1" fmla="*/ 3036 h 3036"/>
              <a:gd name="T2" fmla="*/ 0 w 1634"/>
              <a:gd name="T3" fmla="*/ 3036 h 3036"/>
              <a:gd name="T4" fmla="*/ 210 w 1634"/>
              <a:gd name="T5" fmla="*/ 3021 h 3036"/>
              <a:gd name="T6" fmla="*/ 559 w 1634"/>
              <a:gd name="T7" fmla="*/ 2997 h 3036"/>
              <a:gd name="T8" fmla="*/ 1037 w 1634"/>
              <a:gd name="T9" fmla="*/ 2967 h 3036"/>
              <a:gd name="T10" fmla="*/ 1634 w 1634"/>
              <a:gd name="T11" fmla="*/ 2931 h 3036"/>
              <a:gd name="T12" fmla="*/ 1634 w 1634"/>
              <a:gd name="T13" fmla="*/ 124 h 3036"/>
              <a:gd name="T14" fmla="*/ 1634 w 1634"/>
              <a:gd name="T15" fmla="*/ 124 h 3036"/>
              <a:gd name="T16" fmla="*/ 1307 w 1634"/>
              <a:gd name="T17" fmla="*/ 103 h 3036"/>
              <a:gd name="T18" fmla="*/ 1015 w 1634"/>
              <a:gd name="T19" fmla="*/ 83 h 3036"/>
              <a:gd name="T20" fmla="*/ 758 w 1634"/>
              <a:gd name="T21" fmla="*/ 64 h 3036"/>
              <a:gd name="T22" fmla="*/ 537 w 1634"/>
              <a:gd name="T23" fmla="*/ 46 h 3036"/>
              <a:gd name="T24" fmla="*/ 350 w 1634"/>
              <a:gd name="T25" fmla="*/ 31 h 3036"/>
              <a:gd name="T26" fmla="*/ 199 w 1634"/>
              <a:gd name="T27" fmla="*/ 19 h 3036"/>
              <a:gd name="T28" fmla="*/ 0 w 1634"/>
              <a:gd name="T29" fmla="*/ 0 h 3036"/>
              <a:gd name="T30" fmla="*/ 0 w 1634"/>
              <a:gd name="T31" fmla="*/ 3036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4" h="3036">
                <a:moveTo>
                  <a:pt x="0" y="3036"/>
                </a:moveTo>
                <a:lnTo>
                  <a:pt x="0" y="3036"/>
                </a:lnTo>
                <a:lnTo>
                  <a:pt x="210" y="3021"/>
                </a:lnTo>
                <a:lnTo>
                  <a:pt x="559" y="2997"/>
                </a:lnTo>
                <a:lnTo>
                  <a:pt x="1037" y="2967"/>
                </a:lnTo>
                <a:lnTo>
                  <a:pt x="1634" y="2931"/>
                </a:lnTo>
                <a:lnTo>
                  <a:pt x="1634" y="124"/>
                </a:lnTo>
                <a:lnTo>
                  <a:pt x="1634" y="124"/>
                </a:lnTo>
                <a:lnTo>
                  <a:pt x="1307" y="103"/>
                </a:lnTo>
                <a:lnTo>
                  <a:pt x="1015" y="83"/>
                </a:lnTo>
                <a:lnTo>
                  <a:pt x="758" y="64"/>
                </a:lnTo>
                <a:lnTo>
                  <a:pt x="537" y="46"/>
                </a:lnTo>
                <a:lnTo>
                  <a:pt x="350" y="31"/>
                </a:lnTo>
                <a:lnTo>
                  <a:pt x="199" y="19"/>
                </a:lnTo>
                <a:lnTo>
                  <a:pt x="0" y="0"/>
                </a:lnTo>
                <a:lnTo>
                  <a:pt x="0" y="3036"/>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8" name="Freeform 7"/>
          <p:cNvSpPr>
            <a:spLocks/>
          </p:cNvSpPr>
          <p:nvPr/>
        </p:nvSpPr>
        <p:spPr bwMode="auto">
          <a:xfrm>
            <a:off x="3905558" y="1155439"/>
            <a:ext cx="937468" cy="1356435"/>
          </a:xfrm>
          <a:custGeom>
            <a:avLst/>
            <a:gdLst>
              <a:gd name="T0" fmla="*/ 1634 w 1634"/>
              <a:gd name="T1" fmla="*/ 53 h 2463"/>
              <a:gd name="T2" fmla="*/ 1634 w 1634"/>
              <a:gd name="T3" fmla="*/ 53 h 2463"/>
              <a:gd name="T4" fmla="*/ 1204 w 1634"/>
              <a:gd name="T5" fmla="*/ 40 h 2463"/>
              <a:gd name="T6" fmla="*/ 788 w 1634"/>
              <a:gd name="T7" fmla="*/ 27 h 2463"/>
              <a:gd name="T8" fmla="*/ 387 w 1634"/>
              <a:gd name="T9" fmla="*/ 14 h 2463"/>
              <a:gd name="T10" fmla="*/ 0 w 1634"/>
              <a:gd name="T11" fmla="*/ 0 h 2463"/>
              <a:gd name="T12" fmla="*/ 0 w 1634"/>
              <a:gd name="T13" fmla="*/ 2463 h 2463"/>
              <a:gd name="T14" fmla="*/ 0 w 1634"/>
              <a:gd name="T15" fmla="*/ 2463 h 2463"/>
              <a:gd name="T16" fmla="*/ 396 w 1634"/>
              <a:gd name="T17" fmla="*/ 2447 h 2463"/>
              <a:gd name="T18" fmla="*/ 801 w 1634"/>
              <a:gd name="T19" fmla="*/ 2431 h 2463"/>
              <a:gd name="T20" fmla="*/ 1214 w 1634"/>
              <a:gd name="T21" fmla="*/ 2415 h 2463"/>
              <a:gd name="T22" fmla="*/ 1634 w 1634"/>
              <a:gd name="T23" fmla="*/ 2401 h 2463"/>
              <a:gd name="T24" fmla="*/ 1634 w 1634"/>
              <a:gd name="T25" fmla="*/ 53 h 2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463">
                <a:moveTo>
                  <a:pt x="1634" y="53"/>
                </a:moveTo>
                <a:lnTo>
                  <a:pt x="1634" y="53"/>
                </a:lnTo>
                <a:lnTo>
                  <a:pt x="1204" y="40"/>
                </a:lnTo>
                <a:lnTo>
                  <a:pt x="788" y="27"/>
                </a:lnTo>
                <a:lnTo>
                  <a:pt x="387" y="14"/>
                </a:lnTo>
                <a:lnTo>
                  <a:pt x="0" y="0"/>
                </a:lnTo>
                <a:lnTo>
                  <a:pt x="0" y="2463"/>
                </a:lnTo>
                <a:lnTo>
                  <a:pt x="0" y="2463"/>
                </a:lnTo>
                <a:lnTo>
                  <a:pt x="396" y="2447"/>
                </a:lnTo>
                <a:lnTo>
                  <a:pt x="801" y="2431"/>
                </a:lnTo>
                <a:lnTo>
                  <a:pt x="1214" y="2415"/>
                </a:lnTo>
                <a:lnTo>
                  <a:pt x="1634" y="2401"/>
                </a:lnTo>
                <a:lnTo>
                  <a:pt x="1634" y="53"/>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9" name="Freeform 8"/>
          <p:cNvSpPr>
            <a:spLocks/>
          </p:cNvSpPr>
          <p:nvPr/>
        </p:nvSpPr>
        <p:spPr bwMode="auto">
          <a:xfrm>
            <a:off x="1961778" y="1063979"/>
            <a:ext cx="937468" cy="1542654"/>
          </a:xfrm>
          <a:custGeom>
            <a:avLst/>
            <a:gdLst>
              <a:gd name="T0" fmla="*/ 1634 w 1634"/>
              <a:gd name="T1" fmla="*/ 91 h 2799"/>
              <a:gd name="T2" fmla="*/ 1634 w 1634"/>
              <a:gd name="T3" fmla="*/ 91 h 2799"/>
              <a:gd name="T4" fmla="*/ 1175 w 1634"/>
              <a:gd name="T5" fmla="*/ 67 h 2799"/>
              <a:gd name="T6" fmla="*/ 750 w 1634"/>
              <a:gd name="T7" fmla="*/ 44 h 2799"/>
              <a:gd name="T8" fmla="*/ 358 w 1634"/>
              <a:gd name="T9" fmla="*/ 21 h 2799"/>
              <a:gd name="T10" fmla="*/ 0 w 1634"/>
              <a:gd name="T11" fmla="*/ 0 h 2799"/>
              <a:gd name="T12" fmla="*/ 0 w 1634"/>
              <a:gd name="T13" fmla="*/ 2799 h 2799"/>
              <a:gd name="T14" fmla="*/ 0 w 1634"/>
              <a:gd name="T15" fmla="*/ 2799 h 2799"/>
              <a:gd name="T16" fmla="*/ 368 w 1634"/>
              <a:gd name="T17" fmla="*/ 2777 h 2799"/>
              <a:gd name="T18" fmla="*/ 764 w 1634"/>
              <a:gd name="T19" fmla="*/ 2756 h 2799"/>
              <a:gd name="T20" fmla="*/ 1186 w 1634"/>
              <a:gd name="T21" fmla="*/ 2732 h 2799"/>
              <a:gd name="T22" fmla="*/ 1634 w 1634"/>
              <a:gd name="T23" fmla="*/ 2710 h 2799"/>
              <a:gd name="T24" fmla="*/ 1634 w 1634"/>
              <a:gd name="T25" fmla="*/ 91 h 2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799">
                <a:moveTo>
                  <a:pt x="1634" y="91"/>
                </a:moveTo>
                <a:lnTo>
                  <a:pt x="1634" y="91"/>
                </a:lnTo>
                <a:lnTo>
                  <a:pt x="1175" y="67"/>
                </a:lnTo>
                <a:lnTo>
                  <a:pt x="750" y="44"/>
                </a:lnTo>
                <a:lnTo>
                  <a:pt x="358" y="21"/>
                </a:lnTo>
                <a:lnTo>
                  <a:pt x="0" y="0"/>
                </a:lnTo>
                <a:lnTo>
                  <a:pt x="0" y="2799"/>
                </a:lnTo>
                <a:lnTo>
                  <a:pt x="0" y="2799"/>
                </a:lnTo>
                <a:lnTo>
                  <a:pt x="368" y="2777"/>
                </a:lnTo>
                <a:lnTo>
                  <a:pt x="764" y="2756"/>
                </a:lnTo>
                <a:lnTo>
                  <a:pt x="1186" y="2732"/>
                </a:lnTo>
                <a:lnTo>
                  <a:pt x="1634" y="2710"/>
                </a:lnTo>
                <a:lnTo>
                  <a:pt x="1634" y="91"/>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10" name="Freeform 9"/>
          <p:cNvSpPr>
            <a:spLocks/>
          </p:cNvSpPr>
          <p:nvPr/>
        </p:nvSpPr>
        <p:spPr bwMode="auto">
          <a:xfrm>
            <a:off x="2933668" y="1115772"/>
            <a:ext cx="937468" cy="1440177"/>
          </a:xfrm>
          <a:custGeom>
            <a:avLst/>
            <a:gdLst>
              <a:gd name="T0" fmla="*/ 1634 w 1634"/>
              <a:gd name="T1" fmla="*/ 69 h 2614"/>
              <a:gd name="T2" fmla="*/ 1634 w 1634"/>
              <a:gd name="T3" fmla="*/ 69 h 2614"/>
              <a:gd name="T4" fmla="*/ 1196 w 1634"/>
              <a:gd name="T5" fmla="*/ 52 h 2614"/>
              <a:gd name="T6" fmla="*/ 777 w 1634"/>
              <a:gd name="T7" fmla="*/ 35 h 2614"/>
              <a:gd name="T8" fmla="*/ 378 w 1634"/>
              <a:gd name="T9" fmla="*/ 18 h 2614"/>
              <a:gd name="T10" fmla="*/ 0 w 1634"/>
              <a:gd name="T11" fmla="*/ 0 h 2614"/>
              <a:gd name="T12" fmla="*/ 0 w 1634"/>
              <a:gd name="T13" fmla="*/ 2614 h 2614"/>
              <a:gd name="T14" fmla="*/ 0 w 1634"/>
              <a:gd name="T15" fmla="*/ 2614 h 2614"/>
              <a:gd name="T16" fmla="*/ 387 w 1634"/>
              <a:gd name="T17" fmla="*/ 2594 h 2614"/>
              <a:gd name="T18" fmla="*/ 789 w 1634"/>
              <a:gd name="T19" fmla="*/ 2575 h 2614"/>
              <a:gd name="T20" fmla="*/ 1205 w 1634"/>
              <a:gd name="T21" fmla="*/ 2556 h 2614"/>
              <a:gd name="T22" fmla="*/ 1634 w 1634"/>
              <a:gd name="T23" fmla="*/ 2538 h 2614"/>
              <a:gd name="T24" fmla="*/ 1634 w 1634"/>
              <a:gd name="T25" fmla="*/ 69 h 2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614">
                <a:moveTo>
                  <a:pt x="1634" y="69"/>
                </a:moveTo>
                <a:lnTo>
                  <a:pt x="1634" y="69"/>
                </a:lnTo>
                <a:lnTo>
                  <a:pt x="1196" y="52"/>
                </a:lnTo>
                <a:lnTo>
                  <a:pt x="777" y="35"/>
                </a:lnTo>
                <a:lnTo>
                  <a:pt x="378" y="18"/>
                </a:lnTo>
                <a:lnTo>
                  <a:pt x="0" y="0"/>
                </a:lnTo>
                <a:lnTo>
                  <a:pt x="0" y="2614"/>
                </a:lnTo>
                <a:lnTo>
                  <a:pt x="0" y="2614"/>
                </a:lnTo>
                <a:lnTo>
                  <a:pt x="387" y="2594"/>
                </a:lnTo>
                <a:lnTo>
                  <a:pt x="789" y="2575"/>
                </a:lnTo>
                <a:lnTo>
                  <a:pt x="1205" y="2556"/>
                </a:lnTo>
                <a:lnTo>
                  <a:pt x="1634" y="2538"/>
                </a:lnTo>
                <a:lnTo>
                  <a:pt x="1634" y="69"/>
                </a:lnTo>
                <a:close/>
              </a:path>
            </a:pathLst>
          </a:cu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20" name="Freeform 19"/>
          <p:cNvSpPr>
            <a:spLocks/>
          </p:cNvSpPr>
          <p:nvPr/>
        </p:nvSpPr>
        <p:spPr bwMode="auto">
          <a:xfrm>
            <a:off x="4878224" y="1184088"/>
            <a:ext cx="714308" cy="1292525"/>
          </a:xfrm>
          <a:custGeom>
            <a:avLst/>
            <a:gdLst>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65340 h 665340"/>
              <a:gd name="connsiteX6" fmla="*/ 0 w 761971"/>
              <a:gd name="connsiteY6" fmla="*/ 66534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1971 w 761971"/>
              <a:gd name="connsiteY5" fmla="*/ 650336 h 665340"/>
              <a:gd name="connsiteX6" fmla="*/ 0 w 761971"/>
              <a:gd name="connsiteY6" fmla="*/ 665340 h 665340"/>
              <a:gd name="connsiteX7" fmla="*/ 0 w 761971"/>
              <a:gd name="connsiteY7" fmla="*/ 0 h 665340"/>
              <a:gd name="connsiteX0" fmla="*/ 0 w 761971"/>
              <a:gd name="connsiteY0" fmla="*/ 0 h 665340"/>
              <a:gd name="connsiteX1" fmla="*/ 182340 w 761971"/>
              <a:gd name="connsiteY1" fmla="*/ 3210 h 665340"/>
              <a:gd name="connsiteX2" fmla="*/ 370242 w 761971"/>
              <a:gd name="connsiteY2" fmla="*/ 5806 h 665340"/>
              <a:gd name="connsiteX3" fmla="*/ 563325 w 761971"/>
              <a:gd name="connsiteY3" fmla="*/ 8470 h 665340"/>
              <a:gd name="connsiteX4" fmla="*/ 761971 w 761971"/>
              <a:gd name="connsiteY4" fmla="*/ 10792 h 665340"/>
              <a:gd name="connsiteX5" fmla="*/ 760028 w 761971"/>
              <a:gd name="connsiteY5" fmla="*/ 652211 h 665340"/>
              <a:gd name="connsiteX6" fmla="*/ 0 w 761971"/>
              <a:gd name="connsiteY6" fmla="*/ 665340 h 665340"/>
              <a:gd name="connsiteX7" fmla="*/ 0 w 761971"/>
              <a:gd name="connsiteY7" fmla="*/ 0 h 66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971" h="665340">
                <a:moveTo>
                  <a:pt x="0" y="0"/>
                </a:moveTo>
                <a:lnTo>
                  <a:pt x="182340" y="3210"/>
                </a:lnTo>
                <a:lnTo>
                  <a:pt x="370242" y="5806"/>
                </a:lnTo>
                <a:lnTo>
                  <a:pt x="563325" y="8470"/>
                </a:lnTo>
                <a:lnTo>
                  <a:pt x="761971" y="10792"/>
                </a:lnTo>
                <a:cubicBezTo>
                  <a:pt x="761323" y="224598"/>
                  <a:pt x="760676" y="438405"/>
                  <a:pt x="760028" y="652211"/>
                </a:cubicBezTo>
                <a:lnTo>
                  <a:pt x="0" y="665340"/>
                </a:lnTo>
                <a:lnTo>
                  <a:pt x="0" y="0"/>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a typeface="+mn-ea"/>
              <a:cs typeface="+mn-cs"/>
            </a:endParaRPr>
          </a:p>
        </p:txBody>
      </p:sp>
      <p:sp>
        <p:nvSpPr>
          <p:cNvPr id="31" name="Freeform 30"/>
          <p:cNvSpPr>
            <a:spLocks/>
          </p:cNvSpPr>
          <p:nvPr/>
        </p:nvSpPr>
        <p:spPr bwMode="auto">
          <a:xfrm>
            <a:off x="6376215" y="1219347"/>
            <a:ext cx="703953" cy="603954"/>
          </a:xfrm>
          <a:custGeom>
            <a:avLst/>
            <a:gdLst>
              <a:gd name="connsiteX0" fmla="*/ 0 w 750924"/>
              <a:gd name="connsiteY0" fmla="*/ 0 h 644253"/>
              <a:gd name="connsiteX1" fmla="*/ 182446 w 750924"/>
              <a:gd name="connsiteY1" fmla="*/ 1770 h 644253"/>
              <a:gd name="connsiteX2" fmla="*/ 368569 w 750924"/>
              <a:gd name="connsiteY2" fmla="*/ 3539 h 644253"/>
              <a:gd name="connsiteX3" fmla="*/ 557908 w 750924"/>
              <a:gd name="connsiteY3" fmla="*/ 5898 h 644253"/>
              <a:gd name="connsiteX4" fmla="*/ 750924 w 750924"/>
              <a:gd name="connsiteY4" fmla="*/ 7078 h 644253"/>
              <a:gd name="connsiteX5" fmla="*/ 750924 w 750924"/>
              <a:gd name="connsiteY5" fmla="*/ 644253 h 644253"/>
              <a:gd name="connsiteX6" fmla="*/ 0 w 750924"/>
              <a:gd name="connsiteY6" fmla="*/ 644253 h 644253"/>
              <a:gd name="connsiteX7" fmla="*/ 0 w 750924"/>
              <a:gd name="connsiteY7" fmla="*/ 0 h 64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924" h="644253">
                <a:moveTo>
                  <a:pt x="0" y="0"/>
                </a:moveTo>
                <a:lnTo>
                  <a:pt x="182446" y="1770"/>
                </a:lnTo>
                <a:lnTo>
                  <a:pt x="368569" y="3539"/>
                </a:lnTo>
                <a:lnTo>
                  <a:pt x="557908" y="5898"/>
                </a:lnTo>
                <a:lnTo>
                  <a:pt x="750924" y="7078"/>
                </a:lnTo>
                <a:lnTo>
                  <a:pt x="750924" y="644253"/>
                </a:lnTo>
                <a:lnTo>
                  <a:pt x="0" y="644253"/>
                </a:lnTo>
                <a:lnTo>
                  <a:pt x="0" y="0"/>
                </a:lnTo>
                <a:close/>
              </a:path>
            </a:pathLst>
          </a:custGeom>
          <a:solidFill>
            <a:schemeClr val="tx2">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r>
              <a:rPr lang="ja-JP" altLang="en-US" sz="700" kern="0" dirty="0" smtClean="0">
                <a:solidFill>
                  <a:schemeClr val="bg1"/>
                </a:solidFill>
                <a:latin typeface="+mj-lt"/>
              </a:rPr>
              <a:t>アウトブレイク</a:t>
            </a:r>
            <a:endParaRPr lang="en-US" altLang="ja-JP" sz="700" kern="0" dirty="0" smtClean="0">
              <a:solidFill>
                <a:schemeClr val="bg1"/>
              </a:solidFill>
              <a:latin typeface="+mj-lt"/>
            </a:endParaRPr>
          </a:p>
          <a:p>
            <a:pPr algn="ctr" defTabSz="914103"/>
            <a:r>
              <a:rPr lang="ja-JP" altLang="en-US" sz="700" kern="0" dirty="0" smtClean="0">
                <a:solidFill>
                  <a:schemeClr val="bg1"/>
                </a:solidFill>
                <a:latin typeface="+mj-lt"/>
              </a:rPr>
              <a:t>インテリジェンス</a:t>
            </a:r>
            <a:endParaRPr lang="en-US" sz="700" kern="0" dirty="0">
              <a:solidFill>
                <a:schemeClr val="bg1"/>
              </a:solidFill>
              <a:latin typeface="+mj-lt"/>
            </a:endParaRPr>
          </a:p>
        </p:txBody>
      </p:sp>
      <p:sp>
        <p:nvSpPr>
          <p:cNvPr id="13" name="Freeform 12"/>
          <p:cNvSpPr>
            <a:spLocks/>
          </p:cNvSpPr>
          <p:nvPr/>
        </p:nvSpPr>
        <p:spPr bwMode="auto">
          <a:xfrm>
            <a:off x="5627731" y="1206126"/>
            <a:ext cx="713493" cy="1242938"/>
          </a:xfrm>
          <a:custGeom>
            <a:avLst/>
            <a:gdLst>
              <a:gd name="T0" fmla="*/ 1634 w 1634"/>
              <a:gd name="T1" fmla="*/ 24 h 2257"/>
              <a:gd name="T2" fmla="*/ 1634 w 1634"/>
              <a:gd name="T3" fmla="*/ 24 h 2257"/>
              <a:gd name="T4" fmla="*/ 1211 w 1634"/>
              <a:gd name="T5" fmla="*/ 19 h 2257"/>
              <a:gd name="T6" fmla="*/ 799 w 1634"/>
              <a:gd name="T7" fmla="*/ 13 h 2257"/>
              <a:gd name="T8" fmla="*/ 394 w 1634"/>
              <a:gd name="T9" fmla="*/ 7 h 2257"/>
              <a:gd name="T10" fmla="*/ 0 w 1634"/>
              <a:gd name="T11" fmla="*/ 0 h 2257"/>
              <a:gd name="T12" fmla="*/ 0 w 1634"/>
              <a:gd name="T13" fmla="*/ 2257 h 2257"/>
              <a:gd name="T14" fmla="*/ 0 w 1634"/>
              <a:gd name="T15" fmla="*/ 2257 h 2257"/>
              <a:gd name="T16" fmla="*/ 405 w 1634"/>
              <a:gd name="T17" fmla="*/ 2249 h 2257"/>
              <a:gd name="T18" fmla="*/ 813 w 1634"/>
              <a:gd name="T19" fmla="*/ 2240 h 2257"/>
              <a:gd name="T20" fmla="*/ 1222 w 1634"/>
              <a:gd name="T21" fmla="*/ 2233 h 2257"/>
              <a:gd name="T22" fmla="*/ 1634 w 1634"/>
              <a:gd name="T23" fmla="*/ 2226 h 2257"/>
              <a:gd name="T24" fmla="*/ 1634 w 1634"/>
              <a:gd name="T25" fmla="*/ 24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257">
                <a:moveTo>
                  <a:pt x="1634" y="24"/>
                </a:moveTo>
                <a:lnTo>
                  <a:pt x="1634" y="24"/>
                </a:lnTo>
                <a:lnTo>
                  <a:pt x="1211" y="19"/>
                </a:lnTo>
                <a:lnTo>
                  <a:pt x="799" y="13"/>
                </a:lnTo>
                <a:lnTo>
                  <a:pt x="394" y="7"/>
                </a:lnTo>
                <a:lnTo>
                  <a:pt x="0" y="0"/>
                </a:lnTo>
                <a:lnTo>
                  <a:pt x="0" y="2257"/>
                </a:lnTo>
                <a:lnTo>
                  <a:pt x="0" y="2257"/>
                </a:lnTo>
                <a:lnTo>
                  <a:pt x="405" y="2249"/>
                </a:lnTo>
                <a:lnTo>
                  <a:pt x="813" y="2240"/>
                </a:lnTo>
                <a:lnTo>
                  <a:pt x="1222" y="2233"/>
                </a:lnTo>
                <a:lnTo>
                  <a:pt x="1634" y="2226"/>
                </a:lnTo>
                <a:lnTo>
                  <a:pt x="1634" y="24"/>
                </a:lnTo>
                <a:close/>
              </a:path>
            </a:pathLst>
          </a:cu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defRPr/>
            </a:pPr>
            <a:endParaRPr lang="en-US" dirty="0">
              <a:solidFill>
                <a:srgbClr val="FFFFFF"/>
              </a:solidFill>
              <a:latin typeface="+mj-lt"/>
              <a:ea typeface="+mn-ea"/>
              <a:cs typeface="+mn-cs"/>
            </a:endParaRPr>
          </a:p>
        </p:txBody>
      </p:sp>
      <p:sp>
        <p:nvSpPr>
          <p:cNvPr id="15" name="Rectangle 846"/>
          <p:cNvSpPr/>
          <p:nvPr/>
        </p:nvSpPr>
        <p:spPr>
          <a:xfrm>
            <a:off x="7144607" y="1230891"/>
            <a:ext cx="89390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a:solidFill>
                <a:srgbClr val="FFFFFF"/>
              </a:solidFill>
              <a:latin typeface="+mj-lt"/>
              <a:ea typeface="+mn-ea"/>
              <a:cs typeface="+mn-cs"/>
            </a:endParaRPr>
          </a:p>
        </p:txBody>
      </p:sp>
      <p:sp>
        <p:nvSpPr>
          <p:cNvPr id="71" name="Freeform 12"/>
          <p:cNvSpPr>
            <a:spLocks/>
          </p:cNvSpPr>
          <p:nvPr/>
        </p:nvSpPr>
        <p:spPr bwMode="auto">
          <a:xfrm>
            <a:off x="5647838" y="1232129"/>
            <a:ext cx="670538" cy="1192600"/>
          </a:xfrm>
          <a:custGeom>
            <a:avLst/>
            <a:gdLst>
              <a:gd name="T0" fmla="*/ 1634 w 1634"/>
              <a:gd name="T1" fmla="*/ 24 h 2257"/>
              <a:gd name="T2" fmla="*/ 1634 w 1634"/>
              <a:gd name="T3" fmla="*/ 24 h 2257"/>
              <a:gd name="T4" fmla="*/ 1211 w 1634"/>
              <a:gd name="T5" fmla="*/ 19 h 2257"/>
              <a:gd name="T6" fmla="*/ 799 w 1634"/>
              <a:gd name="T7" fmla="*/ 13 h 2257"/>
              <a:gd name="T8" fmla="*/ 394 w 1634"/>
              <a:gd name="T9" fmla="*/ 7 h 2257"/>
              <a:gd name="T10" fmla="*/ 0 w 1634"/>
              <a:gd name="T11" fmla="*/ 0 h 2257"/>
              <a:gd name="T12" fmla="*/ 0 w 1634"/>
              <a:gd name="T13" fmla="*/ 2257 h 2257"/>
              <a:gd name="T14" fmla="*/ 0 w 1634"/>
              <a:gd name="T15" fmla="*/ 2257 h 2257"/>
              <a:gd name="T16" fmla="*/ 405 w 1634"/>
              <a:gd name="T17" fmla="*/ 2249 h 2257"/>
              <a:gd name="T18" fmla="*/ 813 w 1634"/>
              <a:gd name="T19" fmla="*/ 2240 h 2257"/>
              <a:gd name="T20" fmla="*/ 1222 w 1634"/>
              <a:gd name="T21" fmla="*/ 2233 h 2257"/>
              <a:gd name="T22" fmla="*/ 1634 w 1634"/>
              <a:gd name="T23" fmla="*/ 2226 h 2257"/>
              <a:gd name="T24" fmla="*/ 1634 w 1634"/>
              <a:gd name="T25" fmla="*/ 24 h 2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4" h="2257">
                <a:moveTo>
                  <a:pt x="1634" y="24"/>
                </a:moveTo>
                <a:lnTo>
                  <a:pt x="1634" y="24"/>
                </a:lnTo>
                <a:lnTo>
                  <a:pt x="1211" y="19"/>
                </a:lnTo>
                <a:lnTo>
                  <a:pt x="799" y="13"/>
                </a:lnTo>
                <a:lnTo>
                  <a:pt x="394" y="7"/>
                </a:lnTo>
                <a:lnTo>
                  <a:pt x="0" y="0"/>
                </a:lnTo>
                <a:lnTo>
                  <a:pt x="0" y="2257"/>
                </a:lnTo>
                <a:lnTo>
                  <a:pt x="0" y="2257"/>
                </a:lnTo>
                <a:lnTo>
                  <a:pt x="405" y="2249"/>
                </a:lnTo>
                <a:lnTo>
                  <a:pt x="813" y="2240"/>
                </a:lnTo>
                <a:lnTo>
                  <a:pt x="1222" y="2233"/>
                </a:lnTo>
                <a:lnTo>
                  <a:pt x="1634" y="2226"/>
                </a:lnTo>
                <a:lnTo>
                  <a:pt x="1634" y="24"/>
                </a:lnTo>
                <a:close/>
              </a:path>
            </a:pathLst>
          </a:custGeom>
          <a:noFill/>
          <a:ln w="6350" cap="flat" cmpd="sng" algn="ctr">
            <a:solidFill>
              <a:srgbClr val="2F2E7E">
                <a:lumMod val="60000"/>
                <a:lumOff val="40000"/>
              </a:srgbClr>
            </a:solidFill>
            <a:prstDash val="solid"/>
          </a:ln>
          <a:effectLst/>
        </p:spPr>
        <p:txBody>
          <a:bodyPr lIns="91436" tIns="45718" rIns="91436" bIns="45718" rtlCol="0" anchor="ctr"/>
          <a:lstStyle/>
          <a:p>
            <a:pPr algn="ctr" defTabSz="913905">
              <a:defRPr/>
            </a:pPr>
            <a:endParaRPr lang="en-US" kern="0" dirty="0">
              <a:solidFill>
                <a:prstClr val="white"/>
              </a:solidFill>
              <a:latin typeface="+mj-lt"/>
            </a:endParaRPr>
          </a:p>
        </p:txBody>
      </p:sp>
      <p:grpSp>
        <p:nvGrpSpPr>
          <p:cNvPr id="11" name="Group 71"/>
          <p:cNvGrpSpPr/>
          <p:nvPr/>
        </p:nvGrpSpPr>
        <p:grpSpPr>
          <a:xfrm>
            <a:off x="6059704" y="1216647"/>
            <a:ext cx="274062" cy="152148"/>
            <a:chOff x="5700396" y="1157737"/>
            <a:chExt cx="292348" cy="162300"/>
          </a:xfrm>
        </p:grpSpPr>
        <p:sp>
          <p:nvSpPr>
            <p:cNvPr id="73" name="Freeform 10"/>
            <p:cNvSpPr>
              <a:spLocks/>
            </p:cNvSpPr>
            <p:nvPr/>
          </p:nvSpPr>
          <p:spPr bwMode="auto">
            <a:xfrm>
              <a:off x="5700396" y="1157737"/>
              <a:ext cx="292348" cy="162300"/>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2276 w 342349"/>
                <a:gd name="connsiteY0" fmla="*/ 0 h 190059"/>
                <a:gd name="connsiteX1" fmla="*/ 342349 w 342349"/>
                <a:gd name="connsiteY1" fmla="*/ 10831 h 190059"/>
                <a:gd name="connsiteX2" fmla="*/ 340676 w 342349"/>
                <a:gd name="connsiteY2" fmla="*/ 190059 h 190059"/>
                <a:gd name="connsiteX3" fmla="*/ 0 w 342349"/>
                <a:gd name="connsiteY3" fmla="*/ 190059 h 190059"/>
                <a:gd name="connsiteX4" fmla="*/ 2276 w 342349"/>
                <a:gd name="connsiteY4" fmla="*/ 0 h 190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90059">
                  <a:moveTo>
                    <a:pt x="2276" y="0"/>
                  </a:moveTo>
                  <a:lnTo>
                    <a:pt x="342349" y="10831"/>
                  </a:lnTo>
                  <a:cubicBezTo>
                    <a:pt x="341791" y="71131"/>
                    <a:pt x="341234" y="129759"/>
                    <a:pt x="340676" y="190059"/>
                  </a:cubicBezTo>
                  <a:lnTo>
                    <a:pt x="0" y="190059"/>
                  </a:lnTo>
                  <a:cubicBezTo>
                    <a:pt x="759" y="126706"/>
                    <a:pt x="1517" y="63353"/>
                    <a:pt x="2276" y="0"/>
                  </a:cubicBezTo>
                  <a:close/>
                </a:path>
              </a:pathLst>
            </a:custGeom>
            <a:solidFill>
              <a:schemeClr val="accent5">
                <a:lumMod val="75000"/>
              </a:schemeClr>
            </a:solidFill>
            <a:ln w="6350" cap="flat" cmpd="sng" algn="ctr">
              <a:solidFill>
                <a:schemeClr val="bg1"/>
              </a:solidFill>
              <a:prstDash val="solid"/>
            </a:ln>
            <a:effectLst/>
          </p:spPr>
          <p:txBody>
            <a:bodyPr rtlCol="0" anchor="ctr"/>
            <a:lstStyle/>
            <a:p>
              <a:pPr algn="ctr" defTabSz="913905">
                <a:defRPr/>
              </a:pPr>
              <a:endParaRPr lang="en-US" kern="0" dirty="0">
                <a:solidFill>
                  <a:prstClr val="white"/>
                </a:solidFill>
                <a:latin typeface="+mj-lt"/>
              </a:endParaRPr>
            </a:p>
          </p:txBody>
        </p:sp>
        <p:sp>
          <p:nvSpPr>
            <p:cNvPr id="74" name="Freeform 65"/>
            <p:cNvSpPr>
              <a:spLocks noEditPoints="1"/>
            </p:cNvSpPr>
            <p:nvPr/>
          </p:nvSpPr>
          <p:spPr bwMode="auto">
            <a:xfrm>
              <a:off x="5737677" y="1198196"/>
              <a:ext cx="77757" cy="83319"/>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75" name="Freeform 66"/>
            <p:cNvSpPr>
              <a:spLocks/>
            </p:cNvSpPr>
            <p:nvPr/>
          </p:nvSpPr>
          <p:spPr bwMode="auto">
            <a:xfrm>
              <a:off x="5813967" y="1198196"/>
              <a:ext cx="74821" cy="83319"/>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sp>
          <p:nvSpPr>
            <p:cNvPr id="76" name="Freeform 67"/>
            <p:cNvSpPr>
              <a:spLocks noEditPoints="1"/>
            </p:cNvSpPr>
            <p:nvPr/>
          </p:nvSpPr>
          <p:spPr bwMode="auto">
            <a:xfrm>
              <a:off x="5894724" y="1198196"/>
              <a:ext cx="59308" cy="83319"/>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68544" tIns="34272" rIns="68544" bIns="34272" numCol="1" anchor="t" anchorCtr="0" compatLnSpc="1">
              <a:prstTxWarp prst="textNoShape">
                <a:avLst/>
              </a:prstTxWarp>
            </a:bodyPr>
            <a:lstStyle/>
            <a:p>
              <a:pPr defTabSz="685576">
                <a:defRPr/>
              </a:pPr>
              <a:endParaRPr lang="en-US" kern="0">
                <a:solidFill>
                  <a:srgbClr val="FFFFFF"/>
                </a:solidFill>
                <a:latin typeface="+mj-lt"/>
              </a:endParaRPr>
            </a:p>
          </p:txBody>
        </p:sp>
      </p:grpSp>
      <p:grpSp>
        <p:nvGrpSpPr>
          <p:cNvPr id="17" name="Group 82"/>
          <p:cNvGrpSpPr/>
          <p:nvPr/>
        </p:nvGrpSpPr>
        <p:grpSpPr>
          <a:xfrm>
            <a:off x="7517776" y="1615118"/>
            <a:ext cx="147558" cy="154724"/>
            <a:chOff x="10092081" y="2069227"/>
            <a:chExt cx="208717" cy="227899"/>
          </a:xfrm>
          <a:noFill/>
        </p:grpSpPr>
        <p:sp>
          <p:nvSpPr>
            <p:cNvPr id="84" name="Rectangle 50"/>
            <p:cNvSpPr/>
            <p:nvPr/>
          </p:nvSpPr>
          <p:spPr>
            <a:xfrm>
              <a:off x="10092081" y="2069228"/>
              <a:ext cx="86508" cy="9515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5" name="Rectangle 50"/>
            <p:cNvSpPr/>
            <p:nvPr/>
          </p:nvSpPr>
          <p:spPr>
            <a:xfrm rot="5400000">
              <a:off x="10209966" y="2073552"/>
              <a:ext cx="95157" cy="8650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6" name="Rectangle 50"/>
            <p:cNvSpPr/>
            <p:nvPr/>
          </p:nvSpPr>
          <p:spPr>
            <a:xfrm flipV="1">
              <a:off x="10092081" y="2198709"/>
              <a:ext cx="86508" cy="9515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7" name="Rectangle 50"/>
            <p:cNvSpPr/>
            <p:nvPr/>
          </p:nvSpPr>
          <p:spPr>
            <a:xfrm rot="16200000" flipV="1">
              <a:off x="10209966" y="2206294"/>
              <a:ext cx="95157" cy="86507"/>
            </a:xfrm>
            <a:custGeom>
              <a:avLst/>
              <a:gdLst/>
              <a:ahLst/>
              <a:cxnLst/>
              <a:rect l="l" t="t" r="r" b="b"/>
              <a:pathLst>
                <a:path w="281889" h="281888">
                  <a:moveTo>
                    <a:pt x="0" y="0"/>
                  </a:moveTo>
                  <a:lnTo>
                    <a:pt x="37785" y="0"/>
                  </a:lnTo>
                  <a:lnTo>
                    <a:pt x="37785" y="1"/>
                  </a:lnTo>
                  <a:lnTo>
                    <a:pt x="281889" y="1"/>
                  </a:lnTo>
                  <a:lnTo>
                    <a:pt x="281889" y="37786"/>
                  </a:lnTo>
                  <a:lnTo>
                    <a:pt x="37785" y="37786"/>
                  </a:lnTo>
                  <a:lnTo>
                    <a:pt x="37785" y="281888"/>
                  </a:lnTo>
                  <a:lnTo>
                    <a:pt x="0" y="281888"/>
                  </a:lnTo>
                  <a:close/>
                </a:path>
              </a:pathLst>
            </a:custGeom>
            <a:solidFill>
              <a:schemeClr val="bg1"/>
            </a:solidFill>
            <a:ln w="6350" cap="flat" cmpd="sng" algn="ctr">
              <a:no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1218539">
                <a:defRPr/>
              </a:pPr>
              <a:endParaRPr lang="en-US" sz="1600" kern="0" dirty="0">
                <a:solidFill>
                  <a:prstClr val="white"/>
                </a:solidFill>
                <a:latin typeface="+mj-lt"/>
              </a:endParaRPr>
            </a:p>
          </p:txBody>
        </p:sp>
        <p:sp>
          <p:nvSpPr>
            <p:cNvPr id="88" name="Rounded Rectangle 87"/>
            <p:cNvSpPr/>
            <p:nvPr/>
          </p:nvSpPr>
          <p:spPr>
            <a:xfrm>
              <a:off x="10151696" y="2136757"/>
              <a:ext cx="87367" cy="96103"/>
            </a:xfrm>
            <a:prstGeom prst="roundRect">
              <a:avLst>
                <a:gd name="adj" fmla="val 4739"/>
              </a:avLst>
            </a:prstGeom>
            <a:grpFill/>
            <a:ln w="6350" cap="flat" cmpd="sng" algn="ctr">
              <a:solidFill>
                <a:schemeClr val="bg1"/>
              </a:solidFill>
              <a:prstDash val="solid"/>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03">
                <a:defRPr/>
              </a:pPr>
              <a:endParaRPr lang="en-US" kern="0">
                <a:solidFill>
                  <a:srgbClr val="8E909E"/>
                </a:solidFill>
                <a:latin typeface="+mj-lt"/>
              </a:endParaRPr>
            </a:p>
          </p:txBody>
        </p:sp>
      </p:grpSp>
      <p:sp>
        <p:nvSpPr>
          <p:cNvPr id="89" name="Rectangle 88"/>
          <p:cNvSpPr/>
          <p:nvPr/>
        </p:nvSpPr>
        <p:spPr>
          <a:xfrm>
            <a:off x="7181180" y="1270087"/>
            <a:ext cx="820765" cy="547084"/>
          </a:xfrm>
          <a:prstGeom prst="rect">
            <a:avLst/>
          </a:prstGeom>
          <a:noFill/>
          <a:ln w="6350" cap="flat" cmpd="sng" algn="ctr">
            <a:solidFill>
              <a:schemeClr val="bg1"/>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0" name="Rectangle 89"/>
          <p:cNvSpPr/>
          <p:nvPr/>
        </p:nvSpPr>
        <p:spPr>
          <a:xfrm>
            <a:off x="7181179" y="1838750"/>
            <a:ext cx="820765" cy="548278"/>
          </a:xfrm>
          <a:prstGeom prst="rect">
            <a:avLst/>
          </a:prstGeom>
          <a:noFill/>
          <a:ln w="6350" cap="flat" cmpd="sng" algn="ctr">
            <a:solidFill>
              <a:schemeClr val="bg1"/>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1" name="Freeform 6"/>
          <p:cNvSpPr>
            <a:spLocks noChangeAspect="1" noEditPoints="1"/>
          </p:cNvSpPr>
          <p:nvPr/>
        </p:nvSpPr>
        <p:spPr bwMode="auto">
          <a:xfrm>
            <a:off x="7409014" y="2204046"/>
            <a:ext cx="365090" cy="130391"/>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bg1"/>
          </a:solidFill>
        </p:spPr>
        <p:txBody>
          <a:bodyPr wrap="square" lIns="182776" tIns="182776" rIns="182776" bIns="182776" anchor="ctr">
            <a:noAutofit/>
          </a:bodyPr>
          <a:lstStyle/>
          <a:p>
            <a:pPr algn="ctr" defTabSz="685433">
              <a:lnSpc>
                <a:spcPct val="95000"/>
              </a:lnSpc>
              <a:spcBef>
                <a:spcPts val="1080"/>
              </a:spcBef>
              <a:buClr>
                <a:srgbClr val="D81F28"/>
              </a:buClr>
              <a:buSzPct val="90000"/>
              <a:defRPr/>
            </a:pPr>
            <a:endParaRPr lang="en-US" sz="2200" kern="0">
              <a:solidFill>
                <a:srgbClr val="FFFFFF"/>
              </a:solidFill>
              <a:latin typeface="+mj-lt"/>
              <a:cs typeface="CiscoSans"/>
            </a:endParaRPr>
          </a:p>
        </p:txBody>
      </p:sp>
      <p:sp>
        <p:nvSpPr>
          <p:cNvPr id="184" name="Freeform 7"/>
          <p:cNvSpPr>
            <a:spLocks noEditPoints="1"/>
          </p:cNvSpPr>
          <p:nvPr/>
        </p:nvSpPr>
        <p:spPr bwMode="auto">
          <a:xfrm rot="2700000">
            <a:off x="6660975" y="1565142"/>
            <a:ext cx="122003" cy="243239"/>
          </a:xfrm>
          <a:custGeom>
            <a:avLst/>
            <a:gdLst>
              <a:gd name="T0" fmla="*/ 155 w 155"/>
              <a:gd name="T1" fmla="*/ 78 h 296"/>
              <a:gd name="T2" fmla="*/ 78 w 155"/>
              <a:gd name="T3" fmla="*/ 0 h 296"/>
              <a:gd name="T4" fmla="*/ 0 w 155"/>
              <a:gd name="T5" fmla="*/ 78 h 296"/>
              <a:gd name="T6" fmla="*/ 66 w 155"/>
              <a:gd name="T7" fmla="*/ 155 h 296"/>
              <a:gd name="T8" fmla="*/ 65 w 155"/>
              <a:gd name="T9" fmla="*/ 177 h 296"/>
              <a:gd name="T10" fmla="*/ 56 w 155"/>
              <a:gd name="T11" fmla="*/ 177 h 296"/>
              <a:gd name="T12" fmla="*/ 55 w 155"/>
              <a:gd name="T13" fmla="*/ 273 h 296"/>
              <a:gd name="T14" fmla="*/ 77 w 155"/>
              <a:gd name="T15" fmla="*/ 295 h 296"/>
              <a:gd name="T16" fmla="*/ 99 w 155"/>
              <a:gd name="T17" fmla="*/ 274 h 296"/>
              <a:gd name="T18" fmla="*/ 100 w 155"/>
              <a:gd name="T19" fmla="*/ 178 h 296"/>
              <a:gd name="T20" fmla="*/ 90 w 155"/>
              <a:gd name="T21" fmla="*/ 178 h 296"/>
              <a:gd name="T22" fmla="*/ 90 w 155"/>
              <a:gd name="T23" fmla="*/ 155 h 296"/>
              <a:gd name="T24" fmla="*/ 155 w 155"/>
              <a:gd name="T25" fmla="*/ 78 h 296"/>
              <a:gd name="T26" fmla="*/ 23 w 155"/>
              <a:gd name="T27" fmla="*/ 78 h 296"/>
              <a:gd name="T28" fmla="*/ 78 w 155"/>
              <a:gd name="T29" fmla="*/ 23 h 296"/>
              <a:gd name="T30" fmla="*/ 133 w 155"/>
              <a:gd name="T31" fmla="*/ 78 h 296"/>
              <a:gd name="T32" fmla="*/ 78 w 155"/>
              <a:gd name="T33" fmla="*/ 134 h 296"/>
              <a:gd name="T34" fmla="*/ 23 w 155"/>
              <a:gd name="T35" fmla="*/ 7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296">
                <a:moveTo>
                  <a:pt x="155" y="78"/>
                </a:moveTo>
                <a:cubicBezTo>
                  <a:pt x="155" y="35"/>
                  <a:pt x="120" y="0"/>
                  <a:pt x="78" y="0"/>
                </a:cubicBezTo>
                <a:cubicBezTo>
                  <a:pt x="35" y="0"/>
                  <a:pt x="0" y="35"/>
                  <a:pt x="0" y="78"/>
                </a:cubicBezTo>
                <a:cubicBezTo>
                  <a:pt x="0" y="117"/>
                  <a:pt x="29" y="149"/>
                  <a:pt x="66" y="155"/>
                </a:cubicBezTo>
                <a:cubicBezTo>
                  <a:pt x="65" y="177"/>
                  <a:pt x="65" y="177"/>
                  <a:pt x="65" y="177"/>
                </a:cubicBezTo>
                <a:cubicBezTo>
                  <a:pt x="56" y="177"/>
                  <a:pt x="56" y="177"/>
                  <a:pt x="56" y="177"/>
                </a:cubicBezTo>
                <a:cubicBezTo>
                  <a:pt x="55" y="273"/>
                  <a:pt x="55" y="273"/>
                  <a:pt x="55" y="273"/>
                </a:cubicBezTo>
                <a:cubicBezTo>
                  <a:pt x="55" y="285"/>
                  <a:pt x="65" y="295"/>
                  <a:pt x="77" y="295"/>
                </a:cubicBezTo>
                <a:cubicBezTo>
                  <a:pt x="89" y="296"/>
                  <a:pt x="99" y="286"/>
                  <a:pt x="99" y="274"/>
                </a:cubicBezTo>
                <a:cubicBezTo>
                  <a:pt x="100" y="178"/>
                  <a:pt x="100" y="178"/>
                  <a:pt x="100" y="178"/>
                </a:cubicBezTo>
                <a:cubicBezTo>
                  <a:pt x="90" y="178"/>
                  <a:pt x="90" y="178"/>
                  <a:pt x="90" y="178"/>
                </a:cubicBezTo>
                <a:cubicBezTo>
                  <a:pt x="90" y="155"/>
                  <a:pt x="90" y="155"/>
                  <a:pt x="90" y="155"/>
                </a:cubicBezTo>
                <a:cubicBezTo>
                  <a:pt x="127" y="149"/>
                  <a:pt x="155" y="117"/>
                  <a:pt x="155" y="78"/>
                </a:cubicBezTo>
                <a:close/>
                <a:moveTo>
                  <a:pt x="23" y="78"/>
                </a:moveTo>
                <a:cubicBezTo>
                  <a:pt x="23" y="48"/>
                  <a:pt x="47" y="23"/>
                  <a:pt x="78" y="23"/>
                </a:cubicBezTo>
                <a:cubicBezTo>
                  <a:pt x="108" y="23"/>
                  <a:pt x="133" y="48"/>
                  <a:pt x="133" y="78"/>
                </a:cubicBezTo>
                <a:cubicBezTo>
                  <a:pt x="133" y="109"/>
                  <a:pt x="108" y="134"/>
                  <a:pt x="78" y="134"/>
                </a:cubicBezTo>
                <a:cubicBezTo>
                  <a:pt x="47" y="134"/>
                  <a:pt x="23" y="109"/>
                  <a:pt x="23" y="78"/>
                </a:cubicBezTo>
                <a:close/>
              </a:path>
            </a:pathLst>
          </a:custGeom>
          <a:solidFill>
            <a:schemeClr val="bg1"/>
          </a:solidFill>
          <a:ln>
            <a:noFill/>
          </a:ln>
          <a:extLst/>
        </p:spPr>
        <p:txBody>
          <a:bodyPr vert="horz" wrap="square" lIns="91412" tIns="45706" rIns="91412" bIns="45706" numCol="1" anchor="t" anchorCtr="0" compatLnSpc="1">
            <a:prstTxWarp prst="textNoShape">
              <a:avLst/>
            </a:prstTxWarp>
          </a:bodyPr>
          <a:lstStyle/>
          <a:p>
            <a:pPr defTabSz="913962">
              <a:defRPr/>
            </a:pPr>
            <a:endParaRPr lang="en-US" kern="0">
              <a:solidFill>
                <a:srgbClr val="0096D6"/>
              </a:solidFill>
              <a:latin typeface="+mj-lt"/>
            </a:endParaRPr>
          </a:p>
        </p:txBody>
      </p:sp>
      <p:grpSp>
        <p:nvGrpSpPr>
          <p:cNvPr id="18" name="Group 184"/>
          <p:cNvGrpSpPr/>
          <p:nvPr/>
        </p:nvGrpSpPr>
        <p:grpSpPr>
          <a:xfrm>
            <a:off x="5848662" y="1939464"/>
            <a:ext cx="286846" cy="118924"/>
            <a:chOff x="7883133" y="2552030"/>
            <a:chExt cx="382221" cy="165018"/>
          </a:xfrm>
          <a:solidFill>
            <a:schemeClr val="bg1"/>
          </a:solidFill>
        </p:grpSpPr>
        <p:sp>
          <p:nvSpPr>
            <p:cNvPr id="186" name="Freeform 6"/>
            <p:cNvSpPr>
              <a:spLocks/>
            </p:cNvSpPr>
            <p:nvPr/>
          </p:nvSpPr>
          <p:spPr bwMode="auto">
            <a:xfrm>
              <a:off x="7883133" y="2552031"/>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sp>
          <p:nvSpPr>
            <p:cNvPr id="187" name="Freeform 6"/>
            <p:cNvSpPr>
              <a:spLocks/>
            </p:cNvSpPr>
            <p:nvPr/>
          </p:nvSpPr>
          <p:spPr bwMode="auto">
            <a:xfrm>
              <a:off x="7982566" y="2552030"/>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sp>
          <p:nvSpPr>
            <p:cNvPr id="188" name="Freeform 6"/>
            <p:cNvSpPr>
              <a:spLocks/>
            </p:cNvSpPr>
            <p:nvPr/>
          </p:nvSpPr>
          <p:spPr bwMode="auto">
            <a:xfrm>
              <a:off x="8082000" y="2552031"/>
              <a:ext cx="183354" cy="165017"/>
            </a:xfrm>
            <a:custGeom>
              <a:avLst/>
              <a:gdLst>
                <a:gd name="T0" fmla="*/ 3107 w 5070"/>
                <a:gd name="T1" fmla="*/ 18 h 4591"/>
                <a:gd name="T2" fmla="*/ 3527 w 5070"/>
                <a:gd name="T3" fmla="*/ 117 h 4591"/>
                <a:gd name="T4" fmla="*/ 3912 w 5070"/>
                <a:gd name="T5" fmla="*/ 289 h 4591"/>
                <a:gd name="T6" fmla="*/ 4256 w 5070"/>
                <a:gd name="T7" fmla="*/ 529 h 4591"/>
                <a:gd name="T8" fmla="*/ 4550 w 5070"/>
                <a:gd name="T9" fmla="*/ 827 h 4591"/>
                <a:gd name="T10" fmla="*/ 4785 w 5070"/>
                <a:gd name="T11" fmla="*/ 1177 h 4591"/>
                <a:gd name="T12" fmla="*/ 4956 w 5070"/>
                <a:gd name="T13" fmla="*/ 1569 h 4591"/>
                <a:gd name="T14" fmla="*/ 5051 w 5070"/>
                <a:gd name="T15" fmla="*/ 1995 h 4591"/>
                <a:gd name="T16" fmla="*/ 5065 w 5070"/>
                <a:gd name="T17" fmla="*/ 2446 h 4591"/>
                <a:gd name="T18" fmla="*/ 4996 w 5070"/>
                <a:gd name="T19" fmla="*/ 2882 h 4591"/>
                <a:gd name="T20" fmla="*/ 4850 w 5070"/>
                <a:gd name="T21" fmla="*/ 3286 h 4591"/>
                <a:gd name="T22" fmla="*/ 4635 w 5070"/>
                <a:gd name="T23" fmla="*/ 3651 h 4591"/>
                <a:gd name="T24" fmla="*/ 4359 w 5070"/>
                <a:gd name="T25" fmla="*/ 3968 h 4591"/>
                <a:gd name="T26" fmla="*/ 4032 w 5070"/>
                <a:gd name="T27" fmla="*/ 4228 h 4591"/>
                <a:gd name="T28" fmla="*/ 3659 w 5070"/>
                <a:gd name="T29" fmla="*/ 4423 h 4591"/>
                <a:gd name="T30" fmla="*/ 3250 w 5070"/>
                <a:gd name="T31" fmla="*/ 4548 h 4591"/>
                <a:gd name="T32" fmla="*/ 2813 w 5070"/>
                <a:gd name="T33" fmla="*/ 4591 h 4591"/>
                <a:gd name="T34" fmla="*/ 2378 w 5070"/>
                <a:gd name="T35" fmla="*/ 4548 h 4591"/>
                <a:gd name="T36" fmla="*/ 1972 w 5070"/>
                <a:gd name="T37" fmla="*/ 4426 h 4591"/>
                <a:gd name="T38" fmla="*/ 1600 w 5070"/>
                <a:gd name="T39" fmla="*/ 4232 h 4591"/>
                <a:gd name="T40" fmla="*/ 1274 w 5070"/>
                <a:gd name="T41" fmla="*/ 3974 h 4591"/>
                <a:gd name="T42" fmla="*/ 1600 w 5070"/>
                <a:gd name="T43" fmla="*/ 3628 h 4591"/>
                <a:gd name="T44" fmla="*/ 1883 w 5070"/>
                <a:gd name="T45" fmla="*/ 3848 h 4591"/>
                <a:gd name="T46" fmla="*/ 2206 w 5070"/>
                <a:gd name="T47" fmla="*/ 4008 h 4591"/>
                <a:gd name="T48" fmla="*/ 2561 w 5070"/>
                <a:gd name="T49" fmla="*/ 4097 h 4591"/>
                <a:gd name="T50" fmla="*/ 2939 w 5070"/>
                <a:gd name="T51" fmla="*/ 4111 h 4591"/>
                <a:gd name="T52" fmla="*/ 3307 w 5070"/>
                <a:gd name="T53" fmla="*/ 4045 h 4591"/>
                <a:gd name="T54" fmla="*/ 3642 w 5070"/>
                <a:gd name="T55" fmla="*/ 3906 h 4591"/>
                <a:gd name="T56" fmla="*/ 3941 w 5070"/>
                <a:gd name="T57" fmla="*/ 3705 h 4591"/>
                <a:gd name="T58" fmla="*/ 4193 w 5070"/>
                <a:gd name="T59" fmla="*/ 3448 h 4591"/>
                <a:gd name="T60" fmla="*/ 4392 w 5070"/>
                <a:gd name="T61" fmla="*/ 3143 h 4591"/>
                <a:gd name="T62" fmla="*/ 4527 w 5070"/>
                <a:gd name="T63" fmla="*/ 2798 h 4591"/>
                <a:gd name="T64" fmla="*/ 4591 w 5070"/>
                <a:gd name="T65" fmla="*/ 2425 h 4591"/>
                <a:gd name="T66" fmla="*/ 4578 w 5070"/>
                <a:gd name="T67" fmla="*/ 2037 h 4591"/>
                <a:gd name="T68" fmla="*/ 4488 w 5070"/>
                <a:gd name="T69" fmla="*/ 1672 h 4591"/>
                <a:gd name="T70" fmla="*/ 4332 w 5070"/>
                <a:gd name="T71" fmla="*/ 1341 h 4591"/>
                <a:gd name="T72" fmla="*/ 4115 w 5070"/>
                <a:gd name="T73" fmla="*/ 1051 h 4591"/>
                <a:gd name="T74" fmla="*/ 3847 w 5070"/>
                <a:gd name="T75" fmla="*/ 812 h 4591"/>
                <a:gd name="T76" fmla="*/ 3535 w 5070"/>
                <a:gd name="T77" fmla="*/ 630 h 4591"/>
                <a:gd name="T78" fmla="*/ 3187 w 5070"/>
                <a:gd name="T79" fmla="*/ 515 h 4591"/>
                <a:gd name="T80" fmla="*/ 2813 w 5070"/>
                <a:gd name="T81" fmla="*/ 475 h 4591"/>
                <a:gd name="T82" fmla="*/ 2430 w 5070"/>
                <a:gd name="T83" fmla="*/ 517 h 4591"/>
                <a:gd name="T84" fmla="*/ 2075 w 5070"/>
                <a:gd name="T85" fmla="*/ 637 h 4591"/>
                <a:gd name="T86" fmla="*/ 1760 w 5070"/>
                <a:gd name="T87" fmla="*/ 826 h 4591"/>
                <a:gd name="T88" fmla="*/ 1489 w 5070"/>
                <a:gd name="T89" fmla="*/ 1077 h 4591"/>
                <a:gd name="T90" fmla="*/ 1272 w 5070"/>
                <a:gd name="T91" fmla="*/ 1378 h 4591"/>
                <a:gd name="T92" fmla="*/ 1120 w 5070"/>
                <a:gd name="T93" fmla="*/ 1721 h 4591"/>
                <a:gd name="T94" fmla="*/ 1040 w 5070"/>
                <a:gd name="T95" fmla="*/ 2100 h 4591"/>
                <a:gd name="T96" fmla="*/ 791 w 5070"/>
                <a:gd name="T97" fmla="*/ 3095 h 4591"/>
                <a:gd name="T98" fmla="*/ 566 w 5070"/>
                <a:gd name="T99" fmla="*/ 2071 h 4591"/>
                <a:gd name="T100" fmla="*/ 646 w 5070"/>
                <a:gd name="T101" fmla="*/ 1648 h 4591"/>
                <a:gd name="T102" fmla="*/ 798 w 5070"/>
                <a:gd name="T103" fmla="*/ 1257 h 4591"/>
                <a:gd name="T104" fmla="*/ 1017 w 5070"/>
                <a:gd name="T105" fmla="*/ 904 h 4591"/>
                <a:gd name="T106" fmla="*/ 1292 w 5070"/>
                <a:gd name="T107" fmla="*/ 598 h 4591"/>
                <a:gd name="T108" fmla="*/ 1617 w 5070"/>
                <a:gd name="T109" fmla="*/ 347 h 4591"/>
                <a:gd name="T110" fmla="*/ 1983 w 5070"/>
                <a:gd name="T111" fmla="*/ 160 h 4591"/>
                <a:gd name="T112" fmla="*/ 2384 w 5070"/>
                <a:gd name="T113" fmla="*/ 40 h 4591"/>
                <a:gd name="T114" fmla="*/ 2813 w 5070"/>
                <a:gd name="T115" fmla="*/ 0 h 4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70" h="4591">
                  <a:moveTo>
                    <a:pt x="2813" y="0"/>
                  </a:moveTo>
                  <a:lnTo>
                    <a:pt x="2961" y="4"/>
                  </a:lnTo>
                  <a:lnTo>
                    <a:pt x="3107" y="18"/>
                  </a:lnTo>
                  <a:lnTo>
                    <a:pt x="3250" y="43"/>
                  </a:lnTo>
                  <a:lnTo>
                    <a:pt x="3390" y="75"/>
                  </a:lnTo>
                  <a:lnTo>
                    <a:pt x="3527" y="117"/>
                  </a:lnTo>
                  <a:lnTo>
                    <a:pt x="3659" y="166"/>
                  </a:lnTo>
                  <a:lnTo>
                    <a:pt x="3787" y="224"/>
                  </a:lnTo>
                  <a:lnTo>
                    <a:pt x="3912" y="289"/>
                  </a:lnTo>
                  <a:lnTo>
                    <a:pt x="4032" y="361"/>
                  </a:lnTo>
                  <a:lnTo>
                    <a:pt x="4147" y="443"/>
                  </a:lnTo>
                  <a:lnTo>
                    <a:pt x="4256" y="529"/>
                  </a:lnTo>
                  <a:lnTo>
                    <a:pt x="4359" y="623"/>
                  </a:lnTo>
                  <a:lnTo>
                    <a:pt x="4458" y="723"/>
                  </a:lnTo>
                  <a:lnTo>
                    <a:pt x="4550" y="827"/>
                  </a:lnTo>
                  <a:lnTo>
                    <a:pt x="4635" y="940"/>
                  </a:lnTo>
                  <a:lnTo>
                    <a:pt x="4713" y="1055"/>
                  </a:lnTo>
                  <a:lnTo>
                    <a:pt x="4785" y="1177"/>
                  </a:lnTo>
                  <a:lnTo>
                    <a:pt x="4850" y="1303"/>
                  </a:lnTo>
                  <a:lnTo>
                    <a:pt x="4907" y="1434"/>
                  </a:lnTo>
                  <a:lnTo>
                    <a:pt x="4956" y="1569"/>
                  </a:lnTo>
                  <a:lnTo>
                    <a:pt x="4996" y="1708"/>
                  </a:lnTo>
                  <a:lnTo>
                    <a:pt x="5028" y="1851"/>
                  </a:lnTo>
                  <a:lnTo>
                    <a:pt x="5051" y="1995"/>
                  </a:lnTo>
                  <a:lnTo>
                    <a:pt x="5065" y="2145"/>
                  </a:lnTo>
                  <a:lnTo>
                    <a:pt x="5070" y="2295"/>
                  </a:lnTo>
                  <a:lnTo>
                    <a:pt x="5065" y="2446"/>
                  </a:lnTo>
                  <a:lnTo>
                    <a:pt x="5051" y="2594"/>
                  </a:lnTo>
                  <a:lnTo>
                    <a:pt x="5028" y="2740"/>
                  </a:lnTo>
                  <a:lnTo>
                    <a:pt x="4996" y="2882"/>
                  </a:lnTo>
                  <a:lnTo>
                    <a:pt x="4956" y="3020"/>
                  </a:lnTo>
                  <a:lnTo>
                    <a:pt x="4907" y="3155"/>
                  </a:lnTo>
                  <a:lnTo>
                    <a:pt x="4850" y="3286"/>
                  </a:lnTo>
                  <a:lnTo>
                    <a:pt x="4785" y="3412"/>
                  </a:lnTo>
                  <a:lnTo>
                    <a:pt x="4713" y="3534"/>
                  </a:lnTo>
                  <a:lnTo>
                    <a:pt x="4635" y="3651"/>
                  </a:lnTo>
                  <a:lnTo>
                    <a:pt x="4550" y="3762"/>
                  </a:lnTo>
                  <a:lnTo>
                    <a:pt x="4458" y="3868"/>
                  </a:lnTo>
                  <a:lnTo>
                    <a:pt x="4359" y="3968"/>
                  </a:lnTo>
                  <a:lnTo>
                    <a:pt x="4256" y="4060"/>
                  </a:lnTo>
                  <a:lnTo>
                    <a:pt x="4147" y="4148"/>
                  </a:lnTo>
                  <a:lnTo>
                    <a:pt x="4032" y="4228"/>
                  </a:lnTo>
                  <a:lnTo>
                    <a:pt x="3912" y="4300"/>
                  </a:lnTo>
                  <a:lnTo>
                    <a:pt x="3787" y="4366"/>
                  </a:lnTo>
                  <a:lnTo>
                    <a:pt x="3659" y="4423"/>
                  </a:lnTo>
                  <a:lnTo>
                    <a:pt x="3527" y="4474"/>
                  </a:lnTo>
                  <a:lnTo>
                    <a:pt x="3390" y="4516"/>
                  </a:lnTo>
                  <a:lnTo>
                    <a:pt x="3250" y="4548"/>
                  </a:lnTo>
                  <a:lnTo>
                    <a:pt x="3107" y="4571"/>
                  </a:lnTo>
                  <a:lnTo>
                    <a:pt x="2961" y="4586"/>
                  </a:lnTo>
                  <a:lnTo>
                    <a:pt x="2813" y="4591"/>
                  </a:lnTo>
                  <a:lnTo>
                    <a:pt x="2666" y="4586"/>
                  </a:lnTo>
                  <a:lnTo>
                    <a:pt x="2520" y="4571"/>
                  </a:lnTo>
                  <a:lnTo>
                    <a:pt x="2378" y="4548"/>
                  </a:lnTo>
                  <a:lnTo>
                    <a:pt x="2240" y="4516"/>
                  </a:lnTo>
                  <a:lnTo>
                    <a:pt x="2103" y="4476"/>
                  </a:lnTo>
                  <a:lnTo>
                    <a:pt x="1972" y="4426"/>
                  </a:lnTo>
                  <a:lnTo>
                    <a:pt x="1843" y="4369"/>
                  </a:lnTo>
                  <a:lnTo>
                    <a:pt x="1720" y="4305"/>
                  </a:lnTo>
                  <a:lnTo>
                    <a:pt x="1600" y="4232"/>
                  </a:lnTo>
                  <a:lnTo>
                    <a:pt x="1486" y="4152"/>
                  </a:lnTo>
                  <a:lnTo>
                    <a:pt x="1377" y="4066"/>
                  </a:lnTo>
                  <a:lnTo>
                    <a:pt x="1274" y="3974"/>
                  </a:lnTo>
                  <a:lnTo>
                    <a:pt x="1175" y="3876"/>
                  </a:lnTo>
                  <a:lnTo>
                    <a:pt x="1515" y="3543"/>
                  </a:lnTo>
                  <a:lnTo>
                    <a:pt x="1600" y="3628"/>
                  </a:lnTo>
                  <a:lnTo>
                    <a:pt x="1689" y="3708"/>
                  </a:lnTo>
                  <a:lnTo>
                    <a:pt x="1783" y="3782"/>
                  </a:lnTo>
                  <a:lnTo>
                    <a:pt x="1883" y="3848"/>
                  </a:lnTo>
                  <a:lnTo>
                    <a:pt x="1986" y="3908"/>
                  </a:lnTo>
                  <a:lnTo>
                    <a:pt x="2093" y="3962"/>
                  </a:lnTo>
                  <a:lnTo>
                    <a:pt x="2206" y="4008"/>
                  </a:lnTo>
                  <a:lnTo>
                    <a:pt x="2321" y="4045"/>
                  </a:lnTo>
                  <a:lnTo>
                    <a:pt x="2440" y="4076"/>
                  </a:lnTo>
                  <a:lnTo>
                    <a:pt x="2561" y="4097"/>
                  </a:lnTo>
                  <a:lnTo>
                    <a:pt x="2686" y="4111"/>
                  </a:lnTo>
                  <a:lnTo>
                    <a:pt x="2813" y="4116"/>
                  </a:lnTo>
                  <a:lnTo>
                    <a:pt x="2939" y="4111"/>
                  </a:lnTo>
                  <a:lnTo>
                    <a:pt x="3066" y="4097"/>
                  </a:lnTo>
                  <a:lnTo>
                    <a:pt x="3187" y="4076"/>
                  </a:lnTo>
                  <a:lnTo>
                    <a:pt x="3307" y="4045"/>
                  </a:lnTo>
                  <a:lnTo>
                    <a:pt x="3422" y="4006"/>
                  </a:lnTo>
                  <a:lnTo>
                    <a:pt x="3535" y="3960"/>
                  </a:lnTo>
                  <a:lnTo>
                    <a:pt x="3642" y="3906"/>
                  </a:lnTo>
                  <a:lnTo>
                    <a:pt x="3747" y="3846"/>
                  </a:lnTo>
                  <a:lnTo>
                    <a:pt x="3847" y="3779"/>
                  </a:lnTo>
                  <a:lnTo>
                    <a:pt x="3941" y="3705"/>
                  </a:lnTo>
                  <a:lnTo>
                    <a:pt x="4030" y="3625"/>
                  </a:lnTo>
                  <a:lnTo>
                    <a:pt x="4115" y="3539"/>
                  </a:lnTo>
                  <a:lnTo>
                    <a:pt x="4193" y="3448"/>
                  </a:lnTo>
                  <a:lnTo>
                    <a:pt x="4265" y="3351"/>
                  </a:lnTo>
                  <a:lnTo>
                    <a:pt x="4332" y="3249"/>
                  </a:lnTo>
                  <a:lnTo>
                    <a:pt x="4392" y="3143"/>
                  </a:lnTo>
                  <a:lnTo>
                    <a:pt x="4444" y="3032"/>
                  </a:lnTo>
                  <a:lnTo>
                    <a:pt x="4488" y="2917"/>
                  </a:lnTo>
                  <a:lnTo>
                    <a:pt x="4527" y="2798"/>
                  </a:lnTo>
                  <a:lnTo>
                    <a:pt x="4556" y="2677"/>
                  </a:lnTo>
                  <a:lnTo>
                    <a:pt x="4578" y="2552"/>
                  </a:lnTo>
                  <a:lnTo>
                    <a:pt x="4591" y="2425"/>
                  </a:lnTo>
                  <a:lnTo>
                    <a:pt x="4596" y="2295"/>
                  </a:lnTo>
                  <a:lnTo>
                    <a:pt x="4591" y="2165"/>
                  </a:lnTo>
                  <a:lnTo>
                    <a:pt x="4578" y="2037"/>
                  </a:lnTo>
                  <a:lnTo>
                    <a:pt x="4556" y="1912"/>
                  </a:lnTo>
                  <a:lnTo>
                    <a:pt x="4527" y="1791"/>
                  </a:lnTo>
                  <a:lnTo>
                    <a:pt x="4488" y="1672"/>
                  </a:lnTo>
                  <a:lnTo>
                    <a:pt x="4444" y="1558"/>
                  </a:lnTo>
                  <a:lnTo>
                    <a:pt x="4392" y="1448"/>
                  </a:lnTo>
                  <a:lnTo>
                    <a:pt x="4332" y="1341"/>
                  </a:lnTo>
                  <a:lnTo>
                    <a:pt x="4265" y="1240"/>
                  </a:lnTo>
                  <a:lnTo>
                    <a:pt x="4193" y="1143"/>
                  </a:lnTo>
                  <a:lnTo>
                    <a:pt x="4115" y="1051"/>
                  </a:lnTo>
                  <a:lnTo>
                    <a:pt x="4030" y="966"/>
                  </a:lnTo>
                  <a:lnTo>
                    <a:pt x="3941" y="886"/>
                  </a:lnTo>
                  <a:lnTo>
                    <a:pt x="3847" y="812"/>
                  </a:lnTo>
                  <a:lnTo>
                    <a:pt x="3747" y="744"/>
                  </a:lnTo>
                  <a:lnTo>
                    <a:pt x="3642" y="683"/>
                  </a:lnTo>
                  <a:lnTo>
                    <a:pt x="3535" y="630"/>
                  </a:lnTo>
                  <a:lnTo>
                    <a:pt x="3422" y="584"/>
                  </a:lnTo>
                  <a:lnTo>
                    <a:pt x="3307" y="546"/>
                  </a:lnTo>
                  <a:lnTo>
                    <a:pt x="3187" y="515"/>
                  </a:lnTo>
                  <a:lnTo>
                    <a:pt x="3066" y="492"/>
                  </a:lnTo>
                  <a:lnTo>
                    <a:pt x="2939" y="480"/>
                  </a:lnTo>
                  <a:lnTo>
                    <a:pt x="2813" y="475"/>
                  </a:lnTo>
                  <a:lnTo>
                    <a:pt x="2683" y="480"/>
                  </a:lnTo>
                  <a:lnTo>
                    <a:pt x="2555" y="494"/>
                  </a:lnTo>
                  <a:lnTo>
                    <a:pt x="2430" y="517"/>
                  </a:lnTo>
                  <a:lnTo>
                    <a:pt x="2309" y="549"/>
                  </a:lnTo>
                  <a:lnTo>
                    <a:pt x="2190" y="589"/>
                  </a:lnTo>
                  <a:lnTo>
                    <a:pt x="2075" y="637"/>
                  </a:lnTo>
                  <a:lnTo>
                    <a:pt x="1966" y="692"/>
                  </a:lnTo>
                  <a:lnTo>
                    <a:pt x="1860" y="757"/>
                  </a:lnTo>
                  <a:lnTo>
                    <a:pt x="1760" y="826"/>
                  </a:lnTo>
                  <a:lnTo>
                    <a:pt x="1663" y="903"/>
                  </a:lnTo>
                  <a:lnTo>
                    <a:pt x="1574" y="987"/>
                  </a:lnTo>
                  <a:lnTo>
                    <a:pt x="1489" y="1077"/>
                  </a:lnTo>
                  <a:lnTo>
                    <a:pt x="1411" y="1172"/>
                  </a:lnTo>
                  <a:lnTo>
                    <a:pt x="1338" y="1272"/>
                  </a:lnTo>
                  <a:lnTo>
                    <a:pt x="1272" y="1378"/>
                  </a:lnTo>
                  <a:lnTo>
                    <a:pt x="1214" y="1489"/>
                  </a:lnTo>
                  <a:lnTo>
                    <a:pt x="1163" y="1603"/>
                  </a:lnTo>
                  <a:lnTo>
                    <a:pt x="1120" y="1721"/>
                  </a:lnTo>
                  <a:lnTo>
                    <a:pt x="1084" y="1844"/>
                  </a:lnTo>
                  <a:lnTo>
                    <a:pt x="1058" y="1971"/>
                  </a:lnTo>
                  <a:lnTo>
                    <a:pt x="1040" y="2100"/>
                  </a:lnTo>
                  <a:lnTo>
                    <a:pt x="1031" y="2232"/>
                  </a:lnTo>
                  <a:lnTo>
                    <a:pt x="1580" y="2249"/>
                  </a:lnTo>
                  <a:lnTo>
                    <a:pt x="791" y="3095"/>
                  </a:lnTo>
                  <a:lnTo>
                    <a:pt x="0" y="2200"/>
                  </a:lnTo>
                  <a:lnTo>
                    <a:pt x="557" y="2217"/>
                  </a:lnTo>
                  <a:lnTo>
                    <a:pt x="566" y="2071"/>
                  </a:lnTo>
                  <a:lnTo>
                    <a:pt x="585" y="1926"/>
                  </a:lnTo>
                  <a:lnTo>
                    <a:pt x="611" y="1784"/>
                  </a:lnTo>
                  <a:lnTo>
                    <a:pt x="646" y="1648"/>
                  </a:lnTo>
                  <a:lnTo>
                    <a:pt x="689" y="1514"/>
                  </a:lnTo>
                  <a:lnTo>
                    <a:pt x="740" y="1383"/>
                  </a:lnTo>
                  <a:lnTo>
                    <a:pt x="798" y="1257"/>
                  </a:lnTo>
                  <a:lnTo>
                    <a:pt x="864" y="1134"/>
                  </a:lnTo>
                  <a:lnTo>
                    <a:pt x="937" y="1017"/>
                  </a:lnTo>
                  <a:lnTo>
                    <a:pt x="1017" y="904"/>
                  </a:lnTo>
                  <a:lnTo>
                    <a:pt x="1103" y="797"/>
                  </a:lnTo>
                  <a:lnTo>
                    <a:pt x="1194" y="695"/>
                  </a:lnTo>
                  <a:lnTo>
                    <a:pt x="1292" y="598"/>
                  </a:lnTo>
                  <a:lnTo>
                    <a:pt x="1395" y="509"/>
                  </a:lnTo>
                  <a:lnTo>
                    <a:pt x="1503" y="424"/>
                  </a:lnTo>
                  <a:lnTo>
                    <a:pt x="1617" y="347"/>
                  </a:lnTo>
                  <a:lnTo>
                    <a:pt x="1734" y="278"/>
                  </a:lnTo>
                  <a:lnTo>
                    <a:pt x="1857" y="215"/>
                  </a:lnTo>
                  <a:lnTo>
                    <a:pt x="1983" y="160"/>
                  </a:lnTo>
                  <a:lnTo>
                    <a:pt x="2113" y="112"/>
                  </a:lnTo>
                  <a:lnTo>
                    <a:pt x="2247" y="72"/>
                  </a:lnTo>
                  <a:lnTo>
                    <a:pt x="2384" y="40"/>
                  </a:lnTo>
                  <a:lnTo>
                    <a:pt x="2524" y="18"/>
                  </a:lnTo>
                  <a:lnTo>
                    <a:pt x="2667" y="4"/>
                  </a:lnTo>
                  <a:lnTo>
                    <a:pt x="2813"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grpSp>
      <p:grpSp>
        <p:nvGrpSpPr>
          <p:cNvPr id="19" name="Group 188"/>
          <p:cNvGrpSpPr/>
          <p:nvPr/>
        </p:nvGrpSpPr>
        <p:grpSpPr>
          <a:xfrm>
            <a:off x="5063805" y="1825554"/>
            <a:ext cx="339463" cy="238229"/>
            <a:chOff x="6872947" y="2523365"/>
            <a:chExt cx="383907" cy="269420"/>
          </a:xfrm>
          <a:solidFill>
            <a:schemeClr val="bg1"/>
          </a:solidFill>
        </p:grpSpPr>
        <p:sp>
          <p:nvSpPr>
            <p:cNvPr id="190" name="Freeform 7"/>
            <p:cNvSpPr>
              <a:spLocks/>
            </p:cNvSpPr>
            <p:nvPr/>
          </p:nvSpPr>
          <p:spPr bwMode="auto">
            <a:xfrm>
              <a:off x="7031995" y="2655333"/>
              <a:ext cx="137109" cy="137452"/>
            </a:xfrm>
            <a:custGeom>
              <a:avLst/>
              <a:gdLst/>
              <a:ahLst/>
              <a:cxnLst/>
              <a:rect l="l" t="t" r="r" b="b"/>
              <a:pathLst>
                <a:path w="281913" h="282618">
                  <a:moveTo>
                    <a:pt x="141765" y="51523"/>
                  </a:moveTo>
                  <a:lnTo>
                    <a:pt x="132619" y="51876"/>
                  </a:lnTo>
                  <a:lnTo>
                    <a:pt x="123473" y="53288"/>
                  </a:lnTo>
                  <a:lnTo>
                    <a:pt x="114678" y="55405"/>
                  </a:lnTo>
                  <a:lnTo>
                    <a:pt x="106588" y="58581"/>
                  </a:lnTo>
                  <a:lnTo>
                    <a:pt x="98497" y="62463"/>
                  </a:lnTo>
                  <a:lnTo>
                    <a:pt x="90758" y="66698"/>
                  </a:lnTo>
                  <a:lnTo>
                    <a:pt x="83722" y="71991"/>
                  </a:lnTo>
                  <a:lnTo>
                    <a:pt x="77390" y="78343"/>
                  </a:lnTo>
                  <a:lnTo>
                    <a:pt x="71410" y="84695"/>
                  </a:lnTo>
                  <a:lnTo>
                    <a:pt x="66134" y="91753"/>
                  </a:lnTo>
                  <a:lnTo>
                    <a:pt x="61560" y="99164"/>
                  </a:lnTo>
                  <a:lnTo>
                    <a:pt x="58043" y="107281"/>
                  </a:lnTo>
                  <a:lnTo>
                    <a:pt x="54877" y="115750"/>
                  </a:lnTo>
                  <a:lnTo>
                    <a:pt x="52766" y="124573"/>
                  </a:lnTo>
                  <a:lnTo>
                    <a:pt x="51007" y="133395"/>
                  </a:lnTo>
                  <a:lnTo>
                    <a:pt x="50655" y="142923"/>
                  </a:lnTo>
                  <a:lnTo>
                    <a:pt x="51359" y="153863"/>
                  </a:lnTo>
                  <a:lnTo>
                    <a:pt x="53470" y="164803"/>
                  </a:lnTo>
                  <a:lnTo>
                    <a:pt x="56636" y="175037"/>
                  </a:lnTo>
                  <a:lnTo>
                    <a:pt x="61209" y="184565"/>
                  </a:lnTo>
                  <a:lnTo>
                    <a:pt x="66485" y="193740"/>
                  </a:lnTo>
                  <a:lnTo>
                    <a:pt x="72817" y="202210"/>
                  </a:lnTo>
                  <a:lnTo>
                    <a:pt x="80204" y="209621"/>
                  </a:lnTo>
                  <a:lnTo>
                    <a:pt x="88025" y="216102"/>
                  </a:lnTo>
                  <a:lnTo>
                    <a:pt x="88082" y="216016"/>
                  </a:lnTo>
                  <a:lnTo>
                    <a:pt x="93711" y="220245"/>
                  </a:lnTo>
                  <a:lnTo>
                    <a:pt x="100043" y="223769"/>
                  </a:lnTo>
                  <a:lnTo>
                    <a:pt x="106375" y="226588"/>
                  </a:lnTo>
                  <a:lnTo>
                    <a:pt x="113410" y="229055"/>
                  </a:lnTo>
                  <a:lnTo>
                    <a:pt x="119742" y="231169"/>
                  </a:lnTo>
                  <a:lnTo>
                    <a:pt x="127130" y="232579"/>
                  </a:lnTo>
                  <a:lnTo>
                    <a:pt x="134165" y="233636"/>
                  </a:lnTo>
                  <a:lnTo>
                    <a:pt x="141553" y="233988"/>
                  </a:lnTo>
                  <a:lnTo>
                    <a:pt x="151051" y="233636"/>
                  </a:lnTo>
                  <a:lnTo>
                    <a:pt x="160197" y="231874"/>
                  </a:lnTo>
                  <a:lnTo>
                    <a:pt x="168640" y="229759"/>
                  </a:lnTo>
                  <a:lnTo>
                    <a:pt x="177434" y="226588"/>
                  </a:lnTo>
                  <a:lnTo>
                    <a:pt x="185525" y="223064"/>
                  </a:lnTo>
                  <a:lnTo>
                    <a:pt x="192561" y="218483"/>
                  </a:lnTo>
                  <a:lnTo>
                    <a:pt x="199597" y="213197"/>
                  </a:lnTo>
                  <a:lnTo>
                    <a:pt x="205929" y="207206"/>
                  </a:lnTo>
                  <a:lnTo>
                    <a:pt x="212261" y="200511"/>
                  </a:lnTo>
                  <a:lnTo>
                    <a:pt x="217537" y="193816"/>
                  </a:lnTo>
                  <a:lnTo>
                    <a:pt x="221759" y="186063"/>
                  </a:lnTo>
                  <a:lnTo>
                    <a:pt x="225628" y="177958"/>
                  </a:lnTo>
                  <a:lnTo>
                    <a:pt x="228794" y="169853"/>
                  </a:lnTo>
                  <a:lnTo>
                    <a:pt x="230905" y="161043"/>
                  </a:lnTo>
                  <a:lnTo>
                    <a:pt x="232312" y="151881"/>
                  </a:lnTo>
                  <a:lnTo>
                    <a:pt x="232664" y="142719"/>
                  </a:lnTo>
                  <a:lnTo>
                    <a:pt x="231960" y="130385"/>
                  </a:lnTo>
                  <a:lnTo>
                    <a:pt x="229498" y="118756"/>
                  </a:lnTo>
                  <a:lnTo>
                    <a:pt x="225980" y="107832"/>
                  </a:lnTo>
                  <a:lnTo>
                    <a:pt x="221055" y="97613"/>
                  </a:lnTo>
                  <a:lnTo>
                    <a:pt x="214371" y="87746"/>
                  </a:lnTo>
                  <a:lnTo>
                    <a:pt x="207336" y="79288"/>
                  </a:lnTo>
                  <a:lnTo>
                    <a:pt x="198893" y="71536"/>
                  </a:lnTo>
                  <a:lnTo>
                    <a:pt x="189395" y="65193"/>
                  </a:lnTo>
                  <a:lnTo>
                    <a:pt x="189411" y="65169"/>
                  </a:lnTo>
                  <a:lnTo>
                    <a:pt x="184330" y="62110"/>
                  </a:lnTo>
                  <a:lnTo>
                    <a:pt x="178701" y="58934"/>
                  </a:lnTo>
                  <a:lnTo>
                    <a:pt x="173073" y="57169"/>
                  </a:lnTo>
                  <a:lnTo>
                    <a:pt x="167444" y="55052"/>
                  </a:lnTo>
                  <a:lnTo>
                    <a:pt x="161113" y="53288"/>
                  </a:lnTo>
                  <a:lnTo>
                    <a:pt x="154781" y="52229"/>
                  </a:lnTo>
                  <a:lnTo>
                    <a:pt x="148449" y="51876"/>
                  </a:lnTo>
                  <a:close/>
                  <a:moveTo>
                    <a:pt x="134378" y="0"/>
                  </a:moveTo>
                  <a:lnTo>
                    <a:pt x="147393" y="0"/>
                  </a:lnTo>
                  <a:lnTo>
                    <a:pt x="151615" y="33172"/>
                  </a:lnTo>
                  <a:lnTo>
                    <a:pt x="154429" y="33525"/>
                  </a:lnTo>
                  <a:lnTo>
                    <a:pt x="156891" y="33878"/>
                  </a:lnTo>
                  <a:lnTo>
                    <a:pt x="159705" y="34231"/>
                  </a:lnTo>
                  <a:lnTo>
                    <a:pt x="162168" y="34584"/>
                  </a:lnTo>
                  <a:lnTo>
                    <a:pt x="164982" y="34937"/>
                  </a:lnTo>
                  <a:lnTo>
                    <a:pt x="167444" y="35996"/>
                  </a:lnTo>
                  <a:lnTo>
                    <a:pt x="169907" y="36348"/>
                  </a:lnTo>
                  <a:lnTo>
                    <a:pt x="172369" y="37054"/>
                  </a:lnTo>
                  <a:lnTo>
                    <a:pt x="188903" y="8117"/>
                  </a:lnTo>
                  <a:lnTo>
                    <a:pt x="200863" y="13057"/>
                  </a:lnTo>
                  <a:lnTo>
                    <a:pt x="192069" y="45524"/>
                  </a:lnTo>
                  <a:lnTo>
                    <a:pt x="194179" y="46582"/>
                  </a:lnTo>
                  <a:lnTo>
                    <a:pt x="196290" y="47641"/>
                  </a:lnTo>
                  <a:lnTo>
                    <a:pt x="197697" y="49053"/>
                  </a:lnTo>
                  <a:lnTo>
                    <a:pt x="199808" y="50111"/>
                  </a:lnTo>
                  <a:lnTo>
                    <a:pt x="199772" y="50165"/>
                  </a:lnTo>
                  <a:lnTo>
                    <a:pt x="202059" y="51802"/>
                  </a:lnTo>
                  <a:lnTo>
                    <a:pt x="204873" y="53564"/>
                  </a:lnTo>
                  <a:lnTo>
                    <a:pt x="207336" y="55326"/>
                  </a:lnTo>
                  <a:lnTo>
                    <a:pt x="209798" y="57440"/>
                  </a:lnTo>
                  <a:lnTo>
                    <a:pt x="236182" y="36649"/>
                  </a:lnTo>
                  <a:lnTo>
                    <a:pt x="244976" y="46164"/>
                  </a:lnTo>
                  <a:lnTo>
                    <a:pt x="224573" y="72241"/>
                  </a:lnTo>
                  <a:lnTo>
                    <a:pt x="227739" y="76469"/>
                  </a:lnTo>
                  <a:lnTo>
                    <a:pt x="230905" y="81050"/>
                  </a:lnTo>
                  <a:lnTo>
                    <a:pt x="233719" y="85279"/>
                  </a:lnTo>
                  <a:lnTo>
                    <a:pt x="236533" y="90213"/>
                  </a:lnTo>
                  <a:lnTo>
                    <a:pt x="268545" y="81403"/>
                  </a:lnTo>
                  <a:lnTo>
                    <a:pt x="273119" y="93032"/>
                  </a:lnTo>
                  <a:lnTo>
                    <a:pt x="244624" y="109594"/>
                  </a:lnTo>
                  <a:lnTo>
                    <a:pt x="245680" y="114880"/>
                  </a:lnTo>
                  <a:lnTo>
                    <a:pt x="247087" y="120166"/>
                  </a:lnTo>
                  <a:lnTo>
                    <a:pt x="247790" y="125452"/>
                  </a:lnTo>
                  <a:lnTo>
                    <a:pt x="248494" y="130738"/>
                  </a:lnTo>
                  <a:lnTo>
                    <a:pt x="281913" y="134966"/>
                  </a:lnTo>
                  <a:lnTo>
                    <a:pt x="281913" y="148005"/>
                  </a:lnTo>
                  <a:lnTo>
                    <a:pt x="248494" y="151881"/>
                  </a:lnTo>
                  <a:lnTo>
                    <a:pt x="247790" y="157167"/>
                  </a:lnTo>
                  <a:lnTo>
                    <a:pt x="247087" y="162453"/>
                  </a:lnTo>
                  <a:lnTo>
                    <a:pt x="245680" y="167739"/>
                  </a:lnTo>
                  <a:lnTo>
                    <a:pt x="244273" y="172672"/>
                  </a:lnTo>
                  <a:lnTo>
                    <a:pt x="273119" y="189234"/>
                  </a:lnTo>
                  <a:lnTo>
                    <a:pt x="268545" y="201568"/>
                  </a:lnTo>
                  <a:lnTo>
                    <a:pt x="236182" y="192406"/>
                  </a:lnTo>
                  <a:lnTo>
                    <a:pt x="233719" y="196987"/>
                  </a:lnTo>
                  <a:lnTo>
                    <a:pt x="230905" y="201568"/>
                  </a:lnTo>
                  <a:lnTo>
                    <a:pt x="227387" y="205797"/>
                  </a:lnTo>
                  <a:lnTo>
                    <a:pt x="224221" y="210026"/>
                  </a:lnTo>
                  <a:lnTo>
                    <a:pt x="244976" y="236807"/>
                  </a:lnTo>
                  <a:lnTo>
                    <a:pt x="236182" y="245617"/>
                  </a:lnTo>
                  <a:lnTo>
                    <a:pt x="209446" y="224826"/>
                  </a:lnTo>
                  <a:lnTo>
                    <a:pt x="207336" y="226588"/>
                  </a:lnTo>
                  <a:lnTo>
                    <a:pt x="204873" y="228350"/>
                  </a:lnTo>
                  <a:lnTo>
                    <a:pt x="202763" y="229759"/>
                  </a:lnTo>
                  <a:lnTo>
                    <a:pt x="200652" y="231521"/>
                  </a:lnTo>
                  <a:lnTo>
                    <a:pt x="198893" y="232579"/>
                  </a:lnTo>
                  <a:lnTo>
                    <a:pt x="196430" y="234341"/>
                  </a:lnTo>
                  <a:lnTo>
                    <a:pt x="194320" y="235398"/>
                  </a:lnTo>
                  <a:lnTo>
                    <a:pt x="191857" y="236807"/>
                  </a:lnTo>
                  <a:lnTo>
                    <a:pt x="200652" y="269227"/>
                  </a:lnTo>
                  <a:lnTo>
                    <a:pt x="188691" y="274513"/>
                  </a:lnTo>
                  <a:lnTo>
                    <a:pt x="172158" y="244912"/>
                  </a:lnTo>
                  <a:lnTo>
                    <a:pt x="169695" y="245617"/>
                  </a:lnTo>
                  <a:lnTo>
                    <a:pt x="166881" y="245969"/>
                  </a:lnTo>
                  <a:lnTo>
                    <a:pt x="164419" y="247027"/>
                  </a:lnTo>
                  <a:lnTo>
                    <a:pt x="161956" y="247379"/>
                  </a:lnTo>
                  <a:lnTo>
                    <a:pt x="159142" y="247731"/>
                  </a:lnTo>
                  <a:lnTo>
                    <a:pt x="156679" y="248084"/>
                  </a:lnTo>
                  <a:lnTo>
                    <a:pt x="153865" y="248436"/>
                  </a:lnTo>
                  <a:lnTo>
                    <a:pt x="151403" y="248789"/>
                  </a:lnTo>
                  <a:lnTo>
                    <a:pt x="147181" y="282618"/>
                  </a:lnTo>
                  <a:lnTo>
                    <a:pt x="134165" y="282618"/>
                  </a:lnTo>
                  <a:lnTo>
                    <a:pt x="129944" y="248789"/>
                  </a:lnTo>
                  <a:lnTo>
                    <a:pt x="127482" y="248436"/>
                  </a:lnTo>
                  <a:lnTo>
                    <a:pt x="124667" y="248084"/>
                  </a:lnTo>
                  <a:lnTo>
                    <a:pt x="122205" y="247731"/>
                  </a:lnTo>
                  <a:lnTo>
                    <a:pt x="119742" y="247379"/>
                  </a:lnTo>
                  <a:lnTo>
                    <a:pt x="116928" y="247027"/>
                  </a:lnTo>
                  <a:lnTo>
                    <a:pt x="114466" y="245969"/>
                  </a:lnTo>
                  <a:lnTo>
                    <a:pt x="112003" y="245617"/>
                  </a:lnTo>
                  <a:lnTo>
                    <a:pt x="109541" y="244912"/>
                  </a:lnTo>
                  <a:lnTo>
                    <a:pt x="92655" y="274513"/>
                  </a:lnTo>
                  <a:lnTo>
                    <a:pt x="80695" y="269227"/>
                  </a:lnTo>
                  <a:lnTo>
                    <a:pt x="89841" y="236807"/>
                  </a:lnTo>
                  <a:lnTo>
                    <a:pt x="87027" y="235045"/>
                  </a:lnTo>
                  <a:lnTo>
                    <a:pt x="84213" y="233636"/>
                  </a:lnTo>
                  <a:lnTo>
                    <a:pt x="81750" y="231521"/>
                  </a:lnTo>
                  <a:lnTo>
                    <a:pt x="79241" y="229950"/>
                  </a:lnTo>
                  <a:lnTo>
                    <a:pt x="79149" y="230089"/>
                  </a:lnTo>
                  <a:lnTo>
                    <a:pt x="77390" y="229030"/>
                  </a:lnTo>
                  <a:lnTo>
                    <a:pt x="75631" y="227619"/>
                  </a:lnTo>
                  <a:lnTo>
                    <a:pt x="74224" y="226560"/>
                  </a:lnTo>
                  <a:lnTo>
                    <a:pt x="72465" y="225148"/>
                  </a:lnTo>
                  <a:lnTo>
                    <a:pt x="45731" y="245969"/>
                  </a:lnTo>
                  <a:lnTo>
                    <a:pt x="36936" y="237147"/>
                  </a:lnTo>
                  <a:lnTo>
                    <a:pt x="56987" y="210327"/>
                  </a:lnTo>
                  <a:lnTo>
                    <a:pt x="53821" y="205739"/>
                  </a:lnTo>
                  <a:lnTo>
                    <a:pt x="51007" y="201857"/>
                  </a:lnTo>
                  <a:lnTo>
                    <a:pt x="48193" y="197269"/>
                  </a:lnTo>
                  <a:lnTo>
                    <a:pt x="45379" y="192682"/>
                  </a:lnTo>
                  <a:lnTo>
                    <a:pt x="13367" y="201857"/>
                  </a:lnTo>
                  <a:lnTo>
                    <a:pt x="8443" y="189506"/>
                  </a:lnTo>
                  <a:lnTo>
                    <a:pt x="37640" y="172920"/>
                  </a:lnTo>
                  <a:lnTo>
                    <a:pt x="36585" y="167979"/>
                  </a:lnTo>
                  <a:lnTo>
                    <a:pt x="35177" y="162686"/>
                  </a:lnTo>
                  <a:lnTo>
                    <a:pt x="34474" y="157392"/>
                  </a:lnTo>
                  <a:lnTo>
                    <a:pt x="33770" y="152099"/>
                  </a:lnTo>
                  <a:lnTo>
                    <a:pt x="0" y="148217"/>
                  </a:lnTo>
                  <a:lnTo>
                    <a:pt x="0" y="135160"/>
                  </a:lnTo>
                  <a:lnTo>
                    <a:pt x="33770" y="130572"/>
                  </a:lnTo>
                  <a:lnTo>
                    <a:pt x="34122" y="125278"/>
                  </a:lnTo>
                  <a:lnTo>
                    <a:pt x="35177" y="119985"/>
                  </a:lnTo>
                  <a:lnTo>
                    <a:pt x="36233" y="115044"/>
                  </a:lnTo>
                  <a:lnTo>
                    <a:pt x="37640" y="109751"/>
                  </a:lnTo>
                  <a:lnTo>
                    <a:pt x="8443" y="93165"/>
                  </a:lnTo>
                  <a:lnTo>
                    <a:pt x="13367" y="81519"/>
                  </a:lnTo>
                  <a:lnTo>
                    <a:pt x="45379" y="90342"/>
                  </a:lnTo>
                  <a:lnTo>
                    <a:pt x="47841" y="85401"/>
                  </a:lnTo>
                  <a:lnTo>
                    <a:pt x="50655" y="81166"/>
                  </a:lnTo>
                  <a:lnTo>
                    <a:pt x="53821" y="76932"/>
                  </a:lnTo>
                  <a:lnTo>
                    <a:pt x="56987" y="72344"/>
                  </a:lnTo>
                  <a:lnTo>
                    <a:pt x="36936" y="46230"/>
                  </a:lnTo>
                  <a:lnTo>
                    <a:pt x="45731" y="36701"/>
                  </a:lnTo>
                  <a:lnTo>
                    <a:pt x="72114" y="57522"/>
                  </a:lnTo>
                  <a:lnTo>
                    <a:pt x="74224" y="55758"/>
                  </a:lnTo>
                  <a:lnTo>
                    <a:pt x="76335" y="54346"/>
                  </a:lnTo>
                  <a:lnTo>
                    <a:pt x="78094" y="52582"/>
                  </a:lnTo>
                  <a:lnTo>
                    <a:pt x="80556" y="50817"/>
                  </a:lnTo>
                  <a:lnTo>
                    <a:pt x="82667" y="49759"/>
                  </a:lnTo>
                  <a:lnTo>
                    <a:pt x="85129" y="47994"/>
                  </a:lnTo>
                  <a:lnTo>
                    <a:pt x="87240" y="46935"/>
                  </a:lnTo>
                  <a:lnTo>
                    <a:pt x="89702" y="45524"/>
                  </a:lnTo>
                  <a:lnTo>
                    <a:pt x="80908" y="13057"/>
                  </a:lnTo>
                  <a:lnTo>
                    <a:pt x="92868" y="8117"/>
                  </a:lnTo>
                  <a:lnTo>
                    <a:pt x="109402" y="37054"/>
                  </a:lnTo>
                  <a:lnTo>
                    <a:pt x="111864" y="36348"/>
                  </a:lnTo>
                  <a:lnTo>
                    <a:pt x="114327" y="35996"/>
                  </a:lnTo>
                  <a:lnTo>
                    <a:pt x="117141" y="34937"/>
                  </a:lnTo>
                  <a:lnTo>
                    <a:pt x="119603" y="34584"/>
                  </a:lnTo>
                  <a:lnTo>
                    <a:pt x="122417" y="34231"/>
                  </a:lnTo>
                  <a:lnTo>
                    <a:pt x="124880" y="33878"/>
                  </a:lnTo>
                  <a:lnTo>
                    <a:pt x="127694" y="33525"/>
                  </a:lnTo>
                  <a:lnTo>
                    <a:pt x="130156" y="33172"/>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1" name="Freeform 11"/>
            <p:cNvSpPr>
              <a:spLocks/>
            </p:cNvSpPr>
            <p:nvPr/>
          </p:nvSpPr>
          <p:spPr bwMode="auto">
            <a:xfrm>
              <a:off x="7092322" y="2523365"/>
              <a:ext cx="164532" cy="164189"/>
            </a:xfrm>
            <a:custGeom>
              <a:avLst/>
              <a:gdLst/>
              <a:ahLst/>
              <a:cxnLst/>
              <a:rect l="l" t="t" r="r" b="b"/>
              <a:pathLst>
                <a:path w="338297" h="337591">
                  <a:moveTo>
                    <a:pt x="164083" y="61316"/>
                  </a:moveTo>
                  <a:lnTo>
                    <a:pt x="153144" y="62373"/>
                  </a:lnTo>
                  <a:lnTo>
                    <a:pt x="142558" y="64840"/>
                  </a:lnTo>
                  <a:lnTo>
                    <a:pt x="132325" y="67659"/>
                  </a:lnTo>
                  <a:lnTo>
                    <a:pt x="122444" y="71888"/>
                  </a:lnTo>
                  <a:lnTo>
                    <a:pt x="113623" y="77174"/>
                  </a:lnTo>
                  <a:lnTo>
                    <a:pt x="104801" y="82812"/>
                  </a:lnTo>
                  <a:lnTo>
                    <a:pt x="96685" y="89860"/>
                  </a:lnTo>
                  <a:lnTo>
                    <a:pt x="89275" y="96908"/>
                  </a:lnTo>
                  <a:lnTo>
                    <a:pt x="82218" y="105013"/>
                  </a:lnTo>
                  <a:lnTo>
                    <a:pt x="76219" y="114175"/>
                  </a:lnTo>
                  <a:lnTo>
                    <a:pt x="71279" y="123337"/>
                  </a:lnTo>
                  <a:lnTo>
                    <a:pt x="67044" y="133557"/>
                  </a:lnTo>
                  <a:lnTo>
                    <a:pt x="63516" y="144128"/>
                  </a:lnTo>
                  <a:lnTo>
                    <a:pt x="61752" y="155052"/>
                  </a:lnTo>
                  <a:lnTo>
                    <a:pt x="60340" y="168443"/>
                  </a:lnTo>
                  <a:lnTo>
                    <a:pt x="60693" y="181482"/>
                  </a:lnTo>
                  <a:lnTo>
                    <a:pt x="62810" y="193815"/>
                  </a:lnTo>
                  <a:lnTo>
                    <a:pt x="66692" y="206502"/>
                  </a:lnTo>
                  <a:lnTo>
                    <a:pt x="71279" y="218483"/>
                  </a:lnTo>
                  <a:lnTo>
                    <a:pt x="77630" y="229407"/>
                  </a:lnTo>
                  <a:lnTo>
                    <a:pt x="84688" y="239274"/>
                  </a:lnTo>
                  <a:lnTo>
                    <a:pt x="93509" y="248789"/>
                  </a:lnTo>
                  <a:lnTo>
                    <a:pt x="93464" y="248838"/>
                  </a:lnTo>
                  <a:lnTo>
                    <a:pt x="99760" y="254427"/>
                  </a:lnTo>
                  <a:lnTo>
                    <a:pt x="106111" y="259713"/>
                  </a:lnTo>
                  <a:lnTo>
                    <a:pt x="113169" y="264294"/>
                  </a:lnTo>
                  <a:lnTo>
                    <a:pt x="120932" y="268170"/>
                  </a:lnTo>
                  <a:lnTo>
                    <a:pt x="128695" y="272046"/>
                  </a:lnTo>
                  <a:lnTo>
                    <a:pt x="136811" y="274865"/>
                  </a:lnTo>
                  <a:lnTo>
                    <a:pt x="145279" y="277332"/>
                  </a:lnTo>
                  <a:lnTo>
                    <a:pt x="154101" y="278742"/>
                  </a:lnTo>
                  <a:lnTo>
                    <a:pt x="165746" y="280151"/>
                  </a:lnTo>
                  <a:lnTo>
                    <a:pt x="176684" y="279447"/>
                  </a:lnTo>
                  <a:lnTo>
                    <a:pt x="187270" y="278389"/>
                  </a:lnTo>
                  <a:lnTo>
                    <a:pt x="197856" y="276275"/>
                  </a:lnTo>
                  <a:lnTo>
                    <a:pt x="207737" y="273103"/>
                  </a:lnTo>
                  <a:lnTo>
                    <a:pt x="217617" y="269227"/>
                  </a:lnTo>
                  <a:lnTo>
                    <a:pt x="226791" y="264294"/>
                  </a:lnTo>
                  <a:lnTo>
                    <a:pt x="235966" y="257951"/>
                  </a:lnTo>
                  <a:lnTo>
                    <a:pt x="244082" y="251608"/>
                  </a:lnTo>
                  <a:lnTo>
                    <a:pt x="251492" y="244207"/>
                  </a:lnTo>
                  <a:lnTo>
                    <a:pt x="258196" y="236102"/>
                  </a:lnTo>
                  <a:lnTo>
                    <a:pt x="263842" y="227293"/>
                  </a:lnTo>
                  <a:lnTo>
                    <a:pt x="269135" y="217778"/>
                  </a:lnTo>
                  <a:lnTo>
                    <a:pt x="273370" y="208263"/>
                  </a:lnTo>
                  <a:lnTo>
                    <a:pt x="276546" y="197692"/>
                  </a:lnTo>
                  <a:lnTo>
                    <a:pt x="278663" y="186768"/>
                  </a:lnTo>
                  <a:lnTo>
                    <a:pt x="279721" y="171967"/>
                  </a:lnTo>
                  <a:lnTo>
                    <a:pt x="279016" y="157871"/>
                  </a:lnTo>
                  <a:lnTo>
                    <a:pt x="276546" y="144128"/>
                  </a:lnTo>
                  <a:lnTo>
                    <a:pt x="272311" y="131090"/>
                  </a:lnTo>
                  <a:lnTo>
                    <a:pt x="266312" y="118404"/>
                  </a:lnTo>
                  <a:lnTo>
                    <a:pt x="259608" y="106775"/>
                  </a:lnTo>
                  <a:lnTo>
                    <a:pt x="250433" y="96203"/>
                  </a:lnTo>
                  <a:lnTo>
                    <a:pt x="240906" y="86688"/>
                  </a:lnTo>
                  <a:lnTo>
                    <a:pt x="240944" y="86647"/>
                  </a:lnTo>
                  <a:lnTo>
                    <a:pt x="234656" y="82460"/>
                  </a:lnTo>
                  <a:lnTo>
                    <a:pt x="228657" y="78231"/>
                  </a:lnTo>
                  <a:lnTo>
                    <a:pt x="222305" y="74355"/>
                  </a:lnTo>
                  <a:lnTo>
                    <a:pt x="215601" y="71183"/>
                  </a:lnTo>
                  <a:lnTo>
                    <a:pt x="208897" y="68012"/>
                  </a:lnTo>
                  <a:lnTo>
                    <a:pt x="201486" y="65897"/>
                  </a:lnTo>
                  <a:lnTo>
                    <a:pt x="193723" y="63783"/>
                  </a:lnTo>
                  <a:lnTo>
                    <a:pt x="185960" y="62373"/>
                  </a:lnTo>
                  <a:lnTo>
                    <a:pt x="175021" y="61316"/>
                  </a:lnTo>
                  <a:close/>
                  <a:moveTo>
                    <a:pt x="185960" y="0"/>
                  </a:moveTo>
                  <a:lnTo>
                    <a:pt x="201486" y="2467"/>
                  </a:lnTo>
                  <a:lnTo>
                    <a:pt x="200781" y="42640"/>
                  </a:lnTo>
                  <a:lnTo>
                    <a:pt x="203956" y="43344"/>
                  </a:lnTo>
                  <a:lnTo>
                    <a:pt x="207132" y="44401"/>
                  </a:lnTo>
                  <a:lnTo>
                    <a:pt x="209955" y="45106"/>
                  </a:lnTo>
                  <a:lnTo>
                    <a:pt x="213131" y="46163"/>
                  </a:lnTo>
                  <a:lnTo>
                    <a:pt x="215954" y="47573"/>
                  </a:lnTo>
                  <a:lnTo>
                    <a:pt x="218777" y="48630"/>
                  </a:lnTo>
                  <a:lnTo>
                    <a:pt x="221600" y="50040"/>
                  </a:lnTo>
                  <a:lnTo>
                    <a:pt x="224776" y="51097"/>
                  </a:lnTo>
                  <a:lnTo>
                    <a:pt x="249476" y="19382"/>
                  </a:lnTo>
                  <a:lnTo>
                    <a:pt x="262885" y="27487"/>
                  </a:lnTo>
                  <a:lnTo>
                    <a:pt x="246653" y="64135"/>
                  </a:lnTo>
                  <a:lnTo>
                    <a:pt x="249123" y="65897"/>
                  </a:lnTo>
                  <a:lnTo>
                    <a:pt x="250888" y="67307"/>
                  </a:lnTo>
                  <a:lnTo>
                    <a:pt x="253005" y="69421"/>
                  </a:lnTo>
                  <a:lnTo>
                    <a:pt x="255122" y="71183"/>
                  </a:lnTo>
                  <a:lnTo>
                    <a:pt x="255081" y="71228"/>
                  </a:lnTo>
                  <a:lnTo>
                    <a:pt x="257844" y="73297"/>
                  </a:lnTo>
                  <a:lnTo>
                    <a:pt x="260314" y="75764"/>
                  </a:lnTo>
                  <a:lnTo>
                    <a:pt x="263137" y="78231"/>
                  </a:lnTo>
                  <a:lnTo>
                    <a:pt x="265607" y="81050"/>
                  </a:lnTo>
                  <a:lnTo>
                    <a:pt x="300540" y="61316"/>
                  </a:lnTo>
                  <a:lnTo>
                    <a:pt x="309715" y="74002"/>
                  </a:lnTo>
                  <a:lnTo>
                    <a:pt x="281133" y="101841"/>
                  </a:lnTo>
                  <a:lnTo>
                    <a:pt x="284309" y="107479"/>
                  </a:lnTo>
                  <a:lnTo>
                    <a:pt x="287131" y="113118"/>
                  </a:lnTo>
                  <a:lnTo>
                    <a:pt x="289602" y="118756"/>
                  </a:lnTo>
                  <a:lnTo>
                    <a:pt x="292072" y="125099"/>
                  </a:lnTo>
                  <a:lnTo>
                    <a:pt x="331945" y="119813"/>
                  </a:lnTo>
                  <a:lnTo>
                    <a:pt x="335474" y="134966"/>
                  </a:lnTo>
                  <a:lnTo>
                    <a:pt x="298070" y="149766"/>
                  </a:lnTo>
                  <a:lnTo>
                    <a:pt x="298776" y="155757"/>
                  </a:lnTo>
                  <a:lnTo>
                    <a:pt x="299129" y="162453"/>
                  </a:lnTo>
                  <a:lnTo>
                    <a:pt x="299129" y="168443"/>
                  </a:lnTo>
                  <a:lnTo>
                    <a:pt x="299129" y="174786"/>
                  </a:lnTo>
                  <a:lnTo>
                    <a:pt x="338297" y="185710"/>
                  </a:lnTo>
                  <a:lnTo>
                    <a:pt x="335827" y="201216"/>
                  </a:lnTo>
                  <a:lnTo>
                    <a:pt x="295600" y="200511"/>
                  </a:lnTo>
                  <a:lnTo>
                    <a:pt x="293836" y="206501"/>
                  </a:lnTo>
                  <a:lnTo>
                    <a:pt x="292072" y="212492"/>
                  </a:lnTo>
                  <a:lnTo>
                    <a:pt x="289602" y="218835"/>
                  </a:lnTo>
                  <a:lnTo>
                    <a:pt x="287131" y="224473"/>
                  </a:lnTo>
                  <a:lnTo>
                    <a:pt x="318889" y="249141"/>
                  </a:lnTo>
                  <a:lnTo>
                    <a:pt x="311126" y="262532"/>
                  </a:lnTo>
                  <a:lnTo>
                    <a:pt x="273723" y="246322"/>
                  </a:lnTo>
                  <a:lnTo>
                    <a:pt x="271605" y="248788"/>
                  </a:lnTo>
                  <a:lnTo>
                    <a:pt x="270194" y="251255"/>
                  </a:lnTo>
                  <a:lnTo>
                    <a:pt x="268077" y="253722"/>
                  </a:lnTo>
                  <a:lnTo>
                    <a:pt x="265960" y="256189"/>
                  </a:lnTo>
                  <a:lnTo>
                    <a:pt x="263489" y="258655"/>
                  </a:lnTo>
                  <a:lnTo>
                    <a:pt x="261372" y="260417"/>
                  </a:lnTo>
                  <a:lnTo>
                    <a:pt x="258902" y="262884"/>
                  </a:lnTo>
                  <a:lnTo>
                    <a:pt x="256785" y="264998"/>
                  </a:lnTo>
                  <a:lnTo>
                    <a:pt x="276898" y="299885"/>
                  </a:lnTo>
                  <a:lnTo>
                    <a:pt x="264195" y="309400"/>
                  </a:lnTo>
                  <a:lnTo>
                    <a:pt x="235966" y="280151"/>
                  </a:lnTo>
                  <a:lnTo>
                    <a:pt x="233496" y="281561"/>
                  </a:lnTo>
                  <a:lnTo>
                    <a:pt x="230673" y="282970"/>
                  </a:lnTo>
                  <a:lnTo>
                    <a:pt x="227850" y="284380"/>
                  </a:lnTo>
                  <a:lnTo>
                    <a:pt x="225027" y="285790"/>
                  </a:lnTo>
                  <a:lnTo>
                    <a:pt x="222204" y="286847"/>
                  </a:lnTo>
                  <a:lnTo>
                    <a:pt x="219381" y="288256"/>
                  </a:lnTo>
                  <a:lnTo>
                    <a:pt x="215853" y="289313"/>
                  </a:lnTo>
                  <a:lnTo>
                    <a:pt x="213030" y="290723"/>
                  </a:lnTo>
                  <a:lnTo>
                    <a:pt x="218323" y="331248"/>
                  </a:lnTo>
                  <a:lnTo>
                    <a:pt x="202797" y="334772"/>
                  </a:lnTo>
                  <a:lnTo>
                    <a:pt x="188329" y="297066"/>
                  </a:lnTo>
                  <a:lnTo>
                    <a:pt x="185153" y="297418"/>
                  </a:lnTo>
                  <a:lnTo>
                    <a:pt x="182330" y="297771"/>
                  </a:lnTo>
                  <a:lnTo>
                    <a:pt x="179155" y="298123"/>
                  </a:lnTo>
                  <a:lnTo>
                    <a:pt x="175626" y="298123"/>
                  </a:lnTo>
                  <a:lnTo>
                    <a:pt x="172803" y="298123"/>
                  </a:lnTo>
                  <a:lnTo>
                    <a:pt x="169627" y="298123"/>
                  </a:lnTo>
                  <a:lnTo>
                    <a:pt x="166451" y="298123"/>
                  </a:lnTo>
                  <a:lnTo>
                    <a:pt x="163276" y="298123"/>
                  </a:lnTo>
                  <a:lnTo>
                    <a:pt x="152337" y="337591"/>
                  </a:lnTo>
                  <a:lnTo>
                    <a:pt x="136811" y="335124"/>
                  </a:lnTo>
                  <a:lnTo>
                    <a:pt x="137516" y="294599"/>
                  </a:lnTo>
                  <a:lnTo>
                    <a:pt x="134693" y="293895"/>
                  </a:lnTo>
                  <a:lnTo>
                    <a:pt x="131518" y="292837"/>
                  </a:lnTo>
                  <a:lnTo>
                    <a:pt x="128695" y="292133"/>
                  </a:lnTo>
                  <a:lnTo>
                    <a:pt x="125519" y="291075"/>
                  </a:lnTo>
                  <a:lnTo>
                    <a:pt x="122343" y="289666"/>
                  </a:lnTo>
                  <a:lnTo>
                    <a:pt x="119520" y="288609"/>
                  </a:lnTo>
                  <a:lnTo>
                    <a:pt x="116697" y="287199"/>
                  </a:lnTo>
                  <a:lnTo>
                    <a:pt x="113874" y="286142"/>
                  </a:lnTo>
                  <a:lnTo>
                    <a:pt x="88821" y="318210"/>
                  </a:lnTo>
                  <a:lnTo>
                    <a:pt x="75412" y="310457"/>
                  </a:lnTo>
                  <a:lnTo>
                    <a:pt x="91644" y="273103"/>
                  </a:lnTo>
                  <a:lnTo>
                    <a:pt x="88821" y="270989"/>
                  </a:lnTo>
                  <a:lnTo>
                    <a:pt x="85998" y="268522"/>
                  </a:lnTo>
                  <a:lnTo>
                    <a:pt x="83175" y="266056"/>
                  </a:lnTo>
                  <a:lnTo>
                    <a:pt x="80352" y="263237"/>
                  </a:lnTo>
                  <a:lnTo>
                    <a:pt x="80394" y="263190"/>
                  </a:lnTo>
                  <a:lnTo>
                    <a:pt x="78689" y="261827"/>
                  </a:lnTo>
                  <a:lnTo>
                    <a:pt x="76572" y="260065"/>
                  </a:lnTo>
                  <a:lnTo>
                    <a:pt x="75160" y="257951"/>
                  </a:lnTo>
                  <a:lnTo>
                    <a:pt x="73043" y="256541"/>
                  </a:lnTo>
                  <a:lnTo>
                    <a:pt x="37757" y="276275"/>
                  </a:lnTo>
                  <a:lnTo>
                    <a:pt x="28229" y="264294"/>
                  </a:lnTo>
                  <a:lnTo>
                    <a:pt x="57517" y="235750"/>
                  </a:lnTo>
                  <a:lnTo>
                    <a:pt x="54694" y="230464"/>
                  </a:lnTo>
                  <a:lnTo>
                    <a:pt x="51871" y="224826"/>
                  </a:lnTo>
                  <a:lnTo>
                    <a:pt x="49401" y="219188"/>
                  </a:lnTo>
                  <a:lnTo>
                    <a:pt x="46931" y="213197"/>
                  </a:lnTo>
                  <a:lnTo>
                    <a:pt x="6352" y="218483"/>
                  </a:lnTo>
                  <a:lnTo>
                    <a:pt x="2823" y="202978"/>
                  </a:lnTo>
                  <a:lnTo>
                    <a:pt x="40580" y="188177"/>
                  </a:lnTo>
                  <a:lnTo>
                    <a:pt x="39874" y="182187"/>
                  </a:lnTo>
                  <a:lnTo>
                    <a:pt x="39168" y="175844"/>
                  </a:lnTo>
                  <a:lnTo>
                    <a:pt x="39168" y="169500"/>
                  </a:lnTo>
                  <a:lnTo>
                    <a:pt x="39168" y="163157"/>
                  </a:lnTo>
                  <a:lnTo>
                    <a:pt x="0" y="152233"/>
                  </a:lnTo>
                  <a:lnTo>
                    <a:pt x="2470" y="136728"/>
                  </a:lnTo>
                  <a:lnTo>
                    <a:pt x="43050" y="137433"/>
                  </a:lnTo>
                  <a:lnTo>
                    <a:pt x="44461" y="131442"/>
                  </a:lnTo>
                  <a:lnTo>
                    <a:pt x="46578" y="125452"/>
                  </a:lnTo>
                  <a:lnTo>
                    <a:pt x="48695" y="119461"/>
                  </a:lnTo>
                  <a:lnTo>
                    <a:pt x="51166" y="113470"/>
                  </a:lnTo>
                  <a:lnTo>
                    <a:pt x="19408" y="88803"/>
                  </a:lnTo>
                  <a:lnTo>
                    <a:pt x="27171" y="75412"/>
                  </a:lnTo>
                  <a:lnTo>
                    <a:pt x="64222" y="91622"/>
                  </a:lnTo>
                  <a:lnTo>
                    <a:pt x="65986" y="89155"/>
                  </a:lnTo>
                  <a:lnTo>
                    <a:pt x="68103" y="86336"/>
                  </a:lnTo>
                  <a:lnTo>
                    <a:pt x="70220" y="83869"/>
                  </a:lnTo>
                  <a:lnTo>
                    <a:pt x="72337" y="81403"/>
                  </a:lnTo>
                  <a:lnTo>
                    <a:pt x="74808" y="79641"/>
                  </a:lnTo>
                  <a:lnTo>
                    <a:pt x="76572" y="77174"/>
                  </a:lnTo>
                  <a:lnTo>
                    <a:pt x="78689" y="74707"/>
                  </a:lnTo>
                  <a:lnTo>
                    <a:pt x="81159" y="72593"/>
                  </a:lnTo>
                  <a:lnTo>
                    <a:pt x="61399" y="37706"/>
                  </a:lnTo>
                  <a:lnTo>
                    <a:pt x="73749" y="28544"/>
                  </a:lnTo>
                  <a:lnTo>
                    <a:pt x="101978" y="57088"/>
                  </a:lnTo>
                  <a:lnTo>
                    <a:pt x="104801" y="55678"/>
                  </a:lnTo>
                  <a:lnTo>
                    <a:pt x="107624" y="54268"/>
                  </a:lnTo>
                  <a:lnTo>
                    <a:pt x="110447" y="52859"/>
                  </a:lnTo>
                  <a:lnTo>
                    <a:pt x="113270" y="51097"/>
                  </a:lnTo>
                  <a:lnTo>
                    <a:pt x="116093" y="50040"/>
                  </a:lnTo>
                  <a:lnTo>
                    <a:pt x="118916" y="48630"/>
                  </a:lnTo>
                  <a:lnTo>
                    <a:pt x="122092" y="47573"/>
                  </a:lnTo>
                  <a:lnTo>
                    <a:pt x="124914" y="46163"/>
                  </a:lnTo>
                  <a:lnTo>
                    <a:pt x="119622" y="6343"/>
                  </a:lnTo>
                  <a:lnTo>
                    <a:pt x="135148" y="2819"/>
                  </a:lnTo>
                  <a:lnTo>
                    <a:pt x="149968" y="40173"/>
                  </a:lnTo>
                  <a:lnTo>
                    <a:pt x="153144" y="39820"/>
                  </a:lnTo>
                  <a:lnTo>
                    <a:pt x="155967" y="39468"/>
                  </a:lnTo>
                  <a:lnTo>
                    <a:pt x="159142" y="39116"/>
                  </a:lnTo>
                  <a:lnTo>
                    <a:pt x="162318" y="38411"/>
                  </a:lnTo>
                  <a:lnTo>
                    <a:pt x="165847" y="38411"/>
                  </a:lnTo>
                  <a:lnTo>
                    <a:pt x="169023" y="38411"/>
                  </a:lnTo>
                  <a:lnTo>
                    <a:pt x="172198" y="38411"/>
                  </a:lnTo>
                  <a:lnTo>
                    <a:pt x="175374" y="38411"/>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2" name="Freeform 15"/>
            <p:cNvSpPr>
              <a:spLocks/>
            </p:cNvSpPr>
            <p:nvPr/>
          </p:nvSpPr>
          <p:spPr bwMode="auto">
            <a:xfrm>
              <a:off x="6872947" y="2538790"/>
              <a:ext cx="196066" cy="193667"/>
            </a:xfrm>
            <a:custGeom>
              <a:avLst/>
              <a:gdLst/>
              <a:ahLst/>
              <a:cxnLst/>
              <a:rect l="l" t="t" r="r" b="b"/>
              <a:pathLst>
                <a:path w="403136" h="398203">
                  <a:moveTo>
                    <a:pt x="201831" y="59258"/>
                  </a:moveTo>
                  <a:lnTo>
                    <a:pt x="187364" y="59963"/>
                  </a:lnTo>
                  <a:lnTo>
                    <a:pt x="173250" y="62080"/>
                  </a:lnTo>
                  <a:lnTo>
                    <a:pt x="159136" y="65960"/>
                  </a:lnTo>
                  <a:lnTo>
                    <a:pt x="146434" y="70545"/>
                  </a:lnTo>
                  <a:lnTo>
                    <a:pt x="133731" y="76894"/>
                  </a:lnTo>
                  <a:lnTo>
                    <a:pt x="122087" y="83596"/>
                  </a:lnTo>
                  <a:lnTo>
                    <a:pt x="110443" y="92061"/>
                  </a:lnTo>
                  <a:lnTo>
                    <a:pt x="100210" y="101232"/>
                  </a:lnTo>
                  <a:lnTo>
                    <a:pt x="91389" y="111461"/>
                  </a:lnTo>
                  <a:lnTo>
                    <a:pt x="82920" y="122395"/>
                  </a:lnTo>
                  <a:lnTo>
                    <a:pt x="75863" y="134035"/>
                  </a:lnTo>
                  <a:lnTo>
                    <a:pt x="69865" y="146733"/>
                  </a:lnTo>
                  <a:lnTo>
                    <a:pt x="64925" y="159784"/>
                  </a:lnTo>
                  <a:lnTo>
                    <a:pt x="61396" y="173540"/>
                  </a:lnTo>
                  <a:lnTo>
                    <a:pt x="59279" y="187649"/>
                  </a:lnTo>
                  <a:lnTo>
                    <a:pt x="58574" y="202464"/>
                  </a:lnTo>
                  <a:lnTo>
                    <a:pt x="58926" y="213398"/>
                  </a:lnTo>
                  <a:lnTo>
                    <a:pt x="59985" y="223980"/>
                  </a:lnTo>
                  <a:lnTo>
                    <a:pt x="62102" y="234209"/>
                  </a:lnTo>
                  <a:lnTo>
                    <a:pt x="64925" y="244438"/>
                  </a:lnTo>
                  <a:lnTo>
                    <a:pt x="68101" y="254667"/>
                  </a:lnTo>
                  <a:lnTo>
                    <a:pt x="72688" y="264191"/>
                  </a:lnTo>
                  <a:lnTo>
                    <a:pt x="77628" y="273361"/>
                  </a:lnTo>
                  <a:lnTo>
                    <a:pt x="82920" y="281827"/>
                  </a:lnTo>
                  <a:lnTo>
                    <a:pt x="88919" y="290292"/>
                  </a:lnTo>
                  <a:lnTo>
                    <a:pt x="95976" y="298052"/>
                  </a:lnTo>
                  <a:lnTo>
                    <a:pt x="102680" y="305812"/>
                  </a:lnTo>
                  <a:lnTo>
                    <a:pt x="110443" y="312514"/>
                  </a:lnTo>
                  <a:lnTo>
                    <a:pt x="118558" y="318863"/>
                  </a:lnTo>
                  <a:lnTo>
                    <a:pt x="127732" y="324506"/>
                  </a:lnTo>
                  <a:lnTo>
                    <a:pt x="136554" y="329445"/>
                  </a:lnTo>
                  <a:lnTo>
                    <a:pt x="145728" y="334030"/>
                  </a:lnTo>
                  <a:lnTo>
                    <a:pt x="145687" y="334128"/>
                  </a:lnTo>
                  <a:lnTo>
                    <a:pt x="152210" y="336534"/>
                  </a:lnTo>
                  <a:lnTo>
                    <a:pt x="158544" y="338649"/>
                  </a:lnTo>
                  <a:lnTo>
                    <a:pt x="165583" y="340763"/>
                  </a:lnTo>
                  <a:lnTo>
                    <a:pt x="172270" y="342525"/>
                  </a:lnTo>
                  <a:lnTo>
                    <a:pt x="179660" y="343582"/>
                  </a:lnTo>
                  <a:lnTo>
                    <a:pt x="187051" y="344640"/>
                  </a:lnTo>
                  <a:lnTo>
                    <a:pt x="194441" y="345344"/>
                  </a:lnTo>
                  <a:lnTo>
                    <a:pt x="201480" y="345344"/>
                  </a:lnTo>
                  <a:lnTo>
                    <a:pt x="216261" y="344640"/>
                  </a:lnTo>
                  <a:lnTo>
                    <a:pt x="230338" y="342525"/>
                  </a:lnTo>
                  <a:lnTo>
                    <a:pt x="244064" y="338649"/>
                  </a:lnTo>
                  <a:lnTo>
                    <a:pt x="257085" y="334068"/>
                  </a:lnTo>
                  <a:lnTo>
                    <a:pt x="269754" y="327725"/>
                  </a:lnTo>
                  <a:lnTo>
                    <a:pt x="281368" y="321029"/>
                  </a:lnTo>
                  <a:lnTo>
                    <a:pt x="292278" y="312572"/>
                  </a:lnTo>
                  <a:lnTo>
                    <a:pt x="302484" y="303410"/>
                  </a:lnTo>
                  <a:lnTo>
                    <a:pt x="311282" y="293190"/>
                  </a:lnTo>
                  <a:lnTo>
                    <a:pt x="320080" y="282266"/>
                  </a:lnTo>
                  <a:lnTo>
                    <a:pt x="326767" y="270637"/>
                  </a:lnTo>
                  <a:lnTo>
                    <a:pt x="333102" y="257951"/>
                  </a:lnTo>
                  <a:lnTo>
                    <a:pt x="337677" y="244912"/>
                  </a:lnTo>
                  <a:lnTo>
                    <a:pt x="341548" y="231169"/>
                  </a:lnTo>
                  <a:lnTo>
                    <a:pt x="343308" y="217073"/>
                  </a:lnTo>
                  <a:lnTo>
                    <a:pt x="344364" y="202625"/>
                  </a:lnTo>
                  <a:lnTo>
                    <a:pt x="344012" y="191349"/>
                  </a:lnTo>
                  <a:lnTo>
                    <a:pt x="342604" y="180425"/>
                  </a:lnTo>
                  <a:lnTo>
                    <a:pt x="340492" y="169853"/>
                  </a:lnTo>
                  <a:lnTo>
                    <a:pt x="337677" y="159986"/>
                  </a:lnTo>
                  <a:lnTo>
                    <a:pt x="334510" y="150119"/>
                  </a:lnTo>
                  <a:lnTo>
                    <a:pt x="329934" y="140252"/>
                  </a:lnTo>
                  <a:lnTo>
                    <a:pt x="325711" y="131442"/>
                  </a:lnTo>
                  <a:lnTo>
                    <a:pt x="320080" y="122632"/>
                  </a:lnTo>
                  <a:lnTo>
                    <a:pt x="313746" y="114527"/>
                  </a:lnTo>
                  <a:lnTo>
                    <a:pt x="307411" y="106422"/>
                  </a:lnTo>
                  <a:lnTo>
                    <a:pt x="300020" y="99022"/>
                  </a:lnTo>
                  <a:lnTo>
                    <a:pt x="292278" y="91974"/>
                  </a:lnTo>
                  <a:lnTo>
                    <a:pt x="284183" y="85983"/>
                  </a:lnTo>
                  <a:lnTo>
                    <a:pt x="275737" y="80345"/>
                  </a:lnTo>
                  <a:lnTo>
                    <a:pt x="266587" y="75412"/>
                  </a:lnTo>
                  <a:lnTo>
                    <a:pt x="257085" y="70831"/>
                  </a:lnTo>
                  <a:lnTo>
                    <a:pt x="257261" y="70421"/>
                  </a:lnTo>
                  <a:lnTo>
                    <a:pt x="251230" y="68076"/>
                  </a:lnTo>
                  <a:lnTo>
                    <a:pt x="244526" y="65960"/>
                  </a:lnTo>
                  <a:lnTo>
                    <a:pt x="237822" y="63843"/>
                  </a:lnTo>
                  <a:lnTo>
                    <a:pt x="230765" y="62080"/>
                  </a:lnTo>
                  <a:lnTo>
                    <a:pt x="223355" y="61021"/>
                  </a:lnTo>
                  <a:lnTo>
                    <a:pt x="216651" y="59963"/>
                  </a:lnTo>
                  <a:lnTo>
                    <a:pt x="209241" y="59258"/>
                  </a:lnTo>
                  <a:close/>
                  <a:moveTo>
                    <a:pt x="172545" y="0"/>
                  </a:moveTo>
                  <a:lnTo>
                    <a:pt x="185247" y="26807"/>
                  </a:lnTo>
                  <a:lnTo>
                    <a:pt x="189834" y="26454"/>
                  </a:lnTo>
                  <a:lnTo>
                    <a:pt x="194069" y="26102"/>
                  </a:lnTo>
                  <a:lnTo>
                    <a:pt x="198303" y="26102"/>
                  </a:lnTo>
                  <a:lnTo>
                    <a:pt x="202890" y="26102"/>
                  </a:lnTo>
                  <a:lnTo>
                    <a:pt x="206771" y="26102"/>
                  </a:lnTo>
                  <a:lnTo>
                    <a:pt x="211358" y="26454"/>
                  </a:lnTo>
                  <a:lnTo>
                    <a:pt x="215240" y="26454"/>
                  </a:lnTo>
                  <a:lnTo>
                    <a:pt x="219827" y="26807"/>
                  </a:lnTo>
                  <a:lnTo>
                    <a:pt x="232882" y="1058"/>
                  </a:lnTo>
                  <a:lnTo>
                    <a:pt x="253700" y="5291"/>
                  </a:lnTo>
                  <a:lnTo>
                    <a:pt x="253700" y="33862"/>
                  </a:lnTo>
                  <a:lnTo>
                    <a:pt x="255465" y="34567"/>
                  </a:lnTo>
                  <a:lnTo>
                    <a:pt x="257934" y="35273"/>
                  </a:lnTo>
                  <a:lnTo>
                    <a:pt x="260051" y="35978"/>
                  </a:lnTo>
                  <a:lnTo>
                    <a:pt x="262169" y="37036"/>
                  </a:lnTo>
                  <a:lnTo>
                    <a:pt x="264286" y="37742"/>
                  </a:lnTo>
                  <a:lnTo>
                    <a:pt x="266403" y="38447"/>
                  </a:lnTo>
                  <a:lnTo>
                    <a:pt x="268520" y="39505"/>
                  </a:lnTo>
                  <a:lnTo>
                    <a:pt x="270637" y="40211"/>
                  </a:lnTo>
                  <a:lnTo>
                    <a:pt x="270452" y="40640"/>
                  </a:lnTo>
                  <a:lnTo>
                    <a:pt x="272218" y="41230"/>
                  </a:lnTo>
                  <a:lnTo>
                    <a:pt x="273625" y="42287"/>
                  </a:lnTo>
                  <a:lnTo>
                    <a:pt x="275737" y="42992"/>
                  </a:lnTo>
                  <a:lnTo>
                    <a:pt x="277497" y="43696"/>
                  </a:lnTo>
                  <a:lnTo>
                    <a:pt x="279608" y="44754"/>
                  </a:lnTo>
                  <a:lnTo>
                    <a:pt x="281016" y="45811"/>
                  </a:lnTo>
                  <a:lnTo>
                    <a:pt x="283128" y="46516"/>
                  </a:lnTo>
                  <a:lnTo>
                    <a:pt x="284535" y="47573"/>
                  </a:lnTo>
                  <a:lnTo>
                    <a:pt x="305651" y="28191"/>
                  </a:lnTo>
                  <a:lnTo>
                    <a:pt x="323248" y="39820"/>
                  </a:lnTo>
                  <a:lnTo>
                    <a:pt x="313042" y="66954"/>
                  </a:lnTo>
                  <a:lnTo>
                    <a:pt x="316209" y="69773"/>
                  </a:lnTo>
                  <a:lnTo>
                    <a:pt x="319728" y="72593"/>
                  </a:lnTo>
                  <a:lnTo>
                    <a:pt x="322544" y="75412"/>
                  </a:lnTo>
                  <a:lnTo>
                    <a:pt x="325711" y="78231"/>
                  </a:lnTo>
                  <a:lnTo>
                    <a:pt x="328527" y="81402"/>
                  </a:lnTo>
                  <a:lnTo>
                    <a:pt x="331342" y="84926"/>
                  </a:lnTo>
                  <a:lnTo>
                    <a:pt x="334158" y="88098"/>
                  </a:lnTo>
                  <a:lnTo>
                    <a:pt x="336973" y="91269"/>
                  </a:lnTo>
                  <a:lnTo>
                    <a:pt x="364072" y="81050"/>
                  </a:lnTo>
                  <a:lnTo>
                    <a:pt x="375333" y="98670"/>
                  </a:lnTo>
                  <a:lnTo>
                    <a:pt x="355977" y="120166"/>
                  </a:lnTo>
                  <a:lnTo>
                    <a:pt x="357737" y="123689"/>
                  </a:lnTo>
                  <a:lnTo>
                    <a:pt x="359849" y="127918"/>
                  </a:lnTo>
                  <a:lnTo>
                    <a:pt x="361256" y="131794"/>
                  </a:lnTo>
                  <a:lnTo>
                    <a:pt x="363016" y="135318"/>
                  </a:lnTo>
                  <a:lnTo>
                    <a:pt x="364424" y="139547"/>
                  </a:lnTo>
                  <a:lnTo>
                    <a:pt x="365831" y="143776"/>
                  </a:lnTo>
                  <a:lnTo>
                    <a:pt x="367239" y="147652"/>
                  </a:lnTo>
                  <a:lnTo>
                    <a:pt x="368647" y="151881"/>
                  </a:lnTo>
                  <a:lnTo>
                    <a:pt x="398913" y="152233"/>
                  </a:lnTo>
                  <a:lnTo>
                    <a:pt x="403136" y="172672"/>
                  </a:lnTo>
                  <a:lnTo>
                    <a:pt x="374630" y="185358"/>
                  </a:lnTo>
                  <a:lnTo>
                    <a:pt x="375333" y="194168"/>
                  </a:lnTo>
                  <a:lnTo>
                    <a:pt x="375333" y="202978"/>
                  </a:lnTo>
                  <a:lnTo>
                    <a:pt x="374982" y="211435"/>
                  </a:lnTo>
                  <a:lnTo>
                    <a:pt x="374278" y="219540"/>
                  </a:lnTo>
                  <a:lnTo>
                    <a:pt x="400321" y="231169"/>
                  </a:lnTo>
                  <a:lnTo>
                    <a:pt x="396097" y="251608"/>
                  </a:lnTo>
                  <a:lnTo>
                    <a:pt x="367943" y="253017"/>
                  </a:lnTo>
                  <a:lnTo>
                    <a:pt x="366535" y="257246"/>
                  </a:lnTo>
                  <a:lnTo>
                    <a:pt x="365127" y="260770"/>
                  </a:lnTo>
                  <a:lnTo>
                    <a:pt x="363720" y="264999"/>
                  </a:lnTo>
                  <a:lnTo>
                    <a:pt x="361960" y="268875"/>
                  </a:lnTo>
                  <a:lnTo>
                    <a:pt x="360552" y="273104"/>
                  </a:lnTo>
                  <a:lnTo>
                    <a:pt x="358441" y="276628"/>
                  </a:lnTo>
                  <a:lnTo>
                    <a:pt x="356681" y="280856"/>
                  </a:lnTo>
                  <a:lnTo>
                    <a:pt x="354921" y="284380"/>
                  </a:lnTo>
                  <a:lnTo>
                    <a:pt x="372166" y="304819"/>
                  </a:lnTo>
                  <a:lnTo>
                    <a:pt x="360904" y="322086"/>
                  </a:lnTo>
                  <a:lnTo>
                    <a:pt x="335213" y="312924"/>
                  </a:lnTo>
                  <a:lnTo>
                    <a:pt x="332398" y="316096"/>
                  </a:lnTo>
                  <a:lnTo>
                    <a:pt x="329582" y="319267"/>
                  </a:lnTo>
                  <a:lnTo>
                    <a:pt x="326767" y="322086"/>
                  </a:lnTo>
                  <a:lnTo>
                    <a:pt x="323952" y="325258"/>
                  </a:lnTo>
                  <a:lnTo>
                    <a:pt x="320784" y="328429"/>
                  </a:lnTo>
                  <a:lnTo>
                    <a:pt x="317617" y="331249"/>
                  </a:lnTo>
                  <a:lnTo>
                    <a:pt x="314449" y="334068"/>
                  </a:lnTo>
                  <a:lnTo>
                    <a:pt x="310930" y="336887"/>
                  </a:lnTo>
                  <a:lnTo>
                    <a:pt x="321136" y="364373"/>
                  </a:lnTo>
                  <a:lnTo>
                    <a:pt x="303892" y="375650"/>
                  </a:lnTo>
                  <a:lnTo>
                    <a:pt x="282424" y="355564"/>
                  </a:lnTo>
                  <a:lnTo>
                    <a:pt x="278553" y="357326"/>
                  </a:lnTo>
                  <a:lnTo>
                    <a:pt x="275033" y="359088"/>
                  </a:lnTo>
                  <a:lnTo>
                    <a:pt x="270810" y="361202"/>
                  </a:lnTo>
                  <a:lnTo>
                    <a:pt x="267291" y="362612"/>
                  </a:lnTo>
                  <a:lnTo>
                    <a:pt x="263068" y="364373"/>
                  </a:lnTo>
                  <a:lnTo>
                    <a:pt x="259196" y="365431"/>
                  </a:lnTo>
                  <a:lnTo>
                    <a:pt x="254973" y="367193"/>
                  </a:lnTo>
                  <a:lnTo>
                    <a:pt x="251102" y="368602"/>
                  </a:lnTo>
                  <a:lnTo>
                    <a:pt x="247935" y="393270"/>
                  </a:lnTo>
                  <a:lnTo>
                    <a:pt x="227523" y="397146"/>
                  </a:lnTo>
                  <a:lnTo>
                    <a:pt x="216965" y="374945"/>
                  </a:lnTo>
                  <a:lnTo>
                    <a:pt x="213094" y="375298"/>
                  </a:lnTo>
                  <a:lnTo>
                    <a:pt x="208519" y="375650"/>
                  </a:lnTo>
                  <a:lnTo>
                    <a:pt x="204295" y="375650"/>
                  </a:lnTo>
                  <a:lnTo>
                    <a:pt x="200424" y="375650"/>
                  </a:lnTo>
                  <a:lnTo>
                    <a:pt x="195849" y="375650"/>
                  </a:lnTo>
                  <a:lnTo>
                    <a:pt x="191978" y="375298"/>
                  </a:lnTo>
                  <a:lnTo>
                    <a:pt x="187403" y="375298"/>
                  </a:lnTo>
                  <a:lnTo>
                    <a:pt x="183531" y="374945"/>
                  </a:lnTo>
                  <a:lnTo>
                    <a:pt x="171214" y="398203"/>
                  </a:lnTo>
                  <a:lnTo>
                    <a:pt x="150802" y="393974"/>
                  </a:lnTo>
                  <a:lnTo>
                    <a:pt x="149746" y="367897"/>
                  </a:lnTo>
                  <a:lnTo>
                    <a:pt x="147635" y="367193"/>
                  </a:lnTo>
                  <a:lnTo>
                    <a:pt x="145523" y="366488"/>
                  </a:lnTo>
                  <a:lnTo>
                    <a:pt x="143763" y="366135"/>
                  </a:lnTo>
                  <a:lnTo>
                    <a:pt x="142004" y="365078"/>
                  </a:lnTo>
                  <a:lnTo>
                    <a:pt x="139892" y="364373"/>
                  </a:lnTo>
                  <a:lnTo>
                    <a:pt x="138132" y="363669"/>
                  </a:lnTo>
                  <a:lnTo>
                    <a:pt x="136021" y="362612"/>
                  </a:lnTo>
                  <a:lnTo>
                    <a:pt x="133909" y="361907"/>
                  </a:lnTo>
                  <a:lnTo>
                    <a:pt x="133935" y="361845"/>
                  </a:lnTo>
                  <a:lnTo>
                    <a:pt x="131967" y="361190"/>
                  </a:lnTo>
                  <a:lnTo>
                    <a:pt x="130202" y="360132"/>
                  </a:lnTo>
                  <a:lnTo>
                    <a:pt x="128085" y="359426"/>
                  </a:lnTo>
                  <a:lnTo>
                    <a:pt x="126321" y="358721"/>
                  </a:lnTo>
                  <a:lnTo>
                    <a:pt x="124204" y="357310"/>
                  </a:lnTo>
                  <a:lnTo>
                    <a:pt x="122440" y="356604"/>
                  </a:lnTo>
                  <a:lnTo>
                    <a:pt x="120675" y="355899"/>
                  </a:lnTo>
                  <a:lnTo>
                    <a:pt x="118558" y="354488"/>
                  </a:lnTo>
                  <a:lnTo>
                    <a:pt x="96682" y="373535"/>
                  </a:lnTo>
                  <a:lnTo>
                    <a:pt x="79745" y="361895"/>
                  </a:lnTo>
                  <a:lnTo>
                    <a:pt x="89977" y="335441"/>
                  </a:lnTo>
                  <a:lnTo>
                    <a:pt x="86449" y="332619"/>
                  </a:lnTo>
                  <a:lnTo>
                    <a:pt x="83273" y="329797"/>
                  </a:lnTo>
                  <a:lnTo>
                    <a:pt x="80450" y="326976"/>
                  </a:lnTo>
                  <a:lnTo>
                    <a:pt x="77275" y="324154"/>
                  </a:lnTo>
                  <a:lnTo>
                    <a:pt x="74452" y="320979"/>
                  </a:lnTo>
                  <a:lnTo>
                    <a:pt x="71629" y="318157"/>
                  </a:lnTo>
                  <a:lnTo>
                    <a:pt x="68806" y="314983"/>
                  </a:lnTo>
                  <a:lnTo>
                    <a:pt x="65983" y="311456"/>
                  </a:lnTo>
                  <a:lnTo>
                    <a:pt x="39520" y="320627"/>
                  </a:lnTo>
                  <a:lnTo>
                    <a:pt x="27876" y="302990"/>
                  </a:lnTo>
                  <a:lnTo>
                    <a:pt x="46577" y="282885"/>
                  </a:lnTo>
                  <a:lnTo>
                    <a:pt x="44812" y="279005"/>
                  </a:lnTo>
                  <a:lnTo>
                    <a:pt x="43048" y="275125"/>
                  </a:lnTo>
                  <a:lnTo>
                    <a:pt x="41284" y="271245"/>
                  </a:lnTo>
                  <a:lnTo>
                    <a:pt x="39872" y="267365"/>
                  </a:lnTo>
                  <a:lnTo>
                    <a:pt x="38108" y="263132"/>
                  </a:lnTo>
                  <a:lnTo>
                    <a:pt x="36697" y="259252"/>
                  </a:lnTo>
                  <a:lnTo>
                    <a:pt x="35285" y="255020"/>
                  </a:lnTo>
                  <a:lnTo>
                    <a:pt x="34227" y="251140"/>
                  </a:lnTo>
                  <a:lnTo>
                    <a:pt x="4234" y="250082"/>
                  </a:lnTo>
                  <a:lnTo>
                    <a:pt x="0" y="229976"/>
                  </a:lnTo>
                  <a:lnTo>
                    <a:pt x="27170" y="217631"/>
                  </a:lnTo>
                  <a:lnTo>
                    <a:pt x="26817" y="209166"/>
                  </a:lnTo>
                  <a:lnTo>
                    <a:pt x="26817" y="200700"/>
                  </a:lnTo>
                  <a:lnTo>
                    <a:pt x="26817" y="192235"/>
                  </a:lnTo>
                  <a:lnTo>
                    <a:pt x="27170" y="183769"/>
                  </a:lnTo>
                  <a:lnTo>
                    <a:pt x="0" y="169661"/>
                  </a:lnTo>
                  <a:lnTo>
                    <a:pt x="4234" y="149203"/>
                  </a:lnTo>
                  <a:lnTo>
                    <a:pt x="34227" y="149908"/>
                  </a:lnTo>
                  <a:lnTo>
                    <a:pt x="35285" y="145675"/>
                  </a:lnTo>
                  <a:lnTo>
                    <a:pt x="37050" y="141795"/>
                  </a:lnTo>
                  <a:lnTo>
                    <a:pt x="38108" y="137563"/>
                  </a:lnTo>
                  <a:lnTo>
                    <a:pt x="39872" y="133683"/>
                  </a:lnTo>
                  <a:lnTo>
                    <a:pt x="41990" y="130155"/>
                  </a:lnTo>
                  <a:lnTo>
                    <a:pt x="43401" y="125923"/>
                  </a:lnTo>
                  <a:lnTo>
                    <a:pt x="45518" y="121690"/>
                  </a:lnTo>
                  <a:lnTo>
                    <a:pt x="47635" y="118163"/>
                  </a:lnTo>
                  <a:lnTo>
                    <a:pt x="25053" y="94530"/>
                  </a:lnTo>
                  <a:lnTo>
                    <a:pt x="37050" y="77599"/>
                  </a:lnTo>
                  <a:lnTo>
                    <a:pt x="66689" y="89592"/>
                  </a:lnTo>
                  <a:lnTo>
                    <a:pt x="69512" y="86418"/>
                  </a:lnTo>
                  <a:lnTo>
                    <a:pt x="72335" y="83243"/>
                  </a:lnTo>
                  <a:lnTo>
                    <a:pt x="75158" y="80069"/>
                  </a:lnTo>
                  <a:lnTo>
                    <a:pt x="78333" y="76894"/>
                  </a:lnTo>
                  <a:lnTo>
                    <a:pt x="81156" y="74072"/>
                  </a:lnTo>
                  <a:lnTo>
                    <a:pt x="84685" y="71250"/>
                  </a:lnTo>
                  <a:lnTo>
                    <a:pt x="87860" y="68076"/>
                  </a:lnTo>
                  <a:lnTo>
                    <a:pt x="91036" y="65254"/>
                  </a:lnTo>
                  <a:lnTo>
                    <a:pt x="78686" y="35978"/>
                  </a:lnTo>
                  <a:lnTo>
                    <a:pt x="96329" y="24338"/>
                  </a:lnTo>
                  <a:lnTo>
                    <a:pt x="119617" y="46207"/>
                  </a:lnTo>
                  <a:lnTo>
                    <a:pt x="123145" y="44443"/>
                  </a:lnTo>
                  <a:lnTo>
                    <a:pt x="127027" y="42680"/>
                  </a:lnTo>
                  <a:lnTo>
                    <a:pt x="131261" y="40563"/>
                  </a:lnTo>
                  <a:lnTo>
                    <a:pt x="134789" y="39153"/>
                  </a:lnTo>
                  <a:lnTo>
                    <a:pt x="139024" y="37389"/>
                  </a:lnTo>
                  <a:lnTo>
                    <a:pt x="142905" y="35978"/>
                  </a:lnTo>
                  <a:lnTo>
                    <a:pt x="147492" y="34567"/>
                  </a:lnTo>
                  <a:lnTo>
                    <a:pt x="151726" y="33156"/>
                  </a:lnTo>
                  <a:lnTo>
                    <a:pt x="152079" y="3880"/>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193" name="Oval 192"/>
            <p:cNvSpPr/>
            <p:nvPr/>
          </p:nvSpPr>
          <p:spPr>
            <a:xfrm>
              <a:off x="6937388" y="2602031"/>
              <a:ext cx="67184" cy="67184"/>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sp>
          <p:nvSpPr>
            <p:cNvPr id="194" name="Oval 193"/>
            <p:cNvSpPr/>
            <p:nvPr/>
          </p:nvSpPr>
          <p:spPr>
            <a:xfrm>
              <a:off x="7150422" y="2581294"/>
              <a:ext cx="48331" cy="48331"/>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sp>
          <p:nvSpPr>
            <p:cNvPr id="195" name="Oval 194"/>
            <p:cNvSpPr/>
            <p:nvPr/>
          </p:nvSpPr>
          <p:spPr>
            <a:xfrm>
              <a:off x="7081354" y="2704863"/>
              <a:ext cx="38391" cy="38391"/>
            </a:xfrm>
            <a:prstGeom prst="ellipse">
              <a:avLst/>
            </a:prstGeom>
            <a:grpFill/>
            <a:ln w="25400" cap="flat" cmpd="sng" algn="ctr">
              <a:noFill/>
              <a:prstDash val="solid"/>
            </a:ln>
            <a:effectLst/>
          </p:spPr>
          <p:txBody>
            <a:bodyPr rtlCol="0" anchor="ctr"/>
            <a:lstStyle/>
            <a:p>
              <a:pPr algn="ctr" defTabSz="914103">
                <a:defRPr/>
              </a:pPr>
              <a:endParaRPr lang="en-US" kern="0" dirty="0">
                <a:solidFill>
                  <a:srgbClr val="8E909E"/>
                </a:solidFill>
                <a:latin typeface="+mj-lt"/>
              </a:endParaRPr>
            </a:p>
          </p:txBody>
        </p:sp>
      </p:grpSp>
      <p:sp>
        <p:nvSpPr>
          <p:cNvPr id="196" name="Rectangle 195"/>
          <p:cNvSpPr/>
          <p:nvPr/>
        </p:nvSpPr>
        <p:spPr bwMode="auto">
          <a:xfrm>
            <a:off x="6146602" y="3120134"/>
            <a:ext cx="1189065" cy="39348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388" tIns="45694" rIns="45694" bIns="91388" numCol="1" spcCol="0" rtlCol="0" fromWordArt="0" anchor="b" anchorCtr="0" forceAA="0" compatLnSpc="1">
            <a:prstTxWarp prst="textNoShape">
              <a:avLst/>
            </a:prstTxWarp>
            <a:noAutofit/>
          </a:bodyPr>
          <a:lstStyle/>
          <a:p>
            <a:pPr algn="ctr" defTabSz="913491">
              <a:defRPr/>
            </a:pPr>
            <a:endParaRPr lang="en-US" sz="2200" kern="0" spc="-100" dirty="0">
              <a:ln w="3175">
                <a:noFill/>
              </a:ln>
              <a:gradFill flip="none" rotWithShape="1">
                <a:gsLst>
                  <a:gs pos="0">
                    <a:srgbClr val="1B3B41">
                      <a:lumMod val="65000"/>
                      <a:lumOff val="35000"/>
                    </a:srgbClr>
                  </a:gs>
                  <a:gs pos="86000">
                    <a:srgbClr val="1B3B41">
                      <a:lumMod val="65000"/>
                      <a:lumOff val="35000"/>
                    </a:srgbClr>
                  </a:gs>
                </a:gsLst>
                <a:lin ang="5400000" scaled="0"/>
                <a:tileRect/>
              </a:gradFill>
              <a:latin typeface="+mj-lt"/>
              <a:cs typeface="Arial" charset="0"/>
            </a:endParaRPr>
          </a:p>
        </p:txBody>
      </p:sp>
      <p:sp>
        <p:nvSpPr>
          <p:cNvPr id="197" name="Rectangle 196"/>
          <p:cNvSpPr/>
          <p:nvPr/>
        </p:nvSpPr>
        <p:spPr>
          <a:xfrm>
            <a:off x="7535301" y="3055567"/>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defRPr/>
            </a:pPr>
            <a:r>
              <a:rPr lang="en-US" sz="1200" kern="0" dirty="0">
                <a:solidFill>
                  <a:prstClr val="white"/>
                </a:solidFill>
                <a:latin typeface="+mj-lt"/>
              </a:rPr>
              <a:t>Reporting</a:t>
            </a:r>
          </a:p>
        </p:txBody>
      </p:sp>
      <p:sp>
        <p:nvSpPr>
          <p:cNvPr id="198" name="Rectangle 197"/>
          <p:cNvSpPr/>
          <p:nvPr/>
        </p:nvSpPr>
        <p:spPr>
          <a:xfrm>
            <a:off x="7531387" y="3634690"/>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r>
              <a:rPr lang="en-US" sz="1200" kern="0" dirty="0">
                <a:solidFill>
                  <a:prstClr val="white"/>
                </a:solidFill>
                <a:latin typeface="+mj-lt"/>
              </a:rPr>
              <a:t>Log Extraction</a:t>
            </a:r>
          </a:p>
        </p:txBody>
      </p:sp>
      <p:sp>
        <p:nvSpPr>
          <p:cNvPr id="199" name="Rectangle 198"/>
          <p:cNvSpPr/>
          <p:nvPr/>
        </p:nvSpPr>
        <p:spPr>
          <a:xfrm>
            <a:off x="7535301" y="3345130"/>
            <a:ext cx="1297237" cy="262330"/>
          </a:xfrm>
          <a:prstGeom prst="rect">
            <a:avLst/>
          </a:prstGeom>
          <a:solidFill>
            <a:srgbClr val="004080"/>
          </a:solidFill>
          <a:ln w="25400" cap="flat" cmpd="sng" algn="ctr">
            <a:noFill/>
            <a:prstDash val="solid"/>
          </a:ln>
          <a:effectLst/>
        </p:spPr>
        <p:txBody>
          <a:bodyPr rot="0" spcFirstLastPara="0" vertOverflow="overflow" horzOverflow="overflow" vert="horz" wrap="square" lIns="182776" tIns="45694" rIns="91388" bIns="45694" numCol="1" spcCol="0" rtlCol="0" fromWordArt="0" anchor="ctr" anchorCtr="0" forceAA="0" compatLnSpc="1">
            <a:prstTxWarp prst="textNoShape">
              <a:avLst/>
            </a:prstTxWarp>
            <a:noAutofit/>
          </a:bodyPr>
          <a:lstStyle/>
          <a:p>
            <a:pPr defTabSz="1218173"/>
            <a:r>
              <a:rPr lang="en-US" sz="1200" kern="0" dirty="0">
                <a:solidFill>
                  <a:prstClr val="white"/>
                </a:solidFill>
                <a:latin typeface="+mj-lt"/>
              </a:rPr>
              <a:t>Management </a:t>
            </a:r>
          </a:p>
        </p:txBody>
      </p:sp>
      <p:grpSp>
        <p:nvGrpSpPr>
          <p:cNvPr id="22" name="Group 239"/>
          <p:cNvGrpSpPr/>
          <p:nvPr/>
        </p:nvGrpSpPr>
        <p:grpSpPr>
          <a:xfrm>
            <a:off x="7164477" y="4218180"/>
            <a:ext cx="211134" cy="202752"/>
            <a:chOff x="7259132" y="4715728"/>
            <a:chExt cx="220784" cy="212019"/>
          </a:xfrm>
        </p:grpSpPr>
        <p:sp>
          <p:nvSpPr>
            <p:cNvPr id="200" name="Oval 199"/>
            <p:cNvSpPr/>
            <p:nvPr/>
          </p:nvSpPr>
          <p:spPr>
            <a:xfrm>
              <a:off x="7259132" y="4715728"/>
              <a:ext cx="220784" cy="212019"/>
            </a:xfrm>
            <a:prstGeom prst="ellipse">
              <a:avLst/>
            </a:prstGeom>
            <a:gradFill>
              <a:gsLst>
                <a:gs pos="0">
                  <a:srgbClr val="D81F28">
                    <a:lumMod val="75000"/>
                  </a:srgbClr>
                </a:gs>
                <a:gs pos="100000">
                  <a:srgbClr val="D81F28"/>
                </a:gs>
              </a:gsLst>
              <a:lin ang="13500000" scaled="1"/>
            </a:gradFill>
            <a:ln w="28575"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23" name="Group 238"/>
            <p:cNvGrpSpPr/>
            <p:nvPr/>
          </p:nvGrpSpPr>
          <p:grpSpPr>
            <a:xfrm>
              <a:off x="7299297" y="4776279"/>
              <a:ext cx="136590" cy="96536"/>
              <a:chOff x="7299297" y="4776279"/>
              <a:chExt cx="136590" cy="96536"/>
            </a:xfrm>
          </p:grpSpPr>
          <p:sp>
            <p:nvSpPr>
              <p:cNvPr id="201" name="Rectangle 49"/>
              <p:cNvSpPr>
                <a:spLocks noChangeArrowheads="1"/>
              </p:cNvSpPr>
              <p:nvPr/>
            </p:nvSpPr>
            <p:spPr bwMode="auto">
              <a:xfrm>
                <a:off x="7299297" y="4842512"/>
                <a:ext cx="91059"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2" name="Rectangle 50"/>
              <p:cNvSpPr>
                <a:spLocks noChangeArrowheads="1"/>
              </p:cNvSpPr>
              <p:nvPr/>
            </p:nvSpPr>
            <p:spPr bwMode="auto">
              <a:xfrm>
                <a:off x="7344828" y="4809180"/>
                <a:ext cx="91059"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3" name="Rectangle 51"/>
              <p:cNvSpPr>
                <a:spLocks noChangeArrowheads="1"/>
              </p:cNvSpPr>
              <p:nvPr/>
            </p:nvSpPr>
            <p:spPr bwMode="auto">
              <a:xfrm>
                <a:off x="7394414" y="4842512"/>
                <a:ext cx="41472"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4" name="Rectangle 52"/>
              <p:cNvSpPr>
                <a:spLocks noChangeArrowheads="1"/>
              </p:cNvSpPr>
              <p:nvPr/>
            </p:nvSpPr>
            <p:spPr bwMode="auto">
              <a:xfrm>
                <a:off x="7394414" y="4776279"/>
                <a:ext cx="41472"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5" name="Rectangle 53"/>
              <p:cNvSpPr>
                <a:spLocks noChangeArrowheads="1"/>
              </p:cNvSpPr>
              <p:nvPr/>
            </p:nvSpPr>
            <p:spPr bwMode="auto">
              <a:xfrm>
                <a:off x="7299297" y="4809180"/>
                <a:ext cx="41023"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6" name="Rectangle 54"/>
              <p:cNvSpPr>
                <a:spLocks noChangeArrowheads="1"/>
              </p:cNvSpPr>
              <p:nvPr/>
            </p:nvSpPr>
            <p:spPr bwMode="auto">
              <a:xfrm>
                <a:off x="7299297" y="4776279"/>
                <a:ext cx="91059"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24" name="Group 237"/>
          <p:cNvGrpSpPr/>
          <p:nvPr/>
        </p:nvGrpSpPr>
        <p:grpSpPr>
          <a:xfrm>
            <a:off x="7811887" y="4218180"/>
            <a:ext cx="211134" cy="202752"/>
            <a:chOff x="7870353" y="4715728"/>
            <a:chExt cx="220784" cy="212019"/>
          </a:xfrm>
        </p:grpSpPr>
        <p:sp>
          <p:nvSpPr>
            <p:cNvPr id="207" name="Oval 206"/>
            <p:cNvSpPr/>
            <p:nvPr/>
          </p:nvSpPr>
          <p:spPr>
            <a:xfrm>
              <a:off x="7870353" y="4715728"/>
              <a:ext cx="220784" cy="212019"/>
            </a:xfrm>
            <a:prstGeom prst="ellipse">
              <a:avLst/>
            </a:prstGeom>
            <a:gradFill>
              <a:gsLst>
                <a:gs pos="0">
                  <a:srgbClr val="D81F28">
                    <a:lumMod val="75000"/>
                  </a:srgbClr>
                </a:gs>
                <a:gs pos="100000">
                  <a:srgbClr val="D81F28"/>
                </a:gs>
              </a:gsLst>
              <a:lin ang="13500000" scaled="1"/>
            </a:gradFill>
            <a:ln w="28575"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26" name="Group 236"/>
            <p:cNvGrpSpPr/>
            <p:nvPr/>
          </p:nvGrpSpPr>
          <p:grpSpPr>
            <a:xfrm>
              <a:off x="7910519" y="4776279"/>
              <a:ext cx="136589" cy="96536"/>
              <a:chOff x="7910519" y="4776279"/>
              <a:chExt cx="136589" cy="96536"/>
            </a:xfrm>
          </p:grpSpPr>
          <p:sp>
            <p:nvSpPr>
              <p:cNvPr id="208" name="Rectangle 49"/>
              <p:cNvSpPr>
                <a:spLocks noChangeArrowheads="1"/>
              </p:cNvSpPr>
              <p:nvPr/>
            </p:nvSpPr>
            <p:spPr bwMode="auto">
              <a:xfrm>
                <a:off x="7910519" y="4842512"/>
                <a:ext cx="91059" cy="30303"/>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09" name="Rectangle 50"/>
              <p:cNvSpPr>
                <a:spLocks noChangeArrowheads="1"/>
              </p:cNvSpPr>
              <p:nvPr/>
            </p:nvSpPr>
            <p:spPr bwMode="auto">
              <a:xfrm>
                <a:off x="7956049" y="4809180"/>
                <a:ext cx="91059" cy="30303"/>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0" name="Rectangle 51"/>
              <p:cNvSpPr>
                <a:spLocks noChangeArrowheads="1"/>
              </p:cNvSpPr>
              <p:nvPr/>
            </p:nvSpPr>
            <p:spPr bwMode="auto">
              <a:xfrm>
                <a:off x="8005636" y="4842512"/>
                <a:ext cx="41472"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1" name="Rectangle 52"/>
              <p:cNvSpPr>
                <a:spLocks noChangeArrowheads="1"/>
              </p:cNvSpPr>
              <p:nvPr/>
            </p:nvSpPr>
            <p:spPr bwMode="auto">
              <a:xfrm>
                <a:off x="8005636" y="4776279"/>
                <a:ext cx="41472" cy="29870"/>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2" name="Rectangle 53"/>
              <p:cNvSpPr>
                <a:spLocks noChangeArrowheads="1"/>
              </p:cNvSpPr>
              <p:nvPr/>
            </p:nvSpPr>
            <p:spPr bwMode="auto">
              <a:xfrm>
                <a:off x="7910519" y="4809180"/>
                <a:ext cx="41023" cy="30303"/>
              </a:xfrm>
              <a:prstGeom prst="rect">
                <a:avLst/>
              </a:prstGeom>
              <a:solidFill>
                <a:srgbClr val="FFFFFF"/>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213" name="Rectangle 54"/>
              <p:cNvSpPr>
                <a:spLocks noChangeArrowheads="1"/>
              </p:cNvSpPr>
              <p:nvPr/>
            </p:nvSpPr>
            <p:spPr bwMode="auto">
              <a:xfrm>
                <a:off x="7910519" y="4776279"/>
                <a:ext cx="91059" cy="29870"/>
              </a:xfrm>
              <a:prstGeom prst="rect">
                <a:avLst/>
              </a:prstGeom>
              <a:solidFill>
                <a:srgbClr val="D81F28">
                  <a:lumMod val="40000"/>
                  <a:lumOff val="60000"/>
                </a:srgbClr>
              </a:solidFill>
              <a:ln>
                <a:noFill/>
              </a:ln>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27" name="Group 241"/>
          <p:cNvGrpSpPr/>
          <p:nvPr/>
        </p:nvGrpSpPr>
        <p:grpSpPr>
          <a:xfrm>
            <a:off x="5906178" y="4218180"/>
            <a:ext cx="211134" cy="202752"/>
            <a:chOff x="5943322" y="4715728"/>
            <a:chExt cx="220784" cy="212019"/>
          </a:xfrm>
          <a:solidFill>
            <a:schemeClr val="accent4"/>
          </a:solidFill>
        </p:grpSpPr>
        <p:sp>
          <p:nvSpPr>
            <p:cNvPr id="214" name="Oval 213"/>
            <p:cNvSpPr/>
            <p:nvPr/>
          </p:nvSpPr>
          <p:spPr>
            <a:xfrm>
              <a:off x="5943322" y="4715728"/>
              <a:ext cx="220784" cy="212019"/>
            </a:xfrm>
            <a:prstGeom prst="ellipse">
              <a:avLst/>
            </a:prstGeom>
            <a:grpFill/>
            <a:ln w="38100"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sp>
          <p:nvSpPr>
            <p:cNvPr id="215" name="Freeform 8"/>
            <p:cNvSpPr>
              <a:spLocks/>
            </p:cNvSpPr>
            <p:nvPr/>
          </p:nvSpPr>
          <p:spPr bwMode="auto">
            <a:xfrm>
              <a:off x="6000729" y="4781541"/>
              <a:ext cx="109832" cy="8164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103">
                <a:defRPr/>
              </a:pPr>
              <a:endParaRPr lang="en-US" kern="0">
                <a:solidFill>
                  <a:srgbClr val="000000"/>
                </a:solidFill>
                <a:latin typeface="+mj-lt"/>
              </a:endParaRPr>
            </a:p>
          </p:txBody>
        </p:sp>
      </p:grpSp>
      <p:grpSp>
        <p:nvGrpSpPr>
          <p:cNvPr id="29" name="Group 240"/>
          <p:cNvGrpSpPr/>
          <p:nvPr/>
        </p:nvGrpSpPr>
        <p:grpSpPr>
          <a:xfrm>
            <a:off x="6551804" y="4218180"/>
            <a:ext cx="211134" cy="202752"/>
            <a:chOff x="6618456" y="4715728"/>
            <a:chExt cx="220784" cy="212019"/>
          </a:xfrm>
        </p:grpSpPr>
        <p:sp>
          <p:nvSpPr>
            <p:cNvPr id="216" name="Oval 215"/>
            <p:cNvSpPr/>
            <p:nvPr/>
          </p:nvSpPr>
          <p:spPr>
            <a:xfrm>
              <a:off x="6618456" y="4715728"/>
              <a:ext cx="220784" cy="212019"/>
            </a:xfrm>
            <a:prstGeom prst="ellipse">
              <a:avLst/>
            </a:prstGeom>
            <a:solidFill>
              <a:schemeClr val="accent5"/>
            </a:solidFill>
            <a:ln w="38100" cap="flat" cmpd="sng" algn="ctr">
              <a:noFill/>
              <a:prstDash val="solid"/>
            </a:ln>
            <a:effectLst/>
          </p:spPr>
          <p:txBody>
            <a:bodyPr rtlCol="0" anchor="ctr"/>
            <a:lstStyle/>
            <a:p>
              <a:pPr algn="ctr" defTabSz="1218173">
                <a:defRPr/>
              </a:pPr>
              <a:endParaRPr lang="en-US" sz="2400" kern="0">
                <a:solidFill>
                  <a:prstClr val="white"/>
                </a:solidFill>
                <a:latin typeface="+mj-lt"/>
              </a:endParaRPr>
            </a:p>
          </p:txBody>
        </p:sp>
        <p:sp>
          <p:nvSpPr>
            <p:cNvPr id="217" name="Freeform 216"/>
            <p:cNvSpPr>
              <a:spLocks noEditPoints="1"/>
            </p:cNvSpPr>
            <p:nvPr/>
          </p:nvSpPr>
          <p:spPr bwMode="auto">
            <a:xfrm>
              <a:off x="6658413" y="4762802"/>
              <a:ext cx="140869" cy="117869"/>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218" name="Rounded Rectangle 191"/>
          <p:cNvSpPr/>
          <p:nvPr/>
        </p:nvSpPr>
        <p:spPr>
          <a:xfrm>
            <a:off x="6121811"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Allow</a:t>
            </a:r>
          </a:p>
        </p:txBody>
      </p:sp>
      <p:sp>
        <p:nvSpPr>
          <p:cNvPr id="219" name="Rounded Rectangle 191"/>
          <p:cNvSpPr/>
          <p:nvPr/>
        </p:nvSpPr>
        <p:spPr>
          <a:xfrm>
            <a:off x="6712614"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Warn</a:t>
            </a:r>
          </a:p>
        </p:txBody>
      </p:sp>
      <p:sp>
        <p:nvSpPr>
          <p:cNvPr id="220" name="Rounded Rectangle 191"/>
          <p:cNvSpPr/>
          <p:nvPr/>
        </p:nvSpPr>
        <p:spPr>
          <a:xfrm>
            <a:off x="7333998" y="4185177"/>
            <a:ext cx="612672"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Block</a:t>
            </a:r>
          </a:p>
        </p:txBody>
      </p:sp>
      <p:sp>
        <p:nvSpPr>
          <p:cNvPr id="221" name="Rounded Rectangle 191"/>
          <p:cNvSpPr/>
          <p:nvPr/>
        </p:nvSpPr>
        <p:spPr>
          <a:xfrm>
            <a:off x="7960119" y="4185177"/>
            <a:ext cx="780437" cy="268753"/>
          </a:xfrm>
          <a:prstGeom prst="rect">
            <a:avLst/>
          </a:prstGeom>
          <a:noFill/>
          <a:ln w="25400" cap="flat" cmpd="sng" algn="ctr">
            <a:noFill/>
            <a:prstDash val="solid"/>
          </a:ln>
          <a:effectLst/>
        </p:spPr>
        <p:txBody>
          <a:bodyPr lIns="91436" tIns="45718" rIns="91436" bIns="45718" rtlCol="0" anchor="ctr"/>
          <a:lstStyle/>
          <a:p>
            <a:pPr defTabSz="913687">
              <a:defRPr/>
            </a:pPr>
            <a:r>
              <a:rPr lang="en-US" sz="800" kern="0" dirty="0">
                <a:solidFill>
                  <a:srgbClr val="676767">
                    <a:lumMod val="75000"/>
                  </a:srgbClr>
                </a:solidFill>
                <a:latin typeface="+mj-lt"/>
              </a:rPr>
              <a:t>Partial Block</a:t>
            </a:r>
          </a:p>
        </p:txBody>
      </p:sp>
      <p:sp>
        <p:nvSpPr>
          <p:cNvPr id="222" name="Down Arrow 221"/>
          <p:cNvSpPr/>
          <p:nvPr/>
        </p:nvSpPr>
        <p:spPr>
          <a:xfrm>
            <a:off x="7977037" y="2476615"/>
            <a:ext cx="144248" cy="559335"/>
          </a:xfrm>
          <a:prstGeom prst="downArrow">
            <a:avLst/>
          </a:prstGeom>
          <a:solidFill>
            <a:schemeClr val="accent3"/>
          </a:solidFill>
          <a:ln w="25400" cap="flat" cmpd="sng" algn="ctr">
            <a:noFill/>
            <a:prstDash val="solid"/>
          </a:ln>
          <a:effectLst/>
        </p:spPr>
        <p:txBody>
          <a:bodyPr lIns="91436" tIns="45718" rIns="91436" bIns="45718" rtlCol="0" anchor="ctr"/>
          <a:lstStyle/>
          <a:p>
            <a:pPr algn="ctr" defTabSz="1218173">
              <a:defRPr/>
            </a:pPr>
            <a:endParaRPr lang="en-US" sz="2400" kern="0">
              <a:solidFill>
                <a:prstClr val="white"/>
              </a:solidFill>
              <a:latin typeface="+mj-lt"/>
            </a:endParaRPr>
          </a:p>
        </p:txBody>
      </p:sp>
      <p:sp>
        <p:nvSpPr>
          <p:cNvPr id="224" name="Rectangle 223"/>
          <p:cNvSpPr/>
          <p:nvPr/>
        </p:nvSpPr>
        <p:spPr bwMode="auto">
          <a:xfrm>
            <a:off x="5843950" y="2942417"/>
            <a:ext cx="524867" cy="524867"/>
          </a:xfrm>
          <a:prstGeom prst="rect">
            <a:avLst/>
          </a:prstGeom>
          <a:solidFill>
            <a:schemeClr val="accent3">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91388" tIns="45694" rIns="91388" bIns="45694" numCol="1" spcCol="0" rtlCol="0" fromWordArt="0" anchor="b" anchorCtr="0" forceAA="0" compatLnSpc="1">
            <a:prstTxWarp prst="textNoShape">
              <a:avLst/>
            </a:prstTxWarp>
            <a:noAutofit/>
          </a:bodyPr>
          <a:lstStyle/>
          <a:p>
            <a:pPr algn="ctr" defTabSz="913491">
              <a:defRPr/>
            </a:pPr>
            <a:r>
              <a:rPr lang="en-US" sz="1000" kern="0" spc="-100" dirty="0">
                <a:ln w="3175">
                  <a:noFill/>
                </a:ln>
                <a:solidFill>
                  <a:srgbClr val="FFFFFF"/>
                </a:solidFill>
                <a:latin typeface="+mj-lt"/>
                <a:cs typeface="Arial" charset="0"/>
              </a:rPr>
              <a:t>HQ</a:t>
            </a:r>
            <a:endParaRPr lang="en-US" sz="1100" kern="0" spc="-100" dirty="0">
              <a:ln w="3175">
                <a:noFill/>
              </a:ln>
              <a:solidFill>
                <a:srgbClr val="FFFFFF"/>
              </a:solidFill>
              <a:latin typeface="+mj-lt"/>
              <a:cs typeface="Arial" charset="0"/>
            </a:endParaRPr>
          </a:p>
        </p:txBody>
      </p:sp>
      <p:sp>
        <p:nvSpPr>
          <p:cNvPr id="225" name="Freeform 263"/>
          <p:cNvSpPr>
            <a:spLocks/>
          </p:cNvSpPr>
          <p:nvPr/>
        </p:nvSpPr>
        <p:spPr bwMode="auto">
          <a:xfrm>
            <a:off x="5963925" y="2987003"/>
            <a:ext cx="271936" cy="266065"/>
          </a:xfrm>
          <a:custGeom>
            <a:avLst/>
            <a:gdLst>
              <a:gd name="T0" fmla="*/ 35 w 425"/>
              <a:gd name="T1" fmla="*/ 392 h 431"/>
              <a:gd name="T2" fmla="*/ 35 w 425"/>
              <a:gd name="T3" fmla="*/ 127 h 431"/>
              <a:gd name="T4" fmla="*/ 213 w 425"/>
              <a:gd name="T5" fmla="*/ 0 h 431"/>
              <a:gd name="T6" fmla="*/ 391 w 425"/>
              <a:gd name="T7" fmla="*/ 127 h 431"/>
              <a:gd name="T8" fmla="*/ 391 w 425"/>
              <a:gd name="T9" fmla="*/ 162 h 431"/>
              <a:gd name="T10" fmla="*/ 213 w 425"/>
              <a:gd name="T11" fmla="*/ 59 h 431"/>
              <a:gd name="T12" fmla="*/ 213 w 425"/>
              <a:gd name="T13" fmla="*/ 96 h 431"/>
              <a:gd name="T14" fmla="*/ 391 w 425"/>
              <a:gd name="T15" fmla="*/ 191 h 431"/>
              <a:gd name="T16" fmla="*/ 391 w 425"/>
              <a:gd name="T17" fmla="*/ 230 h 431"/>
              <a:gd name="T18" fmla="*/ 213 w 425"/>
              <a:gd name="T19" fmla="*/ 160 h 431"/>
              <a:gd name="T20" fmla="*/ 213 w 425"/>
              <a:gd name="T21" fmla="*/ 194 h 431"/>
              <a:gd name="T22" fmla="*/ 391 w 425"/>
              <a:gd name="T23" fmla="*/ 257 h 431"/>
              <a:gd name="T24" fmla="*/ 391 w 425"/>
              <a:gd name="T25" fmla="*/ 298 h 431"/>
              <a:gd name="T26" fmla="*/ 213 w 425"/>
              <a:gd name="T27" fmla="*/ 260 h 431"/>
              <a:gd name="T28" fmla="*/ 213 w 425"/>
              <a:gd name="T29" fmla="*/ 292 h 431"/>
              <a:gd name="T30" fmla="*/ 391 w 425"/>
              <a:gd name="T31" fmla="*/ 325 h 431"/>
              <a:gd name="T32" fmla="*/ 391 w 425"/>
              <a:gd name="T33" fmla="*/ 365 h 431"/>
              <a:gd name="T34" fmla="*/ 213 w 425"/>
              <a:gd name="T35" fmla="*/ 359 h 431"/>
              <a:gd name="T36" fmla="*/ 213 w 425"/>
              <a:gd name="T37" fmla="*/ 392 h 431"/>
              <a:gd name="T38" fmla="*/ 425 w 425"/>
              <a:gd name="T39" fmla="*/ 392 h 431"/>
              <a:gd name="T40" fmla="*/ 425 w 425"/>
              <a:gd name="T41" fmla="*/ 431 h 431"/>
              <a:gd name="T42" fmla="*/ 0 w 425"/>
              <a:gd name="T43" fmla="*/ 431 h 431"/>
              <a:gd name="T44" fmla="*/ 0 w 425"/>
              <a:gd name="T45" fmla="*/ 392 h 431"/>
              <a:gd name="T46" fmla="*/ 35 w 425"/>
              <a:gd name="T47" fmla="*/ 392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431">
                <a:moveTo>
                  <a:pt x="35" y="392"/>
                </a:moveTo>
                <a:lnTo>
                  <a:pt x="35" y="127"/>
                </a:lnTo>
                <a:lnTo>
                  <a:pt x="213" y="0"/>
                </a:lnTo>
                <a:lnTo>
                  <a:pt x="391" y="127"/>
                </a:lnTo>
                <a:lnTo>
                  <a:pt x="391" y="162"/>
                </a:lnTo>
                <a:lnTo>
                  <a:pt x="213" y="59"/>
                </a:lnTo>
                <a:lnTo>
                  <a:pt x="213" y="96"/>
                </a:lnTo>
                <a:lnTo>
                  <a:pt x="391" y="191"/>
                </a:lnTo>
                <a:lnTo>
                  <a:pt x="391" y="230"/>
                </a:lnTo>
                <a:lnTo>
                  <a:pt x="213" y="160"/>
                </a:lnTo>
                <a:lnTo>
                  <a:pt x="213" y="194"/>
                </a:lnTo>
                <a:lnTo>
                  <a:pt x="391" y="257"/>
                </a:lnTo>
                <a:lnTo>
                  <a:pt x="391" y="298"/>
                </a:lnTo>
                <a:lnTo>
                  <a:pt x="213" y="260"/>
                </a:lnTo>
                <a:lnTo>
                  <a:pt x="213" y="292"/>
                </a:lnTo>
                <a:lnTo>
                  <a:pt x="391" y="325"/>
                </a:lnTo>
                <a:lnTo>
                  <a:pt x="391" y="365"/>
                </a:lnTo>
                <a:lnTo>
                  <a:pt x="213" y="359"/>
                </a:lnTo>
                <a:lnTo>
                  <a:pt x="213" y="392"/>
                </a:lnTo>
                <a:lnTo>
                  <a:pt x="425" y="392"/>
                </a:lnTo>
                <a:lnTo>
                  <a:pt x="425" y="431"/>
                </a:lnTo>
                <a:lnTo>
                  <a:pt x="0" y="431"/>
                </a:lnTo>
                <a:lnTo>
                  <a:pt x="0" y="392"/>
                </a:lnTo>
                <a:lnTo>
                  <a:pt x="35" y="392"/>
                </a:lnTo>
                <a:close/>
              </a:path>
            </a:pathLst>
          </a:custGeom>
          <a:solidFill>
            <a:srgbClr val="FFFFFF"/>
          </a:solidFill>
          <a:ln>
            <a:noFill/>
          </a:ln>
          <a:extLst/>
        </p:spPr>
        <p:txBody>
          <a:bodyPr vert="horz" wrap="square" lIns="91388" tIns="45694" rIns="91388" bIns="45694" numCol="1" anchor="t" anchorCtr="0" compatLnSpc="1">
            <a:prstTxWarp prst="textNoShape">
              <a:avLst/>
            </a:prstTxWarp>
          </a:bodyPr>
          <a:lstStyle/>
          <a:p>
            <a:pPr defTabSz="914103">
              <a:defRPr/>
            </a:pPr>
            <a:endParaRPr lang="en-US" kern="0">
              <a:solidFill>
                <a:srgbClr val="FFFFFF"/>
              </a:solidFill>
              <a:latin typeface="+mj-lt"/>
            </a:endParaRPr>
          </a:p>
        </p:txBody>
      </p:sp>
      <p:sp>
        <p:nvSpPr>
          <p:cNvPr id="304" name="Oval 303"/>
          <p:cNvSpPr/>
          <p:nvPr/>
        </p:nvSpPr>
        <p:spPr>
          <a:xfrm>
            <a:off x="3777373" y="1449217"/>
            <a:ext cx="199447" cy="191528"/>
          </a:xfrm>
          <a:prstGeom prst="ellipse">
            <a:avLst/>
          </a:prstGeom>
          <a:solidFill>
            <a:schemeClr val="accent4"/>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305" name="Freeform 8"/>
          <p:cNvSpPr>
            <a:spLocks/>
          </p:cNvSpPr>
          <p:nvPr/>
        </p:nvSpPr>
        <p:spPr bwMode="auto">
          <a:xfrm>
            <a:off x="3829237" y="1508671"/>
            <a:ext cx="99219" cy="7375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000000"/>
              </a:solidFill>
              <a:latin typeface="+mj-lt"/>
            </a:endParaRPr>
          </a:p>
        </p:txBody>
      </p:sp>
      <p:sp>
        <p:nvSpPr>
          <p:cNvPr id="306" name="Oval 305"/>
          <p:cNvSpPr/>
          <p:nvPr/>
        </p:nvSpPr>
        <p:spPr>
          <a:xfrm>
            <a:off x="3777373" y="1711429"/>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307" name="Freeform 306"/>
          <p:cNvSpPr>
            <a:spLocks noEditPoints="1"/>
          </p:cNvSpPr>
          <p:nvPr/>
        </p:nvSpPr>
        <p:spPr bwMode="auto">
          <a:xfrm>
            <a:off x="3813469" y="1753953"/>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557" name="Rounded Rectangle 191"/>
          <p:cNvSpPr/>
          <p:nvPr/>
        </p:nvSpPr>
        <p:spPr>
          <a:xfrm>
            <a:off x="283708" y="3689204"/>
            <a:ext cx="489960" cy="185499"/>
          </a:xfrm>
          <a:prstGeom prst="rect">
            <a:avLst/>
          </a:prstGeom>
          <a:noFill/>
          <a:ln w="25400" cap="flat" cmpd="sng" algn="ctr">
            <a:noFill/>
            <a:prstDash val="solid"/>
          </a:ln>
          <a:effectLst/>
        </p:spPr>
        <p:txBody>
          <a:bodyPr lIns="0" tIns="34289" rIns="0" bIns="34289" rtlCol="0" anchor="ctr"/>
          <a:lstStyle/>
          <a:p>
            <a:pPr defTabSz="685270">
              <a:defRPr/>
            </a:pPr>
            <a:r>
              <a:rPr lang="ja-JP" altLang="en-US" sz="800" kern="0" dirty="0" smtClean="0">
                <a:solidFill>
                  <a:srgbClr val="676767"/>
                </a:solidFill>
                <a:latin typeface="+mj-lt"/>
              </a:rPr>
              <a:t>クライアント</a:t>
            </a:r>
            <a:endParaRPr lang="en-US" altLang="ja-JP" sz="800" kern="0" dirty="0" smtClean="0">
              <a:solidFill>
                <a:srgbClr val="676767"/>
              </a:solidFill>
              <a:latin typeface="+mj-lt"/>
            </a:endParaRPr>
          </a:p>
          <a:p>
            <a:pPr defTabSz="685270">
              <a:defRPr/>
            </a:pPr>
            <a:r>
              <a:rPr lang="ja-JP" altLang="en-US" sz="800" kern="0" dirty="0" smtClean="0">
                <a:solidFill>
                  <a:srgbClr val="676767"/>
                </a:solidFill>
                <a:latin typeface="+mj-lt"/>
              </a:rPr>
              <a:t>認証方法</a:t>
            </a:r>
            <a:endParaRPr lang="en-US" sz="800" kern="0" dirty="0">
              <a:solidFill>
                <a:srgbClr val="676767"/>
              </a:solidFill>
              <a:latin typeface="+mj-lt"/>
            </a:endParaRPr>
          </a:p>
        </p:txBody>
      </p:sp>
      <p:sp>
        <p:nvSpPr>
          <p:cNvPr id="70" name="Right Arrow 69"/>
          <p:cNvSpPr/>
          <p:nvPr/>
        </p:nvSpPr>
        <p:spPr>
          <a:xfrm>
            <a:off x="400433" y="1659029"/>
            <a:ext cx="564568" cy="201405"/>
          </a:xfrm>
          <a:prstGeom prst="rightArrow">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algn="ctr" defTabSz="457170"/>
            <a:endParaRPr lang="en-US" sz="800" dirty="0">
              <a:solidFill>
                <a:srgbClr val="435153"/>
              </a:solidFill>
              <a:latin typeface="+mj-lt"/>
            </a:endParaRPr>
          </a:p>
        </p:txBody>
      </p:sp>
      <p:sp>
        <p:nvSpPr>
          <p:cNvPr id="79" name="Rectangle 78"/>
          <p:cNvSpPr/>
          <p:nvPr/>
        </p:nvSpPr>
        <p:spPr>
          <a:xfrm>
            <a:off x="400432" y="1803897"/>
            <a:ext cx="104932" cy="1486884"/>
          </a:xfrm>
          <a:prstGeom prst="rect">
            <a:avLst/>
          </a:prstGeom>
          <a:gradFill flip="none" rotWithShape="1">
            <a:gsLst>
              <a:gs pos="100000">
                <a:srgbClr val="3333FF">
                  <a:alpha val="9000"/>
                </a:srgbClr>
              </a:gs>
              <a:gs pos="0">
                <a:schemeClr val="tx2">
                  <a:lumMod val="10000"/>
                  <a:lumOff val="9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58" name="Rectangle 557"/>
          <p:cNvSpPr/>
          <p:nvPr/>
        </p:nvSpPr>
        <p:spPr>
          <a:xfrm rot="5400000">
            <a:off x="566056" y="3009439"/>
            <a:ext cx="104932" cy="226313"/>
          </a:xfrm>
          <a:prstGeom prst="rect">
            <a:avLst/>
          </a:prstGeom>
          <a:solidFill>
            <a:schemeClr val="tx2">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62" name="Rectangle 561"/>
          <p:cNvSpPr/>
          <p:nvPr/>
        </p:nvSpPr>
        <p:spPr>
          <a:xfrm>
            <a:off x="400432" y="1803897"/>
            <a:ext cx="104932" cy="1486884"/>
          </a:xfrm>
          <a:prstGeom prst="rect">
            <a:avLst/>
          </a:prstGeom>
          <a:gradFill flip="none" rotWithShape="1">
            <a:gsLst>
              <a:gs pos="100000">
                <a:schemeClr val="bg1">
                  <a:lumMod val="85000"/>
                  <a:alpha val="0"/>
                </a:schemeClr>
              </a:gs>
              <a:gs pos="0">
                <a:schemeClr val="bg1">
                  <a:lumMod val="85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457170"/>
            <a:endParaRPr lang="en-US" dirty="0">
              <a:solidFill>
                <a:srgbClr val="FFFFFF"/>
              </a:solidFill>
              <a:latin typeface="+mj-lt"/>
            </a:endParaRPr>
          </a:p>
        </p:txBody>
      </p:sp>
      <p:sp>
        <p:nvSpPr>
          <p:cNvPr id="563" name="Oval 562"/>
          <p:cNvSpPr/>
          <p:nvPr/>
        </p:nvSpPr>
        <p:spPr>
          <a:xfrm>
            <a:off x="274643" y="1575742"/>
            <a:ext cx="356521" cy="356427"/>
          </a:xfrm>
          <a:prstGeom prst="ellipse">
            <a:avLst/>
          </a:prstGeom>
          <a:solidFill>
            <a:schemeClr val="accent3">
              <a:lumMod val="20000"/>
              <a:lumOff val="80000"/>
            </a:schemeClr>
          </a:solidFill>
          <a:ln w="6350" cap="flat" cmpd="sng" algn="ctr">
            <a:solidFill>
              <a:schemeClr val="bg1">
                <a:lumMod val="50000"/>
              </a:schemeClr>
            </a:solidFill>
            <a:prstDash val="solid"/>
          </a:ln>
          <a:effectLst/>
        </p:spPr>
        <p:txBody>
          <a:bodyPr wrap="none" lIns="68577" tIns="34289" rIns="68577" bIns="34289" rtlCol="0" anchor="ctr"/>
          <a:lstStyle/>
          <a:p>
            <a:pPr algn="ctr" defTabSz="913638">
              <a:defRPr/>
            </a:pPr>
            <a:r>
              <a:rPr lang="en-US" sz="800" b="1" kern="0" dirty="0">
                <a:solidFill>
                  <a:srgbClr val="435153"/>
                </a:solidFill>
                <a:latin typeface="+mj-lt"/>
              </a:rPr>
              <a:t>www</a:t>
            </a:r>
          </a:p>
        </p:txBody>
      </p:sp>
      <p:grpSp>
        <p:nvGrpSpPr>
          <p:cNvPr id="750" name="Group 569"/>
          <p:cNvGrpSpPr/>
          <p:nvPr/>
        </p:nvGrpSpPr>
        <p:grpSpPr>
          <a:xfrm>
            <a:off x="8232882" y="1888867"/>
            <a:ext cx="354939" cy="305679"/>
            <a:chOff x="11089059" y="2479654"/>
            <a:chExt cx="463636" cy="415799"/>
          </a:xfrm>
          <a:solidFill>
            <a:schemeClr val="bg1"/>
          </a:solidFill>
        </p:grpSpPr>
        <p:sp>
          <p:nvSpPr>
            <p:cNvPr id="571" name="Freeform 570"/>
            <p:cNvSpPr>
              <a:spLocks/>
            </p:cNvSpPr>
            <p:nvPr/>
          </p:nvSpPr>
          <p:spPr bwMode="auto">
            <a:xfrm flipH="1">
              <a:off x="11142303" y="2479654"/>
              <a:ext cx="410392" cy="211529"/>
            </a:xfrm>
            <a:custGeom>
              <a:avLst/>
              <a:gdLst>
                <a:gd name="T0" fmla="*/ 393 w 2374"/>
                <a:gd name="T1" fmla="*/ 810 h 1226"/>
                <a:gd name="T2" fmla="*/ 443 w 2374"/>
                <a:gd name="T3" fmla="*/ 707 h 1226"/>
                <a:gd name="T4" fmla="*/ 504 w 2374"/>
                <a:gd name="T5" fmla="*/ 611 h 1226"/>
                <a:gd name="T6" fmla="*/ 574 w 2374"/>
                <a:gd name="T7" fmla="*/ 522 h 1226"/>
                <a:gd name="T8" fmla="*/ 653 w 2374"/>
                <a:gd name="T9" fmla="*/ 445 h 1226"/>
                <a:gd name="T10" fmla="*/ 739 w 2374"/>
                <a:gd name="T11" fmla="*/ 375 h 1226"/>
                <a:gd name="T12" fmla="*/ 832 w 2374"/>
                <a:gd name="T13" fmla="*/ 316 h 1226"/>
                <a:gd name="T14" fmla="*/ 931 w 2374"/>
                <a:gd name="T15" fmla="*/ 265 h 1226"/>
                <a:gd name="T16" fmla="*/ 1036 w 2374"/>
                <a:gd name="T17" fmla="*/ 228 h 1226"/>
                <a:gd name="T18" fmla="*/ 1146 w 2374"/>
                <a:gd name="T19" fmla="*/ 201 h 1226"/>
                <a:gd name="T20" fmla="*/ 1257 w 2374"/>
                <a:gd name="T21" fmla="*/ 186 h 1226"/>
                <a:gd name="T22" fmla="*/ 1335 w 2374"/>
                <a:gd name="T23" fmla="*/ 183 h 1226"/>
                <a:gd name="T24" fmla="*/ 1434 w 2374"/>
                <a:gd name="T25" fmla="*/ 188 h 1226"/>
                <a:gd name="T26" fmla="*/ 1531 w 2374"/>
                <a:gd name="T27" fmla="*/ 202 h 1226"/>
                <a:gd name="T28" fmla="*/ 1624 w 2374"/>
                <a:gd name="T29" fmla="*/ 225 h 1226"/>
                <a:gd name="T30" fmla="*/ 1715 w 2374"/>
                <a:gd name="T31" fmla="*/ 256 h 1226"/>
                <a:gd name="T32" fmla="*/ 1802 w 2374"/>
                <a:gd name="T33" fmla="*/ 296 h 1226"/>
                <a:gd name="T34" fmla="*/ 1884 w 2374"/>
                <a:gd name="T35" fmla="*/ 343 h 1226"/>
                <a:gd name="T36" fmla="*/ 1964 w 2374"/>
                <a:gd name="T37" fmla="*/ 400 h 1226"/>
                <a:gd name="T38" fmla="*/ 2036 w 2374"/>
                <a:gd name="T39" fmla="*/ 461 h 1226"/>
                <a:gd name="T40" fmla="*/ 2103 w 2374"/>
                <a:gd name="T41" fmla="*/ 531 h 1226"/>
                <a:gd name="T42" fmla="*/ 2162 w 2374"/>
                <a:gd name="T43" fmla="*/ 607 h 1226"/>
                <a:gd name="T44" fmla="*/ 2374 w 2374"/>
                <a:gd name="T45" fmla="*/ 598 h 1226"/>
                <a:gd name="T46" fmla="*/ 2301 w 2374"/>
                <a:gd name="T47" fmla="*/ 489 h 1226"/>
                <a:gd name="T48" fmla="*/ 2171 w 2374"/>
                <a:gd name="T49" fmla="*/ 340 h 1226"/>
                <a:gd name="T50" fmla="*/ 2017 w 2374"/>
                <a:gd name="T51" fmla="*/ 214 h 1226"/>
                <a:gd name="T52" fmla="*/ 1941 w 2374"/>
                <a:gd name="T53" fmla="*/ 164 h 1226"/>
                <a:gd name="T54" fmla="*/ 1820 w 2374"/>
                <a:gd name="T55" fmla="*/ 102 h 1226"/>
                <a:gd name="T56" fmla="*/ 1692 w 2374"/>
                <a:gd name="T57" fmla="*/ 55 h 1226"/>
                <a:gd name="T58" fmla="*/ 1561 w 2374"/>
                <a:gd name="T59" fmla="*/ 23 h 1226"/>
                <a:gd name="T60" fmla="*/ 1427 w 2374"/>
                <a:gd name="T61" fmla="*/ 4 h 1226"/>
                <a:gd name="T62" fmla="*/ 1335 w 2374"/>
                <a:gd name="T63" fmla="*/ 0 h 1226"/>
                <a:gd name="T64" fmla="*/ 1181 w 2374"/>
                <a:gd name="T65" fmla="*/ 10 h 1226"/>
                <a:gd name="T66" fmla="*/ 1034 w 2374"/>
                <a:gd name="T67" fmla="*/ 39 h 1226"/>
                <a:gd name="T68" fmla="*/ 892 w 2374"/>
                <a:gd name="T69" fmla="*/ 84 h 1226"/>
                <a:gd name="T70" fmla="*/ 756 w 2374"/>
                <a:gd name="T71" fmla="*/ 149 h 1226"/>
                <a:gd name="T72" fmla="*/ 627 w 2374"/>
                <a:gd name="T73" fmla="*/ 230 h 1226"/>
                <a:gd name="T74" fmla="*/ 550 w 2374"/>
                <a:gd name="T75" fmla="*/ 293 h 1226"/>
                <a:gd name="T76" fmla="*/ 443 w 2374"/>
                <a:gd name="T77" fmla="*/ 398 h 1226"/>
                <a:gd name="T78" fmla="*/ 351 w 2374"/>
                <a:gd name="T79" fmla="*/ 514 h 1226"/>
                <a:gd name="T80" fmla="*/ 273 w 2374"/>
                <a:gd name="T81" fmla="*/ 640 h 1226"/>
                <a:gd name="T82" fmla="*/ 212 w 2374"/>
                <a:gd name="T83" fmla="*/ 775 h 1226"/>
                <a:gd name="T84" fmla="*/ 166 w 2374"/>
                <a:gd name="T85" fmla="*/ 917 h 1226"/>
                <a:gd name="T86" fmla="*/ 234 w 2374"/>
                <a:gd name="T87" fmla="*/ 122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74" h="1226">
                  <a:moveTo>
                    <a:pt x="330" y="962"/>
                  </a:moveTo>
                  <a:lnTo>
                    <a:pt x="393" y="810"/>
                  </a:lnTo>
                  <a:lnTo>
                    <a:pt x="393" y="810"/>
                  </a:lnTo>
                  <a:lnTo>
                    <a:pt x="409" y="775"/>
                  </a:lnTo>
                  <a:lnTo>
                    <a:pt x="425" y="741"/>
                  </a:lnTo>
                  <a:lnTo>
                    <a:pt x="443" y="707"/>
                  </a:lnTo>
                  <a:lnTo>
                    <a:pt x="462" y="673"/>
                  </a:lnTo>
                  <a:lnTo>
                    <a:pt x="483" y="642"/>
                  </a:lnTo>
                  <a:lnTo>
                    <a:pt x="504" y="611"/>
                  </a:lnTo>
                  <a:lnTo>
                    <a:pt x="527" y="581"/>
                  </a:lnTo>
                  <a:lnTo>
                    <a:pt x="550" y="552"/>
                  </a:lnTo>
                  <a:lnTo>
                    <a:pt x="574" y="522"/>
                  </a:lnTo>
                  <a:lnTo>
                    <a:pt x="600" y="495"/>
                  </a:lnTo>
                  <a:lnTo>
                    <a:pt x="625" y="469"/>
                  </a:lnTo>
                  <a:lnTo>
                    <a:pt x="653" y="445"/>
                  </a:lnTo>
                  <a:lnTo>
                    <a:pt x="680" y="421"/>
                  </a:lnTo>
                  <a:lnTo>
                    <a:pt x="710" y="396"/>
                  </a:lnTo>
                  <a:lnTo>
                    <a:pt x="739" y="375"/>
                  </a:lnTo>
                  <a:lnTo>
                    <a:pt x="769" y="354"/>
                  </a:lnTo>
                  <a:lnTo>
                    <a:pt x="800" y="333"/>
                  </a:lnTo>
                  <a:lnTo>
                    <a:pt x="832" y="316"/>
                  </a:lnTo>
                  <a:lnTo>
                    <a:pt x="865" y="298"/>
                  </a:lnTo>
                  <a:lnTo>
                    <a:pt x="897" y="282"/>
                  </a:lnTo>
                  <a:lnTo>
                    <a:pt x="931" y="265"/>
                  </a:lnTo>
                  <a:lnTo>
                    <a:pt x="965" y="253"/>
                  </a:lnTo>
                  <a:lnTo>
                    <a:pt x="1000" y="240"/>
                  </a:lnTo>
                  <a:lnTo>
                    <a:pt x="1036" y="228"/>
                  </a:lnTo>
                  <a:lnTo>
                    <a:pt x="1072" y="217"/>
                  </a:lnTo>
                  <a:lnTo>
                    <a:pt x="1109" y="209"/>
                  </a:lnTo>
                  <a:lnTo>
                    <a:pt x="1146" y="201"/>
                  </a:lnTo>
                  <a:lnTo>
                    <a:pt x="1183" y="194"/>
                  </a:lnTo>
                  <a:lnTo>
                    <a:pt x="1220" y="189"/>
                  </a:lnTo>
                  <a:lnTo>
                    <a:pt x="1257" y="186"/>
                  </a:lnTo>
                  <a:lnTo>
                    <a:pt x="1296" y="185"/>
                  </a:lnTo>
                  <a:lnTo>
                    <a:pt x="1335" y="183"/>
                  </a:lnTo>
                  <a:lnTo>
                    <a:pt x="1335" y="183"/>
                  </a:lnTo>
                  <a:lnTo>
                    <a:pt x="1367" y="183"/>
                  </a:lnTo>
                  <a:lnTo>
                    <a:pt x="1401" y="185"/>
                  </a:lnTo>
                  <a:lnTo>
                    <a:pt x="1434" y="188"/>
                  </a:lnTo>
                  <a:lnTo>
                    <a:pt x="1466" y="191"/>
                  </a:lnTo>
                  <a:lnTo>
                    <a:pt x="1498" y="196"/>
                  </a:lnTo>
                  <a:lnTo>
                    <a:pt x="1531" y="202"/>
                  </a:lnTo>
                  <a:lnTo>
                    <a:pt x="1561" y="209"/>
                  </a:lnTo>
                  <a:lnTo>
                    <a:pt x="1594" y="215"/>
                  </a:lnTo>
                  <a:lnTo>
                    <a:pt x="1624" y="225"/>
                  </a:lnTo>
                  <a:lnTo>
                    <a:pt x="1655" y="235"/>
                  </a:lnTo>
                  <a:lnTo>
                    <a:pt x="1686" y="244"/>
                  </a:lnTo>
                  <a:lnTo>
                    <a:pt x="1715" y="256"/>
                  </a:lnTo>
                  <a:lnTo>
                    <a:pt x="1744" y="269"/>
                  </a:lnTo>
                  <a:lnTo>
                    <a:pt x="1773" y="282"/>
                  </a:lnTo>
                  <a:lnTo>
                    <a:pt x="1802" y="296"/>
                  </a:lnTo>
                  <a:lnTo>
                    <a:pt x="1831" y="311"/>
                  </a:lnTo>
                  <a:lnTo>
                    <a:pt x="1859" y="327"/>
                  </a:lnTo>
                  <a:lnTo>
                    <a:pt x="1884" y="343"/>
                  </a:lnTo>
                  <a:lnTo>
                    <a:pt x="1912" y="361"/>
                  </a:lnTo>
                  <a:lnTo>
                    <a:pt x="1938" y="380"/>
                  </a:lnTo>
                  <a:lnTo>
                    <a:pt x="1964" y="400"/>
                  </a:lnTo>
                  <a:lnTo>
                    <a:pt x="1988" y="419"/>
                  </a:lnTo>
                  <a:lnTo>
                    <a:pt x="2012" y="440"/>
                  </a:lnTo>
                  <a:lnTo>
                    <a:pt x="2036" y="461"/>
                  </a:lnTo>
                  <a:lnTo>
                    <a:pt x="2059" y="484"/>
                  </a:lnTo>
                  <a:lnTo>
                    <a:pt x="2082" y="506"/>
                  </a:lnTo>
                  <a:lnTo>
                    <a:pt x="2103" y="531"/>
                  </a:lnTo>
                  <a:lnTo>
                    <a:pt x="2124" y="556"/>
                  </a:lnTo>
                  <a:lnTo>
                    <a:pt x="2143" y="581"/>
                  </a:lnTo>
                  <a:lnTo>
                    <a:pt x="2162" y="607"/>
                  </a:lnTo>
                  <a:lnTo>
                    <a:pt x="2182" y="634"/>
                  </a:lnTo>
                  <a:lnTo>
                    <a:pt x="2200" y="661"/>
                  </a:lnTo>
                  <a:lnTo>
                    <a:pt x="2374" y="598"/>
                  </a:lnTo>
                  <a:lnTo>
                    <a:pt x="2374" y="598"/>
                  </a:lnTo>
                  <a:lnTo>
                    <a:pt x="2340" y="543"/>
                  </a:lnTo>
                  <a:lnTo>
                    <a:pt x="2301" y="489"/>
                  </a:lnTo>
                  <a:lnTo>
                    <a:pt x="2261" y="437"/>
                  </a:lnTo>
                  <a:lnTo>
                    <a:pt x="2217" y="387"/>
                  </a:lnTo>
                  <a:lnTo>
                    <a:pt x="2171" y="340"/>
                  </a:lnTo>
                  <a:lnTo>
                    <a:pt x="2122" y="295"/>
                  </a:lnTo>
                  <a:lnTo>
                    <a:pt x="2070" y="253"/>
                  </a:lnTo>
                  <a:lnTo>
                    <a:pt x="2017" y="214"/>
                  </a:lnTo>
                  <a:lnTo>
                    <a:pt x="2017" y="214"/>
                  </a:lnTo>
                  <a:lnTo>
                    <a:pt x="1980" y="188"/>
                  </a:lnTo>
                  <a:lnTo>
                    <a:pt x="1941" y="164"/>
                  </a:lnTo>
                  <a:lnTo>
                    <a:pt x="1901" y="143"/>
                  </a:lnTo>
                  <a:lnTo>
                    <a:pt x="1860" y="122"/>
                  </a:lnTo>
                  <a:lnTo>
                    <a:pt x="1820" y="102"/>
                  </a:lnTo>
                  <a:lnTo>
                    <a:pt x="1778" y="84"/>
                  </a:lnTo>
                  <a:lnTo>
                    <a:pt x="1736" y="70"/>
                  </a:lnTo>
                  <a:lnTo>
                    <a:pt x="1692" y="55"/>
                  </a:lnTo>
                  <a:lnTo>
                    <a:pt x="1650" y="42"/>
                  </a:lnTo>
                  <a:lnTo>
                    <a:pt x="1605" y="31"/>
                  </a:lnTo>
                  <a:lnTo>
                    <a:pt x="1561" y="23"/>
                  </a:lnTo>
                  <a:lnTo>
                    <a:pt x="1516" y="15"/>
                  </a:lnTo>
                  <a:lnTo>
                    <a:pt x="1472" y="8"/>
                  </a:lnTo>
                  <a:lnTo>
                    <a:pt x="1427" y="4"/>
                  </a:lnTo>
                  <a:lnTo>
                    <a:pt x="1380" y="2"/>
                  </a:lnTo>
                  <a:lnTo>
                    <a:pt x="1335" y="0"/>
                  </a:lnTo>
                  <a:lnTo>
                    <a:pt x="1335" y="0"/>
                  </a:lnTo>
                  <a:lnTo>
                    <a:pt x="1283" y="2"/>
                  </a:lnTo>
                  <a:lnTo>
                    <a:pt x="1233" y="5"/>
                  </a:lnTo>
                  <a:lnTo>
                    <a:pt x="1181" y="10"/>
                  </a:lnTo>
                  <a:lnTo>
                    <a:pt x="1133" y="18"/>
                  </a:lnTo>
                  <a:lnTo>
                    <a:pt x="1083" y="28"/>
                  </a:lnTo>
                  <a:lnTo>
                    <a:pt x="1034" y="39"/>
                  </a:lnTo>
                  <a:lnTo>
                    <a:pt x="986" y="52"/>
                  </a:lnTo>
                  <a:lnTo>
                    <a:pt x="939" y="67"/>
                  </a:lnTo>
                  <a:lnTo>
                    <a:pt x="892" y="84"/>
                  </a:lnTo>
                  <a:lnTo>
                    <a:pt x="845" y="104"/>
                  </a:lnTo>
                  <a:lnTo>
                    <a:pt x="800" y="125"/>
                  </a:lnTo>
                  <a:lnTo>
                    <a:pt x="756" y="149"/>
                  </a:lnTo>
                  <a:lnTo>
                    <a:pt x="713" y="175"/>
                  </a:lnTo>
                  <a:lnTo>
                    <a:pt x="669" y="201"/>
                  </a:lnTo>
                  <a:lnTo>
                    <a:pt x="627" y="230"/>
                  </a:lnTo>
                  <a:lnTo>
                    <a:pt x="587" y="262"/>
                  </a:lnTo>
                  <a:lnTo>
                    <a:pt x="587" y="262"/>
                  </a:lnTo>
                  <a:lnTo>
                    <a:pt x="550" y="293"/>
                  </a:lnTo>
                  <a:lnTo>
                    <a:pt x="512" y="327"/>
                  </a:lnTo>
                  <a:lnTo>
                    <a:pt x="477" y="361"/>
                  </a:lnTo>
                  <a:lnTo>
                    <a:pt x="443" y="398"/>
                  </a:lnTo>
                  <a:lnTo>
                    <a:pt x="411" y="435"/>
                  </a:lnTo>
                  <a:lnTo>
                    <a:pt x="380" y="474"/>
                  </a:lnTo>
                  <a:lnTo>
                    <a:pt x="351" y="514"/>
                  </a:lnTo>
                  <a:lnTo>
                    <a:pt x="323" y="555"/>
                  </a:lnTo>
                  <a:lnTo>
                    <a:pt x="297" y="597"/>
                  </a:lnTo>
                  <a:lnTo>
                    <a:pt x="273" y="640"/>
                  </a:lnTo>
                  <a:lnTo>
                    <a:pt x="251" y="684"/>
                  </a:lnTo>
                  <a:lnTo>
                    <a:pt x="229" y="729"/>
                  </a:lnTo>
                  <a:lnTo>
                    <a:pt x="212" y="775"/>
                  </a:lnTo>
                  <a:lnTo>
                    <a:pt x="194" y="822"/>
                  </a:lnTo>
                  <a:lnTo>
                    <a:pt x="179" y="868"/>
                  </a:lnTo>
                  <a:lnTo>
                    <a:pt x="166" y="917"/>
                  </a:lnTo>
                  <a:lnTo>
                    <a:pt x="155" y="962"/>
                  </a:lnTo>
                  <a:lnTo>
                    <a:pt x="0" y="962"/>
                  </a:lnTo>
                  <a:lnTo>
                    <a:pt x="234" y="1226"/>
                  </a:lnTo>
                  <a:lnTo>
                    <a:pt x="470" y="962"/>
                  </a:lnTo>
                  <a:lnTo>
                    <a:pt x="330" y="962"/>
                  </a:lnTo>
                  <a:close/>
                </a:path>
              </a:pathLst>
            </a:custGeom>
            <a:grpFill/>
            <a:ln>
              <a:noFill/>
            </a:ln>
            <a:extLst/>
          </p:spPr>
          <p:txBody>
            <a:bodyPr vert="horz" wrap="square" lIns="91416" tIns="45708" rIns="91416" bIns="45708" numCol="1" anchor="t" anchorCtr="0" compatLnSpc="1">
              <a:prstTxWarp prst="textNoShape">
                <a:avLst/>
              </a:prstTxWarp>
            </a:bodyPr>
            <a:lstStyle/>
            <a:p>
              <a:pPr defTabSz="914103">
                <a:defRPr/>
              </a:pPr>
              <a:r>
                <a:rPr lang="en-US" sz="1100" kern="0" dirty="0">
                  <a:solidFill>
                    <a:srgbClr val="FFFFFF"/>
                  </a:solidFill>
                  <a:latin typeface="+mj-lt"/>
                  <a:ea typeface="Times New Roman"/>
                  <a:cs typeface="Times New Roman"/>
                </a:rPr>
                <a:t> </a:t>
              </a:r>
            </a:p>
          </p:txBody>
        </p:sp>
        <p:sp>
          <p:nvSpPr>
            <p:cNvPr id="572" name="Freeform 571"/>
            <p:cNvSpPr>
              <a:spLocks/>
            </p:cNvSpPr>
            <p:nvPr/>
          </p:nvSpPr>
          <p:spPr bwMode="auto">
            <a:xfrm flipH="1">
              <a:off x="11089059" y="2666297"/>
              <a:ext cx="416962" cy="229156"/>
            </a:xfrm>
            <a:custGeom>
              <a:avLst/>
              <a:gdLst>
                <a:gd name="T0" fmla="*/ 1943 w 2413"/>
                <a:gd name="T1" fmla="*/ 264 h 1327"/>
                <a:gd name="T2" fmla="*/ 2027 w 2413"/>
                <a:gd name="T3" fmla="*/ 464 h 1327"/>
                <a:gd name="T4" fmla="*/ 1980 w 2413"/>
                <a:gd name="T5" fmla="*/ 576 h 1327"/>
                <a:gd name="T6" fmla="*/ 1922 w 2413"/>
                <a:gd name="T7" fmla="*/ 677 h 1327"/>
                <a:gd name="T8" fmla="*/ 1852 w 2413"/>
                <a:gd name="T9" fmla="*/ 773 h 1327"/>
                <a:gd name="T10" fmla="*/ 1773 w 2413"/>
                <a:gd name="T11" fmla="*/ 858 h 1327"/>
                <a:gd name="T12" fmla="*/ 1684 w 2413"/>
                <a:gd name="T13" fmla="*/ 934 h 1327"/>
                <a:gd name="T14" fmla="*/ 1589 w 2413"/>
                <a:gd name="T15" fmla="*/ 999 h 1327"/>
                <a:gd name="T16" fmla="*/ 1485 w 2413"/>
                <a:gd name="T17" fmla="*/ 1052 h 1327"/>
                <a:gd name="T18" fmla="*/ 1377 w 2413"/>
                <a:gd name="T19" fmla="*/ 1094 h 1327"/>
                <a:gd name="T20" fmla="*/ 1262 w 2413"/>
                <a:gd name="T21" fmla="*/ 1125 h 1327"/>
                <a:gd name="T22" fmla="*/ 1146 w 2413"/>
                <a:gd name="T23" fmla="*/ 1141 h 1327"/>
                <a:gd name="T24" fmla="*/ 1065 w 2413"/>
                <a:gd name="T25" fmla="*/ 1145 h 1327"/>
                <a:gd name="T26" fmla="*/ 962 w 2413"/>
                <a:gd name="T27" fmla="*/ 1140 h 1327"/>
                <a:gd name="T28" fmla="*/ 860 w 2413"/>
                <a:gd name="T29" fmla="*/ 1124 h 1327"/>
                <a:gd name="T30" fmla="*/ 761 w 2413"/>
                <a:gd name="T31" fmla="*/ 1098 h 1327"/>
                <a:gd name="T32" fmla="*/ 667 w 2413"/>
                <a:gd name="T33" fmla="*/ 1064 h 1327"/>
                <a:gd name="T34" fmla="*/ 577 w 2413"/>
                <a:gd name="T35" fmla="*/ 1019 h 1327"/>
                <a:gd name="T36" fmla="*/ 491 w 2413"/>
                <a:gd name="T37" fmla="*/ 967 h 1327"/>
                <a:gd name="T38" fmla="*/ 410 w 2413"/>
                <a:gd name="T39" fmla="*/ 905 h 1327"/>
                <a:gd name="T40" fmla="*/ 336 w 2413"/>
                <a:gd name="T41" fmla="*/ 837 h 1327"/>
                <a:gd name="T42" fmla="*/ 268 w 2413"/>
                <a:gd name="T43" fmla="*/ 761 h 1327"/>
                <a:gd name="T44" fmla="*/ 208 w 2413"/>
                <a:gd name="T45" fmla="*/ 679 h 1327"/>
                <a:gd name="T46" fmla="*/ 0 w 2413"/>
                <a:gd name="T47" fmla="*/ 682 h 1327"/>
                <a:gd name="T48" fmla="*/ 37 w 2413"/>
                <a:gd name="T49" fmla="*/ 749 h 1327"/>
                <a:gd name="T50" fmla="*/ 100 w 2413"/>
                <a:gd name="T51" fmla="*/ 842 h 1327"/>
                <a:gd name="T52" fmla="*/ 173 w 2413"/>
                <a:gd name="T53" fmla="*/ 930 h 1327"/>
                <a:gd name="T54" fmla="*/ 252 w 2413"/>
                <a:gd name="T55" fmla="*/ 1010 h 1327"/>
                <a:gd name="T56" fmla="*/ 339 w 2413"/>
                <a:gd name="T57" fmla="*/ 1083 h 1327"/>
                <a:gd name="T58" fmla="*/ 402 w 2413"/>
                <a:gd name="T59" fmla="*/ 1127 h 1327"/>
                <a:gd name="T60" fmla="*/ 515 w 2413"/>
                <a:gd name="T61" fmla="*/ 1193 h 1327"/>
                <a:gd name="T62" fmla="*/ 637 w 2413"/>
                <a:gd name="T63" fmla="*/ 1248 h 1327"/>
                <a:gd name="T64" fmla="*/ 761 w 2413"/>
                <a:gd name="T65" fmla="*/ 1287 h 1327"/>
                <a:gd name="T66" fmla="*/ 889 w 2413"/>
                <a:gd name="T67" fmla="*/ 1314 h 1327"/>
                <a:gd name="T68" fmla="*/ 1021 w 2413"/>
                <a:gd name="T69" fmla="*/ 1326 h 1327"/>
                <a:gd name="T70" fmla="*/ 1117 w 2413"/>
                <a:gd name="T71" fmla="*/ 1326 h 1327"/>
                <a:gd name="T72" fmla="*/ 1270 w 2413"/>
                <a:gd name="T73" fmla="*/ 1308 h 1327"/>
                <a:gd name="T74" fmla="*/ 1421 w 2413"/>
                <a:gd name="T75" fmla="*/ 1272 h 1327"/>
                <a:gd name="T76" fmla="*/ 1564 w 2413"/>
                <a:gd name="T77" fmla="*/ 1217 h 1327"/>
                <a:gd name="T78" fmla="*/ 1702 w 2413"/>
                <a:gd name="T79" fmla="*/ 1145 h 1327"/>
                <a:gd name="T80" fmla="*/ 1828 w 2413"/>
                <a:gd name="T81" fmla="*/ 1054 h 1327"/>
                <a:gd name="T82" fmla="*/ 1904 w 2413"/>
                <a:gd name="T83" fmla="*/ 986 h 1327"/>
                <a:gd name="T84" fmla="*/ 2006 w 2413"/>
                <a:gd name="T85" fmla="*/ 873 h 1327"/>
                <a:gd name="T86" fmla="*/ 2093 w 2413"/>
                <a:gd name="T87" fmla="*/ 747 h 1327"/>
                <a:gd name="T88" fmla="*/ 2164 w 2413"/>
                <a:gd name="T89" fmla="*/ 613 h 1327"/>
                <a:gd name="T90" fmla="*/ 2216 w 2413"/>
                <a:gd name="T91" fmla="*/ 471 h 1327"/>
                <a:gd name="T92" fmla="*/ 2264 w 2413"/>
                <a:gd name="T93" fmla="*/ 264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13" h="1327">
                  <a:moveTo>
                    <a:pt x="2413" y="264"/>
                  </a:moveTo>
                  <a:lnTo>
                    <a:pt x="2177" y="0"/>
                  </a:lnTo>
                  <a:lnTo>
                    <a:pt x="1943" y="264"/>
                  </a:lnTo>
                  <a:lnTo>
                    <a:pt x="2098" y="264"/>
                  </a:lnTo>
                  <a:lnTo>
                    <a:pt x="2027" y="464"/>
                  </a:lnTo>
                  <a:lnTo>
                    <a:pt x="2027" y="464"/>
                  </a:lnTo>
                  <a:lnTo>
                    <a:pt x="2012" y="503"/>
                  </a:lnTo>
                  <a:lnTo>
                    <a:pt x="1998" y="538"/>
                  </a:lnTo>
                  <a:lnTo>
                    <a:pt x="1980" y="576"/>
                  </a:lnTo>
                  <a:lnTo>
                    <a:pt x="1962" y="611"/>
                  </a:lnTo>
                  <a:lnTo>
                    <a:pt x="1943" y="645"/>
                  </a:lnTo>
                  <a:lnTo>
                    <a:pt x="1922" y="677"/>
                  </a:lnTo>
                  <a:lnTo>
                    <a:pt x="1899" y="711"/>
                  </a:lnTo>
                  <a:lnTo>
                    <a:pt x="1876" y="742"/>
                  </a:lnTo>
                  <a:lnTo>
                    <a:pt x="1852" y="773"/>
                  </a:lnTo>
                  <a:lnTo>
                    <a:pt x="1826" y="802"/>
                  </a:lnTo>
                  <a:lnTo>
                    <a:pt x="1800" y="831"/>
                  </a:lnTo>
                  <a:lnTo>
                    <a:pt x="1773" y="858"/>
                  </a:lnTo>
                  <a:lnTo>
                    <a:pt x="1744" y="884"/>
                  </a:lnTo>
                  <a:lnTo>
                    <a:pt x="1715" y="910"/>
                  </a:lnTo>
                  <a:lnTo>
                    <a:pt x="1684" y="934"/>
                  </a:lnTo>
                  <a:lnTo>
                    <a:pt x="1653" y="957"/>
                  </a:lnTo>
                  <a:lnTo>
                    <a:pt x="1621" y="978"/>
                  </a:lnTo>
                  <a:lnTo>
                    <a:pt x="1589" y="999"/>
                  </a:lnTo>
                  <a:lnTo>
                    <a:pt x="1555" y="1019"/>
                  </a:lnTo>
                  <a:lnTo>
                    <a:pt x="1521" y="1036"/>
                  </a:lnTo>
                  <a:lnTo>
                    <a:pt x="1485" y="1052"/>
                  </a:lnTo>
                  <a:lnTo>
                    <a:pt x="1450" y="1069"/>
                  </a:lnTo>
                  <a:lnTo>
                    <a:pt x="1414" y="1083"/>
                  </a:lnTo>
                  <a:lnTo>
                    <a:pt x="1377" y="1094"/>
                  </a:lnTo>
                  <a:lnTo>
                    <a:pt x="1340" y="1106"/>
                  </a:lnTo>
                  <a:lnTo>
                    <a:pt x="1301" y="1117"/>
                  </a:lnTo>
                  <a:lnTo>
                    <a:pt x="1262" y="1125"/>
                  </a:lnTo>
                  <a:lnTo>
                    <a:pt x="1223" y="1132"/>
                  </a:lnTo>
                  <a:lnTo>
                    <a:pt x="1185" y="1137"/>
                  </a:lnTo>
                  <a:lnTo>
                    <a:pt x="1146" y="1141"/>
                  </a:lnTo>
                  <a:lnTo>
                    <a:pt x="1105" y="1143"/>
                  </a:lnTo>
                  <a:lnTo>
                    <a:pt x="1065" y="1145"/>
                  </a:lnTo>
                  <a:lnTo>
                    <a:pt x="1065" y="1145"/>
                  </a:lnTo>
                  <a:lnTo>
                    <a:pt x="1029" y="1143"/>
                  </a:lnTo>
                  <a:lnTo>
                    <a:pt x="995" y="1141"/>
                  </a:lnTo>
                  <a:lnTo>
                    <a:pt x="962" y="1140"/>
                  </a:lnTo>
                  <a:lnTo>
                    <a:pt x="928" y="1135"/>
                  </a:lnTo>
                  <a:lnTo>
                    <a:pt x="894" y="1130"/>
                  </a:lnTo>
                  <a:lnTo>
                    <a:pt x="860" y="1124"/>
                  </a:lnTo>
                  <a:lnTo>
                    <a:pt x="827" y="1115"/>
                  </a:lnTo>
                  <a:lnTo>
                    <a:pt x="793" y="1107"/>
                  </a:lnTo>
                  <a:lnTo>
                    <a:pt x="761" y="1098"/>
                  </a:lnTo>
                  <a:lnTo>
                    <a:pt x="730" y="1088"/>
                  </a:lnTo>
                  <a:lnTo>
                    <a:pt x="698" y="1075"/>
                  </a:lnTo>
                  <a:lnTo>
                    <a:pt x="667" y="1064"/>
                  </a:lnTo>
                  <a:lnTo>
                    <a:pt x="637" y="1049"/>
                  </a:lnTo>
                  <a:lnTo>
                    <a:pt x="606" y="1035"/>
                  </a:lnTo>
                  <a:lnTo>
                    <a:pt x="577" y="1019"/>
                  </a:lnTo>
                  <a:lnTo>
                    <a:pt x="548" y="1002"/>
                  </a:lnTo>
                  <a:lnTo>
                    <a:pt x="519" y="985"/>
                  </a:lnTo>
                  <a:lnTo>
                    <a:pt x="491" y="967"/>
                  </a:lnTo>
                  <a:lnTo>
                    <a:pt x="464" y="947"/>
                  </a:lnTo>
                  <a:lnTo>
                    <a:pt x="436" y="928"/>
                  </a:lnTo>
                  <a:lnTo>
                    <a:pt x="410" y="905"/>
                  </a:lnTo>
                  <a:lnTo>
                    <a:pt x="385" y="884"/>
                  </a:lnTo>
                  <a:lnTo>
                    <a:pt x="360" y="862"/>
                  </a:lnTo>
                  <a:lnTo>
                    <a:pt x="336" y="837"/>
                  </a:lnTo>
                  <a:lnTo>
                    <a:pt x="313" y="813"/>
                  </a:lnTo>
                  <a:lnTo>
                    <a:pt x="291" y="787"/>
                  </a:lnTo>
                  <a:lnTo>
                    <a:pt x="268" y="761"/>
                  </a:lnTo>
                  <a:lnTo>
                    <a:pt x="247" y="736"/>
                  </a:lnTo>
                  <a:lnTo>
                    <a:pt x="228" y="708"/>
                  </a:lnTo>
                  <a:lnTo>
                    <a:pt x="208" y="679"/>
                  </a:lnTo>
                  <a:lnTo>
                    <a:pt x="191" y="650"/>
                  </a:lnTo>
                  <a:lnTo>
                    <a:pt x="173" y="621"/>
                  </a:lnTo>
                  <a:lnTo>
                    <a:pt x="0" y="682"/>
                  </a:lnTo>
                  <a:lnTo>
                    <a:pt x="0" y="682"/>
                  </a:lnTo>
                  <a:lnTo>
                    <a:pt x="18" y="716"/>
                  </a:lnTo>
                  <a:lnTo>
                    <a:pt x="37" y="749"/>
                  </a:lnTo>
                  <a:lnTo>
                    <a:pt x="56" y="781"/>
                  </a:lnTo>
                  <a:lnTo>
                    <a:pt x="77" y="812"/>
                  </a:lnTo>
                  <a:lnTo>
                    <a:pt x="100" y="842"/>
                  </a:lnTo>
                  <a:lnTo>
                    <a:pt x="123" y="871"/>
                  </a:lnTo>
                  <a:lnTo>
                    <a:pt x="147" y="901"/>
                  </a:lnTo>
                  <a:lnTo>
                    <a:pt x="173" y="930"/>
                  </a:lnTo>
                  <a:lnTo>
                    <a:pt x="197" y="957"/>
                  </a:lnTo>
                  <a:lnTo>
                    <a:pt x="225" y="985"/>
                  </a:lnTo>
                  <a:lnTo>
                    <a:pt x="252" y="1010"/>
                  </a:lnTo>
                  <a:lnTo>
                    <a:pt x="280" y="1035"/>
                  </a:lnTo>
                  <a:lnTo>
                    <a:pt x="310" y="1059"/>
                  </a:lnTo>
                  <a:lnTo>
                    <a:pt x="339" y="1083"/>
                  </a:lnTo>
                  <a:lnTo>
                    <a:pt x="370" y="1106"/>
                  </a:lnTo>
                  <a:lnTo>
                    <a:pt x="402" y="1127"/>
                  </a:lnTo>
                  <a:lnTo>
                    <a:pt x="402" y="1127"/>
                  </a:lnTo>
                  <a:lnTo>
                    <a:pt x="440" y="1151"/>
                  </a:lnTo>
                  <a:lnTo>
                    <a:pt x="477" y="1172"/>
                  </a:lnTo>
                  <a:lnTo>
                    <a:pt x="515" y="1193"/>
                  </a:lnTo>
                  <a:lnTo>
                    <a:pt x="556" y="1212"/>
                  </a:lnTo>
                  <a:lnTo>
                    <a:pt x="596" y="1230"/>
                  </a:lnTo>
                  <a:lnTo>
                    <a:pt x="637" y="1248"/>
                  </a:lnTo>
                  <a:lnTo>
                    <a:pt x="677" y="1263"/>
                  </a:lnTo>
                  <a:lnTo>
                    <a:pt x="719" y="1276"/>
                  </a:lnTo>
                  <a:lnTo>
                    <a:pt x="761" y="1287"/>
                  </a:lnTo>
                  <a:lnTo>
                    <a:pt x="803" y="1298"/>
                  </a:lnTo>
                  <a:lnTo>
                    <a:pt x="847" y="1306"/>
                  </a:lnTo>
                  <a:lnTo>
                    <a:pt x="889" y="1314"/>
                  </a:lnTo>
                  <a:lnTo>
                    <a:pt x="932" y="1319"/>
                  </a:lnTo>
                  <a:lnTo>
                    <a:pt x="976" y="1324"/>
                  </a:lnTo>
                  <a:lnTo>
                    <a:pt x="1021" y="1326"/>
                  </a:lnTo>
                  <a:lnTo>
                    <a:pt x="1065" y="1327"/>
                  </a:lnTo>
                  <a:lnTo>
                    <a:pt x="1065" y="1327"/>
                  </a:lnTo>
                  <a:lnTo>
                    <a:pt x="1117" y="1326"/>
                  </a:lnTo>
                  <a:lnTo>
                    <a:pt x="1168" y="1322"/>
                  </a:lnTo>
                  <a:lnTo>
                    <a:pt x="1220" y="1316"/>
                  </a:lnTo>
                  <a:lnTo>
                    <a:pt x="1270" y="1308"/>
                  </a:lnTo>
                  <a:lnTo>
                    <a:pt x="1322" y="1298"/>
                  </a:lnTo>
                  <a:lnTo>
                    <a:pt x="1372" y="1287"/>
                  </a:lnTo>
                  <a:lnTo>
                    <a:pt x="1421" y="1272"/>
                  </a:lnTo>
                  <a:lnTo>
                    <a:pt x="1471" y="1256"/>
                  </a:lnTo>
                  <a:lnTo>
                    <a:pt x="1518" y="1238"/>
                  </a:lnTo>
                  <a:lnTo>
                    <a:pt x="1564" y="1217"/>
                  </a:lnTo>
                  <a:lnTo>
                    <a:pt x="1611" y="1195"/>
                  </a:lnTo>
                  <a:lnTo>
                    <a:pt x="1656" y="1170"/>
                  </a:lnTo>
                  <a:lnTo>
                    <a:pt x="1702" y="1145"/>
                  </a:lnTo>
                  <a:lnTo>
                    <a:pt x="1744" y="1115"/>
                  </a:lnTo>
                  <a:lnTo>
                    <a:pt x="1786" y="1086"/>
                  </a:lnTo>
                  <a:lnTo>
                    <a:pt x="1828" y="1054"/>
                  </a:lnTo>
                  <a:lnTo>
                    <a:pt x="1828" y="1054"/>
                  </a:lnTo>
                  <a:lnTo>
                    <a:pt x="1867" y="1020"/>
                  </a:lnTo>
                  <a:lnTo>
                    <a:pt x="1904" y="986"/>
                  </a:lnTo>
                  <a:lnTo>
                    <a:pt x="1939" y="949"/>
                  </a:lnTo>
                  <a:lnTo>
                    <a:pt x="1973" y="912"/>
                  </a:lnTo>
                  <a:lnTo>
                    <a:pt x="2006" y="873"/>
                  </a:lnTo>
                  <a:lnTo>
                    <a:pt x="2036" y="833"/>
                  </a:lnTo>
                  <a:lnTo>
                    <a:pt x="2065" y="791"/>
                  </a:lnTo>
                  <a:lnTo>
                    <a:pt x="2093" y="747"/>
                  </a:lnTo>
                  <a:lnTo>
                    <a:pt x="2119" y="703"/>
                  </a:lnTo>
                  <a:lnTo>
                    <a:pt x="2141" y="660"/>
                  </a:lnTo>
                  <a:lnTo>
                    <a:pt x="2164" y="613"/>
                  </a:lnTo>
                  <a:lnTo>
                    <a:pt x="2183" y="566"/>
                  </a:lnTo>
                  <a:lnTo>
                    <a:pt x="2201" y="519"/>
                  </a:lnTo>
                  <a:lnTo>
                    <a:pt x="2216" y="471"/>
                  </a:lnTo>
                  <a:lnTo>
                    <a:pt x="2230" y="422"/>
                  </a:lnTo>
                  <a:lnTo>
                    <a:pt x="2242" y="372"/>
                  </a:lnTo>
                  <a:lnTo>
                    <a:pt x="2264" y="264"/>
                  </a:lnTo>
                  <a:lnTo>
                    <a:pt x="2413" y="264"/>
                  </a:lnTo>
                  <a:close/>
                </a:path>
              </a:pathLst>
            </a:custGeom>
            <a:grpFill/>
            <a:ln>
              <a:noFill/>
            </a:ln>
            <a:extLst/>
          </p:spPr>
          <p:txBody>
            <a:bodyPr vert="horz" wrap="square" lIns="91416" tIns="45708" rIns="91416" bIns="45708" numCol="1" anchor="t" anchorCtr="0" compatLnSpc="1">
              <a:prstTxWarp prst="textNoShape">
                <a:avLst/>
              </a:prstTxWarp>
            </a:bodyPr>
            <a:lstStyle/>
            <a:p>
              <a:pPr defTabSz="914103">
                <a:defRPr/>
              </a:pPr>
              <a:r>
                <a:rPr lang="en-US" sz="1100" kern="0" dirty="0">
                  <a:solidFill>
                    <a:srgbClr val="FFFFFF"/>
                  </a:solidFill>
                  <a:latin typeface="+mj-lt"/>
                  <a:ea typeface="Times New Roman"/>
                  <a:cs typeface="Times New Roman"/>
                </a:rPr>
                <a:t> </a:t>
              </a:r>
            </a:p>
          </p:txBody>
        </p:sp>
        <p:sp>
          <p:nvSpPr>
            <p:cNvPr id="573" name="Freeform 13"/>
            <p:cNvSpPr>
              <a:spLocks noEditPoints="1"/>
            </p:cNvSpPr>
            <p:nvPr/>
          </p:nvSpPr>
          <p:spPr bwMode="auto">
            <a:xfrm>
              <a:off x="11198657" y="2565333"/>
              <a:ext cx="244441" cy="244441"/>
            </a:xfrm>
            <a:custGeom>
              <a:avLst/>
              <a:gdLst>
                <a:gd name="T0" fmla="*/ 1347 w 3325"/>
                <a:gd name="T1" fmla="*/ 3204 h 3325"/>
                <a:gd name="T2" fmla="*/ 1418 w 3325"/>
                <a:gd name="T3" fmla="*/ 2719 h 3325"/>
                <a:gd name="T4" fmla="*/ 2061 w 3325"/>
                <a:gd name="T5" fmla="*/ 2670 h 3325"/>
                <a:gd name="T6" fmla="*/ 1771 w 3325"/>
                <a:gd name="T7" fmla="*/ 3232 h 3325"/>
                <a:gd name="T8" fmla="*/ 2365 w 3325"/>
                <a:gd name="T9" fmla="*/ 3070 h 3325"/>
                <a:gd name="T10" fmla="*/ 464 w 3325"/>
                <a:gd name="T11" fmla="*/ 2681 h 3325"/>
                <a:gd name="T12" fmla="*/ 1111 w 3325"/>
                <a:gd name="T13" fmla="*/ 2595 h 3325"/>
                <a:gd name="T14" fmla="*/ 735 w 3325"/>
                <a:gd name="T15" fmla="*/ 2222 h 3325"/>
                <a:gd name="T16" fmla="*/ 2293 w 3325"/>
                <a:gd name="T17" fmla="*/ 2544 h 3325"/>
                <a:gd name="T18" fmla="*/ 2817 w 3325"/>
                <a:gd name="T19" fmla="*/ 2731 h 3325"/>
                <a:gd name="T20" fmla="*/ 1171 w 3325"/>
                <a:gd name="T21" fmla="*/ 2562 h 3325"/>
                <a:gd name="T22" fmla="*/ 1645 w 3325"/>
                <a:gd name="T23" fmla="*/ 2687 h 3325"/>
                <a:gd name="T24" fmla="*/ 1074 w 3325"/>
                <a:gd name="T25" fmla="*/ 2109 h 3325"/>
                <a:gd name="T26" fmla="*/ 997 w 3325"/>
                <a:gd name="T27" fmla="*/ 2208 h 3325"/>
                <a:gd name="T28" fmla="*/ 918 w 3325"/>
                <a:gd name="T29" fmla="*/ 2122 h 3325"/>
                <a:gd name="T30" fmla="*/ 1021 w 3325"/>
                <a:gd name="T31" fmla="*/ 2463 h 3325"/>
                <a:gd name="T32" fmla="*/ 1828 w 3325"/>
                <a:gd name="T33" fmla="*/ 2674 h 3325"/>
                <a:gd name="T34" fmla="*/ 1700 w 3325"/>
                <a:gd name="T35" fmla="*/ 1675 h 3325"/>
                <a:gd name="T36" fmla="*/ 2516 w 3325"/>
                <a:gd name="T37" fmla="*/ 2231 h 3325"/>
                <a:gd name="T38" fmla="*/ 681 w 3325"/>
                <a:gd name="T39" fmla="*/ 1962 h 3325"/>
                <a:gd name="T40" fmla="*/ 92 w 3325"/>
                <a:gd name="T41" fmla="*/ 1756 h 3325"/>
                <a:gd name="T42" fmla="*/ 252 w 3325"/>
                <a:gd name="T43" fmla="*/ 2359 h 3325"/>
                <a:gd name="T44" fmla="*/ 591 w 3325"/>
                <a:gd name="T45" fmla="*/ 1824 h 3325"/>
                <a:gd name="T46" fmla="*/ 687 w 3325"/>
                <a:gd name="T47" fmla="*/ 1346 h 3325"/>
                <a:gd name="T48" fmla="*/ 2367 w 3325"/>
                <a:gd name="T49" fmla="*/ 1150 h 3325"/>
                <a:gd name="T50" fmla="*/ 2292 w 3325"/>
                <a:gd name="T51" fmla="*/ 1250 h 3325"/>
                <a:gd name="T52" fmla="*/ 2408 w 3325"/>
                <a:gd name="T53" fmla="*/ 1298 h 3325"/>
                <a:gd name="T54" fmla="*/ 2424 w 3325"/>
                <a:gd name="T55" fmla="*/ 1174 h 3325"/>
                <a:gd name="T56" fmla="*/ 178 w 3325"/>
                <a:gd name="T57" fmla="*/ 1143 h 3325"/>
                <a:gd name="T58" fmla="*/ 585 w 3325"/>
                <a:gd name="T59" fmla="*/ 1551 h 3325"/>
                <a:gd name="T60" fmla="*/ 297 w 3325"/>
                <a:gd name="T61" fmla="*/ 881 h 3325"/>
                <a:gd name="T62" fmla="*/ 828 w 3325"/>
                <a:gd name="T63" fmla="*/ 1067 h 3325"/>
                <a:gd name="T64" fmla="*/ 651 w 3325"/>
                <a:gd name="T65" fmla="*/ 458 h 3325"/>
                <a:gd name="T66" fmla="*/ 739 w 3325"/>
                <a:gd name="T67" fmla="*/ 1096 h 3325"/>
                <a:gd name="T68" fmla="*/ 1108 w 3325"/>
                <a:gd name="T69" fmla="*/ 732 h 3325"/>
                <a:gd name="T70" fmla="*/ 1008 w 3325"/>
                <a:gd name="T71" fmla="*/ 677 h 3325"/>
                <a:gd name="T72" fmla="*/ 1659 w 3325"/>
                <a:gd name="T73" fmla="*/ 0 h 3325"/>
                <a:gd name="T74" fmla="*/ 1130 w 3325"/>
                <a:gd name="T75" fmla="*/ 182 h 3325"/>
                <a:gd name="T76" fmla="*/ 1097 w 3325"/>
                <a:gd name="T77" fmla="*/ 561 h 3325"/>
                <a:gd name="T78" fmla="*/ 1148 w 3325"/>
                <a:gd name="T79" fmla="*/ 671 h 3325"/>
                <a:gd name="T80" fmla="*/ 1423 w 3325"/>
                <a:gd name="T81" fmla="*/ 606 h 3325"/>
                <a:gd name="T82" fmla="*/ 1437 w 3325"/>
                <a:gd name="T83" fmla="*/ 663 h 3325"/>
                <a:gd name="T84" fmla="*/ 1662 w 3325"/>
                <a:gd name="T85" fmla="*/ 638 h 3325"/>
                <a:gd name="T86" fmla="*/ 2180 w 3325"/>
                <a:gd name="T87" fmla="*/ 778 h 3325"/>
                <a:gd name="T88" fmla="*/ 2547 w 3325"/>
                <a:gd name="T89" fmla="*/ 1145 h 3325"/>
                <a:gd name="T90" fmla="*/ 2687 w 3325"/>
                <a:gd name="T91" fmla="*/ 1663 h 3325"/>
                <a:gd name="T92" fmla="*/ 2677 w 3325"/>
                <a:gd name="T93" fmla="*/ 1807 h 3325"/>
                <a:gd name="T94" fmla="*/ 2703 w 3325"/>
                <a:gd name="T95" fmla="*/ 1963 h 3325"/>
                <a:gd name="T96" fmla="*/ 3158 w 3325"/>
                <a:gd name="T97" fmla="*/ 2148 h 3325"/>
                <a:gd name="T98" fmla="*/ 3322 w 3325"/>
                <a:gd name="T99" fmla="*/ 1764 h 3325"/>
                <a:gd name="T100" fmla="*/ 3143 w 3325"/>
                <a:gd name="T101" fmla="*/ 2418 h 3325"/>
                <a:gd name="T102" fmla="*/ 2734 w 3325"/>
                <a:gd name="T103" fmla="*/ 2934 h 3325"/>
                <a:gd name="T104" fmla="*/ 2150 w 3325"/>
                <a:gd name="T105" fmla="*/ 3252 h 3325"/>
                <a:gd name="T106" fmla="*/ 1461 w 3325"/>
                <a:gd name="T107" fmla="*/ 3313 h 3325"/>
                <a:gd name="T108" fmla="*/ 823 w 3325"/>
                <a:gd name="T109" fmla="*/ 3098 h 3325"/>
                <a:gd name="T110" fmla="*/ 332 w 3325"/>
                <a:gd name="T111" fmla="*/ 2660 h 3325"/>
                <a:gd name="T112" fmla="*/ 47 w 3325"/>
                <a:gd name="T113" fmla="*/ 2058 h 3325"/>
                <a:gd name="T114" fmla="*/ 26 w 3325"/>
                <a:gd name="T115" fmla="*/ 1364 h 3325"/>
                <a:gd name="T116" fmla="*/ 276 w 3325"/>
                <a:gd name="T117" fmla="*/ 744 h 3325"/>
                <a:gd name="T118" fmla="*/ 741 w 3325"/>
                <a:gd name="T119" fmla="*/ 279 h 3325"/>
                <a:gd name="T120" fmla="*/ 1360 w 3325"/>
                <a:gd name="T121" fmla="*/ 27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5" h="3325">
                  <a:moveTo>
                    <a:pt x="1141" y="2613"/>
                  </a:moveTo>
                  <a:lnTo>
                    <a:pt x="896" y="3036"/>
                  </a:lnTo>
                  <a:lnTo>
                    <a:pt x="981" y="3081"/>
                  </a:lnTo>
                  <a:lnTo>
                    <a:pt x="1069" y="3119"/>
                  </a:lnTo>
                  <a:lnTo>
                    <a:pt x="1159" y="3153"/>
                  </a:lnTo>
                  <a:lnTo>
                    <a:pt x="1252" y="3182"/>
                  </a:lnTo>
                  <a:lnTo>
                    <a:pt x="1347" y="3204"/>
                  </a:lnTo>
                  <a:lnTo>
                    <a:pt x="1445" y="3220"/>
                  </a:lnTo>
                  <a:lnTo>
                    <a:pt x="1544" y="3231"/>
                  </a:lnTo>
                  <a:lnTo>
                    <a:pt x="1645" y="3235"/>
                  </a:lnTo>
                  <a:lnTo>
                    <a:pt x="1645" y="2746"/>
                  </a:lnTo>
                  <a:lnTo>
                    <a:pt x="1567" y="2742"/>
                  </a:lnTo>
                  <a:lnTo>
                    <a:pt x="1491" y="2733"/>
                  </a:lnTo>
                  <a:lnTo>
                    <a:pt x="1418" y="2719"/>
                  </a:lnTo>
                  <a:lnTo>
                    <a:pt x="1345" y="2698"/>
                  </a:lnTo>
                  <a:lnTo>
                    <a:pt x="1274" y="2674"/>
                  </a:lnTo>
                  <a:lnTo>
                    <a:pt x="1207" y="2646"/>
                  </a:lnTo>
                  <a:lnTo>
                    <a:pt x="1141" y="2613"/>
                  </a:lnTo>
                  <a:close/>
                  <a:moveTo>
                    <a:pt x="2197" y="2605"/>
                  </a:moveTo>
                  <a:lnTo>
                    <a:pt x="2130" y="2640"/>
                  </a:lnTo>
                  <a:lnTo>
                    <a:pt x="2061" y="2670"/>
                  </a:lnTo>
                  <a:lnTo>
                    <a:pt x="1988" y="2696"/>
                  </a:lnTo>
                  <a:lnTo>
                    <a:pt x="1914" y="2717"/>
                  </a:lnTo>
                  <a:lnTo>
                    <a:pt x="1838" y="2732"/>
                  </a:lnTo>
                  <a:lnTo>
                    <a:pt x="1760" y="2742"/>
                  </a:lnTo>
                  <a:lnTo>
                    <a:pt x="1680" y="2746"/>
                  </a:lnTo>
                  <a:lnTo>
                    <a:pt x="1680" y="3235"/>
                  </a:lnTo>
                  <a:lnTo>
                    <a:pt x="1771" y="3232"/>
                  </a:lnTo>
                  <a:lnTo>
                    <a:pt x="1862" y="3223"/>
                  </a:lnTo>
                  <a:lnTo>
                    <a:pt x="1951" y="3209"/>
                  </a:lnTo>
                  <a:lnTo>
                    <a:pt x="2037" y="3191"/>
                  </a:lnTo>
                  <a:lnTo>
                    <a:pt x="2123" y="3167"/>
                  </a:lnTo>
                  <a:lnTo>
                    <a:pt x="2206" y="3139"/>
                  </a:lnTo>
                  <a:lnTo>
                    <a:pt x="2287" y="3107"/>
                  </a:lnTo>
                  <a:lnTo>
                    <a:pt x="2365" y="3070"/>
                  </a:lnTo>
                  <a:lnTo>
                    <a:pt x="2442" y="3029"/>
                  </a:lnTo>
                  <a:lnTo>
                    <a:pt x="2197" y="2605"/>
                  </a:lnTo>
                  <a:close/>
                  <a:moveTo>
                    <a:pt x="735" y="2222"/>
                  </a:moveTo>
                  <a:lnTo>
                    <a:pt x="311" y="2467"/>
                  </a:lnTo>
                  <a:lnTo>
                    <a:pt x="358" y="2542"/>
                  </a:lnTo>
                  <a:lnTo>
                    <a:pt x="409" y="2614"/>
                  </a:lnTo>
                  <a:lnTo>
                    <a:pt x="464" y="2681"/>
                  </a:lnTo>
                  <a:lnTo>
                    <a:pt x="523" y="2747"/>
                  </a:lnTo>
                  <a:lnTo>
                    <a:pt x="585" y="2808"/>
                  </a:lnTo>
                  <a:lnTo>
                    <a:pt x="651" y="2867"/>
                  </a:lnTo>
                  <a:lnTo>
                    <a:pt x="719" y="2921"/>
                  </a:lnTo>
                  <a:lnTo>
                    <a:pt x="791" y="2973"/>
                  </a:lnTo>
                  <a:lnTo>
                    <a:pt x="867" y="3019"/>
                  </a:lnTo>
                  <a:lnTo>
                    <a:pt x="1111" y="2595"/>
                  </a:lnTo>
                  <a:lnTo>
                    <a:pt x="1046" y="2554"/>
                  </a:lnTo>
                  <a:lnTo>
                    <a:pt x="985" y="2509"/>
                  </a:lnTo>
                  <a:lnTo>
                    <a:pt x="927" y="2458"/>
                  </a:lnTo>
                  <a:lnTo>
                    <a:pt x="873" y="2405"/>
                  </a:lnTo>
                  <a:lnTo>
                    <a:pt x="822" y="2347"/>
                  </a:lnTo>
                  <a:lnTo>
                    <a:pt x="777" y="2287"/>
                  </a:lnTo>
                  <a:lnTo>
                    <a:pt x="735" y="2222"/>
                  </a:lnTo>
                  <a:close/>
                  <a:moveTo>
                    <a:pt x="2604" y="2198"/>
                  </a:moveTo>
                  <a:lnTo>
                    <a:pt x="2563" y="2264"/>
                  </a:lnTo>
                  <a:lnTo>
                    <a:pt x="2518" y="2328"/>
                  </a:lnTo>
                  <a:lnTo>
                    <a:pt x="2467" y="2388"/>
                  </a:lnTo>
                  <a:lnTo>
                    <a:pt x="2413" y="2444"/>
                  </a:lnTo>
                  <a:lnTo>
                    <a:pt x="2354" y="2497"/>
                  </a:lnTo>
                  <a:lnTo>
                    <a:pt x="2293" y="2544"/>
                  </a:lnTo>
                  <a:lnTo>
                    <a:pt x="2227" y="2587"/>
                  </a:lnTo>
                  <a:lnTo>
                    <a:pt x="2472" y="3011"/>
                  </a:lnTo>
                  <a:lnTo>
                    <a:pt x="2547" y="2963"/>
                  </a:lnTo>
                  <a:lnTo>
                    <a:pt x="2620" y="2910"/>
                  </a:lnTo>
                  <a:lnTo>
                    <a:pt x="2689" y="2854"/>
                  </a:lnTo>
                  <a:lnTo>
                    <a:pt x="2755" y="2794"/>
                  </a:lnTo>
                  <a:lnTo>
                    <a:pt x="2817" y="2731"/>
                  </a:lnTo>
                  <a:lnTo>
                    <a:pt x="2876" y="2663"/>
                  </a:lnTo>
                  <a:lnTo>
                    <a:pt x="2931" y="2592"/>
                  </a:lnTo>
                  <a:lnTo>
                    <a:pt x="2982" y="2519"/>
                  </a:lnTo>
                  <a:lnTo>
                    <a:pt x="3028" y="2442"/>
                  </a:lnTo>
                  <a:lnTo>
                    <a:pt x="2604" y="2198"/>
                  </a:lnTo>
                  <a:close/>
                  <a:moveTo>
                    <a:pt x="1645" y="1740"/>
                  </a:moveTo>
                  <a:lnTo>
                    <a:pt x="1171" y="2562"/>
                  </a:lnTo>
                  <a:lnTo>
                    <a:pt x="1232" y="2593"/>
                  </a:lnTo>
                  <a:lnTo>
                    <a:pt x="1297" y="2621"/>
                  </a:lnTo>
                  <a:lnTo>
                    <a:pt x="1362" y="2643"/>
                  </a:lnTo>
                  <a:lnTo>
                    <a:pt x="1431" y="2661"/>
                  </a:lnTo>
                  <a:lnTo>
                    <a:pt x="1501" y="2675"/>
                  </a:lnTo>
                  <a:lnTo>
                    <a:pt x="1572" y="2683"/>
                  </a:lnTo>
                  <a:lnTo>
                    <a:pt x="1645" y="2687"/>
                  </a:lnTo>
                  <a:lnTo>
                    <a:pt x="1645" y="1740"/>
                  </a:lnTo>
                  <a:close/>
                  <a:moveTo>
                    <a:pt x="1623" y="1709"/>
                  </a:moveTo>
                  <a:lnTo>
                    <a:pt x="1025" y="2055"/>
                  </a:lnTo>
                  <a:lnTo>
                    <a:pt x="1041" y="2064"/>
                  </a:lnTo>
                  <a:lnTo>
                    <a:pt x="1056" y="2076"/>
                  </a:lnTo>
                  <a:lnTo>
                    <a:pt x="1067" y="2092"/>
                  </a:lnTo>
                  <a:lnTo>
                    <a:pt x="1074" y="2109"/>
                  </a:lnTo>
                  <a:lnTo>
                    <a:pt x="1077" y="2129"/>
                  </a:lnTo>
                  <a:lnTo>
                    <a:pt x="1074" y="2150"/>
                  </a:lnTo>
                  <a:lnTo>
                    <a:pt x="1066" y="2169"/>
                  </a:lnTo>
                  <a:lnTo>
                    <a:pt x="1053" y="2185"/>
                  </a:lnTo>
                  <a:lnTo>
                    <a:pt x="1037" y="2198"/>
                  </a:lnTo>
                  <a:lnTo>
                    <a:pt x="1018" y="2206"/>
                  </a:lnTo>
                  <a:lnTo>
                    <a:pt x="997" y="2208"/>
                  </a:lnTo>
                  <a:lnTo>
                    <a:pt x="976" y="2206"/>
                  </a:lnTo>
                  <a:lnTo>
                    <a:pt x="957" y="2198"/>
                  </a:lnTo>
                  <a:lnTo>
                    <a:pt x="941" y="2185"/>
                  </a:lnTo>
                  <a:lnTo>
                    <a:pt x="928" y="2169"/>
                  </a:lnTo>
                  <a:lnTo>
                    <a:pt x="920" y="2150"/>
                  </a:lnTo>
                  <a:lnTo>
                    <a:pt x="918" y="2129"/>
                  </a:lnTo>
                  <a:lnTo>
                    <a:pt x="918" y="2122"/>
                  </a:lnTo>
                  <a:lnTo>
                    <a:pt x="919" y="2116"/>
                  </a:lnTo>
                  <a:lnTo>
                    <a:pt x="785" y="2193"/>
                  </a:lnTo>
                  <a:lnTo>
                    <a:pt x="824" y="2253"/>
                  </a:lnTo>
                  <a:lnTo>
                    <a:pt x="869" y="2311"/>
                  </a:lnTo>
                  <a:lnTo>
                    <a:pt x="916" y="2365"/>
                  </a:lnTo>
                  <a:lnTo>
                    <a:pt x="967" y="2416"/>
                  </a:lnTo>
                  <a:lnTo>
                    <a:pt x="1021" y="2463"/>
                  </a:lnTo>
                  <a:lnTo>
                    <a:pt x="1080" y="2506"/>
                  </a:lnTo>
                  <a:lnTo>
                    <a:pt x="1140" y="2545"/>
                  </a:lnTo>
                  <a:lnTo>
                    <a:pt x="1623" y="1709"/>
                  </a:lnTo>
                  <a:close/>
                  <a:moveTo>
                    <a:pt x="1680" y="1708"/>
                  </a:moveTo>
                  <a:lnTo>
                    <a:pt x="1680" y="2687"/>
                  </a:lnTo>
                  <a:lnTo>
                    <a:pt x="1755" y="2683"/>
                  </a:lnTo>
                  <a:lnTo>
                    <a:pt x="1828" y="2674"/>
                  </a:lnTo>
                  <a:lnTo>
                    <a:pt x="1901" y="2660"/>
                  </a:lnTo>
                  <a:lnTo>
                    <a:pt x="1971" y="2641"/>
                  </a:lnTo>
                  <a:lnTo>
                    <a:pt x="2039" y="2617"/>
                  </a:lnTo>
                  <a:lnTo>
                    <a:pt x="2105" y="2587"/>
                  </a:lnTo>
                  <a:lnTo>
                    <a:pt x="2168" y="2554"/>
                  </a:lnTo>
                  <a:lnTo>
                    <a:pt x="1680" y="1708"/>
                  </a:lnTo>
                  <a:close/>
                  <a:moveTo>
                    <a:pt x="1700" y="1675"/>
                  </a:moveTo>
                  <a:lnTo>
                    <a:pt x="2198" y="2537"/>
                  </a:lnTo>
                  <a:lnTo>
                    <a:pt x="2259" y="2496"/>
                  </a:lnTo>
                  <a:lnTo>
                    <a:pt x="2318" y="2450"/>
                  </a:lnTo>
                  <a:lnTo>
                    <a:pt x="2373" y="2402"/>
                  </a:lnTo>
                  <a:lnTo>
                    <a:pt x="2425" y="2348"/>
                  </a:lnTo>
                  <a:lnTo>
                    <a:pt x="2472" y="2292"/>
                  </a:lnTo>
                  <a:lnTo>
                    <a:pt x="2516" y="2231"/>
                  </a:lnTo>
                  <a:lnTo>
                    <a:pt x="2554" y="2169"/>
                  </a:lnTo>
                  <a:lnTo>
                    <a:pt x="1700" y="1675"/>
                  </a:lnTo>
                  <a:close/>
                  <a:moveTo>
                    <a:pt x="638" y="1663"/>
                  </a:moveTo>
                  <a:lnTo>
                    <a:pt x="640" y="1740"/>
                  </a:lnTo>
                  <a:lnTo>
                    <a:pt x="649" y="1815"/>
                  </a:lnTo>
                  <a:lnTo>
                    <a:pt x="663" y="1889"/>
                  </a:lnTo>
                  <a:lnTo>
                    <a:pt x="681" y="1962"/>
                  </a:lnTo>
                  <a:lnTo>
                    <a:pt x="705" y="2031"/>
                  </a:lnTo>
                  <a:lnTo>
                    <a:pt x="735" y="2098"/>
                  </a:lnTo>
                  <a:lnTo>
                    <a:pt x="768" y="2164"/>
                  </a:lnTo>
                  <a:lnTo>
                    <a:pt x="1635" y="1663"/>
                  </a:lnTo>
                  <a:lnTo>
                    <a:pt x="638" y="1663"/>
                  </a:lnTo>
                  <a:close/>
                  <a:moveTo>
                    <a:pt x="90" y="1663"/>
                  </a:moveTo>
                  <a:lnTo>
                    <a:pt x="92" y="1756"/>
                  </a:lnTo>
                  <a:lnTo>
                    <a:pt x="100" y="1848"/>
                  </a:lnTo>
                  <a:lnTo>
                    <a:pt x="113" y="1938"/>
                  </a:lnTo>
                  <a:lnTo>
                    <a:pt x="132" y="2026"/>
                  </a:lnTo>
                  <a:lnTo>
                    <a:pt x="154" y="2113"/>
                  </a:lnTo>
                  <a:lnTo>
                    <a:pt x="183" y="2198"/>
                  </a:lnTo>
                  <a:lnTo>
                    <a:pt x="215" y="2280"/>
                  </a:lnTo>
                  <a:lnTo>
                    <a:pt x="252" y="2359"/>
                  </a:lnTo>
                  <a:lnTo>
                    <a:pt x="294" y="2437"/>
                  </a:lnTo>
                  <a:lnTo>
                    <a:pt x="717" y="2193"/>
                  </a:lnTo>
                  <a:lnTo>
                    <a:pt x="682" y="2124"/>
                  </a:lnTo>
                  <a:lnTo>
                    <a:pt x="651" y="2053"/>
                  </a:lnTo>
                  <a:lnTo>
                    <a:pt x="626" y="1979"/>
                  </a:lnTo>
                  <a:lnTo>
                    <a:pt x="605" y="1902"/>
                  </a:lnTo>
                  <a:lnTo>
                    <a:pt x="591" y="1824"/>
                  </a:lnTo>
                  <a:lnTo>
                    <a:pt x="582" y="1745"/>
                  </a:lnTo>
                  <a:lnTo>
                    <a:pt x="579" y="1663"/>
                  </a:lnTo>
                  <a:lnTo>
                    <a:pt x="90" y="1663"/>
                  </a:lnTo>
                  <a:close/>
                  <a:moveTo>
                    <a:pt x="772" y="1155"/>
                  </a:moveTo>
                  <a:lnTo>
                    <a:pt x="740" y="1216"/>
                  </a:lnTo>
                  <a:lnTo>
                    <a:pt x="711" y="1281"/>
                  </a:lnTo>
                  <a:lnTo>
                    <a:pt x="687" y="1346"/>
                  </a:lnTo>
                  <a:lnTo>
                    <a:pt x="668" y="1414"/>
                  </a:lnTo>
                  <a:lnTo>
                    <a:pt x="653" y="1483"/>
                  </a:lnTo>
                  <a:lnTo>
                    <a:pt x="643" y="1555"/>
                  </a:lnTo>
                  <a:lnTo>
                    <a:pt x="638" y="1628"/>
                  </a:lnTo>
                  <a:lnTo>
                    <a:pt x="1590" y="1628"/>
                  </a:lnTo>
                  <a:lnTo>
                    <a:pt x="772" y="1155"/>
                  </a:lnTo>
                  <a:close/>
                  <a:moveTo>
                    <a:pt x="2367" y="1150"/>
                  </a:moveTo>
                  <a:lnTo>
                    <a:pt x="2347" y="1153"/>
                  </a:lnTo>
                  <a:lnTo>
                    <a:pt x="2328" y="1161"/>
                  </a:lnTo>
                  <a:lnTo>
                    <a:pt x="2312" y="1174"/>
                  </a:lnTo>
                  <a:lnTo>
                    <a:pt x="2300" y="1190"/>
                  </a:lnTo>
                  <a:lnTo>
                    <a:pt x="2292" y="1208"/>
                  </a:lnTo>
                  <a:lnTo>
                    <a:pt x="2289" y="1229"/>
                  </a:lnTo>
                  <a:lnTo>
                    <a:pt x="2292" y="1250"/>
                  </a:lnTo>
                  <a:lnTo>
                    <a:pt x="2300" y="1269"/>
                  </a:lnTo>
                  <a:lnTo>
                    <a:pt x="2312" y="1286"/>
                  </a:lnTo>
                  <a:lnTo>
                    <a:pt x="2328" y="1298"/>
                  </a:lnTo>
                  <a:lnTo>
                    <a:pt x="2347" y="1306"/>
                  </a:lnTo>
                  <a:lnTo>
                    <a:pt x="2367" y="1309"/>
                  </a:lnTo>
                  <a:lnTo>
                    <a:pt x="2389" y="1306"/>
                  </a:lnTo>
                  <a:lnTo>
                    <a:pt x="2408" y="1298"/>
                  </a:lnTo>
                  <a:lnTo>
                    <a:pt x="2424" y="1286"/>
                  </a:lnTo>
                  <a:lnTo>
                    <a:pt x="2436" y="1269"/>
                  </a:lnTo>
                  <a:lnTo>
                    <a:pt x="2444" y="1250"/>
                  </a:lnTo>
                  <a:lnTo>
                    <a:pt x="2447" y="1229"/>
                  </a:lnTo>
                  <a:lnTo>
                    <a:pt x="2444" y="1208"/>
                  </a:lnTo>
                  <a:lnTo>
                    <a:pt x="2436" y="1190"/>
                  </a:lnTo>
                  <a:lnTo>
                    <a:pt x="2424" y="1174"/>
                  </a:lnTo>
                  <a:lnTo>
                    <a:pt x="2408" y="1161"/>
                  </a:lnTo>
                  <a:lnTo>
                    <a:pt x="2389" y="1153"/>
                  </a:lnTo>
                  <a:lnTo>
                    <a:pt x="2367" y="1150"/>
                  </a:lnTo>
                  <a:close/>
                  <a:moveTo>
                    <a:pt x="297" y="881"/>
                  </a:moveTo>
                  <a:lnTo>
                    <a:pt x="252" y="966"/>
                  </a:lnTo>
                  <a:lnTo>
                    <a:pt x="212" y="1053"/>
                  </a:lnTo>
                  <a:lnTo>
                    <a:pt x="178" y="1143"/>
                  </a:lnTo>
                  <a:lnTo>
                    <a:pt x="148" y="1235"/>
                  </a:lnTo>
                  <a:lnTo>
                    <a:pt x="124" y="1331"/>
                  </a:lnTo>
                  <a:lnTo>
                    <a:pt x="107" y="1428"/>
                  </a:lnTo>
                  <a:lnTo>
                    <a:pt x="95" y="1527"/>
                  </a:lnTo>
                  <a:lnTo>
                    <a:pt x="90" y="1628"/>
                  </a:lnTo>
                  <a:lnTo>
                    <a:pt x="579" y="1628"/>
                  </a:lnTo>
                  <a:lnTo>
                    <a:pt x="585" y="1551"/>
                  </a:lnTo>
                  <a:lnTo>
                    <a:pt x="595" y="1474"/>
                  </a:lnTo>
                  <a:lnTo>
                    <a:pt x="611" y="1401"/>
                  </a:lnTo>
                  <a:lnTo>
                    <a:pt x="632" y="1329"/>
                  </a:lnTo>
                  <a:lnTo>
                    <a:pt x="657" y="1258"/>
                  </a:lnTo>
                  <a:lnTo>
                    <a:pt x="687" y="1191"/>
                  </a:lnTo>
                  <a:lnTo>
                    <a:pt x="722" y="1126"/>
                  </a:lnTo>
                  <a:lnTo>
                    <a:pt x="297" y="881"/>
                  </a:lnTo>
                  <a:close/>
                  <a:moveTo>
                    <a:pt x="1137" y="782"/>
                  </a:moveTo>
                  <a:lnTo>
                    <a:pt x="1078" y="820"/>
                  </a:lnTo>
                  <a:lnTo>
                    <a:pt x="1021" y="863"/>
                  </a:lnTo>
                  <a:lnTo>
                    <a:pt x="968" y="908"/>
                  </a:lnTo>
                  <a:lnTo>
                    <a:pt x="918" y="958"/>
                  </a:lnTo>
                  <a:lnTo>
                    <a:pt x="872" y="1011"/>
                  </a:lnTo>
                  <a:lnTo>
                    <a:pt x="828" y="1067"/>
                  </a:lnTo>
                  <a:lnTo>
                    <a:pt x="789" y="1125"/>
                  </a:lnTo>
                  <a:lnTo>
                    <a:pt x="1608" y="1598"/>
                  </a:lnTo>
                  <a:lnTo>
                    <a:pt x="1137" y="782"/>
                  </a:lnTo>
                  <a:close/>
                  <a:moveTo>
                    <a:pt x="864" y="308"/>
                  </a:moveTo>
                  <a:lnTo>
                    <a:pt x="790" y="354"/>
                  </a:lnTo>
                  <a:lnTo>
                    <a:pt x="718" y="404"/>
                  </a:lnTo>
                  <a:lnTo>
                    <a:pt x="651" y="458"/>
                  </a:lnTo>
                  <a:lnTo>
                    <a:pt x="586" y="516"/>
                  </a:lnTo>
                  <a:lnTo>
                    <a:pt x="525" y="576"/>
                  </a:lnTo>
                  <a:lnTo>
                    <a:pt x="467" y="641"/>
                  </a:lnTo>
                  <a:lnTo>
                    <a:pt x="413" y="707"/>
                  </a:lnTo>
                  <a:lnTo>
                    <a:pt x="361" y="778"/>
                  </a:lnTo>
                  <a:lnTo>
                    <a:pt x="315" y="851"/>
                  </a:lnTo>
                  <a:lnTo>
                    <a:pt x="739" y="1096"/>
                  </a:lnTo>
                  <a:lnTo>
                    <a:pt x="780" y="1033"/>
                  </a:lnTo>
                  <a:lnTo>
                    <a:pt x="825" y="974"/>
                  </a:lnTo>
                  <a:lnTo>
                    <a:pt x="875" y="918"/>
                  </a:lnTo>
                  <a:lnTo>
                    <a:pt x="928" y="866"/>
                  </a:lnTo>
                  <a:lnTo>
                    <a:pt x="985" y="817"/>
                  </a:lnTo>
                  <a:lnTo>
                    <a:pt x="1045" y="772"/>
                  </a:lnTo>
                  <a:lnTo>
                    <a:pt x="1108" y="732"/>
                  </a:lnTo>
                  <a:lnTo>
                    <a:pt x="1098" y="713"/>
                  </a:lnTo>
                  <a:lnTo>
                    <a:pt x="1087" y="717"/>
                  </a:lnTo>
                  <a:lnTo>
                    <a:pt x="1077" y="717"/>
                  </a:lnTo>
                  <a:lnTo>
                    <a:pt x="1056" y="714"/>
                  </a:lnTo>
                  <a:lnTo>
                    <a:pt x="1036" y="706"/>
                  </a:lnTo>
                  <a:lnTo>
                    <a:pt x="1020" y="693"/>
                  </a:lnTo>
                  <a:lnTo>
                    <a:pt x="1008" y="677"/>
                  </a:lnTo>
                  <a:lnTo>
                    <a:pt x="1000" y="659"/>
                  </a:lnTo>
                  <a:lnTo>
                    <a:pt x="997" y="638"/>
                  </a:lnTo>
                  <a:lnTo>
                    <a:pt x="1000" y="617"/>
                  </a:lnTo>
                  <a:lnTo>
                    <a:pt x="1008" y="597"/>
                  </a:lnTo>
                  <a:lnTo>
                    <a:pt x="1021" y="581"/>
                  </a:lnTo>
                  <a:lnTo>
                    <a:pt x="864" y="308"/>
                  </a:lnTo>
                  <a:close/>
                  <a:moveTo>
                    <a:pt x="1659" y="0"/>
                  </a:moveTo>
                  <a:lnTo>
                    <a:pt x="1659" y="90"/>
                  </a:lnTo>
                  <a:lnTo>
                    <a:pt x="1567" y="93"/>
                  </a:lnTo>
                  <a:lnTo>
                    <a:pt x="1476" y="101"/>
                  </a:lnTo>
                  <a:lnTo>
                    <a:pt x="1388" y="114"/>
                  </a:lnTo>
                  <a:lnTo>
                    <a:pt x="1300" y="132"/>
                  </a:lnTo>
                  <a:lnTo>
                    <a:pt x="1214" y="154"/>
                  </a:lnTo>
                  <a:lnTo>
                    <a:pt x="1130" y="182"/>
                  </a:lnTo>
                  <a:lnTo>
                    <a:pt x="1049" y="214"/>
                  </a:lnTo>
                  <a:lnTo>
                    <a:pt x="970" y="250"/>
                  </a:lnTo>
                  <a:lnTo>
                    <a:pt x="893" y="291"/>
                  </a:lnTo>
                  <a:lnTo>
                    <a:pt x="1050" y="563"/>
                  </a:lnTo>
                  <a:lnTo>
                    <a:pt x="1064" y="559"/>
                  </a:lnTo>
                  <a:lnTo>
                    <a:pt x="1077" y="558"/>
                  </a:lnTo>
                  <a:lnTo>
                    <a:pt x="1097" y="561"/>
                  </a:lnTo>
                  <a:lnTo>
                    <a:pt x="1116" y="569"/>
                  </a:lnTo>
                  <a:lnTo>
                    <a:pt x="1132" y="581"/>
                  </a:lnTo>
                  <a:lnTo>
                    <a:pt x="1144" y="597"/>
                  </a:lnTo>
                  <a:lnTo>
                    <a:pt x="1152" y="617"/>
                  </a:lnTo>
                  <a:lnTo>
                    <a:pt x="1155" y="638"/>
                  </a:lnTo>
                  <a:lnTo>
                    <a:pt x="1153" y="655"/>
                  </a:lnTo>
                  <a:lnTo>
                    <a:pt x="1148" y="671"/>
                  </a:lnTo>
                  <a:lnTo>
                    <a:pt x="1139" y="685"/>
                  </a:lnTo>
                  <a:lnTo>
                    <a:pt x="1128" y="697"/>
                  </a:lnTo>
                  <a:lnTo>
                    <a:pt x="1138" y="714"/>
                  </a:lnTo>
                  <a:lnTo>
                    <a:pt x="1206" y="680"/>
                  </a:lnTo>
                  <a:lnTo>
                    <a:pt x="1275" y="650"/>
                  </a:lnTo>
                  <a:lnTo>
                    <a:pt x="1348" y="626"/>
                  </a:lnTo>
                  <a:lnTo>
                    <a:pt x="1423" y="606"/>
                  </a:lnTo>
                  <a:lnTo>
                    <a:pt x="1500" y="591"/>
                  </a:lnTo>
                  <a:lnTo>
                    <a:pt x="1578" y="582"/>
                  </a:lnTo>
                  <a:lnTo>
                    <a:pt x="1659" y="579"/>
                  </a:lnTo>
                  <a:lnTo>
                    <a:pt x="1659" y="638"/>
                  </a:lnTo>
                  <a:lnTo>
                    <a:pt x="1583" y="641"/>
                  </a:lnTo>
                  <a:lnTo>
                    <a:pt x="1509" y="649"/>
                  </a:lnTo>
                  <a:lnTo>
                    <a:pt x="1437" y="663"/>
                  </a:lnTo>
                  <a:lnTo>
                    <a:pt x="1366" y="681"/>
                  </a:lnTo>
                  <a:lnTo>
                    <a:pt x="1298" y="704"/>
                  </a:lnTo>
                  <a:lnTo>
                    <a:pt x="1231" y="733"/>
                  </a:lnTo>
                  <a:lnTo>
                    <a:pt x="1168" y="765"/>
                  </a:lnTo>
                  <a:lnTo>
                    <a:pt x="1659" y="1616"/>
                  </a:lnTo>
                  <a:lnTo>
                    <a:pt x="1659" y="638"/>
                  </a:lnTo>
                  <a:lnTo>
                    <a:pt x="1662" y="638"/>
                  </a:lnTo>
                  <a:lnTo>
                    <a:pt x="1743" y="641"/>
                  </a:lnTo>
                  <a:lnTo>
                    <a:pt x="1820" y="650"/>
                  </a:lnTo>
                  <a:lnTo>
                    <a:pt x="1897" y="665"/>
                  </a:lnTo>
                  <a:lnTo>
                    <a:pt x="1972" y="685"/>
                  </a:lnTo>
                  <a:lnTo>
                    <a:pt x="2043" y="710"/>
                  </a:lnTo>
                  <a:lnTo>
                    <a:pt x="2113" y="742"/>
                  </a:lnTo>
                  <a:lnTo>
                    <a:pt x="2180" y="778"/>
                  </a:lnTo>
                  <a:lnTo>
                    <a:pt x="2243" y="818"/>
                  </a:lnTo>
                  <a:lnTo>
                    <a:pt x="2304" y="863"/>
                  </a:lnTo>
                  <a:lnTo>
                    <a:pt x="2360" y="912"/>
                  </a:lnTo>
                  <a:lnTo>
                    <a:pt x="2413" y="965"/>
                  </a:lnTo>
                  <a:lnTo>
                    <a:pt x="2462" y="1021"/>
                  </a:lnTo>
                  <a:lnTo>
                    <a:pt x="2507" y="1082"/>
                  </a:lnTo>
                  <a:lnTo>
                    <a:pt x="2547" y="1145"/>
                  </a:lnTo>
                  <a:lnTo>
                    <a:pt x="2583" y="1212"/>
                  </a:lnTo>
                  <a:lnTo>
                    <a:pt x="2615" y="1282"/>
                  </a:lnTo>
                  <a:lnTo>
                    <a:pt x="2640" y="1353"/>
                  </a:lnTo>
                  <a:lnTo>
                    <a:pt x="2660" y="1428"/>
                  </a:lnTo>
                  <a:lnTo>
                    <a:pt x="2675" y="1505"/>
                  </a:lnTo>
                  <a:lnTo>
                    <a:pt x="2684" y="1582"/>
                  </a:lnTo>
                  <a:lnTo>
                    <a:pt x="2687" y="1663"/>
                  </a:lnTo>
                  <a:lnTo>
                    <a:pt x="1748" y="1663"/>
                  </a:lnTo>
                  <a:lnTo>
                    <a:pt x="2571" y="2137"/>
                  </a:lnTo>
                  <a:lnTo>
                    <a:pt x="2600" y="2076"/>
                  </a:lnTo>
                  <a:lnTo>
                    <a:pt x="2627" y="2011"/>
                  </a:lnTo>
                  <a:lnTo>
                    <a:pt x="2648" y="1946"/>
                  </a:lnTo>
                  <a:lnTo>
                    <a:pt x="2665" y="1877"/>
                  </a:lnTo>
                  <a:lnTo>
                    <a:pt x="2677" y="1807"/>
                  </a:lnTo>
                  <a:lnTo>
                    <a:pt x="2685" y="1736"/>
                  </a:lnTo>
                  <a:lnTo>
                    <a:pt x="2687" y="1663"/>
                  </a:lnTo>
                  <a:lnTo>
                    <a:pt x="2746" y="1663"/>
                  </a:lnTo>
                  <a:lnTo>
                    <a:pt x="2743" y="1740"/>
                  </a:lnTo>
                  <a:lnTo>
                    <a:pt x="2735" y="1815"/>
                  </a:lnTo>
                  <a:lnTo>
                    <a:pt x="2722" y="1890"/>
                  </a:lnTo>
                  <a:lnTo>
                    <a:pt x="2703" y="1963"/>
                  </a:lnTo>
                  <a:lnTo>
                    <a:pt x="2681" y="2033"/>
                  </a:lnTo>
                  <a:lnTo>
                    <a:pt x="2653" y="2101"/>
                  </a:lnTo>
                  <a:lnTo>
                    <a:pt x="2622" y="2167"/>
                  </a:lnTo>
                  <a:lnTo>
                    <a:pt x="3045" y="2412"/>
                  </a:lnTo>
                  <a:lnTo>
                    <a:pt x="3089" y="2327"/>
                  </a:lnTo>
                  <a:lnTo>
                    <a:pt x="3126" y="2239"/>
                  </a:lnTo>
                  <a:lnTo>
                    <a:pt x="3158" y="2148"/>
                  </a:lnTo>
                  <a:lnTo>
                    <a:pt x="3186" y="2056"/>
                  </a:lnTo>
                  <a:lnTo>
                    <a:pt x="3207" y="1960"/>
                  </a:lnTo>
                  <a:lnTo>
                    <a:pt x="3223" y="1863"/>
                  </a:lnTo>
                  <a:lnTo>
                    <a:pt x="3232" y="1764"/>
                  </a:lnTo>
                  <a:lnTo>
                    <a:pt x="3235" y="1663"/>
                  </a:lnTo>
                  <a:lnTo>
                    <a:pt x="3325" y="1663"/>
                  </a:lnTo>
                  <a:lnTo>
                    <a:pt x="3322" y="1764"/>
                  </a:lnTo>
                  <a:lnTo>
                    <a:pt x="3313" y="1864"/>
                  </a:lnTo>
                  <a:lnTo>
                    <a:pt x="3298" y="1962"/>
                  </a:lnTo>
                  <a:lnTo>
                    <a:pt x="3278" y="2058"/>
                  </a:lnTo>
                  <a:lnTo>
                    <a:pt x="3251" y="2151"/>
                  </a:lnTo>
                  <a:lnTo>
                    <a:pt x="3221" y="2242"/>
                  </a:lnTo>
                  <a:lnTo>
                    <a:pt x="3185" y="2332"/>
                  </a:lnTo>
                  <a:lnTo>
                    <a:pt x="3143" y="2418"/>
                  </a:lnTo>
                  <a:lnTo>
                    <a:pt x="3098" y="2502"/>
                  </a:lnTo>
                  <a:lnTo>
                    <a:pt x="3047" y="2582"/>
                  </a:lnTo>
                  <a:lnTo>
                    <a:pt x="2993" y="2660"/>
                  </a:lnTo>
                  <a:lnTo>
                    <a:pt x="2933" y="2734"/>
                  </a:lnTo>
                  <a:lnTo>
                    <a:pt x="2871" y="2804"/>
                  </a:lnTo>
                  <a:lnTo>
                    <a:pt x="2804" y="2871"/>
                  </a:lnTo>
                  <a:lnTo>
                    <a:pt x="2734" y="2934"/>
                  </a:lnTo>
                  <a:lnTo>
                    <a:pt x="2659" y="2993"/>
                  </a:lnTo>
                  <a:lnTo>
                    <a:pt x="2582" y="3048"/>
                  </a:lnTo>
                  <a:lnTo>
                    <a:pt x="2502" y="3098"/>
                  </a:lnTo>
                  <a:lnTo>
                    <a:pt x="2418" y="3143"/>
                  </a:lnTo>
                  <a:lnTo>
                    <a:pt x="2331" y="3185"/>
                  </a:lnTo>
                  <a:lnTo>
                    <a:pt x="2242" y="3221"/>
                  </a:lnTo>
                  <a:lnTo>
                    <a:pt x="2150" y="3252"/>
                  </a:lnTo>
                  <a:lnTo>
                    <a:pt x="2058" y="3278"/>
                  </a:lnTo>
                  <a:lnTo>
                    <a:pt x="1961" y="3298"/>
                  </a:lnTo>
                  <a:lnTo>
                    <a:pt x="1863" y="3313"/>
                  </a:lnTo>
                  <a:lnTo>
                    <a:pt x="1764" y="3322"/>
                  </a:lnTo>
                  <a:lnTo>
                    <a:pt x="1662" y="3325"/>
                  </a:lnTo>
                  <a:lnTo>
                    <a:pt x="1561" y="3322"/>
                  </a:lnTo>
                  <a:lnTo>
                    <a:pt x="1461" y="3313"/>
                  </a:lnTo>
                  <a:lnTo>
                    <a:pt x="1363" y="3298"/>
                  </a:lnTo>
                  <a:lnTo>
                    <a:pt x="1267" y="3278"/>
                  </a:lnTo>
                  <a:lnTo>
                    <a:pt x="1174" y="3252"/>
                  </a:lnTo>
                  <a:lnTo>
                    <a:pt x="1083" y="3221"/>
                  </a:lnTo>
                  <a:lnTo>
                    <a:pt x="993" y="3185"/>
                  </a:lnTo>
                  <a:lnTo>
                    <a:pt x="907" y="3143"/>
                  </a:lnTo>
                  <a:lnTo>
                    <a:pt x="823" y="3098"/>
                  </a:lnTo>
                  <a:lnTo>
                    <a:pt x="743" y="3048"/>
                  </a:lnTo>
                  <a:lnTo>
                    <a:pt x="665" y="2993"/>
                  </a:lnTo>
                  <a:lnTo>
                    <a:pt x="591" y="2934"/>
                  </a:lnTo>
                  <a:lnTo>
                    <a:pt x="521" y="2871"/>
                  </a:lnTo>
                  <a:lnTo>
                    <a:pt x="454" y="2804"/>
                  </a:lnTo>
                  <a:lnTo>
                    <a:pt x="391" y="2734"/>
                  </a:lnTo>
                  <a:lnTo>
                    <a:pt x="332" y="2660"/>
                  </a:lnTo>
                  <a:lnTo>
                    <a:pt x="278" y="2582"/>
                  </a:lnTo>
                  <a:lnTo>
                    <a:pt x="227" y="2502"/>
                  </a:lnTo>
                  <a:lnTo>
                    <a:pt x="182" y="2418"/>
                  </a:lnTo>
                  <a:lnTo>
                    <a:pt x="140" y="2332"/>
                  </a:lnTo>
                  <a:lnTo>
                    <a:pt x="104" y="2242"/>
                  </a:lnTo>
                  <a:lnTo>
                    <a:pt x="73" y="2151"/>
                  </a:lnTo>
                  <a:lnTo>
                    <a:pt x="47" y="2058"/>
                  </a:lnTo>
                  <a:lnTo>
                    <a:pt x="27" y="1962"/>
                  </a:lnTo>
                  <a:lnTo>
                    <a:pt x="12" y="1864"/>
                  </a:lnTo>
                  <a:lnTo>
                    <a:pt x="3" y="1764"/>
                  </a:lnTo>
                  <a:lnTo>
                    <a:pt x="0" y="1663"/>
                  </a:lnTo>
                  <a:lnTo>
                    <a:pt x="3" y="1561"/>
                  </a:lnTo>
                  <a:lnTo>
                    <a:pt x="12" y="1462"/>
                  </a:lnTo>
                  <a:lnTo>
                    <a:pt x="26" y="1364"/>
                  </a:lnTo>
                  <a:lnTo>
                    <a:pt x="47" y="1268"/>
                  </a:lnTo>
                  <a:lnTo>
                    <a:pt x="73" y="1175"/>
                  </a:lnTo>
                  <a:lnTo>
                    <a:pt x="104" y="1084"/>
                  </a:lnTo>
                  <a:lnTo>
                    <a:pt x="140" y="994"/>
                  </a:lnTo>
                  <a:lnTo>
                    <a:pt x="181" y="908"/>
                  </a:lnTo>
                  <a:lnTo>
                    <a:pt x="226" y="824"/>
                  </a:lnTo>
                  <a:lnTo>
                    <a:pt x="276" y="744"/>
                  </a:lnTo>
                  <a:lnTo>
                    <a:pt x="331" y="667"/>
                  </a:lnTo>
                  <a:lnTo>
                    <a:pt x="390" y="592"/>
                  </a:lnTo>
                  <a:lnTo>
                    <a:pt x="453" y="523"/>
                  </a:lnTo>
                  <a:lnTo>
                    <a:pt x="520" y="455"/>
                  </a:lnTo>
                  <a:lnTo>
                    <a:pt x="590" y="393"/>
                  </a:lnTo>
                  <a:lnTo>
                    <a:pt x="664" y="334"/>
                  </a:lnTo>
                  <a:lnTo>
                    <a:pt x="741" y="279"/>
                  </a:lnTo>
                  <a:lnTo>
                    <a:pt x="821" y="228"/>
                  </a:lnTo>
                  <a:lnTo>
                    <a:pt x="905" y="183"/>
                  </a:lnTo>
                  <a:lnTo>
                    <a:pt x="991" y="141"/>
                  </a:lnTo>
                  <a:lnTo>
                    <a:pt x="1080" y="105"/>
                  </a:lnTo>
                  <a:lnTo>
                    <a:pt x="1172" y="74"/>
                  </a:lnTo>
                  <a:lnTo>
                    <a:pt x="1264" y="48"/>
                  </a:lnTo>
                  <a:lnTo>
                    <a:pt x="1360" y="27"/>
                  </a:lnTo>
                  <a:lnTo>
                    <a:pt x="1458" y="13"/>
                  </a:lnTo>
                  <a:lnTo>
                    <a:pt x="1558" y="4"/>
                  </a:lnTo>
                  <a:lnTo>
                    <a:pt x="1659" y="0"/>
                  </a:lnTo>
                  <a:close/>
                </a:path>
              </a:pathLst>
            </a:custGeom>
            <a:grpFill/>
            <a:ln w="0">
              <a:noFill/>
              <a:prstDash val="solid"/>
              <a:round/>
              <a:headEnd/>
              <a:tailEnd/>
            </a:ln>
          </p:spPr>
          <p:txBody>
            <a:bodyPr vert="horz" wrap="square" lIns="91392" tIns="45696" rIns="91392" bIns="45696" numCol="1" anchor="t" anchorCtr="0" compatLnSpc="1">
              <a:prstTxWarp prst="textNoShape">
                <a:avLst/>
              </a:prstTxWarp>
              <a:noAutofit/>
            </a:bodyPr>
            <a:lstStyle/>
            <a:p>
              <a:pPr algn="ctr" defTabSz="914103">
                <a:defRPr/>
              </a:pPr>
              <a:endParaRPr lang="en-US" sz="1400" kern="0">
                <a:solidFill>
                  <a:srgbClr val="FF0000"/>
                </a:solidFill>
                <a:latin typeface="+mj-lt"/>
              </a:endParaRPr>
            </a:p>
          </p:txBody>
        </p:sp>
      </p:grpSp>
      <p:sp>
        <p:nvSpPr>
          <p:cNvPr id="534" name="Rectangle 533"/>
          <p:cNvSpPr/>
          <p:nvPr/>
        </p:nvSpPr>
        <p:spPr>
          <a:xfrm>
            <a:off x="1410798"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grpSp>
        <p:nvGrpSpPr>
          <p:cNvPr id="761" name="Group 118"/>
          <p:cNvGrpSpPr/>
          <p:nvPr/>
        </p:nvGrpSpPr>
        <p:grpSpPr>
          <a:xfrm>
            <a:off x="2292325" y="1869599"/>
            <a:ext cx="276381" cy="274095"/>
            <a:chOff x="2210092" y="2062674"/>
            <a:chExt cx="197400" cy="195767"/>
          </a:xfrm>
          <a:solidFill>
            <a:schemeClr val="bg1"/>
          </a:solidFill>
        </p:grpSpPr>
        <p:sp>
          <p:nvSpPr>
            <p:cNvPr id="174" name="Freeform 173"/>
            <p:cNvSpPr>
              <a:spLocks/>
            </p:cNvSpPr>
            <p:nvPr/>
          </p:nvSpPr>
          <p:spPr bwMode="auto">
            <a:xfrm rot="18900000">
              <a:off x="2309634" y="207216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5" name="Freeform 174"/>
            <p:cNvSpPr>
              <a:spLocks/>
            </p:cNvSpPr>
            <p:nvPr/>
          </p:nvSpPr>
          <p:spPr bwMode="auto">
            <a:xfrm rot="2700000" flipH="1">
              <a:off x="2210092" y="2072162"/>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6" name="Freeform 175"/>
            <p:cNvSpPr>
              <a:spLocks/>
            </p:cNvSpPr>
            <p:nvPr/>
          </p:nvSpPr>
          <p:spPr bwMode="auto">
            <a:xfrm rot="2700000" flipV="1">
              <a:off x="2309634" y="217007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77" name="Freeform 176"/>
            <p:cNvSpPr>
              <a:spLocks/>
            </p:cNvSpPr>
            <p:nvPr/>
          </p:nvSpPr>
          <p:spPr bwMode="auto">
            <a:xfrm rot="18900000" flipH="1" flipV="1">
              <a:off x="2210092" y="2170071"/>
              <a:ext cx="97858" cy="78881"/>
            </a:xfrm>
            <a:custGeom>
              <a:avLst/>
              <a:gdLst>
                <a:gd name="T0" fmla="*/ 2296 w 3574"/>
                <a:gd name="T1" fmla="*/ 88 h 3000"/>
                <a:gd name="T2" fmla="*/ 2274 w 3574"/>
                <a:gd name="T3" fmla="*/ 66 h 3000"/>
                <a:gd name="T4" fmla="*/ 2224 w 3574"/>
                <a:gd name="T5" fmla="*/ 34 h 3000"/>
                <a:gd name="T6" fmla="*/ 2170 w 3574"/>
                <a:gd name="T7" fmla="*/ 12 h 3000"/>
                <a:gd name="T8" fmla="*/ 2114 w 3574"/>
                <a:gd name="T9" fmla="*/ 0 h 3000"/>
                <a:gd name="T10" fmla="*/ 2056 w 3574"/>
                <a:gd name="T11" fmla="*/ 0 h 3000"/>
                <a:gd name="T12" fmla="*/ 2000 w 3574"/>
                <a:gd name="T13" fmla="*/ 12 h 3000"/>
                <a:gd name="T14" fmla="*/ 1946 w 3574"/>
                <a:gd name="T15" fmla="*/ 34 h 3000"/>
                <a:gd name="T16" fmla="*/ 1896 w 3574"/>
                <a:gd name="T17" fmla="*/ 66 h 3000"/>
                <a:gd name="T18" fmla="*/ 1874 w 3574"/>
                <a:gd name="T19" fmla="*/ 88 h 3000"/>
                <a:gd name="T20" fmla="*/ 1836 w 3574"/>
                <a:gd name="T21" fmla="*/ 134 h 3000"/>
                <a:gd name="T22" fmla="*/ 1808 w 3574"/>
                <a:gd name="T23" fmla="*/ 186 h 3000"/>
                <a:gd name="T24" fmla="*/ 1792 w 3574"/>
                <a:gd name="T25" fmla="*/ 242 h 3000"/>
                <a:gd name="T26" fmla="*/ 1786 w 3574"/>
                <a:gd name="T27" fmla="*/ 300 h 3000"/>
                <a:gd name="T28" fmla="*/ 1792 w 3574"/>
                <a:gd name="T29" fmla="*/ 356 h 3000"/>
                <a:gd name="T30" fmla="*/ 1808 w 3574"/>
                <a:gd name="T31" fmla="*/ 412 h 3000"/>
                <a:gd name="T32" fmla="*/ 1836 w 3574"/>
                <a:gd name="T33" fmla="*/ 464 h 3000"/>
                <a:gd name="T34" fmla="*/ 1874 w 3574"/>
                <a:gd name="T35" fmla="*/ 512 h 3000"/>
                <a:gd name="T36" fmla="*/ 282 w 3574"/>
                <a:gd name="T37" fmla="*/ 1206 h 3000"/>
                <a:gd name="T38" fmla="*/ 252 w 3574"/>
                <a:gd name="T39" fmla="*/ 1208 h 3000"/>
                <a:gd name="T40" fmla="*/ 194 w 3574"/>
                <a:gd name="T41" fmla="*/ 1218 h 3000"/>
                <a:gd name="T42" fmla="*/ 144 w 3574"/>
                <a:gd name="T43" fmla="*/ 1240 h 3000"/>
                <a:gd name="T44" fmla="*/ 98 w 3574"/>
                <a:gd name="T45" fmla="*/ 1270 h 3000"/>
                <a:gd name="T46" fmla="*/ 60 w 3574"/>
                <a:gd name="T47" fmla="*/ 1308 h 3000"/>
                <a:gd name="T48" fmla="*/ 32 w 3574"/>
                <a:gd name="T49" fmla="*/ 1354 h 3000"/>
                <a:gd name="T50" fmla="*/ 12 w 3574"/>
                <a:gd name="T51" fmla="*/ 1406 h 3000"/>
                <a:gd name="T52" fmla="*/ 0 w 3574"/>
                <a:gd name="T53" fmla="*/ 1462 h 3000"/>
                <a:gd name="T54" fmla="*/ 0 w 3574"/>
                <a:gd name="T55" fmla="*/ 1494 h 3000"/>
                <a:gd name="T56" fmla="*/ 6 w 3574"/>
                <a:gd name="T57" fmla="*/ 1554 h 3000"/>
                <a:gd name="T58" fmla="*/ 22 w 3574"/>
                <a:gd name="T59" fmla="*/ 1610 h 3000"/>
                <a:gd name="T60" fmla="*/ 50 w 3574"/>
                <a:gd name="T61" fmla="*/ 1662 h 3000"/>
                <a:gd name="T62" fmla="*/ 86 w 3574"/>
                <a:gd name="T63" fmla="*/ 1706 h 3000"/>
                <a:gd name="T64" fmla="*/ 130 w 3574"/>
                <a:gd name="T65" fmla="*/ 1744 h 3000"/>
                <a:gd name="T66" fmla="*/ 180 w 3574"/>
                <a:gd name="T67" fmla="*/ 1772 h 3000"/>
                <a:gd name="T68" fmla="*/ 236 w 3574"/>
                <a:gd name="T69" fmla="*/ 1790 h 3000"/>
                <a:gd name="T70" fmla="*/ 296 w 3574"/>
                <a:gd name="T71" fmla="*/ 1796 h 3000"/>
                <a:gd name="T72" fmla="*/ 1876 w 3574"/>
                <a:gd name="T73" fmla="*/ 2488 h 3000"/>
                <a:gd name="T74" fmla="*/ 1856 w 3574"/>
                <a:gd name="T75" fmla="*/ 2512 h 3000"/>
                <a:gd name="T76" fmla="*/ 1822 w 3574"/>
                <a:gd name="T77" fmla="*/ 2560 h 3000"/>
                <a:gd name="T78" fmla="*/ 1802 w 3574"/>
                <a:gd name="T79" fmla="*/ 2614 h 3000"/>
                <a:gd name="T80" fmla="*/ 1790 w 3574"/>
                <a:gd name="T81" fmla="*/ 2672 h 3000"/>
                <a:gd name="T82" fmla="*/ 1790 w 3574"/>
                <a:gd name="T83" fmla="*/ 2730 h 3000"/>
                <a:gd name="T84" fmla="*/ 1802 w 3574"/>
                <a:gd name="T85" fmla="*/ 2786 h 3000"/>
                <a:gd name="T86" fmla="*/ 1822 w 3574"/>
                <a:gd name="T87" fmla="*/ 2840 h 3000"/>
                <a:gd name="T88" fmla="*/ 1856 w 3574"/>
                <a:gd name="T89" fmla="*/ 2890 h 3000"/>
                <a:gd name="T90" fmla="*/ 1876 w 3574"/>
                <a:gd name="T91" fmla="*/ 2912 h 3000"/>
                <a:gd name="T92" fmla="*/ 1922 w 3574"/>
                <a:gd name="T93" fmla="*/ 2952 h 3000"/>
                <a:gd name="T94" fmla="*/ 1974 w 3574"/>
                <a:gd name="T95" fmla="*/ 2978 h 3000"/>
                <a:gd name="T96" fmla="*/ 2030 w 3574"/>
                <a:gd name="T97" fmla="*/ 2996 h 3000"/>
                <a:gd name="T98" fmla="*/ 2086 w 3574"/>
                <a:gd name="T99" fmla="*/ 3000 h 3000"/>
                <a:gd name="T100" fmla="*/ 2144 w 3574"/>
                <a:gd name="T101" fmla="*/ 2996 h 3000"/>
                <a:gd name="T102" fmla="*/ 2198 w 3574"/>
                <a:gd name="T103" fmla="*/ 2978 h 3000"/>
                <a:gd name="T104" fmla="*/ 2250 w 3574"/>
                <a:gd name="T105" fmla="*/ 2952 h 3000"/>
                <a:gd name="T106" fmla="*/ 2298 w 3574"/>
                <a:gd name="T107" fmla="*/ 2912 h 3000"/>
                <a:gd name="T108" fmla="*/ 3484 w 3574"/>
                <a:gd name="T109" fmla="*/ 1712 h 3000"/>
                <a:gd name="T110" fmla="*/ 3524 w 3574"/>
                <a:gd name="T111" fmla="*/ 1662 h 3000"/>
                <a:gd name="T112" fmla="*/ 3554 w 3574"/>
                <a:gd name="T113" fmla="*/ 1610 h 3000"/>
                <a:gd name="T114" fmla="*/ 3570 w 3574"/>
                <a:gd name="T115" fmla="*/ 1554 h 3000"/>
                <a:gd name="T116" fmla="*/ 3574 w 3574"/>
                <a:gd name="T117" fmla="*/ 1496 h 3000"/>
                <a:gd name="T118" fmla="*/ 3568 w 3574"/>
                <a:gd name="T119" fmla="*/ 1440 h 3000"/>
                <a:gd name="T120" fmla="*/ 3548 w 3574"/>
                <a:gd name="T121" fmla="*/ 1384 h 3000"/>
                <a:gd name="T122" fmla="*/ 3516 w 3574"/>
                <a:gd name="T123" fmla="*/ 1328 h 3000"/>
                <a:gd name="T124" fmla="*/ 3474 w 3574"/>
                <a:gd name="T125" fmla="*/ 1278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74" h="3000">
                  <a:moveTo>
                    <a:pt x="3474" y="1278"/>
                  </a:moveTo>
                  <a:lnTo>
                    <a:pt x="2296" y="88"/>
                  </a:lnTo>
                  <a:lnTo>
                    <a:pt x="2296" y="88"/>
                  </a:lnTo>
                  <a:lnTo>
                    <a:pt x="2274" y="66"/>
                  </a:lnTo>
                  <a:lnTo>
                    <a:pt x="2248" y="48"/>
                  </a:lnTo>
                  <a:lnTo>
                    <a:pt x="2224" y="34"/>
                  </a:lnTo>
                  <a:lnTo>
                    <a:pt x="2198" y="22"/>
                  </a:lnTo>
                  <a:lnTo>
                    <a:pt x="2170" y="12"/>
                  </a:lnTo>
                  <a:lnTo>
                    <a:pt x="2142" y="4"/>
                  </a:lnTo>
                  <a:lnTo>
                    <a:pt x="2114" y="0"/>
                  </a:lnTo>
                  <a:lnTo>
                    <a:pt x="2084" y="0"/>
                  </a:lnTo>
                  <a:lnTo>
                    <a:pt x="2056" y="0"/>
                  </a:lnTo>
                  <a:lnTo>
                    <a:pt x="2028" y="4"/>
                  </a:lnTo>
                  <a:lnTo>
                    <a:pt x="2000" y="12"/>
                  </a:lnTo>
                  <a:lnTo>
                    <a:pt x="1972" y="22"/>
                  </a:lnTo>
                  <a:lnTo>
                    <a:pt x="1946" y="34"/>
                  </a:lnTo>
                  <a:lnTo>
                    <a:pt x="1920" y="48"/>
                  </a:lnTo>
                  <a:lnTo>
                    <a:pt x="1896" y="66"/>
                  </a:lnTo>
                  <a:lnTo>
                    <a:pt x="1874" y="88"/>
                  </a:lnTo>
                  <a:lnTo>
                    <a:pt x="1874" y="88"/>
                  </a:lnTo>
                  <a:lnTo>
                    <a:pt x="1854" y="110"/>
                  </a:lnTo>
                  <a:lnTo>
                    <a:pt x="1836" y="134"/>
                  </a:lnTo>
                  <a:lnTo>
                    <a:pt x="1820" y="160"/>
                  </a:lnTo>
                  <a:lnTo>
                    <a:pt x="1808" y="186"/>
                  </a:lnTo>
                  <a:lnTo>
                    <a:pt x="1800" y="214"/>
                  </a:lnTo>
                  <a:lnTo>
                    <a:pt x="1792" y="242"/>
                  </a:lnTo>
                  <a:lnTo>
                    <a:pt x="1788" y="270"/>
                  </a:lnTo>
                  <a:lnTo>
                    <a:pt x="1786" y="300"/>
                  </a:lnTo>
                  <a:lnTo>
                    <a:pt x="1788" y="328"/>
                  </a:lnTo>
                  <a:lnTo>
                    <a:pt x="1792" y="356"/>
                  </a:lnTo>
                  <a:lnTo>
                    <a:pt x="1800" y="386"/>
                  </a:lnTo>
                  <a:lnTo>
                    <a:pt x="1808" y="412"/>
                  </a:lnTo>
                  <a:lnTo>
                    <a:pt x="1820" y="440"/>
                  </a:lnTo>
                  <a:lnTo>
                    <a:pt x="1836" y="464"/>
                  </a:lnTo>
                  <a:lnTo>
                    <a:pt x="1854" y="488"/>
                  </a:lnTo>
                  <a:lnTo>
                    <a:pt x="1874" y="512"/>
                  </a:lnTo>
                  <a:lnTo>
                    <a:pt x="2542" y="1206"/>
                  </a:lnTo>
                  <a:lnTo>
                    <a:pt x="282" y="1206"/>
                  </a:lnTo>
                  <a:lnTo>
                    <a:pt x="282" y="1206"/>
                  </a:lnTo>
                  <a:lnTo>
                    <a:pt x="252" y="1208"/>
                  </a:lnTo>
                  <a:lnTo>
                    <a:pt x="222" y="1212"/>
                  </a:lnTo>
                  <a:lnTo>
                    <a:pt x="194" y="1218"/>
                  </a:lnTo>
                  <a:lnTo>
                    <a:pt x="168" y="1228"/>
                  </a:lnTo>
                  <a:lnTo>
                    <a:pt x="144" y="1240"/>
                  </a:lnTo>
                  <a:lnTo>
                    <a:pt x="120" y="1254"/>
                  </a:lnTo>
                  <a:lnTo>
                    <a:pt x="98" y="1270"/>
                  </a:lnTo>
                  <a:lnTo>
                    <a:pt x="78" y="1288"/>
                  </a:lnTo>
                  <a:lnTo>
                    <a:pt x="60" y="1308"/>
                  </a:lnTo>
                  <a:lnTo>
                    <a:pt x="46" y="1330"/>
                  </a:lnTo>
                  <a:lnTo>
                    <a:pt x="32" y="1354"/>
                  </a:lnTo>
                  <a:lnTo>
                    <a:pt x="20" y="1378"/>
                  </a:lnTo>
                  <a:lnTo>
                    <a:pt x="12" y="1406"/>
                  </a:lnTo>
                  <a:lnTo>
                    <a:pt x="4" y="1434"/>
                  </a:lnTo>
                  <a:lnTo>
                    <a:pt x="0" y="1462"/>
                  </a:lnTo>
                  <a:lnTo>
                    <a:pt x="0" y="1494"/>
                  </a:lnTo>
                  <a:lnTo>
                    <a:pt x="0" y="1494"/>
                  </a:lnTo>
                  <a:lnTo>
                    <a:pt x="0" y="1524"/>
                  </a:lnTo>
                  <a:lnTo>
                    <a:pt x="6" y="1554"/>
                  </a:lnTo>
                  <a:lnTo>
                    <a:pt x="12" y="1582"/>
                  </a:lnTo>
                  <a:lnTo>
                    <a:pt x="22" y="1610"/>
                  </a:lnTo>
                  <a:lnTo>
                    <a:pt x="34" y="1636"/>
                  </a:lnTo>
                  <a:lnTo>
                    <a:pt x="50" y="1662"/>
                  </a:lnTo>
                  <a:lnTo>
                    <a:pt x="66" y="1686"/>
                  </a:lnTo>
                  <a:lnTo>
                    <a:pt x="86" y="1706"/>
                  </a:lnTo>
                  <a:lnTo>
                    <a:pt x="106" y="1726"/>
                  </a:lnTo>
                  <a:lnTo>
                    <a:pt x="130" y="1744"/>
                  </a:lnTo>
                  <a:lnTo>
                    <a:pt x="154" y="1758"/>
                  </a:lnTo>
                  <a:lnTo>
                    <a:pt x="180" y="1772"/>
                  </a:lnTo>
                  <a:lnTo>
                    <a:pt x="208" y="1782"/>
                  </a:lnTo>
                  <a:lnTo>
                    <a:pt x="236" y="1790"/>
                  </a:lnTo>
                  <a:lnTo>
                    <a:pt x="266" y="1794"/>
                  </a:lnTo>
                  <a:lnTo>
                    <a:pt x="296" y="1796"/>
                  </a:lnTo>
                  <a:lnTo>
                    <a:pt x="2564" y="1796"/>
                  </a:lnTo>
                  <a:lnTo>
                    <a:pt x="1876" y="2488"/>
                  </a:lnTo>
                  <a:lnTo>
                    <a:pt x="1876" y="2488"/>
                  </a:lnTo>
                  <a:lnTo>
                    <a:pt x="1856" y="2512"/>
                  </a:lnTo>
                  <a:lnTo>
                    <a:pt x="1838" y="2536"/>
                  </a:lnTo>
                  <a:lnTo>
                    <a:pt x="1822" y="2560"/>
                  </a:lnTo>
                  <a:lnTo>
                    <a:pt x="1810" y="2588"/>
                  </a:lnTo>
                  <a:lnTo>
                    <a:pt x="1802" y="2614"/>
                  </a:lnTo>
                  <a:lnTo>
                    <a:pt x="1794" y="2644"/>
                  </a:lnTo>
                  <a:lnTo>
                    <a:pt x="1790" y="2672"/>
                  </a:lnTo>
                  <a:lnTo>
                    <a:pt x="1788" y="2700"/>
                  </a:lnTo>
                  <a:lnTo>
                    <a:pt x="1790" y="2730"/>
                  </a:lnTo>
                  <a:lnTo>
                    <a:pt x="1794" y="2758"/>
                  </a:lnTo>
                  <a:lnTo>
                    <a:pt x="1802" y="2786"/>
                  </a:lnTo>
                  <a:lnTo>
                    <a:pt x="1810" y="2814"/>
                  </a:lnTo>
                  <a:lnTo>
                    <a:pt x="1822" y="2840"/>
                  </a:lnTo>
                  <a:lnTo>
                    <a:pt x="1838" y="2866"/>
                  </a:lnTo>
                  <a:lnTo>
                    <a:pt x="1856" y="2890"/>
                  </a:lnTo>
                  <a:lnTo>
                    <a:pt x="1876" y="2912"/>
                  </a:lnTo>
                  <a:lnTo>
                    <a:pt x="1876" y="2912"/>
                  </a:lnTo>
                  <a:lnTo>
                    <a:pt x="1898" y="2934"/>
                  </a:lnTo>
                  <a:lnTo>
                    <a:pt x="1922" y="2952"/>
                  </a:lnTo>
                  <a:lnTo>
                    <a:pt x="1948" y="2966"/>
                  </a:lnTo>
                  <a:lnTo>
                    <a:pt x="1974" y="2978"/>
                  </a:lnTo>
                  <a:lnTo>
                    <a:pt x="2002" y="2988"/>
                  </a:lnTo>
                  <a:lnTo>
                    <a:pt x="2030" y="2996"/>
                  </a:lnTo>
                  <a:lnTo>
                    <a:pt x="2058" y="3000"/>
                  </a:lnTo>
                  <a:lnTo>
                    <a:pt x="2086" y="3000"/>
                  </a:lnTo>
                  <a:lnTo>
                    <a:pt x="2116" y="3000"/>
                  </a:lnTo>
                  <a:lnTo>
                    <a:pt x="2144" y="2996"/>
                  </a:lnTo>
                  <a:lnTo>
                    <a:pt x="2172" y="2988"/>
                  </a:lnTo>
                  <a:lnTo>
                    <a:pt x="2198" y="2978"/>
                  </a:lnTo>
                  <a:lnTo>
                    <a:pt x="2226" y="2966"/>
                  </a:lnTo>
                  <a:lnTo>
                    <a:pt x="2250" y="2952"/>
                  </a:lnTo>
                  <a:lnTo>
                    <a:pt x="2274" y="2934"/>
                  </a:lnTo>
                  <a:lnTo>
                    <a:pt x="2298" y="2912"/>
                  </a:lnTo>
                  <a:lnTo>
                    <a:pt x="3484" y="1712"/>
                  </a:lnTo>
                  <a:lnTo>
                    <a:pt x="3484" y="1712"/>
                  </a:lnTo>
                  <a:lnTo>
                    <a:pt x="3506" y="1688"/>
                  </a:lnTo>
                  <a:lnTo>
                    <a:pt x="3524" y="1662"/>
                  </a:lnTo>
                  <a:lnTo>
                    <a:pt x="3540" y="1636"/>
                  </a:lnTo>
                  <a:lnTo>
                    <a:pt x="3554" y="1610"/>
                  </a:lnTo>
                  <a:lnTo>
                    <a:pt x="3564" y="1582"/>
                  </a:lnTo>
                  <a:lnTo>
                    <a:pt x="3570" y="1554"/>
                  </a:lnTo>
                  <a:lnTo>
                    <a:pt x="3574" y="1526"/>
                  </a:lnTo>
                  <a:lnTo>
                    <a:pt x="3574" y="1496"/>
                  </a:lnTo>
                  <a:lnTo>
                    <a:pt x="3572" y="1468"/>
                  </a:lnTo>
                  <a:lnTo>
                    <a:pt x="3568" y="1440"/>
                  </a:lnTo>
                  <a:lnTo>
                    <a:pt x="3560" y="1412"/>
                  </a:lnTo>
                  <a:lnTo>
                    <a:pt x="3548" y="1384"/>
                  </a:lnTo>
                  <a:lnTo>
                    <a:pt x="3534" y="1356"/>
                  </a:lnTo>
                  <a:lnTo>
                    <a:pt x="3516" y="1328"/>
                  </a:lnTo>
                  <a:lnTo>
                    <a:pt x="3496" y="1302"/>
                  </a:lnTo>
                  <a:lnTo>
                    <a:pt x="3474" y="1278"/>
                  </a:lnTo>
                  <a:close/>
                </a:path>
              </a:pathLst>
            </a:custGeom>
            <a:grpFill/>
            <a:ln>
              <a:noFill/>
            </a:ln>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nvGrpSpPr>
          <p:cNvPr id="763" name="Group 178"/>
          <p:cNvGrpSpPr/>
          <p:nvPr/>
        </p:nvGrpSpPr>
        <p:grpSpPr>
          <a:xfrm>
            <a:off x="3260390" y="1892858"/>
            <a:ext cx="285764" cy="248787"/>
            <a:chOff x="4481616" y="2530283"/>
            <a:chExt cx="286086" cy="259364"/>
          </a:xfrm>
          <a:solidFill>
            <a:schemeClr val="bg1"/>
          </a:solidFill>
        </p:grpSpPr>
        <p:sp>
          <p:nvSpPr>
            <p:cNvPr id="180" name="Freeform 253"/>
            <p:cNvSpPr>
              <a:spLocks noEditPoints="1"/>
            </p:cNvSpPr>
            <p:nvPr/>
          </p:nvSpPr>
          <p:spPr bwMode="auto">
            <a:xfrm>
              <a:off x="4481616" y="2530283"/>
              <a:ext cx="275010" cy="218395"/>
            </a:xfrm>
            <a:custGeom>
              <a:avLst/>
              <a:gdLst>
                <a:gd name="T0" fmla="*/ 136 w 1620"/>
                <a:gd name="T1" fmla="*/ 0 h 1283"/>
                <a:gd name="T2" fmla="*/ 124 w 1620"/>
                <a:gd name="T3" fmla="*/ 0 h 1283"/>
                <a:gd name="T4" fmla="*/ 100 w 1620"/>
                <a:gd name="T5" fmla="*/ 5 h 1283"/>
                <a:gd name="T6" fmla="*/ 76 w 1620"/>
                <a:gd name="T7" fmla="*/ 14 h 1283"/>
                <a:gd name="T8" fmla="*/ 54 w 1620"/>
                <a:gd name="T9" fmla="*/ 28 h 1283"/>
                <a:gd name="T10" fmla="*/ 35 w 1620"/>
                <a:gd name="T11" fmla="*/ 49 h 1283"/>
                <a:gd name="T12" fmla="*/ 18 w 1620"/>
                <a:gd name="T13" fmla="*/ 76 h 1283"/>
                <a:gd name="T14" fmla="*/ 7 w 1620"/>
                <a:gd name="T15" fmla="*/ 110 h 1283"/>
                <a:gd name="T16" fmla="*/ 1 w 1620"/>
                <a:gd name="T17" fmla="*/ 150 h 1283"/>
                <a:gd name="T18" fmla="*/ 0 w 1620"/>
                <a:gd name="T19" fmla="*/ 1067 h 1283"/>
                <a:gd name="T20" fmla="*/ 1 w 1620"/>
                <a:gd name="T21" fmla="*/ 1089 h 1283"/>
                <a:gd name="T22" fmla="*/ 9 w 1620"/>
                <a:gd name="T23" fmla="*/ 1131 h 1283"/>
                <a:gd name="T24" fmla="*/ 25 w 1620"/>
                <a:gd name="T25" fmla="*/ 1170 h 1283"/>
                <a:gd name="T26" fmla="*/ 49 w 1620"/>
                <a:gd name="T27" fmla="*/ 1204 h 1283"/>
                <a:gd name="T28" fmla="*/ 78 w 1620"/>
                <a:gd name="T29" fmla="*/ 1234 h 1283"/>
                <a:gd name="T30" fmla="*/ 113 w 1620"/>
                <a:gd name="T31" fmla="*/ 1257 h 1283"/>
                <a:gd name="T32" fmla="*/ 152 w 1620"/>
                <a:gd name="T33" fmla="*/ 1274 h 1283"/>
                <a:gd name="T34" fmla="*/ 195 w 1620"/>
                <a:gd name="T35" fmla="*/ 1282 h 1283"/>
                <a:gd name="T36" fmla="*/ 629 w 1620"/>
                <a:gd name="T37" fmla="*/ 1283 h 1283"/>
                <a:gd name="T38" fmla="*/ 638 w 1620"/>
                <a:gd name="T39" fmla="*/ 1282 h 1283"/>
                <a:gd name="T40" fmla="*/ 655 w 1620"/>
                <a:gd name="T41" fmla="*/ 1276 h 1283"/>
                <a:gd name="T42" fmla="*/ 667 w 1620"/>
                <a:gd name="T43" fmla="*/ 1264 h 1283"/>
                <a:gd name="T44" fmla="*/ 673 w 1620"/>
                <a:gd name="T45" fmla="*/ 1247 h 1283"/>
                <a:gd name="T46" fmla="*/ 674 w 1620"/>
                <a:gd name="T47" fmla="*/ 1238 h 1283"/>
                <a:gd name="T48" fmla="*/ 671 w 1620"/>
                <a:gd name="T49" fmla="*/ 1221 h 1283"/>
                <a:gd name="T50" fmla="*/ 661 w 1620"/>
                <a:gd name="T51" fmla="*/ 1206 h 1283"/>
                <a:gd name="T52" fmla="*/ 646 w 1620"/>
                <a:gd name="T53" fmla="*/ 1196 h 1283"/>
                <a:gd name="T54" fmla="*/ 629 w 1620"/>
                <a:gd name="T55" fmla="*/ 1193 h 1283"/>
                <a:gd name="T56" fmla="*/ 216 w 1620"/>
                <a:gd name="T57" fmla="*/ 1193 h 1283"/>
                <a:gd name="T58" fmla="*/ 191 w 1620"/>
                <a:gd name="T59" fmla="*/ 1190 h 1283"/>
                <a:gd name="T60" fmla="*/ 167 w 1620"/>
                <a:gd name="T61" fmla="*/ 1183 h 1283"/>
                <a:gd name="T62" fmla="*/ 146 w 1620"/>
                <a:gd name="T63" fmla="*/ 1172 h 1283"/>
                <a:gd name="T64" fmla="*/ 127 w 1620"/>
                <a:gd name="T65" fmla="*/ 1155 h 1283"/>
                <a:gd name="T66" fmla="*/ 112 w 1620"/>
                <a:gd name="T67" fmla="*/ 1137 h 1283"/>
                <a:gd name="T68" fmla="*/ 100 w 1620"/>
                <a:gd name="T69" fmla="*/ 1116 h 1283"/>
                <a:gd name="T70" fmla="*/ 93 w 1620"/>
                <a:gd name="T71" fmla="*/ 1092 h 1283"/>
                <a:gd name="T72" fmla="*/ 90 w 1620"/>
                <a:gd name="T73" fmla="*/ 1067 h 1283"/>
                <a:gd name="T74" fmla="*/ 1574 w 1620"/>
                <a:gd name="T75" fmla="*/ 383 h 1283"/>
                <a:gd name="T76" fmla="*/ 1576 w 1620"/>
                <a:gd name="T77" fmla="*/ 383 h 1283"/>
                <a:gd name="T78" fmla="*/ 1593 w 1620"/>
                <a:gd name="T79" fmla="*/ 380 h 1283"/>
                <a:gd name="T80" fmla="*/ 1607 w 1620"/>
                <a:gd name="T81" fmla="*/ 371 h 1283"/>
                <a:gd name="T82" fmla="*/ 1617 w 1620"/>
                <a:gd name="T83" fmla="*/ 356 h 1283"/>
                <a:gd name="T84" fmla="*/ 1620 w 1620"/>
                <a:gd name="T85" fmla="*/ 338 h 1283"/>
                <a:gd name="T86" fmla="*/ 1620 w 1620"/>
                <a:gd name="T87" fmla="*/ 136 h 1283"/>
                <a:gd name="T88" fmla="*/ 1617 w 1620"/>
                <a:gd name="T89" fmla="*/ 109 h 1283"/>
                <a:gd name="T90" fmla="*/ 1610 w 1620"/>
                <a:gd name="T91" fmla="*/ 82 h 1283"/>
                <a:gd name="T92" fmla="*/ 1597 w 1620"/>
                <a:gd name="T93" fmla="*/ 60 h 1283"/>
                <a:gd name="T94" fmla="*/ 1581 w 1620"/>
                <a:gd name="T95" fmla="*/ 39 h 1283"/>
                <a:gd name="T96" fmla="*/ 1560 w 1620"/>
                <a:gd name="T97" fmla="*/ 23 h 1283"/>
                <a:gd name="T98" fmla="*/ 1537 w 1620"/>
                <a:gd name="T99" fmla="*/ 10 h 1283"/>
                <a:gd name="T100" fmla="*/ 1511 w 1620"/>
                <a:gd name="T101" fmla="*/ 2 h 1283"/>
                <a:gd name="T102" fmla="*/ 1484 w 1620"/>
                <a:gd name="T103" fmla="*/ 0 h 1283"/>
                <a:gd name="T104" fmla="*/ 1227 w 1620"/>
                <a:gd name="T105" fmla="*/ 276 h 1283"/>
                <a:gd name="T106" fmla="*/ 1074 w 1620"/>
                <a:gd name="T107" fmla="*/ 122 h 1283"/>
                <a:gd name="T108" fmla="*/ 1227 w 1620"/>
                <a:gd name="T109" fmla="*/ 276 h 1283"/>
                <a:gd name="T110" fmla="*/ 1324 w 1620"/>
                <a:gd name="T111" fmla="*/ 276 h 1283"/>
                <a:gd name="T112" fmla="*/ 1478 w 1620"/>
                <a:gd name="T113" fmla="*/ 122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0" h="1283">
                  <a:moveTo>
                    <a:pt x="1484" y="0"/>
                  </a:moveTo>
                  <a:lnTo>
                    <a:pt x="136" y="0"/>
                  </a:lnTo>
                  <a:lnTo>
                    <a:pt x="136" y="0"/>
                  </a:lnTo>
                  <a:lnTo>
                    <a:pt x="124" y="0"/>
                  </a:lnTo>
                  <a:lnTo>
                    <a:pt x="112" y="2"/>
                  </a:lnTo>
                  <a:lnTo>
                    <a:pt x="100" y="5"/>
                  </a:lnTo>
                  <a:lnTo>
                    <a:pt x="89" y="9"/>
                  </a:lnTo>
                  <a:lnTo>
                    <a:pt x="76" y="14"/>
                  </a:lnTo>
                  <a:lnTo>
                    <a:pt x="65" y="20"/>
                  </a:lnTo>
                  <a:lnTo>
                    <a:pt x="54" y="28"/>
                  </a:lnTo>
                  <a:lnTo>
                    <a:pt x="44" y="38"/>
                  </a:lnTo>
                  <a:lnTo>
                    <a:pt x="35" y="49"/>
                  </a:lnTo>
                  <a:lnTo>
                    <a:pt x="26" y="62"/>
                  </a:lnTo>
                  <a:lnTo>
                    <a:pt x="18" y="76"/>
                  </a:lnTo>
                  <a:lnTo>
                    <a:pt x="12" y="91"/>
                  </a:lnTo>
                  <a:lnTo>
                    <a:pt x="7" y="110"/>
                  </a:lnTo>
                  <a:lnTo>
                    <a:pt x="3" y="129"/>
                  </a:lnTo>
                  <a:lnTo>
                    <a:pt x="1" y="150"/>
                  </a:lnTo>
                  <a:lnTo>
                    <a:pt x="0" y="173"/>
                  </a:lnTo>
                  <a:lnTo>
                    <a:pt x="0" y="1067"/>
                  </a:lnTo>
                  <a:lnTo>
                    <a:pt x="0" y="1067"/>
                  </a:lnTo>
                  <a:lnTo>
                    <a:pt x="1" y="1089"/>
                  </a:lnTo>
                  <a:lnTo>
                    <a:pt x="4" y="1110"/>
                  </a:lnTo>
                  <a:lnTo>
                    <a:pt x="9" y="1131"/>
                  </a:lnTo>
                  <a:lnTo>
                    <a:pt x="16" y="1151"/>
                  </a:lnTo>
                  <a:lnTo>
                    <a:pt x="25" y="1170"/>
                  </a:lnTo>
                  <a:lnTo>
                    <a:pt x="37" y="1188"/>
                  </a:lnTo>
                  <a:lnTo>
                    <a:pt x="49" y="1204"/>
                  </a:lnTo>
                  <a:lnTo>
                    <a:pt x="63" y="1220"/>
                  </a:lnTo>
                  <a:lnTo>
                    <a:pt x="78" y="1234"/>
                  </a:lnTo>
                  <a:lnTo>
                    <a:pt x="96" y="1246"/>
                  </a:lnTo>
                  <a:lnTo>
                    <a:pt x="113" y="1257"/>
                  </a:lnTo>
                  <a:lnTo>
                    <a:pt x="133" y="1267"/>
                  </a:lnTo>
                  <a:lnTo>
                    <a:pt x="152" y="1274"/>
                  </a:lnTo>
                  <a:lnTo>
                    <a:pt x="172" y="1279"/>
                  </a:lnTo>
                  <a:lnTo>
                    <a:pt x="195" y="1282"/>
                  </a:lnTo>
                  <a:lnTo>
                    <a:pt x="216" y="1283"/>
                  </a:lnTo>
                  <a:lnTo>
                    <a:pt x="629" y="1283"/>
                  </a:lnTo>
                  <a:lnTo>
                    <a:pt x="629" y="1283"/>
                  </a:lnTo>
                  <a:lnTo>
                    <a:pt x="638" y="1282"/>
                  </a:lnTo>
                  <a:lnTo>
                    <a:pt x="646" y="1280"/>
                  </a:lnTo>
                  <a:lnTo>
                    <a:pt x="655" y="1276"/>
                  </a:lnTo>
                  <a:lnTo>
                    <a:pt x="661" y="1270"/>
                  </a:lnTo>
                  <a:lnTo>
                    <a:pt x="667" y="1264"/>
                  </a:lnTo>
                  <a:lnTo>
                    <a:pt x="671" y="1255"/>
                  </a:lnTo>
                  <a:lnTo>
                    <a:pt x="673" y="1247"/>
                  </a:lnTo>
                  <a:lnTo>
                    <a:pt x="674" y="1238"/>
                  </a:lnTo>
                  <a:lnTo>
                    <a:pt x="674" y="1238"/>
                  </a:lnTo>
                  <a:lnTo>
                    <a:pt x="673" y="1229"/>
                  </a:lnTo>
                  <a:lnTo>
                    <a:pt x="671" y="1221"/>
                  </a:lnTo>
                  <a:lnTo>
                    <a:pt x="667" y="1213"/>
                  </a:lnTo>
                  <a:lnTo>
                    <a:pt x="661" y="1206"/>
                  </a:lnTo>
                  <a:lnTo>
                    <a:pt x="655" y="1200"/>
                  </a:lnTo>
                  <a:lnTo>
                    <a:pt x="646" y="1196"/>
                  </a:lnTo>
                  <a:lnTo>
                    <a:pt x="638" y="1194"/>
                  </a:lnTo>
                  <a:lnTo>
                    <a:pt x="629" y="1193"/>
                  </a:lnTo>
                  <a:lnTo>
                    <a:pt x="216" y="1193"/>
                  </a:lnTo>
                  <a:lnTo>
                    <a:pt x="216" y="1193"/>
                  </a:lnTo>
                  <a:lnTo>
                    <a:pt x="204" y="1192"/>
                  </a:lnTo>
                  <a:lnTo>
                    <a:pt x="191" y="1190"/>
                  </a:lnTo>
                  <a:lnTo>
                    <a:pt x="178" y="1187"/>
                  </a:lnTo>
                  <a:lnTo>
                    <a:pt x="167" y="1183"/>
                  </a:lnTo>
                  <a:lnTo>
                    <a:pt x="156" y="1178"/>
                  </a:lnTo>
                  <a:lnTo>
                    <a:pt x="146" y="1172"/>
                  </a:lnTo>
                  <a:lnTo>
                    <a:pt x="136" y="1164"/>
                  </a:lnTo>
                  <a:lnTo>
                    <a:pt x="127" y="1155"/>
                  </a:lnTo>
                  <a:lnTo>
                    <a:pt x="119" y="1147"/>
                  </a:lnTo>
                  <a:lnTo>
                    <a:pt x="112" y="1137"/>
                  </a:lnTo>
                  <a:lnTo>
                    <a:pt x="105" y="1127"/>
                  </a:lnTo>
                  <a:lnTo>
                    <a:pt x="100" y="1116"/>
                  </a:lnTo>
                  <a:lnTo>
                    <a:pt x="96" y="1104"/>
                  </a:lnTo>
                  <a:lnTo>
                    <a:pt x="93" y="1092"/>
                  </a:lnTo>
                  <a:lnTo>
                    <a:pt x="91" y="1080"/>
                  </a:lnTo>
                  <a:lnTo>
                    <a:pt x="90" y="1067"/>
                  </a:lnTo>
                  <a:lnTo>
                    <a:pt x="90" y="383"/>
                  </a:lnTo>
                  <a:lnTo>
                    <a:pt x="1574" y="383"/>
                  </a:lnTo>
                  <a:lnTo>
                    <a:pt x="1576" y="383"/>
                  </a:lnTo>
                  <a:lnTo>
                    <a:pt x="1576" y="383"/>
                  </a:lnTo>
                  <a:lnTo>
                    <a:pt x="1585" y="383"/>
                  </a:lnTo>
                  <a:lnTo>
                    <a:pt x="1593" y="380"/>
                  </a:lnTo>
                  <a:lnTo>
                    <a:pt x="1601" y="376"/>
                  </a:lnTo>
                  <a:lnTo>
                    <a:pt x="1607" y="371"/>
                  </a:lnTo>
                  <a:lnTo>
                    <a:pt x="1612" y="364"/>
                  </a:lnTo>
                  <a:lnTo>
                    <a:pt x="1617" y="356"/>
                  </a:lnTo>
                  <a:lnTo>
                    <a:pt x="1619" y="348"/>
                  </a:lnTo>
                  <a:lnTo>
                    <a:pt x="1620" y="338"/>
                  </a:lnTo>
                  <a:lnTo>
                    <a:pt x="1620" y="136"/>
                  </a:lnTo>
                  <a:lnTo>
                    <a:pt x="1620" y="136"/>
                  </a:lnTo>
                  <a:lnTo>
                    <a:pt x="1619" y="122"/>
                  </a:lnTo>
                  <a:lnTo>
                    <a:pt x="1617" y="109"/>
                  </a:lnTo>
                  <a:lnTo>
                    <a:pt x="1614" y="96"/>
                  </a:lnTo>
                  <a:lnTo>
                    <a:pt x="1610" y="82"/>
                  </a:lnTo>
                  <a:lnTo>
                    <a:pt x="1604" y="71"/>
                  </a:lnTo>
                  <a:lnTo>
                    <a:pt x="1597" y="60"/>
                  </a:lnTo>
                  <a:lnTo>
                    <a:pt x="1589" y="49"/>
                  </a:lnTo>
                  <a:lnTo>
                    <a:pt x="1581" y="39"/>
                  </a:lnTo>
                  <a:lnTo>
                    <a:pt x="1570" y="30"/>
                  </a:lnTo>
                  <a:lnTo>
                    <a:pt x="1560" y="23"/>
                  </a:lnTo>
                  <a:lnTo>
                    <a:pt x="1549" y="16"/>
                  </a:lnTo>
                  <a:lnTo>
                    <a:pt x="1537" y="10"/>
                  </a:lnTo>
                  <a:lnTo>
                    <a:pt x="1525" y="6"/>
                  </a:lnTo>
                  <a:lnTo>
                    <a:pt x="1511" y="2"/>
                  </a:lnTo>
                  <a:lnTo>
                    <a:pt x="1498" y="0"/>
                  </a:lnTo>
                  <a:lnTo>
                    <a:pt x="1484" y="0"/>
                  </a:lnTo>
                  <a:lnTo>
                    <a:pt x="1484" y="0"/>
                  </a:lnTo>
                  <a:close/>
                  <a:moveTo>
                    <a:pt x="1227" y="276"/>
                  </a:moveTo>
                  <a:lnTo>
                    <a:pt x="1074" y="276"/>
                  </a:lnTo>
                  <a:lnTo>
                    <a:pt x="1074" y="122"/>
                  </a:lnTo>
                  <a:lnTo>
                    <a:pt x="1227" y="122"/>
                  </a:lnTo>
                  <a:lnTo>
                    <a:pt x="1227" y="276"/>
                  </a:lnTo>
                  <a:close/>
                  <a:moveTo>
                    <a:pt x="1478" y="276"/>
                  </a:moveTo>
                  <a:lnTo>
                    <a:pt x="1324" y="276"/>
                  </a:lnTo>
                  <a:lnTo>
                    <a:pt x="1324" y="122"/>
                  </a:lnTo>
                  <a:lnTo>
                    <a:pt x="1478" y="122"/>
                  </a:lnTo>
                  <a:lnTo>
                    <a:pt x="1478"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81" name="Freeform 193"/>
            <p:cNvSpPr>
              <a:spLocks noEditPoints="1"/>
            </p:cNvSpPr>
            <p:nvPr/>
          </p:nvSpPr>
          <p:spPr bwMode="auto">
            <a:xfrm>
              <a:off x="4635220" y="2629759"/>
              <a:ext cx="119810" cy="119810"/>
            </a:xfrm>
            <a:custGeom>
              <a:avLst/>
              <a:gdLst>
                <a:gd name="T0" fmla="*/ 464 w 515"/>
                <a:gd name="T1" fmla="*/ 387 h 515"/>
                <a:gd name="T2" fmla="*/ 488 w 515"/>
                <a:gd name="T3" fmla="*/ 390 h 515"/>
                <a:gd name="T4" fmla="*/ 515 w 515"/>
                <a:gd name="T5" fmla="*/ 328 h 515"/>
                <a:gd name="T6" fmla="*/ 490 w 515"/>
                <a:gd name="T7" fmla="*/ 308 h 515"/>
                <a:gd name="T8" fmla="*/ 472 w 515"/>
                <a:gd name="T9" fmla="*/ 268 h 515"/>
                <a:gd name="T10" fmla="*/ 475 w 515"/>
                <a:gd name="T11" fmla="*/ 236 h 515"/>
                <a:gd name="T12" fmla="*/ 498 w 515"/>
                <a:gd name="T13" fmla="*/ 200 h 515"/>
                <a:gd name="T14" fmla="*/ 510 w 515"/>
                <a:gd name="T15" fmla="*/ 171 h 515"/>
                <a:gd name="T16" fmla="*/ 488 w 515"/>
                <a:gd name="T17" fmla="*/ 126 h 515"/>
                <a:gd name="T18" fmla="*/ 447 w 515"/>
                <a:gd name="T19" fmla="*/ 127 h 515"/>
                <a:gd name="T20" fmla="*/ 409 w 515"/>
                <a:gd name="T21" fmla="*/ 105 h 515"/>
                <a:gd name="T22" fmla="*/ 391 w 515"/>
                <a:gd name="T23" fmla="*/ 78 h 515"/>
                <a:gd name="T24" fmla="*/ 387 w 515"/>
                <a:gd name="T25" fmla="*/ 37 h 515"/>
                <a:gd name="T26" fmla="*/ 359 w 515"/>
                <a:gd name="T27" fmla="*/ 11 h 515"/>
                <a:gd name="T28" fmla="*/ 321 w 515"/>
                <a:gd name="T29" fmla="*/ 10 h 515"/>
                <a:gd name="T30" fmla="*/ 289 w 515"/>
                <a:gd name="T31" fmla="*/ 37 h 515"/>
                <a:gd name="T32" fmla="*/ 258 w 515"/>
                <a:gd name="T33" fmla="*/ 43 h 515"/>
                <a:gd name="T34" fmla="*/ 216 w 515"/>
                <a:gd name="T35" fmla="*/ 31 h 515"/>
                <a:gd name="T36" fmla="*/ 188 w 515"/>
                <a:gd name="T37" fmla="*/ 0 h 515"/>
                <a:gd name="T38" fmla="*/ 139 w 515"/>
                <a:gd name="T39" fmla="*/ 18 h 515"/>
                <a:gd name="T40" fmla="*/ 128 w 515"/>
                <a:gd name="T41" fmla="*/ 47 h 515"/>
                <a:gd name="T42" fmla="*/ 119 w 515"/>
                <a:gd name="T43" fmla="*/ 88 h 515"/>
                <a:gd name="T44" fmla="*/ 97 w 515"/>
                <a:gd name="T45" fmla="*/ 113 h 515"/>
                <a:gd name="T46" fmla="*/ 57 w 515"/>
                <a:gd name="T47" fmla="*/ 128 h 515"/>
                <a:gd name="T48" fmla="*/ 26 w 515"/>
                <a:gd name="T49" fmla="*/ 126 h 515"/>
                <a:gd name="T50" fmla="*/ 0 w 515"/>
                <a:gd name="T51" fmla="*/ 188 h 515"/>
                <a:gd name="T52" fmla="*/ 25 w 515"/>
                <a:gd name="T53" fmla="*/ 208 h 515"/>
                <a:gd name="T54" fmla="*/ 42 w 515"/>
                <a:gd name="T55" fmla="*/ 247 h 515"/>
                <a:gd name="T56" fmla="*/ 39 w 515"/>
                <a:gd name="T57" fmla="*/ 279 h 515"/>
                <a:gd name="T58" fmla="*/ 16 w 515"/>
                <a:gd name="T59" fmla="*/ 316 h 515"/>
                <a:gd name="T60" fmla="*/ 4 w 515"/>
                <a:gd name="T61" fmla="*/ 344 h 515"/>
                <a:gd name="T62" fmla="*/ 26 w 515"/>
                <a:gd name="T63" fmla="*/ 390 h 515"/>
                <a:gd name="T64" fmla="*/ 68 w 515"/>
                <a:gd name="T65" fmla="*/ 388 h 515"/>
                <a:gd name="T66" fmla="*/ 105 w 515"/>
                <a:gd name="T67" fmla="*/ 410 h 515"/>
                <a:gd name="T68" fmla="*/ 123 w 515"/>
                <a:gd name="T69" fmla="*/ 437 h 515"/>
                <a:gd name="T70" fmla="*/ 127 w 515"/>
                <a:gd name="T71" fmla="*/ 479 h 515"/>
                <a:gd name="T72" fmla="*/ 155 w 515"/>
                <a:gd name="T73" fmla="*/ 504 h 515"/>
                <a:gd name="T74" fmla="*/ 193 w 515"/>
                <a:gd name="T75" fmla="*/ 506 h 515"/>
                <a:gd name="T76" fmla="*/ 225 w 515"/>
                <a:gd name="T77" fmla="*/ 479 h 515"/>
                <a:gd name="T78" fmla="*/ 258 w 515"/>
                <a:gd name="T79" fmla="*/ 472 h 515"/>
                <a:gd name="T80" fmla="*/ 298 w 515"/>
                <a:gd name="T81" fmla="*/ 484 h 515"/>
                <a:gd name="T82" fmla="*/ 328 w 515"/>
                <a:gd name="T83" fmla="*/ 515 h 515"/>
                <a:gd name="T84" fmla="*/ 344 w 515"/>
                <a:gd name="T85" fmla="*/ 357 h 515"/>
                <a:gd name="T86" fmla="*/ 352 w 515"/>
                <a:gd name="T87" fmla="*/ 336 h 515"/>
                <a:gd name="T88" fmla="*/ 374 w 515"/>
                <a:gd name="T89" fmla="*/ 328 h 515"/>
                <a:gd name="T90" fmla="*/ 389 w 515"/>
                <a:gd name="T91" fmla="*/ 332 h 515"/>
                <a:gd name="T92" fmla="*/ 258 w 515"/>
                <a:gd name="T93" fmla="*/ 337 h 515"/>
                <a:gd name="T94" fmla="*/ 213 w 515"/>
                <a:gd name="T95" fmla="*/ 324 h 515"/>
                <a:gd name="T96" fmla="*/ 180 w 515"/>
                <a:gd name="T97" fmla="*/ 274 h 515"/>
                <a:gd name="T98" fmla="*/ 178 w 515"/>
                <a:gd name="T99" fmla="*/ 250 h 515"/>
                <a:gd name="T100" fmla="*/ 201 w 515"/>
                <a:gd name="T101" fmla="*/ 202 h 515"/>
                <a:gd name="T102" fmla="*/ 250 w 515"/>
                <a:gd name="T103" fmla="*/ 179 h 515"/>
                <a:gd name="T104" fmla="*/ 273 w 515"/>
                <a:gd name="T105" fmla="*/ 181 h 515"/>
                <a:gd name="T106" fmla="*/ 323 w 515"/>
                <a:gd name="T107" fmla="*/ 213 h 515"/>
                <a:gd name="T108" fmla="*/ 336 w 515"/>
                <a:gd name="T109" fmla="*/ 258 h 515"/>
                <a:gd name="T110" fmla="*/ 329 w 515"/>
                <a:gd name="T111" fmla="*/ 289 h 515"/>
                <a:gd name="T112" fmla="*/ 287 w 515"/>
                <a:gd name="T113" fmla="*/ 330 h 515"/>
                <a:gd name="T114" fmla="*/ 258 w 515"/>
                <a:gd name="T115" fmla="*/ 3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5" h="515">
                  <a:moveTo>
                    <a:pt x="393" y="335"/>
                  </a:moveTo>
                  <a:lnTo>
                    <a:pt x="456" y="387"/>
                  </a:lnTo>
                  <a:lnTo>
                    <a:pt x="456" y="387"/>
                  </a:lnTo>
                  <a:lnTo>
                    <a:pt x="464" y="387"/>
                  </a:lnTo>
                  <a:lnTo>
                    <a:pt x="472" y="387"/>
                  </a:lnTo>
                  <a:lnTo>
                    <a:pt x="480" y="388"/>
                  </a:lnTo>
                  <a:lnTo>
                    <a:pt x="488" y="390"/>
                  </a:lnTo>
                  <a:lnTo>
                    <a:pt x="488" y="390"/>
                  </a:lnTo>
                  <a:lnTo>
                    <a:pt x="496" y="375"/>
                  </a:lnTo>
                  <a:lnTo>
                    <a:pt x="503" y="360"/>
                  </a:lnTo>
                  <a:lnTo>
                    <a:pt x="510" y="344"/>
                  </a:lnTo>
                  <a:lnTo>
                    <a:pt x="515" y="328"/>
                  </a:lnTo>
                  <a:lnTo>
                    <a:pt x="515" y="328"/>
                  </a:lnTo>
                  <a:lnTo>
                    <a:pt x="506" y="322"/>
                  </a:lnTo>
                  <a:lnTo>
                    <a:pt x="498" y="316"/>
                  </a:lnTo>
                  <a:lnTo>
                    <a:pt x="490" y="308"/>
                  </a:lnTo>
                  <a:lnTo>
                    <a:pt x="484" y="299"/>
                  </a:lnTo>
                  <a:lnTo>
                    <a:pt x="479" y="290"/>
                  </a:lnTo>
                  <a:lnTo>
                    <a:pt x="475" y="279"/>
                  </a:lnTo>
                  <a:lnTo>
                    <a:pt x="472" y="268"/>
                  </a:lnTo>
                  <a:lnTo>
                    <a:pt x="472" y="258"/>
                  </a:lnTo>
                  <a:lnTo>
                    <a:pt x="472" y="258"/>
                  </a:lnTo>
                  <a:lnTo>
                    <a:pt x="472" y="247"/>
                  </a:lnTo>
                  <a:lnTo>
                    <a:pt x="475" y="236"/>
                  </a:lnTo>
                  <a:lnTo>
                    <a:pt x="479" y="225"/>
                  </a:lnTo>
                  <a:lnTo>
                    <a:pt x="484" y="216"/>
                  </a:lnTo>
                  <a:lnTo>
                    <a:pt x="490" y="208"/>
                  </a:lnTo>
                  <a:lnTo>
                    <a:pt x="498" y="200"/>
                  </a:lnTo>
                  <a:lnTo>
                    <a:pt x="506" y="193"/>
                  </a:lnTo>
                  <a:lnTo>
                    <a:pt x="515" y="188"/>
                  </a:lnTo>
                  <a:lnTo>
                    <a:pt x="515" y="188"/>
                  </a:lnTo>
                  <a:lnTo>
                    <a:pt x="510" y="171"/>
                  </a:lnTo>
                  <a:lnTo>
                    <a:pt x="503" y="155"/>
                  </a:lnTo>
                  <a:lnTo>
                    <a:pt x="496" y="140"/>
                  </a:lnTo>
                  <a:lnTo>
                    <a:pt x="488" y="126"/>
                  </a:lnTo>
                  <a:lnTo>
                    <a:pt x="488" y="126"/>
                  </a:lnTo>
                  <a:lnTo>
                    <a:pt x="479" y="128"/>
                  </a:lnTo>
                  <a:lnTo>
                    <a:pt x="468" y="128"/>
                  </a:lnTo>
                  <a:lnTo>
                    <a:pt x="457" y="128"/>
                  </a:lnTo>
                  <a:lnTo>
                    <a:pt x="447" y="127"/>
                  </a:lnTo>
                  <a:lnTo>
                    <a:pt x="437" y="124"/>
                  </a:lnTo>
                  <a:lnTo>
                    <a:pt x="426" y="119"/>
                  </a:lnTo>
                  <a:lnTo>
                    <a:pt x="417" y="113"/>
                  </a:lnTo>
                  <a:lnTo>
                    <a:pt x="409" y="105"/>
                  </a:lnTo>
                  <a:lnTo>
                    <a:pt x="409" y="105"/>
                  </a:lnTo>
                  <a:lnTo>
                    <a:pt x="402" y="97"/>
                  </a:lnTo>
                  <a:lnTo>
                    <a:pt x="395" y="88"/>
                  </a:lnTo>
                  <a:lnTo>
                    <a:pt x="391" y="78"/>
                  </a:lnTo>
                  <a:lnTo>
                    <a:pt x="389" y="68"/>
                  </a:lnTo>
                  <a:lnTo>
                    <a:pt x="386" y="58"/>
                  </a:lnTo>
                  <a:lnTo>
                    <a:pt x="386" y="47"/>
                  </a:lnTo>
                  <a:lnTo>
                    <a:pt x="387" y="37"/>
                  </a:lnTo>
                  <a:lnTo>
                    <a:pt x="390" y="26"/>
                  </a:lnTo>
                  <a:lnTo>
                    <a:pt x="390" y="26"/>
                  </a:lnTo>
                  <a:lnTo>
                    <a:pt x="375" y="18"/>
                  </a:lnTo>
                  <a:lnTo>
                    <a:pt x="359" y="11"/>
                  </a:lnTo>
                  <a:lnTo>
                    <a:pt x="344" y="6"/>
                  </a:lnTo>
                  <a:lnTo>
                    <a:pt x="328" y="0"/>
                  </a:lnTo>
                  <a:lnTo>
                    <a:pt x="328" y="0"/>
                  </a:lnTo>
                  <a:lnTo>
                    <a:pt x="321" y="10"/>
                  </a:lnTo>
                  <a:lnTo>
                    <a:pt x="314" y="18"/>
                  </a:lnTo>
                  <a:lnTo>
                    <a:pt x="308" y="24"/>
                  </a:lnTo>
                  <a:lnTo>
                    <a:pt x="298" y="31"/>
                  </a:lnTo>
                  <a:lnTo>
                    <a:pt x="289" y="37"/>
                  </a:lnTo>
                  <a:lnTo>
                    <a:pt x="279" y="39"/>
                  </a:lnTo>
                  <a:lnTo>
                    <a:pt x="269" y="42"/>
                  </a:lnTo>
                  <a:lnTo>
                    <a:pt x="258" y="43"/>
                  </a:lnTo>
                  <a:lnTo>
                    <a:pt x="258" y="43"/>
                  </a:lnTo>
                  <a:lnTo>
                    <a:pt x="246" y="42"/>
                  </a:lnTo>
                  <a:lnTo>
                    <a:pt x="235" y="39"/>
                  </a:lnTo>
                  <a:lnTo>
                    <a:pt x="225" y="37"/>
                  </a:lnTo>
                  <a:lnTo>
                    <a:pt x="216" y="31"/>
                  </a:lnTo>
                  <a:lnTo>
                    <a:pt x="207" y="24"/>
                  </a:lnTo>
                  <a:lnTo>
                    <a:pt x="200" y="18"/>
                  </a:lnTo>
                  <a:lnTo>
                    <a:pt x="193" y="10"/>
                  </a:lnTo>
                  <a:lnTo>
                    <a:pt x="188" y="0"/>
                  </a:lnTo>
                  <a:lnTo>
                    <a:pt x="188" y="0"/>
                  </a:lnTo>
                  <a:lnTo>
                    <a:pt x="170" y="6"/>
                  </a:lnTo>
                  <a:lnTo>
                    <a:pt x="155" y="11"/>
                  </a:lnTo>
                  <a:lnTo>
                    <a:pt x="139" y="18"/>
                  </a:lnTo>
                  <a:lnTo>
                    <a:pt x="124" y="26"/>
                  </a:lnTo>
                  <a:lnTo>
                    <a:pt x="124" y="26"/>
                  </a:lnTo>
                  <a:lnTo>
                    <a:pt x="127" y="37"/>
                  </a:lnTo>
                  <a:lnTo>
                    <a:pt x="128" y="47"/>
                  </a:lnTo>
                  <a:lnTo>
                    <a:pt x="128" y="58"/>
                  </a:lnTo>
                  <a:lnTo>
                    <a:pt x="126" y="68"/>
                  </a:lnTo>
                  <a:lnTo>
                    <a:pt x="123" y="78"/>
                  </a:lnTo>
                  <a:lnTo>
                    <a:pt x="119" y="88"/>
                  </a:lnTo>
                  <a:lnTo>
                    <a:pt x="112" y="97"/>
                  </a:lnTo>
                  <a:lnTo>
                    <a:pt x="105" y="105"/>
                  </a:lnTo>
                  <a:lnTo>
                    <a:pt x="105" y="105"/>
                  </a:lnTo>
                  <a:lnTo>
                    <a:pt x="97" y="113"/>
                  </a:lnTo>
                  <a:lnTo>
                    <a:pt x="88" y="119"/>
                  </a:lnTo>
                  <a:lnTo>
                    <a:pt x="78" y="124"/>
                  </a:lnTo>
                  <a:lnTo>
                    <a:pt x="68" y="127"/>
                  </a:lnTo>
                  <a:lnTo>
                    <a:pt x="57" y="128"/>
                  </a:lnTo>
                  <a:lnTo>
                    <a:pt x="46" y="128"/>
                  </a:lnTo>
                  <a:lnTo>
                    <a:pt x="37" y="128"/>
                  </a:lnTo>
                  <a:lnTo>
                    <a:pt x="26" y="126"/>
                  </a:lnTo>
                  <a:lnTo>
                    <a:pt x="26" y="126"/>
                  </a:lnTo>
                  <a:lnTo>
                    <a:pt x="18" y="140"/>
                  </a:lnTo>
                  <a:lnTo>
                    <a:pt x="11" y="155"/>
                  </a:lnTo>
                  <a:lnTo>
                    <a:pt x="4" y="171"/>
                  </a:lnTo>
                  <a:lnTo>
                    <a:pt x="0" y="188"/>
                  </a:lnTo>
                  <a:lnTo>
                    <a:pt x="0" y="188"/>
                  </a:lnTo>
                  <a:lnTo>
                    <a:pt x="8" y="193"/>
                  </a:lnTo>
                  <a:lnTo>
                    <a:pt x="18" y="200"/>
                  </a:lnTo>
                  <a:lnTo>
                    <a:pt x="25" y="208"/>
                  </a:lnTo>
                  <a:lnTo>
                    <a:pt x="30" y="216"/>
                  </a:lnTo>
                  <a:lnTo>
                    <a:pt x="35" y="225"/>
                  </a:lnTo>
                  <a:lnTo>
                    <a:pt x="39" y="236"/>
                  </a:lnTo>
                  <a:lnTo>
                    <a:pt x="42" y="247"/>
                  </a:lnTo>
                  <a:lnTo>
                    <a:pt x="42" y="258"/>
                  </a:lnTo>
                  <a:lnTo>
                    <a:pt x="42" y="258"/>
                  </a:lnTo>
                  <a:lnTo>
                    <a:pt x="42" y="268"/>
                  </a:lnTo>
                  <a:lnTo>
                    <a:pt x="39" y="279"/>
                  </a:lnTo>
                  <a:lnTo>
                    <a:pt x="35" y="290"/>
                  </a:lnTo>
                  <a:lnTo>
                    <a:pt x="30" y="299"/>
                  </a:lnTo>
                  <a:lnTo>
                    <a:pt x="25" y="308"/>
                  </a:lnTo>
                  <a:lnTo>
                    <a:pt x="16" y="316"/>
                  </a:lnTo>
                  <a:lnTo>
                    <a:pt x="8" y="322"/>
                  </a:lnTo>
                  <a:lnTo>
                    <a:pt x="0" y="328"/>
                  </a:lnTo>
                  <a:lnTo>
                    <a:pt x="0" y="328"/>
                  </a:lnTo>
                  <a:lnTo>
                    <a:pt x="4" y="344"/>
                  </a:lnTo>
                  <a:lnTo>
                    <a:pt x="11" y="360"/>
                  </a:lnTo>
                  <a:lnTo>
                    <a:pt x="18" y="375"/>
                  </a:lnTo>
                  <a:lnTo>
                    <a:pt x="26" y="390"/>
                  </a:lnTo>
                  <a:lnTo>
                    <a:pt x="26" y="390"/>
                  </a:lnTo>
                  <a:lnTo>
                    <a:pt x="37" y="387"/>
                  </a:lnTo>
                  <a:lnTo>
                    <a:pt x="46" y="387"/>
                  </a:lnTo>
                  <a:lnTo>
                    <a:pt x="57" y="387"/>
                  </a:lnTo>
                  <a:lnTo>
                    <a:pt x="68" y="388"/>
                  </a:lnTo>
                  <a:lnTo>
                    <a:pt x="78" y="391"/>
                  </a:lnTo>
                  <a:lnTo>
                    <a:pt x="88" y="397"/>
                  </a:lnTo>
                  <a:lnTo>
                    <a:pt x="97" y="402"/>
                  </a:lnTo>
                  <a:lnTo>
                    <a:pt x="105" y="410"/>
                  </a:lnTo>
                  <a:lnTo>
                    <a:pt x="105" y="410"/>
                  </a:lnTo>
                  <a:lnTo>
                    <a:pt x="112" y="418"/>
                  </a:lnTo>
                  <a:lnTo>
                    <a:pt x="119" y="428"/>
                  </a:lnTo>
                  <a:lnTo>
                    <a:pt x="123" y="437"/>
                  </a:lnTo>
                  <a:lnTo>
                    <a:pt x="126" y="448"/>
                  </a:lnTo>
                  <a:lnTo>
                    <a:pt x="128" y="457"/>
                  </a:lnTo>
                  <a:lnTo>
                    <a:pt x="128" y="468"/>
                  </a:lnTo>
                  <a:lnTo>
                    <a:pt x="127" y="479"/>
                  </a:lnTo>
                  <a:lnTo>
                    <a:pt x="124" y="490"/>
                  </a:lnTo>
                  <a:lnTo>
                    <a:pt x="124" y="490"/>
                  </a:lnTo>
                  <a:lnTo>
                    <a:pt x="139" y="498"/>
                  </a:lnTo>
                  <a:lnTo>
                    <a:pt x="155" y="504"/>
                  </a:lnTo>
                  <a:lnTo>
                    <a:pt x="170" y="510"/>
                  </a:lnTo>
                  <a:lnTo>
                    <a:pt x="188" y="515"/>
                  </a:lnTo>
                  <a:lnTo>
                    <a:pt x="188" y="515"/>
                  </a:lnTo>
                  <a:lnTo>
                    <a:pt x="193" y="506"/>
                  </a:lnTo>
                  <a:lnTo>
                    <a:pt x="200" y="498"/>
                  </a:lnTo>
                  <a:lnTo>
                    <a:pt x="207" y="491"/>
                  </a:lnTo>
                  <a:lnTo>
                    <a:pt x="216" y="484"/>
                  </a:lnTo>
                  <a:lnTo>
                    <a:pt x="225" y="479"/>
                  </a:lnTo>
                  <a:lnTo>
                    <a:pt x="235" y="476"/>
                  </a:lnTo>
                  <a:lnTo>
                    <a:pt x="246" y="473"/>
                  </a:lnTo>
                  <a:lnTo>
                    <a:pt x="258" y="472"/>
                  </a:lnTo>
                  <a:lnTo>
                    <a:pt x="258" y="472"/>
                  </a:lnTo>
                  <a:lnTo>
                    <a:pt x="269" y="473"/>
                  </a:lnTo>
                  <a:lnTo>
                    <a:pt x="279" y="476"/>
                  </a:lnTo>
                  <a:lnTo>
                    <a:pt x="289" y="479"/>
                  </a:lnTo>
                  <a:lnTo>
                    <a:pt x="298" y="484"/>
                  </a:lnTo>
                  <a:lnTo>
                    <a:pt x="308" y="491"/>
                  </a:lnTo>
                  <a:lnTo>
                    <a:pt x="314" y="498"/>
                  </a:lnTo>
                  <a:lnTo>
                    <a:pt x="321" y="506"/>
                  </a:lnTo>
                  <a:lnTo>
                    <a:pt x="328" y="515"/>
                  </a:lnTo>
                  <a:lnTo>
                    <a:pt x="328" y="515"/>
                  </a:lnTo>
                  <a:lnTo>
                    <a:pt x="344" y="510"/>
                  </a:lnTo>
                  <a:lnTo>
                    <a:pt x="344" y="357"/>
                  </a:lnTo>
                  <a:lnTo>
                    <a:pt x="344" y="357"/>
                  </a:lnTo>
                  <a:lnTo>
                    <a:pt x="344" y="352"/>
                  </a:lnTo>
                  <a:lnTo>
                    <a:pt x="347" y="345"/>
                  </a:lnTo>
                  <a:lnTo>
                    <a:pt x="349" y="340"/>
                  </a:lnTo>
                  <a:lnTo>
                    <a:pt x="352" y="336"/>
                  </a:lnTo>
                  <a:lnTo>
                    <a:pt x="356" y="332"/>
                  </a:lnTo>
                  <a:lnTo>
                    <a:pt x="362" y="329"/>
                  </a:lnTo>
                  <a:lnTo>
                    <a:pt x="367" y="328"/>
                  </a:lnTo>
                  <a:lnTo>
                    <a:pt x="374" y="328"/>
                  </a:lnTo>
                  <a:lnTo>
                    <a:pt x="374" y="328"/>
                  </a:lnTo>
                  <a:lnTo>
                    <a:pt x="378" y="328"/>
                  </a:lnTo>
                  <a:lnTo>
                    <a:pt x="383" y="329"/>
                  </a:lnTo>
                  <a:lnTo>
                    <a:pt x="389" y="332"/>
                  </a:lnTo>
                  <a:lnTo>
                    <a:pt x="393" y="335"/>
                  </a:lnTo>
                  <a:lnTo>
                    <a:pt x="393" y="335"/>
                  </a:lnTo>
                  <a:close/>
                  <a:moveTo>
                    <a:pt x="258" y="337"/>
                  </a:moveTo>
                  <a:lnTo>
                    <a:pt x="258" y="337"/>
                  </a:lnTo>
                  <a:lnTo>
                    <a:pt x="250" y="336"/>
                  </a:lnTo>
                  <a:lnTo>
                    <a:pt x="242" y="335"/>
                  </a:lnTo>
                  <a:lnTo>
                    <a:pt x="227" y="330"/>
                  </a:lnTo>
                  <a:lnTo>
                    <a:pt x="213" y="324"/>
                  </a:lnTo>
                  <a:lnTo>
                    <a:pt x="201" y="313"/>
                  </a:lnTo>
                  <a:lnTo>
                    <a:pt x="192" y="302"/>
                  </a:lnTo>
                  <a:lnTo>
                    <a:pt x="185" y="289"/>
                  </a:lnTo>
                  <a:lnTo>
                    <a:pt x="180" y="274"/>
                  </a:lnTo>
                  <a:lnTo>
                    <a:pt x="178" y="266"/>
                  </a:lnTo>
                  <a:lnTo>
                    <a:pt x="178" y="258"/>
                  </a:lnTo>
                  <a:lnTo>
                    <a:pt x="178" y="258"/>
                  </a:lnTo>
                  <a:lnTo>
                    <a:pt x="178" y="250"/>
                  </a:lnTo>
                  <a:lnTo>
                    <a:pt x="180" y="241"/>
                  </a:lnTo>
                  <a:lnTo>
                    <a:pt x="185" y="227"/>
                  </a:lnTo>
                  <a:lnTo>
                    <a:pt x="192" y="213"/>
                  </a:lnTo>
                  <a:lnTo>
                    <a:pt x="201" y="202"/>
                  </a:lnTo>
                  <a:lnTo>
                    <a:pt x="213" y="193"/>
                  </a:lnTo>
                  <a:lnTo>
                    <a:pt x="227" y="185"/>
                  </a:lnTo>
                  <a:lnTo>
                    <a:pt x="242" y="181"/>
                  </a:lnTo>
                  <a:lnTo>
                    <a:pt x="250" y="179"/>
                  </a:lnTo>
                  <a:lnTo>
                    <a:pt x="258" y="179"/>
                  </a:lnTo>
                  <a:lnTo>
                    <a:pt x="258" y="179"/>
                  </a:lnTo>
                  <a:lnTo>
                    <a:pt x="266" y="179"/>
                  </a:lnTo>
                  <a:lnTo>
                    <a:pt x="273" y="181"/>
                  </a:lnTo>
                  <a:lnTo>
                    <a:pt x="287" y="185"/>
                  </a:lnTo>
                  <a:lnTo>
                    <a:pt x="301" y="193"/>
                  </a:lnTo>
                  <a:lnTo>
                    <a:pt x="313" y="202"/>
                  </a:lnTo>
                  <a:lnTo>
                    <a:pt x="323" y="213"/>
                  </a:lnTo>
                  <a:lnTo>
                    <a:pt x="329" y="227"/>
                  </a:lnTo>
                  <a:lnTo>
                    <a:pt x="335" y="241"/>
                  </a:lnTo>
                  <a:lnTo>
                    <a:pt x="336" y="250"/>
                  </a:lnTo>
                  <a:lnTo>
                    <a:pt x="336" y="258"/>
                  </a:lnTo>
                  <a:lnTo>
                    <a:pt x="336" y="258"/>
                  </a:lnTo>
                  <a:lnTo>
                    <a:pt x="336" y="266"/>
                  </a:lnTo>
                  <a:lnTo>
                    <a:pt x="335" y="274"/>
                  </a:lnTo>
                  <a:lnTo>
                    <a:pt x="329" y="289"/>
                  </a:lnTo>
                  <a:lnTo>
                    <a:pt x="323" y="302"/>
                  </a:lnTo>
                  <a:lnTo>
                    <a:pt x="313" y="313"/>
                  </a:lnTo>
                  <a:lnTo>
                    <a:pt x="301" y="324"/>
                  </a:lnTo>
                  <a:lnTo>
                    <a:pt x="287" y="330"/>
                  </a:lnTo>
                  <a:lnTo>
                    <a:pt x="273" y="335"/>
                  </a:lnTo>
                  <a:lnTo>
                    <a:pt x="266" y="336"/>
                  </a:lnTo>
                  <a:lnTo>
                    <a:pt x="258" y="337"/>
                  </a:lnTo>
                  <a:lnTo>
                    <a:pt x="258"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82" name="Freeform 194"/>
            <p:cNvSpPr>
              <a:spLocks/>
            </p:cNvSpPr>
            <p:nvPr/>
          </p:nvSpPr>
          <p:spPr bwMode="auto">
            <a:xfrm>
              <a:off x="4724050" y="2714881"/>
              <a:ext cx="43652" cy="74766"/>
            </a:xfrm>
            <a:custGeom>
              <a:avLst/>
              <a:gdLst>
                <a:gd name="T0" fmla="*/ 186 w 187"/>
                <a:gd name="T1" fmla="*/ 151 h 324"/>
                <a:gd name="T2" fmla="*/ 56 w 187"/>
                <a:gd name="T3" fmla="*/ 44 h 324"/>
                <a:gd name="T4" fmla="*/ 6 w 187"/>
                <a:gd name="T5" fmla="*/ 2 h 324"/>
                <a:gd name="T6" fmla="*/ 6 w 187"/>
                <a:gd name="T7" fmla="*/ 2 h 324"/>
                <a:gd name="T8" fmla="*/ 4 w 187"/>
                <a:gd name="T9" fmla="*/ 0 h 324"/>
                <a:gd name="T10" fmla="*/ 4 w 187"/>
                <a:gd name="T11" fmla="*/ 0 h 324"/>
                <a:gd name="T12" fmla="*/ 1 w 187"/>
                <a:gd name="T13" fmla="*/ 2 h 324"/>
                <a:gd name="T14" fmla="*/ 0 w 187"/>
                <a:gd name="T15" fmla="*/ 4 h 324"/>
                <a:gd name="T16" fmla="*/ 0 w 187"/>
                <a:gd name="T17" fmla="*/ 146 h 324"/>
                <a:gd name="T18" fmla="*/ 0 w 187"/>
                <a:gd name="T19" fmla="*/ 238 h 324"/>
                <a:gd name="T20" fmla="*/ 0 w 187"/>
                <a:gd name="T21" fmla="*/ 238 h 324"/>
                <a:gd name="T22" fmla="*/ 1 w 187"/>
                <a:gd name="T23" fmla="*/ 242 h 324"/>
                <a:gd name="T24" fmla="*/ 4 w 187"/>
                <a:gd name="T25" fmla="*/ 243 h 324"/>
                <a:gd name="T26" fmla="*/ 4 w 187"/>
                <a:gd name="T27" fmla="*/ 243 h 324"/>
                <a:gd name="T28" fmla="*/ 6 w 187"/>
                <a:gd name="T29" fmla="*/ 242 h 324"/>
                <a:gd name="T30" fmla="*/ 55 w 187"/>
                <a:gd name="T31" fmla="*/ 204 h 324"/>
                <a:gd name="T32" fmla="*/ 55 w 187"/>
                <a:gd name="T33" fmla="*/ 204 h 324"/>
                <a:gd name="T34" fmla="*/ 59 w 187"/>
                <a:gd name="T35" fmla="*/ 203 h 324"/>
                <a:gd name="T36" fmla="*/ 59 w 187"/>
                <a:gd name="T37" fmla="*/ 203 h 324"/>
                <a:gd name="T38" fmla="*/ 62 w 187"/>
                <a:gd name="T39" fmla="*/ 204 h 324"/>
                <a:gd name="T40" fmla="*/ 64 w 187"/>
                <a:gd name="T41" fmla="*/ 207 h 324"/>
                <a:gd name="T42" fmla="*/ 117 w 187"/>
                <a:gd name="T43" fmla="*/ 320 h 324"/>
                <a:gd name="T44" fmla="*/ 117 w 187"/>
                <a:gd name="T45" fmla="*/ 320 h 324"/>
                <a:gd name="T46" fmla="*/ 120 w 187"/>
                <a:gd name="T47" fmla="*/ 323 h 324"/>
                <a:gd name="T48" fmla="*/ 124 w 187"/>
                <a:gd name="T49" fmla="*/ 324 h 324"/>
                <a:gd name="T50" fmla="*/ 124 w 187"/>
                <a:gd name="T51" fmla="*/ 324 h 324"/>
                <a:gd name="T52" fmla="*/ 128 w 187"/>
                <a:gd name="T53" fmla="*/ 323 h 324"/>
                <a:gd name="T54" fmla="*/ 171 w 187"/>
                <a:gd name="T55" fmla="*/ 302 h 324"/>
                <a:gd name="T56" fmla="*/ 171 w 187"/>
                <a:gd name="T57" fmla="*/ 302 h 324"/>
                <a:gd name="T58" fmla="*/ 174 w 187"/>
                <a:gd name="T59" fmla="*/ 301 h 324"/>
                <a:gd name="T60" fmla="*/ 175 w 187"/>
                <a:gd name="T61" fmla="*/ 298 h 324"/>
                <a:gd name="T62" fmla="*/ 175 w 187"/>
                <a:gd name="T63" fmla="*/ 296 h 324"/>
                <a:gd name="T64" fmla="*/ 175 w 187"/>
                <a:gd name="T65" fmla="*/ 293 h 324"/>
                <a:gd name="T66" fmla="*/ 121 w 187"/>
                <a:gd name="T67" fmla="*/ 180 h 324"/>
                <a:gd name="T68" fmla="*/ 121 w 187"/>
                <a:gd name="T69" fmla="*/ 180 h 324"/>
                <a:gd name="T70" fmla="*/ 121 w 187"/>
                <a:gd name="T71" fmla="*/ 177 h 324"/>
                <a:gd name="T72" fmla="*/ 121 w 187"/>
                <a:gd name="T73" fmla="*/ 174 h 324"/>
                <a:gd name="T74" fmla="*/ 122 w 187"/>
                <a:gd name="T75" fmla="*/ 172 h 324"/>
                <a:gd name="T76" fmla="*/ 125 w 187"/>
                <a:gd name="T77" fmla="*/ 170 h 324"/>
                <a:gd name="T78" fmla="*/ 184 w 187"/>
                <a:gd name="T79" fmla="*/ 158 h 324"/>
                <a:gd name="T80" fmla="*/ 184 w 187"/>
                <a:gd name="T81" fmla="*/ 158 h 324"/>
                <a:gd name="T82" fmla="*/ 187 w 187"/>
                <a:gd name="T83" fmla="*/ 157 h 324"/>
                <a:gd name="T84" fmla="*/ 187 w 187"/>
                <a:gd name="T85" fmla="*/ 155 h 324"/>
                <a:gd name="T86" fmla="*/ 187 w 187"/>
                <a:gd name="T87" fmla="*/ 154 h 324"/>
                <a:gd name="T88" fmla="*/ 186 w 187"/>
                <a:gd name="T89" fmla="*/ 151 h 324"/>
                <a:gd name="T90" fmla="*/ 186 w 187"/>
                <a:gd name="T91" fmla="*/ 15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7" h="324">
                  <a:moveTo>
                    <a:pt x="186" y="151"/>
                  </a:moveTo>
                  <a:lnTo>
                    <a:pt x="56" y="44"/>
                  </a:lnTo>
                  <a:lnTo>
                    <a:pt x="6" y="2"/>
                  </a:lnTo>
                  <a:lnTo>
                    <a:pt x="6" y="2"/>
                  </a:lnTo>
                  <a:lnTo>
                    <a:pt x="4" y="0"/>
                  </a:lnTo>
                  <a:lnTo>
                    <a:pt x="4" y="0"/>
                  </a:lnTo>
                  <a:lnTo>
                    <a:pt x="1" y="2"/>
                  </a:lnTo>
                  <a:lnTo>
                    <a:pt x="0" y="4"/>
                  </a:lnTo>
                  <a:lnTo>
                    <a:pt x="0" y="146"/>
                  </a:lnTo>
                  <a:lnTo>
                    <a:pt x="0" y="238"/>
                  </a:lnTo>
                  <a:lnTo>
                    <a:pt x="0" y="238"/>
                  </a:lnTo>
                  <a:lnTo>
                    <a:pt x="1" y="242"/>
                  </a:lnTo>
                  <a:lnTo>
                    <a:pt x="4" y="243"/>
                  </a:lnTo>
                  <a:lnTo>
                    <a:pt x="4" y="243"/>
                  </a:lnTo>
                  <a:lnTo>
                    <a:pt x="6" y="242"/>
                  </a:lnTo>
                  <a:lnTo>
                    <a:pt x="55" y="204"/>
                  </a:lnTo>
                  <a:lnTo>
                    <a:pt x="55" y="204"/>
                  </a:lnTo>
                  <a:lnTo>
                    <a:pt x="59" y="203"/>
                  </a:lnTo>
                  <a:lnTo>
                    <a:pt x="59" y="203"/>
                  </a:lnTo>
                  <a:lnTo>
                    <a:pt x="62" y="204"/>
                  </a:lnTo>
                  <a:lnTo>
                    <a:pt x="64" y="207"/>
                  </a:lnTo>
                  <a:lnTo>
                    <a:pt x="117" y="320"/>
                  </a:lnTo>
                  <a:lnTo>
                    <a:pt x="117" y="320"/>
                  </a:lnTo>
                  <a:lnTo>
                    <a:pt x="120" y="323"/>
                  </a:lnTo>
                  <a:lnTo>
                    <a:pt x="124" y="324"/>
                  </a:lnTo>
                  <a:lnTo>
                    <a:pt x="124" y="324"/>
                  </a:lnTo>
                  <a:lnTo>
                    <a:pt x="128" y="323"/>
                  </a:lnTo>
                  <a:lnTo>
                    <a:pt x="171" y="302"/>
                  </a:lnTo>
                  <a:lnTo>
                    <a:pt x="171" y="302"/>
                  </a:lnTo>
                  <a:lnTo>
                    <a:pt x="174" y="301"/>
                  </a:lnTo>
                  <a:lnTo>
                    <a:pt x="175" y="298"/>
                  </a:lnTo>
                  <a:lnTo>
                    <a:pt x="175" y="296"/>
                  </a:lnTo>
                  <a:lnTo>
                    <a:pt x="175" y="293"/>
                  </a:lnTo>
                  <a:lnTo>
                    <a:pt x="121" y="180"/>
                  </a:lnTo>
                  <a:lnTo>
                    <a:pt x="121" y="180"/>
                  </a:lnTo>
                  <a:lnTo>
                    <a:pt x="121" y="177"/>
                  </a:lnTo>
                  <a:lnTo>
                    <a:pt x="121" y="174"/>
                  </a:lnTo>
                  <a:lnTo>
                    <a:pt x="122" y="172"/>
                  </a:lnTo>
                  <a:lnTo>
                    <a:pt x="125" y="170"/>
                  </a:lnTo>
                  <a:lnTo>
                    <a:pt x="184" y="158"/>
                  </a:lnTo>
                  <a:lnTo>
                    <a:pt x="184" y="158"/>
                  </a:lnTo>
                  <a:lnTo>
                    <a:pt x="187" y="157"/>
                  </a:lnTo>
                  <a:lnTo>
                    <a:pt x="187" y="155"/>
                  </a:lnTo>
                  <a:lnTo>
                    <a:pt x="187" y="154"/>
                  </a:lnTo>
                  <a:lnTo>
                    <a:pt x="186" y="151"/>
                  </a:lnTo>
                  <a:lnTo>
                    <a:pt x="186"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519" name="Rectangle 518"/>
          <p:cNvSpPr/>
          <p:nvPr/>
        </p:nvSpPr>
        <p:spPr>
          <a:xfrm>
            <a:off x="2409190"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4" name="Rectangle 543"/>
          <p:cNvSpPr/>
          <p:nvPr/>
        </p:nvSpPr>
        <p:spPr>
          <a:xfrm>
            <a:off x="3394126" y="2273884"/>
            <a:ext cx="20918" cy="437216"/>
          </a:xfrm>
          <a:prstGeom prst="rect">
            <a:avLst/>
          </a:prstGeom>
          <a:gradFill>
            <a:gsLst>
              <a:gs pos="0">
                <a:srgbClr val="EAEEEE">
                  <a:alpha val="55000"/>
                </a:srgbClr>
              </a:gs>
              <a:gs pos="100000">
                <a:srgbClr val="0E57B0"/>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8" name="Rectangle 547"/>
          <p:cNvSpPr/>
          <p:nvPr/>
        </p:nvSpPr>
        <p:spPr>
          <a:xfrm>
            <a:off x="5987593" y="2273884"/>
            <a:ext cx="20918" cy="437216"/>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46" name="Rectangle 545"/>
          <p:cNvSpPr/>
          <p:nvPr/>
        </p:nvSpPr>
        <p:spPr>
          <a:xfrm>
            <a:off x="5195052" y="2273884"/>
            <a:ext cx="20918" cy="437216"/>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52" name="Rectangle 551"/>
          <p:cNvSpPr/>
          <p:nvPr/>
        </p:nvSpPr>
        <p:spPr>
          <a:xfrm>
            <a:off x="6511275" y="4046048"/>
            <a:ext cx="553246"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smtClean="0">
                <a:solidFill>
                  <a:srgbClr val="676767">
                    <a:lumMod val="75000"/>
                  </a:srgbClr>
                </a:solidFill>
                <a:latin typeface="+mj-lt"/>
                <a:ea typeface="ＭＳ Ｐゴシック" charset="0"/>
                <a:cs typeface="ＭＳ Ｐゴシック" charset="0"/>
              </a:rPr>
              <a:t>CWS Only</a:t>
            </a:r>
            <a:endParaRPr lang="en-US" sz="800" kern="0" dirty="0">
              <a:solidFill>
                <a:srgbClr val="676767">
                  <a:lumMod val="75000"/>
                </a:srgbClr>
              </a:solidFill>
              <a:latin typeface="+mj-lt"/>
              <a:ea typeface="ＭＳ Ｐゴシック" charset="0"/>
              <a:cs typeface="ＭＳ Ｐゴシック" charset="0"/>
            </a:endParaRPr>
          </a:p>
        </p:txBody>
      </p:sp>
      <p:sp>
        <p:nvSpPr>
          <p:cNvPr id="553" name="Rectangle 552"/>
          <p:cNvSpPr/>
          <p:nvPr/>
        </p:nvSpPr>
        <p:spPr>
          <a:xfrm>
            <a:off x="7292285" y="4046048"/>
            <a:ext cx="939498"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smtClean="0">
                <a:solidFill>
                  <a:srgbClr val="676767">
                    <a:lumMod val="75000"/>
                  </a:srgbClr>
                </a:solidFill>
                <a:latin typeface="+mj-lt"/>
                <a:ea typeface="ＭＳ Ｐゴシック" charset="0"/>
                <a:cs typeface="ＭＳ Ｐゴシック" charset="0"/>
              </a:rPr>
              <a:t>WSA/</a:t>
            </a:r>
            <a:r>
              <a:rPr lang="en-US" sz="800" kern="0" dirty="0" err="1" smtClean="0">
                <a:solidFill>
                  <a:srgbClr val="676767">
                    <a:lumMod val="75000"/>
                  </a:srgbClr>
                </a:solidFill>
                <a:latin typeface="+mj-lt"/>
                <a:ea typeface="ＭＳ Ｐゴシック" charset="0"/>
                <a:cs typeface="ＭＳ Ｐゴシック" charset="0"/>
              </a:rPr>
              <a:t>WSAv</a:t>
            </a:r>
            <a:r>
              <a:rPr lang="en-US" sz="800" kern="0" dirty="0" smtClean="0">
                <a:solidFill>
                  <a:srgbClr val="676767">
                    <a:lumMod val="75000"/>
                  </a:srgbClr>
                </a:solidFill>
                <a:latin typeface="+mj-lt"/>
                <a:ea typeface="ＭＳ Ｐゴシック" charset="0"/>
                <a:cs typeface="ＭＳ Ｐゴシック" charset="0"/>
              </a:rPr>
              <a:t> </a:t>
            </a:r>
            <a:r>
              <a:rPr lang="en-US" sz="800" kern="0" dirty="0">
                <a:solidFill>
                  <a:srgbClr val="676767">
                    <a:lumMod val="75000"/>
                  </a:srgbClr>
                </a:solidFill>
                <a:latin typeface="+mj-lt"/>
                <a:ea typeface="ＭＳ Ｐゴシック" charset="0"/>
                <a:cs typeface="ＭＳ Ｐゴシック" charset="0"/>
              </a:rPr>
              <a:t>Only</a:t>
            </a:r>
          </a:p>
        </p:txBody>
      </p:sp>
      <p:grpSp>
        <p:nvGrpSpPr>
          <p:cNvPr id="765" name="Group 522"/>
          <p:cNvGrpSpPr/>
          <p:nvPr/>
        </p:nvGrpSpPr>
        <p:grpSpPr>
          <a:xfrm>
            <a:off x="7265382" y="2825622"/>
            <a:ext cx="244881" cy="235160"/>
            <a:chOff x="7161165" y="3202984"/>
            <a:chExt cx="298635" cy="286779"/>
          </a:xfrm>
        </p:grpSpPr>
        <p:sp>
          <p:nvSpPr>
            <p:cNvPr id="524" name="Oval 523"/>
            <p:cNvSpPr/>
            <p:nvPr/>
          </p:nvSpPr>
          <p:spPr>
            <a:xfrm>
              <a:off x="7161165" y="3202984"/>
              <a:ext cx="298635" cy="286779"/>
            </a:xfrm>
            <a:prstGeom prst="ellipse">
              <a:avLst/>
            </a:prstGeom>
            <a:solidFill>
              <a:schemeClr val="bg1">
                <a:lumMod val="95000"/>
              </a:schemeClr>
            </a:solidFill>
            <a:ln w="12700" cap="flat" cmpd="sng" algn="ctr">
              <a:gradFill flip="none" rotWithShape="1">
                <a:gsLst>
                  <a:gs pos="100000">
                    <a:schemeClr val="accent1"/>
                  </a:gs>
                  <a:gs pos="0">
                    <a:srgbClr val="A6A6A6"/>
                  </a:gs>
                </a:gsLst>
                <a:lin ang="5400000" scaled="1"/>
                <a:tileRect/>
              </a:gradFill>
              <a:prstDash val="solid"/>
            </a:ln>
            <a:effectLst/>
          </p:spPr>
          <p:txBody>
            <a:bodyPr rtlCol="0" anchor="ctr"/>
            <a:lstStyle/>
            <a:p>
              <a:pPr algn="ctr" defTabSz="1218173">
                <a:defRPr/>
              </a:pPr>
              <a:endParaRPr lang="en-US" sz="2400" kern="0">
                <a:solidFill>
                  <a:prstClr val="white"/>
                </a:solidFill>
                <a:latin typeface="+mj-lt"/>
              </a:endParaRPr>
            </a:p>
          </p:txBody>
        </p:sp>
        <p:grpSp>
          <p:nvGrpSpPr>
            <p:cNvPr id="772" name="Group 524"/>
            <p:cNvGrpSpPr/>
            <p:nvPr/>
          </p:nvGrpSpPr>
          <p:grpSpPr>
            <a:xfrm>
              <a:off x="7224511" y="3256478"/>
              <a:ext cx="173514" cy="180233"/>
              <a:chOff x="8761207" y="3899120"/>
              <a:chExt cx="185855" cy="201032"/>
            </a:xfrm>
          </p:grpSpPr>
          <p:sp>
            <p:nvSpPr>
              <p:cNvPr id="530" name="Freeform 427"/>
              <p:cNvSpPr>
                <a:spLocks noEditPoints="1"/>
              </p:cNvSpPr>
              <p:nvPr/>
            </p:nvSpPr>
            <p:spPr bwMode="auto">
              <a:xfrm rot="10800000">
                <a:off x="8860580" y="3899120"/>
                <a:ext cx="86482" cy="188136"/>
              </a:xfrm>
              <a:custGeom>
                <a:avLst/>
                <a:gdLst>
                  <a:gd name="T0" fmla="*/ 496 w 798"/>
                  <a:gd name="T1" fmla="*/ 1229 h 1735"/>
                  <a:gd name="T2" fmla="*/ 436 w 798"/>
                  <a:gd name="T3" fmla="*/ 1169 h 1735"/>
                  <a:gd name="T4" fmla="*/ 391 w 798"/>
                  <a:gd name="T5" fmla="*/ 1110 h 1735"/>
                  <a:gd name="T6" fmla="*/ 351 w 798"/>
                  <a:gd name="T7" fmla="*/ 1037 h 1735"/>
                  <a:gd name="T8" fmla="*/ 326 w 798"/>
                  <a:gd name="T9" fmla="*/ 971 h 1735"/>
                  <a:gd name="T10" fmla="*/ 307 w 798"/>
                  <a:gd name="T11" fmla="*/ 882 h 1735"/>
                  <a:gd name="T12" fmla="*/ 302 w 798"/>
                  <a:gd name="T13" fmla="*/ 808 h 1735"/>
                  <a:gd name="T14" fmla="*/ 304 w 798"/>
                  <a:gd name="T15" fmla="*/ 752 h 1735"/>
                  <a:gd name="T16" fmla="*/ 313 w 798"/>
                  <a:gd name="T17" fmla="*/ 697 h 1735"/>
                  <a:gd name="T18" fmla="*/ 327 w 798"/>
                  <a:gd name="T19" fmla="*/ 642 h 1735"/>
                  <a:gd name="T20" fmla="*/ 347 w 798"/>
                  <a:gd name="T21" fmla="*/ 589 h 1735"/>
                  <a:gd name="T22" fmla="*/ 397 w 798"/>
                  <a:gd name="T23" fmla="*/ 497 h 1735"/>
                  <a:gd name="T24" fmla="*/ 464 w 798"/>
                  <a:gd name="T25" fmla="*/ 415 h 1735"/>
                  <a:gd name="T26" fmla="*/ 577 w 798"/>
                  <a:gd name="T27" fmla="*/ 328 h 1735"/>
                  <a:gd name="T28" fmla="*/ 668 w 798"/>
                  <a:gd name="T29" fmla="*/ 285 h 1735"/>
                  <a:gd name="T30" fmla="*/ 723 w 798"/>
                  <a:gd name="T31" fmla="*/ 236 h 1735"/>
                  <a:gd name="T32" fmla="*/ 749 w 798"/>
                  <a:gd name="T33" fmla="*/ 168 h 1735"/>
                  <a:gd name="T34" fmla="*/ 739 w 798"/>
                  <a:gd name="T35" fmla="*/ 95 h 1735"/>
                  <a:gd name="T36" fmla="*/ 707 w 798"/>
                  <a:gd name="T37" fmla="*/ 45 h 1735"/>
                  <a:gd name="T38" fmla="*/ 646 w 798"/>
                  <a:gd name="T39" fmla="*/ 7 h 1735"/>
                  <a:gd name="T40" fmla="*/ 573 w 798"/>
                  <a:gd name="T41" fmla="*/ 2 h 1735"/>
                  <a:gd name="T42" fmla="*/ 463 w 798"/>
                  <a:gd name="T43" fmla="*/ 47 h 1735"/>
                  <a:gd name="T44" fmla="*/ 284 w 798"/>
                  <a:gd name="T45" fmla="*/ 171 h 1735"/>
                  <a:gd name="T46" fmla="*/ 173 w 798"/>
                  <a:gd name="T47" fmla="*/ 293 h 1735"/>
                  <a:gd name="T48" fmla="*/ 74 w 798"/>
                  <a:gd name="T49" fmla="*/ 462 h 1735"/>
                  <a:gd name="T50" fmla="*/ 71 w 798"/>
                  <a:gd name="T51" fmla="*/ 469 h 1735"/>
                  <a:gd name="T52" fmla="*/ 40 w 798"/>
                  <a:gd name="T53" fmla="*/ 551 h 1735"/>
                  <a:gd name="T54" fmla="*/ 18 w 798"/>
                  <a:gd name="T55" fmla="*/ 636 h 1735"/>
                  <a:gd name="T56" fmla="*/ 4 w 798"/>
                  <a:gd name="T57" fmla="*/ 721 h 1735"/>
                  <a:gd name="T58" fmla="*/ 0 w 798"/>
                  <a:gd name="T59" fmla="*/ 813 h 1735"/>
                  <a:gd name="T60" fmla="*/ 6 w 798"/>
                  <a:gd name="T61" fmla="*/ 909 h 1735"/>
                  <a:gd name="T62" fmla="*/ 20 w 798"/>
                  <a:gd name="T63" fmla="*/ 986 h 1735"/>
                  <a:gd name="T64" fmla="*/ 38 w 798"/>
                  <a:gd name="T65" fmla="*/ 1059 h 1735"/>
                  <a:gd name="T66" fmla="*/ 68 w 798"/>
                  <a:gd name="T67" fmla="*/ 1142 h 1735"/>
                  <a:gd name="T68" fmla="*/ 102 w 798"/>
                  <a:gd name="T69" fmla="*/ 1214 h 1735"/>
                  <a:gd name="T70" fmla="*/ 197 w 798"/>
                  <a:gd name="T71" fmla="*/ 1355 h 1735"/>
                  <a:gd name="T72" fmla="*/ 184 w 798"/>
                  <a:gd name="T73" fmla="*/ 1610 h 1735"/>
                  <a:gd name="T74" fmla="*/ 149 w 798"/>
                  <a:gd name="T75" fmla="*/ 1659 h 1735"/>
                  <a:gd name="T76" fmla="*/ 152 w 798"/>
                  <a:gd name="T77" fmla="*/ 1707 h 1735"/>
                  <a:gd name="T78" fmla="*/ 203 w 798"/>
                  <a:gd name="T79" fmla="*/ 1733 h 1735"/>
                  <a:gd name="T80" fmla="*/ 639 w 798"/>
                  <a:gd name="T81" fmla="*/ 1734 h 1735"/>
                  <a:gd name="T82" fmla="*/ 719 w 798"/>
                  <a:gd name="T83" fmla="*/ 1706 h 1735"/>
                  <a:gd name="T84" fmla="*/ 776 w 798"/>
                  <a:gd name="T85" fmla="*/ 1642 h 1735"/>
                  <a:gd name="T86" fmla="*/ 798 w 798"/>
                  <a:gd name="T87" fmla="*/ 1559 h 1735"/>
                  <a:gd name="T88" fmla="*/ 792 w 798"/>
                  <a:gd name="T89" fmla="*/ 1127 h 1735"/>
                  <a:gd name="T90" fmla="*/ 761 w 798"/>
                  <a:gd name="T91" fmla="*/ 1085 h 1735"/>
                  <a:gd name="T92" fmla="*/ 709 w 798"/>
                  <a:gd name="T93" fmla="*/ 1093 h 1735"/>
                  <a:gd name="T94" fmla="*/ 315 w 798"/>
                  <a:gd name="T95" fmla="*/ 265 h 1735"/>
                  <a:gd name="T96" fmla="*/ 437 w 798"/>
                  <a:gd name="T97" fmla="*/ 166 h 1735"/>
                  <a:gd name="T98" fmla="*/ 576 w 798"/>
                  <a:gd name="T99" fmla="*/ 94 h 1735"/>
                  <a:gd name="T100" fmla="*/ 622 w 798"/>
                  <a:gd name="T101" fmla="*/ 95 h 1735"/>
                  <a:gd name="T102" fmla="*/ 655 w 798"/>
                  <a:gd name="T103" fmla="*/ 129 h 1735"/>
                  <a:gd name="T104" fmla="*/ 658 w 798"/>
                  <a:gd name="T105" fmla="*/ 163 h 1735"/>
                  <a:gd name="T106" fmla="*/ 626 w 798"/>
                  <a:gd name="T107" fmla="*/ 204 h 1735"/>
                  <a:gd name="T108" fmla="*/ 532 w 798"/>
                  <a:gd name="T109" fmla="*/ 250 h 1735"/>
                  <a:gd name="T110" fmla="*/ 401 w 798"/>
                  <a:gd name="T111" fmla="*/ 351 h 1735"/>
                  <a:gd name="T112" fmla="*/ 369 w 798"/>
                  <a:gd name="T113" fmla="*/ 367 h 1735"/>
                  <a:gd name="T114" fmla="*/ 321 w 798"/>
                  <a:gd name="T115" fmla="*/ 355 h 1735"/>
                  <a:gd name="T116" fmla="*/ 302 w 798"/>
                  <a:gd name="T117" fmla="*/ 331 h 1735"/>
                  <a:gd name="T118" fmla="*/ 307 w 798"/>
                  <a:gd name="T119" fmla="*/ 274 h 1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5">
                    <a:moveTo>
                      <a:pt x="672" y="1122"/>
                    </a:moveTo>
                    <a:lnTo>
                      <a:pt x="535" y="1259"/>
                    </a:lnTo>
                    <a:lnTo>
                      <a:pt x="535" y="1259"/>
                    </a:lnTo>
                    <a:lnTo>
                      <a:pt x="515" y="1245"/>
                    </a:lnTo>
                    <a:lnTo>
                      <a:pt x="496" y="1229"/>
                    </a:lnTo>
                    <a:lnTo>
                      <a:pt x="477" y="1212"/>
                    </a:lnTo>
                    <a:lnTo>
                      <a:pt x="459" y="1195"/>
                    </a:lnTo>
                    <a:lnTo>
                      <a:pt x="459" y="1195"/>
                    </a:lnTo>
                    <a:lnTo>
                      <a:pt x="436" y="1169"/>
                    </a:lnTo>
                    <a:lnTo>
                      <a:pt x="436" y="1169"/>
                    </a:lnTo>
                    <a:lnTo>
                      <a:pt x="424" y="1154"/>
                    </a:lnTo>
                    <a:lnTo>
                      <a:pt x="411" y="1138"/>
                    </a:lnTo>
                    <a:lnTo>
                      <a:pt x="411" y="1138"/>
                    </a:lnTo>
                    <a:lnTo>
                      <a:pt x="401" y="1124"/>
                    </a:lnTo>
                    <a:lnTo>
                      <a:pt x="391" y="1110"/>
                    </a:lnTo>
                    <a:lnTo>
                      <a:pt x="391" y="1110"/>
                    </a:lnTo>
                    <a:lnTo>
                      <a:pt x="376" y="1085"/>
                    </a:lnTo>
                    <a:lnTo>
                      <a:pt x="362" y="1060"/>
                    </a:lnTo>
                    <a:lnTo>
                      <a:pt x="362" y="1060"/>
                    </a:lnTo>
                    <a:lnTo>
                      <a:pt x="351" y="1037"/>
                    </a:lnTo>
                    <a:lnTo>
                      <a:pt x="351" y="1037"/>
                    </a:lnTo>
                    <a:lnTo>
                      <a:pt x="340" y="1010"/>
                    </a:lnTo>
                    <a:lnTo>
                      <a:pt x="330" y="982"/>
                    </a:lnTo>
                    <a:lnTo>
                      <a:pt x="330" y="982"/>
                    </a:lnTo>
                    <a:lnTo>
                      <a:pt x="326" y="971"/>
                    </a:lnTo>
                    <a:lnTo>
                      <a:pt x="326" y="971"/>
                    </a:lnTo>
                    <a:lnTo>
                      <a:pt x="317" y="936"/>
                    </a:lnTo>
                    <a:lnTo>
                      <a:pt x="310" y="901"/>
                    </a:lnTo>
                    <a:lnTo>
                      <a:pt x="310" y="901"/>
                    </a:lnTo>
                    <a:lnTo>
                      <a:pt x="307" y="882"/>
                    </a:lnTo>
                    <a:lnTo>
                      <a:pt x="307" y="882"/>
                    </a:lnTo>
                    <a:lnTo>
                      <a:pt x="303" y="846"/>
                    </a:lnTo>
                    <a:lnTo>
                      <a:pt x="302" y="827"/>
                    </a:lnTo>
                    <a:lnTo>
                      <a:pt x="302" y="808"/>
                    </a:lnTo>
                    <a:lnTo>
                      <a:pt x="302" y="808"/>
                    </a:lnTo>
                    <a:lnTo>
                      <a:pt x="302" y="806"/>
                    </a:lnTo>
                    <a:lnTo>
                      <a:pt x="302" y="806"/>
                    </a:lnTo>
                    <a:lnTo>
                      <a:pt x="303" y="778"/>
                    </a:lnTo>
                    <a:lnTo>
                      <a:pt x="304" y="752"/>
                    </a:lnTo>
                    <a:lnTo>
                      <a:pt x="304" y="752"/>
                    </a:lnTo>
                    <a:lnTo>
                      <a:pt x="308" y="726"/>
                    </a:lnTo>
                    <a:lnTo>
                      <a:pt x="308" y="726"/>
                    </a:lnTo>
                    <a:lnTo>
                      <a:pt x="310" y="712"/>
                    </a:lnTo>
                    <a:lnTo>
                      <a:pt x="313" y="697"/>
                    </a:lnTo>
                    <a:lnTo>
                      <a:pt x="313" y="697"/>
                    </a:lnTo>
                    <a:lnTo>
                      <a:pt x="315" y="687"/>
                    </a:lnTo>
                    <a:lnTo>
                      <a:pt x="318" y="676"/>
                    </a:lnTo>
                    <a:lnTo>
                      <a:pt x="318" y="676"/>
                    </a:lnTo>
                    <a:lnTo>
                      <a:pt x="323" y="659"/>
                    </a:lnTo>
                    <a:lnTo>
                      <a:pt x="327" y="642"/>
                    </a:lnTo>
                    <a:lnTo>
                      <a:pt x="327" y="642"/>
                    </a:lnTo>
                    <a:lnTo>
                      <a:pt x="333" y="627"/>
                    </a:lnTo>
                    <a:lnTo>
                      <a:pt x="333" y="627"/>
                    </a:lnTo>
                    <a:lnTo>
                      <a:pt x="339" y="608"/>
                    </a:lnTo>
                    <a:lnTo>
                      <a:pt x="347" y="589"/>
                    </a:lnTo>
                    <a:lnTo>
                      <a:pt x="347" y="589"/>
                    </a:lnTo>
                    <a:lnTo>
                      <a:pt x="358" y="565"/>
                    </a:lnTo>
                    <a:lnTo>
                      <a:pt x="369" y="542"/>
                    </a:lnTo>
                    <a:lnTo>
                      <a:pt x="383" y="519"/>
                    </a:lnTo>
                    <a:lnTo>
                      <a:pt x="397" y="497"/>
                    </a:lnTo>
                    <a:lnTo>
                      <a:pt x="412" y="475"/>
                    </a:lnTo>
                    <a:lnTo>
                      <a:pt x="429" y="454"/>
                    </a:lnTo>
                    <a:lnTo>
                      <a:pt x="446" y="435"/>
                    </a:lnTo>
                    <a:lnTo>
                      <a:pt x="464" y="415"/>
                    </a:lnTo>
                    <a:lnTo>
                      <a:pt x="464" y="415"/>
                    </a:lnTo>
                    <a:lnTo>
                      <a:pt x="486" y="395"/>
                    </a:lnTo>
                    <a:lnTo>
                      <a:pt x="507" y="376"/>
                    </a:lnTo>
                    <a:lnTo>
                      <a:pt x="530" y="359"/>
                    </a:lnTo>
                    <a:lnTo>
                      <a:pt x="553" y="343"/>
                    </a:lnTo>
                    <a:lnTo>
                      <a:pt x="577" y="328"/>
                    </a:lnTo>
                    <a:lnTo>
                      <a:pt x="602" y="314"/>
                    </a:lnTo>
                    <a:lnTo>
                      <a:pt x="627" y="302"/>
                    </a:lnTo>
                    <a:lnTo>
                      <a:pt x="654" y="291"/>
                    </a:lnTo>
                    <a:lnTo>
                      <a:pt x="654" y="291"/>
                    </a:lnTo>
                    <a:lnTo>
                      <a:pt x="668" y="285"/>
                    </a:lnTo>
                    <a:lnTo>
                      <a:pt x="682" y="277"/>
                    </a:lnTo>
                    <a:lnTo>
                      <a:pt x="693" y="268"/>
                    </a:lnTo>
                    <a:lnTo>
                      <a:pt x="704" y="258"/>
                    </a:lnTo>
                    <a:lnTo>
                      <a:pt x="714" y="247"/>
                    </a:lnTo>
                    <a:lnTo>
                      <a:pt x="723" y="236"/>
                    </a:lnTo>
                    <a:lnTo>
                      <a:pt x="730" y="223"/>
                    </a:lnTo>
                    <a:lnTo>
                      <a:pt x="737" y="210"/>
                    </a:lnTo>
                    <a:lnTo>
                      <a:pt x="742" y="197"/>
                    </a:lnTo>
                    <a:lnTo>
                      <a:pt x="746" y="183"/>
                    </a:lnTo>
                    <a:lnTo>
                      <a:pt x="749" y="168"/>
                    </a:lnTo>
                    <a:lnTo>
                      <a:pt x="750" y="154"/>
                    </a:lnTo>
                    <a:lnTo>
                      <a:pt x="749" y="140"/>
                    </a:lnTo>
                    <a:lnTo>
                      <a:pt x="747" y="125"/>
                    </a:lnTo>
                    <a:lnTo>
                      <a:pt x="744" y="110"/>
                    </a:lnTo>
                    <a:lnTo>
                      <a:pt x="739" y="95"/>
                    </a:lnTo>
                    <a:lnTo>
                      <a:pt x="739" y="95"/>
                    </a:lnTo>
                    <a:lnTo>
                      <a:pt x="732" y="82"/>
                    </a:lnTo>
                    <a:lnTo>
                      <a:pt x="725" y="68"/>
                    </a:lnTo>
                    <a:lnTo>
                      <a:pt x="716" y="56"/>
                    </a:lnTo>
                    <a:lnTo>
                      <a:pt x="707" y="45"/>
                    </a:lnTo>
                    <a:lnTo>
                      <a:pt x="696" y="35"/>
                    </a:lnTo>
                    <a:lnTo>
                      <a:pt x="685" y="27"/>
                    </a:lnTo>
                    <a:lnTo>
                      <a:pt x="672" y="18"/>
                    </a:lnTo>
                    <a:lnTo>
                      <a:pt x="659" y="12"/>
                    </a:lnTo>
                    <a:lnTo>
                      <a:pt x="646" y="7"/>
                    </a:lnTo>
                    <a:lnTo>
                      <a:pt x="632" y="3"/>
                    </a:lnTo>
                    <a:lnTo>
                      <a:pt x="617" y="1"/>
                    </a:lnTo>
                    <a:lnTo>
                      <a:pt x="603" y="0"/>
                    </a:lnTo>
                    <a:lnTo>
                      <a:pt x="588" y="0"/>
                    </a:lnTo>
                    <a:lnTo>
                      <a:pt x="573" y="2"/>
                    </a:lnTo>
                    <a:lnTo>
                      <a:pt x="558" y="5"/>
                    </a:lnTo>
                    <a:lnTo>
                      <a:pt x="544" y="10"/>
                    </a:lnTo>
                    <a:lnTo>
                      <a:pt x="544" y="10"/>
                    </a:lnTo>
                    <a:lnTo>
                      <a:pt x="503" y="28"/>
                    </a:lnTo>
                    <a:lnTo>
                      <a:pt x="463" y="47"/>
                    </a:lnTo>
                    <a:lnTo>
                      <a:pt x="425" y="67"/>
                    </a:lnTo>
                    <a:lnTo>
                      <a:pt x="388" y="91"/>
                    </a:lnTo>
                    <a:lnTo>
                      <a:pt x="352" y="115"/>
                    </a:lnTo>
                    <a:lnTo>
                      <a:pt x="317" y="143"/>
                    </a:lnTo>
                    <a:lnTo>
                      <a:pt x="284" y="171"/>
                    </a:lnTo>
                    <a:lnTo>
                      <a:pt x="252" y="202"/>
                    </a:lnTo>
                    <a:lnTo>
                      <a:pt x="252" y="202"/>
                    </a:lnTo>
                    <a:lnTo>
                      <a:pt x="224" y="231"/>
                    </a:lnTo>
                    <a:lnTo>
                      <a:pt x="197" y="261"/>
                    </a:lnTo>
                    <a:lnTo>
                      <a:pt x="173" y="293"/>
                    </a:lnTo>
                    <a:lnTo>
                      <a:pt x="150" y="324"/>
                    </a:lnTo>
                    <a:lnTo>
                      <a:pt x="129" y="358"/>
                    </a:lnTo>
                    <a:lnTo>
                      <a:pt x="108" y="392"/>
                    </a:lnTo>
                    <a:lnTo>
                      <a:pt x="90" y="426"/>
                    </a:lnTo>
                    <a:lnTo>
                      <a:pt x="74" y="462"/>
                    </a:lnTo>
                    <a:lnTo>
                      <a:pt x="74" y="462"/>
                    </a:lnTo>
                    <a:lnTo>
                      <a:pt x="72" y="466"/>
                    </a:lnTo>
                    <a:lnTo>
                      <a:pt x="72" y="466"/>
                    </a:lnTo>
                    <a:lnTo>
                      <a:pt x="71" y="469"/>
                    </a:lnTo>
                    <a:lnTo>
                      <a:pt x="71" y="469"/>
                    </a:lnTo>
                    <a:lnTo>
                      <a:pt x="57" y="502"/>
                    </a:lnTo>
                    <a:lnTo>
                      <a:pt x="45" y="535"/>
                    </a:lnTo>
                    <a:lnTo>
                      <a:pt x="45" y="535"/>
                    </a:lnTo>
                    <a:lnTo>
                      <a:pt x="40" y="551"/>
                    </a:lnTo>
                    <a:lnTo>
                      <a:pt x="40" y="551"/>
                    </a:lnTo>
                    <a:lnTo>
                      <a:pt x="31" y="583"/>
                    </a:lnTo>
                    <a:lnTo>
                      <a:pt x="23" y="615"/>
                    </a:lnTo>
                    <a:lnTo>
                      <a:pt x="23" y="615"/>
                    </a:lnTo>
                    <a:lnTo>
                      <a:pt x="21" y="625"/>
                    </a:lnTo>
                    <a:lnTo>
                      <a:pt x="18" y="636"/>
                    </a:lnTo>
                    <a:lnTo>
                      <a:pt x="18" y="636"/>
                    </a:lnTo>
                    <a:lnTo>
                      <a:pt x="13" y="668"/>
                    </a:lnTo>
                    <a:lnTo>
                      <a:pt x="7" y="701"/>
                    </a:lnTo>
                    <a:lnTo>
                      <a:pt x="7" y="701"/>
                    </a:lnTo>
                    <a:lnTo>
                      <a:pt x="4" y="721"/>
                    </a:lnTo>
                    <a:lnTo>
                      <a:pt x="4" y="721"/>
                    </a:lnTo>
                    <a:lnTo>
                      <a:pt x="1" y="764"/>
                    </a:lnTo>
                    <a:lnTo>
                      <a:pt x="0" y="808"/>
                    </a:lnTo>
                    <a:lnTo>
                      <a:pt x="0" y="808"/>
                    </a:lnTo>
                    <a:lnTo>
                      <a:pt x="0" y="813"/>
                    </a:lnTo>
                    <a:lnTo>
                      <a:pt x="0" y="813"/>
                    </a:lnTo>
                    <a:lnTo>
                      <a:pt x="1" y="849"/>
                    </a:lnTo>
                    <a:lnTo>
                      <a:pt x="4" y="884"/>
                    </a:lnTo>
                    <a:lnTo>
                      <a:pt x="4" y="884"/>
                    </a:lnTo>
                    <a:lnTo>
                      <a:pt x="6" y="909"/>
                    </a:lnTo>
                    <a:lnTo>
                      <a:pt x="6" y="909"/>
                    </a:lnTo>
                    <a:lnTo>
                      <a:pt x="11" y="936"/>
                    </a:lnTo>
                    <a:lnTo>
                      <a:pt x="15" y="963"/>
                    </a:lnTo>
                    <a:lnTo>
                      <a:pt x="15" y="963"/>
                    </a:lnTo>
                    <a:lnTo>
                      <a:pt x="20" y="986"/>
                    </a:lnTo>
                    <a:lnTo>
                      <a:pt x="20" y="986"/>
                    </a:lnTo>
                    <a:lnTo>
                      <a:pt x="27" y="1020"/>
                    </a:lnTo>
                    <a:lnTo>
                      <a:pt x="36" y="1053"/>
                    </a:lnTo>
                    <a:lnTo>
                      <a:pt x="36" y="1053"/>
                    </a:lnTo>
                    <a:lnTo>
                      <a:pt x="38" y="1059"/>
                    </a:lnTo>
                    <a:lnTo>
                      <a:pt x="38" y="1059"/>
                    </a:lnTo>
                    <a:lnTo>
                      <a:pt x="50" y="1097"/>
                    </a:lnTo>
                    <a:lnTo>
                      <a:pt x="65" y="1134"/>
                    </a:lnTo>
                    <a:lnTo>
                      <a:pt x="65" y="1134"/>
                    </a:lnTo>
                    <a:lnTo>
                      <a:pt x="68" y="1142"/>
                    </a:lnTo>
                    <a:lnTo>
                      <a:pt x="68" y="1142"/>
                    </a:lnTo>
                    <a:lnTo>
                      <a:pt x="83" y="1175"/>
                    </a:lnTo>
                    <a:lnTo>
                      <a:pt x="100" y="1209"/>
                    </a:lnTo>
                    <a:lnTo>
                      <a:pt x="100" y="1209"/>
                    </a:lnTo>
                    <a:lnTo>
                      <a:pt x="102" y="1214"/>
                    </a:lnTo>
                    <a:lnTo>
                      <a:pt x="102" y="1214"/>
                    </a:lnTo>
                    <a:lnTo>
                      <a:pt x="123" y="1251"/>
                    </a:lnTo>
                    <a:lnTo>
                      <a:pt x="146" y="1286"/>
                    </a:lnTo>
                    <a:lnTo>
                      <a:pt x="171" y="1322"/>
                    </a:lnTo>
                    <a:lnTo>
                      <a:pt x="197" y="1355"/>
                    </a:lnTo>
                    <a:lnTo>
                      <a:pt x="225" y="1387"/>
                    </a:lnTo>
                    <a:lnTo>
                      <a:pt x="254" y="1418"/>
                    </a:lnTo>
                    <a:lnTo>
                      <a:pt x="286" y="1448"/>
                    </a:lnTo>
                    <a:lnTo>
                      <a:pt x="318" y="1476"/>
                    </a:lnTo>
                    <a:lnTo>
                      <a:pt x="184" y="1610"/>
                    </a:lnTo>
                    <a:lnTo>
                      <a:pt x="184" y="1610"/>
                    </a:lnTo>
                    <a:lnTo>
                      <a:pt x="173" y="1623"/>
                    </a:lnTo>
                    <a:lnTo>
                      <a:pt x="162" y="1635"/>
                    </a:lnTo>
                    <a:lnTo>
                      <a:pt x="155" y="1647"/>
                    </a:lnTo>
                    <a:lnTo>
                      <a:pt x="149" y="1659"/>
                    </a:lnTo>
                    <a:lnTo>
                      <a:pt x="146" y="1670"/>
                    </a:lnTo>
                    <a:lnTo>
                      <a:pt x="145" y="1680"/>
                    </a:lnTo>
                    <a:lnTo>
                      <a:pt x="145" y="1689"/>
                    </a:lnTo>
                    <a:lnTo>
                      <a:pt x="148" y="1698"/>
                    </a:lnTo>
                    <a:lnTo>
                      <a:pt x="152" y="1707"/>
                    </a:lnTo>
                    <a:lnTo>
                      <a:pt x="158" y="1714"/>
                    </a:lnTo>
                    <a:lnTo>
                      <a:pt x="167" y="1720"/>
                    </a:lnTo>
                    <a:lnTo>
                      <a:pt x="177" y="1726"/>
                    </a:lnTo>
                    <a:lnTo>
                      <a:pt x="189" y="1730"/>
                    </a:lnTo>
                    <a:lnTo>
                      <a:pt x="203" y="1733"/>
                    </a:lnTo>
                    <a:lnTo>
                      <a:pt x="219" y="1735"/>
                    </a:lnTo>
                    <a:lnTo>
                      <a:pt x="236" y="1735"/>
                    </a:lnTo>
                    <a:lnTo>
                      <a:pt x="620" y="1735"/>
                    </a:lnTo>
                    <a:lnTo>
                      <a:pt x="620" y="1735"/>
                    </a:lnTo>
                    <a:lnTo>
                      <a:pt x="639" y="1734"/>
                    </a:lnTo>
                    <a:lnTo>
                      <a:pt x="656" y="1732"/>
                    </a:lnTo>
                    <a:lnTo>
                      <a:pt x="673" y="1727"/>
                    </a:lnTo>
                    <a:lnTo>
                      <a:pt x="690" y="1722"/>
                    </a:lnTo>
                    <a:lnTo>
                      <a:pt x="705" y="1714"/>
                    </a:lnTo>
                    <a:lnTo>
                      <a:pt x="719" y="1706"/>
                    </a:lnTo>
                    <a:lnTo>
                      <a:pt x="732" y="1695"/>
                    </a:lnTo>
                    <a:lnTo>
                      <a:pt x="746" y="1683"/>
                    </a:lnTo>
                    <a:lnTo>
                      <a:pt x="757" y="1671"/>
                    </a:lnTo>
                    <a:lnTo>
                      <a:pt x="767" y="1658"/>
                    </a:lnTo>
                    <a:lnTo>
                      <a:pt x="776" y="1642"/>
                    </a:lnTo>
                    <a:lnTo>
                      <a:pt x="783" y="1627"/>
                    </a:lnTo>
                    <a:lnTo>
                      <a:pt x="790" y="1611"/>
                    </a:lnTo>
                    <a:lnTo>
                      <a:pt x="794" y="1594"/>
                    </a:lnTo>
                    <a:lnTo>
                      <a:pt x="797" y="1576"/>
                    </a:lnTo>
                    <a:lnTo>
                      <a:pt x="798" y="1559"/>
                    </a:lnTo>
                    <a:lnTo>
                      <a:pt x="798" y="1174"/>
                    </a:lnTo>
                    <a:lnTo>
                      <a:pt x="798" y="1174"/>
                    </a:lnTo>
                    <a:lnTo>
                      <a:pt x="797" y="1157"/>
                    </a:lnTo>
                    <a:lnTo>
                      <a:pt x="795" y="1140"/>
                    </a:lnTo>
                    <a:lnTo>
                      <a:pt x="792" y="1127"/>
                    </a:lnTo>
                    <a:lnTo>
                      <a:pt x="788" y="1115"/>
                    </a:lnTo>
                    <a:lnTo>
                      <a:pt x="782" y="1105"/>
                    </a:lnTo>
                    <a:lnTo>
                      <a:pt x="776" y="1097"/>
                    </a:lnTo>
                    <a:lnTo>
                      <a:pt x="769" y="1089"/>
                    </a:lnTo>
                    <a:lnTo>
                      <a:pt x="761" y="1085"/>
                    </a:lnTo>
                    <a:lnTo>
                      <a:pt x="752" y="1083"/>
                    </a:lnTo>
                    <a:lnTo>
                      <a:pt x="743" y="1082"/>
                    </a:lnTo>
                    <a:lnTo>
                      <a:pt x="731" y="1083"/>
                    </a:lnTo>
                    <a:lnTo>
                      <a:pt x="721" y="1087"/>
                    </a:lnTo>
                    <a:lnTo>
                      <a:pt x="709" y="1093"/>
                    </a:lnTo>
                    <a:lnTo>
                      <a:pt x="698" y="1101"/>
                    </a:lnTo>
                    <a:lnTo>
                      <a:pt x="686" y="1110"/>
                    </a:lnTo>
                    <a:lnTo>
                      <a:pt x="672" y="1122"/>
                    </a:lnTo>
                    <a:lnTo>
                      <a:pt x="672" y="1122"/>
                    </a:lnTo>
                    <a:close/>
                    <a:moveTo>
                      <a:pt x="315" y="265"/>
                    </a:moveTo>
                    <a:lnTo>
                      <a:pt x="315" y="265"/>
                    </a:lnTo>
                    <a:lnTo>
                      <a:pt x="344" y="238"/>
                    </a:lnTo>
                    <a:lnTo>
                      <a:pt x="374" y="212"/>
                    </a:lnTo>
                    <a:lnTo>
                      <a:pt x="405" y="189"/>
                    </a:lnTo>
                    <a:lnTo>
                      <a:pt x="437" y="166"/>
                    </a:lnTo>
                    <a:lnTo>
                      <a:pt x="470" y="146"/>
                    </a:lnTo>
                    <a:lnTo>
                      <a:pt x="505" y="127"/>
                    </a:lnTo>
                    <a:lnTo>
                      <a:pt x="541" y="109"/>
                    </a:lnTo>
                    <a:lnTo>
                      <a:pt x="576" y="94"/>
                    </a:lnTo>
                    <a:lnTo>
                      <a:pt x="576" y="94"/>
                    </a:lnTo>
                    <a:lnTo>
                      <a:pt x="583" y="92"/>
                    </a:lnTo>
                    <a:lnTo>
                      <a:pt x="589" y="91"/>
                    </a:lnTo>
                    <a:lnTo>
                      <a:pt x="600" y="90"/>
                    </a:lnTo>
                    <a:lnTo>
                      <a:pt x="612" y="92"/>
                    </a:lnTo>
                    <a:lnTo>
                      <a:pt x="622" y="95"/>
                    </a:lnTo>
                    <a:lnTo>
                      <a:pt x="633" y="101"/>
                    </a:lnTo>
                    <a:lnTo>
                      <a:pt x="642" y="108"/>
                    </a:lnTo>
                    <a:lnTo>
                      <a:pt x="649" y="117"/>
                    </a:lnTo>
                    <a:lnTo>
                      <a:pt x="652" y="122"/>
                    </a:lnTo>
                    <a:lnTo>
                      <a:pt x="655" y="129"/>
                    </a:lnTo>
                    <a:lnTo>
                      <a:pt x="655" y="129"/>
                    </a:lnTo>
                    <a:lnTo>
                      <a:pt x="657" y="134"/>
                    </a:lnTo>
                    <a:lnTo>
                      <a:pt x="658" y="140"/>
                    </a:lnTo>
                    <a:lnTo>
                      <a:pt x="659" y="152"/>
                    </a:lnTo>
                    <a:lnTo>
                      <a:pt x="658" y="163"/>
                    </a:lnTo>
                    <a:lnTo>
                      <a:pt x="654" y="175"/>
                    </a:lnTo>
                    <a:lnTo>
                      <a:pt x="649" y="185"/>
                    </a:lnTo>
                    <a:lnTo>
                      <a:pt x="641" y="194"/>
                    </a:lnTo>
                    <a:lnTo>
                      <a:pt x="632" y="201"/>
                    </a:lnTo>
                    <a:lnTo>
                      <a:pt x="626" y="204"/>
                    </a:lnTo>
                    <a:lnTo>
                      <a:pt x="620" y="206"/>
                    </a:lnTo>
                    <a:lnTo>
                      <a:pt x="620" y="206"/>
                    </a:lnTo>
                    <a:lnTo>
                      <a:pt x="590" y="219"/>
                    </a:lnTo>
                    <a:lnTo>
                      <a:pt x="560" y="234"/>
                    </a:lnTo>
                    <a:lnTo>
                      <a:pt x="532" y="250"/>
                    </a:lnTo>
                    <a:lnTo>
                      <a:pt x="503" y="267"/>
                    </a:lnTo>
                    <a:lnTo>
                      <a:pt x="477" y="286"/>
                    </a:lnTo>
                    <a:lnTo>
                      <a:pt x="450" y="306"/>
                    </a:lnTo>
                    <a:lnTo>
                      <a:pt x="425" y="328"/>
                    </a:lnTo>
                    <a:lnTo>
                      <a:pt x="401" y="351"/>
                    </a:lnTo>
                    <a:lnTo>
                      <a:pt x="401" y="351"/>
                    </a:lnTo>
                    <a:lnTo>
                      <a:pt x="396" y="355"/>
                    </a:lnTo>
                    <a:lnTo>
                      <a:pt x="391" y="359"/>
                    </a:lnTo>
                    <a:lnTo>
                      <a:pt x="381" y="364"/>
                    </a:lnTo>
                    <a:lnTo>
                      <a:pt x="369" y="367"/>
                    </a:lnTo>
                    <a:lnTo>
                      <a:pt x="358" y="368"/>
                    </a:lnTo>
                    <a:lnTo>
                      <a:pt x="347" y="367"/>
                    </a:lnTo>
                    <a:lnTo>
                      <a:pt x="336" y="364"/>
                    </a:lnTo>
                    <a:lnTo>
                      <a:pt x="325" y="359"/>
                    </a:lnTo>
                    <a:lnTo>
                      <a:pt x="321" y="355"/>
                    </a:lnTo>
                    <a:lnTo>
                      <a:pt x="315" y="351"/>
                    </a:lnTo>
                    <a:lnTo>
                      <a:pt x="315" y="351"/>
                    </a:lnTo>
                    <a:lnTo>
                      <a:pt x="311" y="347"/>
                    </a:lnTo>
                    <a:lnTo>
                      <a:pt x="307" y="342"/>
                    </a:lnTo>
                    <a:lnTo>
                      <a:pt x="302" y="331"/>
                    </a:lnTo>
                    <a:lnTo>
                      <a:pt x="299" y="319"/>
                    </a:lnTo>
                    <a:lnTo>
                      <a:pt x="298" y="308"/>
                    </a:lnTo>
                    <a:lnTo>
                      <a:pt x="299" y="297"/>
                    </a:lnTo>
                    <a:lnTo>
                      <a:pt x="302" y="286"/>
                    </a:lnTo>
                    <a:lnTo>
                      <a:pt x="307" y="274"/>
                    </a:lnTo>
                    <a:lnTo>
                      <a:pt x="311" y="270"/>
                    </a:lnTo>
                    <a:lnTo>
                      <a:pt x="315" y="265"/>
                    </a:lnTo>
                    <a:lnTo>
                      <a:pt x="315" y="265"/>
                    </a:lnTo>
                    <a:close/>
                  </a:path>
                </a:pathLst>
              </a:custGeom>
              <a:solidFill>
                <a:schemeClr val="accent4"/>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sp>
            <p:nvSpPr>
              <p:cNvPr id="531" name="Freeform 428"/>
              <p:cNvSpPr>
                <a:spLocks noEditPoints="1"/>
              </p:cNvSpPr>
              <p:nvPr/>
            </p:nvSpPr>
            <p:spPr bwMode="auto">
              <a:xfrm rot="10800000">
                <a:off x="8761207" y="3912017"/>
                <a:ext cx="86480" cy="188135"/>
              </a:xfrm>
              <a:custGeom>
                <a:avLst/>
                <a:gdLst>
                  <a:gd name="T0" fmla="*/ 794 w 798"/>
                  <a:gd name="T1" fmla="*/ 850 h 1736"/>
                  <a:gd name="T2" fmla="*/ 783 w 798"/>
                  <a:gd name="T3" fmla="*/ 772 h 1736"/>
                  <a:gd name="T4" fmla="*/ 762 w 798"/>
                  <a:gd name="T5" fmla="*/ 681 h 1736"/>
                  <a:gd name="T6" fmla="*/ 731 w 798"/>
                  <a:gd name="T7" fmla="*/ 594 h 1736"/>
                  <a:gd name="T8" fmla="*/ 697 w 798"/>
                  <a:gd name="T9" fmla="*/ 522 h 1736"/>
                  <a:gd name="T10" fmla="*/ 602 w 798"/>
                  <a:gd name="T11" fmla="*/ 380 h 1736"/>
                  <a:gd name="T12" fmla="*/ 614 w 798"/>
                  <a:gd name="T13" fmla="*/ 125 h 1736"/>
                  <a:gd name="T14" fmla="*/ 649 w 798"/>
                  <a:gd name="T15" fmla="*/ 76 h 1736"/>
                  <a:gd name="T16" fmla="*/ 647 w 798"/>
                  <a:gd name="T17" fmla="*/ 28 h 1736"/>
                  <a:gd name="T18" fmla="*/ 596 w 798"/>
                  <a:gd name="T19" fmla="*/ 2 h 1736"/>
                  <a:gd name="T20" fmla="*/ 160 w 798"/>
                  <a:gd name="T21" fmla="*/ 1 h 1736"/>
                  <a:gd name="T22" fmla="*/ 79 w 798"/>
                  <a:gd name="T23" fmla="*/ 29 h 1736"/>
                  <a:gd name="T24" fmla="*/ 23 w 798"/>
                  <a:gd name="T25" fmla="*/ 93 h 1736"/>
                  <a:gd name="T26" fmla="*/ 0 w 798"/>
                  <a:gd name="T27" fmla="*/ 177 h 1736"/>
                  <a:gd name="T28" fmla="*/ 6 w 798"/>
                  <a:gd name="T29" fmla="*/ 608 h 1736"/>
                  <a:gd name="T30" fmla="*/ 38 w 798"/>
                  <a:gd name="T31" fmla="*/ 650 h 1736"/>
                  <a:gd name="T32" fmla="*/ 89 w 798"/>
                  <a:gd name="T33" fmla="*/ 642 h 1736"/>
                  <a:gd name="T34" fmla="*/ 263 w 798"/>
                  <a:gd name="T35" fmla="*/ 476 h 1736"/>
                  <a:gd name="T36" fmla="*/ 339 w 798"/>
                  <a:gd name="T37" fmla="*/ 539 h 1736"/>
                  <a:gd name="T38" fmla="*/ 387 w 798"/>
                  <a:gd name="T39" fmla="*/ 596 h 1736"/>
                  <a:gd name="T40" fmla="*/ 436 w 798"/>
                  <a:gd name="T41" fmla="*/ 675 h 1736"/>
                  <a:gd name="T42" fmla="*/ 468 w 798"/>
                  <a:gd name="T43" fmla="*/ 753 h 1736"/>
                  <a:gd name="T44" fmla="*/ 489 w 798"/>
                  <a:gd name="T45" fmla="*/ 834 h 1736"/>
                  <a:gd name="T46" fmla="*/ 496 w 798"/>
                  <a:gd name="T47" fmla="*/ 908 h 1736"/>
                  <a:gd name="T48" fmla="*/ 494 w 798"/>
                  <a:gd name="T49" fmla="*/ 983 h 1736"/>
                  <a:gd name="T50" fmla="*/ 486 w 798"/>
                  <a:gd name="T51" fmla="*/ 1038 h 1736"/>
                  <a:gd name="T52" fmla="*/ 471 w 798"/>
                  <a:gd name="T53" fmla="*/ 1093 h 1736"/>
                  <a:gd name="T54" fmla="*/ 452 w 798"/>
                  <a:gd name="T55" fmla="*/ 1146 h 1736"/>
                  <a:gd name="T56" fmla="*/ 401 w 798"/>
                  <a:gd name="T57" fmla="*/ 1238 h 1736"/>
                  <a:gd name="T58" fmla="*/ 334 w 798"/>
                  <a:gd name="T59" fmla="*/ 1320 h 1736"/>
                  <a:gd name="T60" fmla="*/ 221 w 798"/>
                  <a:gd name="T61" fmla="*/ 1407 h 1736"/>
                  <a:gd name="T62" fmla="*/ 131 w 798"/>
                  <a:gd name="T63" fmla="*/ 1450 h 1736"/>
                  <a:gd name="T64" fmla="*/ 76 w 798"/>
                  <a:gd name="T65" fmla="*/ 1499 h 1736"/>
                  <a:gd name="T66" fmla="*/ 50 w 798"/>
                  <a:gd name="T67" fmla="*/ 1567 h 1736"/>
                  <a:gd name="T68" fmla="*/ 59 w 798"/>
                  <a:gd name="T69" fmla="*/ 1640 h 1736"/>
                  <a:gd name="T70" fmla="*/ 92 w 798"/>
                  <a:gd name="T71" fmla="*/ 1690 h 1736"/>
                  <a:gd name="T72" fmla="*/ 153 w 798"/>
                  <a:gd name="T73" fmla="*/ 1728 h 1736"/>
                  <a:gd name="T74" fmla="*/ 226 w 798"/>
                  <a:gd name="T75" fmla="*/ 1734 h 1736"/>
                  <a:gd name="T76" fmla="*/ 335 w 798"/>
                  <a:gd name="T77" fmla="*/ 1689 h 1736"/>
                  <a:gd name="T78" fmla="*/ 514 w 798"/>
                  <a:gd name="T79" fmla="*/ 1563 h 1736"/>
                  <a:gd name="T80" fmla="*/ 625 w 798"/>
                  <a:gd name="T81" fmla="*/ 1442 h 1736"/>
                  <a:gd name="T82" fmla="*/ 725 w 798"/>
                  <a:gd name="T83" fmla="*/ 1273 h 1736"/>
                  <a:gd name="T84" fmla="*/ 728 w 798"/>
                  <a:gd name="T85" fmla="*/ 1266 h 1736"/>
                  <a:gd name="T86" fmla="*/ 759 w 798"/>
                  <a:gd name="T87" fmla="*/ 1184 h 1736"/>
                  <a:gd name="T88" fmla="*/ 780 w 798"/>
                  <a:gd name="T89" fmla="*/ 1099 h 1736"/>
                  <a:gd name="T90" fmla="*/ 794 w 798"/>
                  <a:gd name="T91" fmla="*/ 1015 h 1736"/>
                  <a:gd name="T92" fmla="*/ 798 w 798"/>
                  <a:gd name="T93" fmla="*/ 923 h 1736"/>
                  <a:gd name="T94" fmla="*/ 424 w 798"/>
                  <a:gd name="T95" fmla="*/ 1523 h 1736"/>
                  <a:gd name="T96" fmla="*/ 258 w 798"/>
                  <a:gd name="T97" fmla="*/ 1626 h 1736"/>
                  <a:gd name="T98" fmla="*/ 198 w 798"/>
                  <a:gd name="T99" fmla="*/ 1645 h 1736"/>
                  <a:gd name="T100" fmla="*/ 149 w 798"/>
                  <a:gd name="T101" fmla="*/ 1618 h 1736"/>
                  <a:gd name="T102" fmla="*/ 140 w 798"/>
                  <a:gd name="T103" fmla="*/ 1595 h 1736"/>
                  <a:gd name="T104" fmla="*/ 157 w 798"/>
                  <a:gd name="T105" fmla="*/ 1542 h 1736"/>
                  <a:gd name="T106" fmla="*/ 208 w 798"/>
                  <a:gd name="T107" fmla="*/ 1516 h 1736"/>
                  <a:gd name="T108" fmla="*/ 348 w 798"/>
                  <a:gd name="T109" fmla="*/ 1429 h 1736"/>
                  <a:gd name="T110" fmla="*/ 407 w 798"/>
                  <a:gd name="T111" fmla="*/ 1376 h 1736"/>
                  <a:gd name="T112" fmla="*/ 463 w 798"/>
                  <a:gd name="T113" fmla="*/ 1371 h 1736"/>
                  <a:gd name="T114" fmla="*/ 487 w 798"/>
                  <a:gd name="T115" fmla="*/ 1389 h 1736"/>
                  <a:gd name="T116" fmla="*/ 500 w 798"/>
                  <a:gd name="T117" fmla="*/ 1438 h 1736"/>
                  <a:gd name="T118" fmla="*/ 483 w 798"/>
                  <a:gd name="T119" fmla="*/ 1470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1736">
                    <a:moveTo>
                      <a:pt x="798" y="923"/>
                    </a:moveTo>
                    <a:lnTo>
                      <a:pt x="798" y="923"/>
                    </a:lnTo>
                    <a:lnTo>
                      <a:pt x="797" y="886"/>
                    </a:lnTo>
                    <a:lnTo>
                      <a:pt x="794" y="850"/>
                    </a:lnTo>
                    <a:lnTo>
                      <a:pt x="794" y="850"/>
                    </a:lnTo>
                    <a:lnTo>
                      <a:pt x="792" y="827"/>
                    </a:lnTo>
                    <a:lnTo>
                      <a:pt x="792" y="827"/>
                    </a:lnTo>
                    <a:lnTo>
                      <a:pt x="787" y="799"/>
                    </a:lnTo>
                    <a:lnTo>
                      <a:pt x="783" y="772"/>
                    </a:lnTo>
                    <a:lnTo>
                      <a:pt x="783" y="772"/>
                    </a:lnTo>
                    <a:lnTo>
                      <a:pt x="779" y="749"/>
                    </a:lnTo>
                    <a:lnTo>
                      <a:pt x="779" y="749"/>
                    </a:lnTo>
                    <a:lnTo>
                      <a:pt x="771" y="715"/>
                    </a:lnTo>
                    <a:lnTo>
                      <a:pt x="762" y="681"/>
                    </a:lnTo>
                    <a:lnTo>
                      <a:pt x="762" y="681"/>
                    </a:lnTo>
                    <a:lnTo>
                      <a:pt x="761" y="677"/>
                    </a:lnTo>
                    <a:lnTo>
                      <a:pt x="761" y="677"/>
                    </a:lnTo>
                    <a:lnTo>
                      <a:pt x="748" y="638"/>
                    </a:lnTo>
                    <a:lnTo>
                      <a:pt x="733" y="601"/>
                    </a:lnTo>
                    <a:lnTo>
                      <a:pt x="731" y="594"/>
                    </a:lnTo>
                    <a:lnTo>
                      <a:pt x="731" y="594"/>
                    </a:lnTo>
                    <a:lnTo>
                      <a:pt x="716" y="560"/>
                    </a:lnTo>
                    <a:lnTo>
                      <a:pt x="699" y="525"/>
                    </a:lnTo>
                    <a:lnTo>
                      <a:pt x="699" y="525"/>
                    </a:lnTo>
                    <a:lnTo>
                      <a:pt x="697" y="522"/>
                    </a:lnTo>
                    <a:lnTo>
                      <a:pt x="697" y="522"/>
                    </a:lnTo>
                    <a:lnTo>
                      <a:pt x="675" y="484"/>
                    </a:lnTo>
                    <a:lnTo>
                      <a:pt x="653" y="449"/>
                    </a:lnTo>
                    <a:lnTo>
                      <a:pt x="628" y="414"/>
                    </a:lnTo>
                    <a:lnTo>
                      <a:pt x="602" y="380"/>
                    </a:lnTo>
                    <a:lnTo>
                      <a:pt x="573" y="348"/>
                    </a:lnTo>
                    <a:lnTo>
                      <a:pt x="544" y="317"/>
                    </a:lnTo>
                    <a:lnTo>
                      <a:pt x="513" y="287"/>
                    </a:lnTo>
                    <a:lnTo>
                      <a:pt x="479" y="260"/>
                    </a:lnTo>
                    <a:lnTo>
                      <a:pt x="614" y="125"/>
                    </a:lnTo>
                    <a:lnTo>
                      <a:pt x="614" y="125"/>
                    </a:lnTo>
                    <a:lnTo>
                      <a:pt x="626" y="112"/>
                    </a:lnTo>
                    <a:lnTo>
                      <a:pt x="635" y="100"/>
                    </a:lnTo>
                    <a:lnTo>
                      <a:pt x="644" y="87"/>
                    </a:lnTo>
                    <a:lnTo>
                      <a:pt x="649" y="76"/>
                    </a:lnTo>
                    <a:lnTo>
                      <a:pt x="653" y="65"/>
                    </a:lnTo>
                    <a:lnTo>
                      <a:pt x="654" y="55"/>
                    </a:lnTo>
                    <a:lnTo>
                      <a:pt x="654" y="46"/>
                    </a:lnTo>
                    <a:lnTo>
                      <a:pt x="651" y="36"/>
                    </a:lnTo>
                    <a:lnTo>
                      <a:pt x="647" y="28"/>
                    </a:lnTo>
                    <a:lnTo>
                      <a:pt x="640" y="21"/>
                    </a:lnTo>
                    <a:lnTo>
                      <a:pt x="631" y="15"/>
                    </a:lnTo>
                    <a:lnTo>
                      <a:pt x="621" y="9"/>
                    </a:lnTo>
                    <a:lnTo>
                      <a:pt x="609" y="5"/>
                    </a:lnTo>
                    <a:lnTo>
                      <a:pt x="596" y="2"/>
                    </a:lnTo>
                    <a:lnTo>
                      <a:pt x="579" y="0"/>
                    </a:lnTo>
                    <a:lnTo>
                      <a:pt x="562" y="0"/>
                    </a:lnTo>
                    <a:lnTo>
                      <a:pt x="178" y="0"/>
                    </a:lnTo>
                    <a:lnTo>
                      <a:pt x="178" y="0"/>
                    </a:lnTo>
                    <a:lnTo>
                      <a:pt x="160" y="1"/>
                    </a:lnTo>
                    <a:lnTo>
                      <a:pt x="142" y="3"/>
                    </a:lnTo>
                    <a:lnTo>
                      <a:pt x="126" y="7"/>
                    </a:lnTo>
                    <a:lnTo>
                      <a:pt x="109" y="13"/>
                    </a:lnTo>
                    <a:lnTo>
                      <a:pt x="94" y="21"/>
                    </a:lnTo>
                    <a:lnTo>
                      <a:pt x="79" y="29"/>
                    </a:lnTo>
                    <a:lnTo>
                      <a:pt x="65" y="40"/>
                    </a:lnTo>
                    <a:lnTo>
                      <a:pt x="53" y="52"/>
                    </a:lnTo>
                    <a:lnTo>
                      <a:pt x="41" y="64"/>
                    </a:lnTo>
                    <a:lnTo>
                      <a:pt x="31" y="78"/>
                    </a:lnTo>
                    <a:lnTo>
                      <a:pt x="23" y="93"/>
                    </a:lnTo>
                    <a:lnTo>
                      <a:pt x="14" y="108"/>
                    </a:lnTo>
                    <a:lnTo>
                      <a:pt x="8" y="124"/>
                    </a:lnTo>
                    <a:lnTo>
                      <a:pt x="4" y="142"/>
                    </a:lnTo>
                    <a:lnTo>
                      <a:pt x="1" y="159"/>
                    </a:lnTo>
                    <a:lnTo>
                      <a:pt x="0" y="177"/>
                    </a:lnTo>
                    <a:lnTo>
                      <a:pt x="0" y="561"/>
                    </a:lnTo>
                    <a:lnTo>
                      <a:pt x="0" y="561"/>
                    </a:lnTo>
                    <a:lnTo>
                      <a:pt x="1" y="579"/>
                    </a:lnTo>
                    <a:lnTo>
                      <a:pt x="3" y="594"/>
                    </a:lnTo>
                    <a:lnTo>
                      <a:pt x="6" y="608"/>
                    </a:lnTo>
                    <a:lnTo>
                      <a:pt x="10" y="620"/>
                    </a:lnTo>
                    <a:lnTo>
                      <a:pt x="15" y="630"/>
                    </a:lnTo>
                    <a:lnTo>
                      <a:pt x="23" y="638"/>
                    </a:lnTo>
                    <a:lnTo>
                      <a:pt x="30" y="645"/>
                    </a:lnTo>
                    <a:lnTo>
                      <a:pt x="38" y="650"/>
                    </a:lnTo>
                    <a:lnTo>
                      <a:pt x="46" y="653"/>
                    </a:lnTo>
                    <a:lnTo>
                      <a:pt x="56" y="653"/>
                    </a:lnTo>
                    <a:lnTo>
                      <a:pt x="66" y="652"/>
                    </a:lnTo>
                    <a:lnTo>
                      <a:pt x="78" y="647"/>
                    </a:lnTo>
                    <a:lnTo>
                      <a:pt x="89" y="642"/>
                    </a:lnTo>
                    <a:lnTo>
                      <a:pt x="101" y="634"/>
                    </a:lnTo>
                    <a:lnTo>
                      <a:pt x="113" y="625"/>
                    </a:lnTo>
                    <a:lnTo>
                      <a:pt x="126" y="613"/>
                    </a:lnTo>
                    <a:lnTo>
                      <a:pt x="263" y="476"/>
                    </a:lnTo>
                    <a:lnTo>
                      <a:pt x="263" y="476"/>
                    </a:lnTo>
                    <a:lnTo>
                      <a:pt x="284" y="490"/>
                    </a:lnTo>
                    <a:lnTo>
                      <a:pt x="303" y="506"/>
                    </a:lnTo>
                    <a:lnTo>
                      <a:pt x="321" y="522"/>
                    </a:lnTo>
                    <a:lnTo>
                      <a:pt x="339" y="539"/>
                    </a:lnTo>
                    <a:lnTo>
                      <a:pt x="339" y="539"/>
                    </a:lnTo>
                    <a:lnTo>
                      <a:pt x="351" y="553"/>
                    </a:lnTo>
                    <a:lnTo>
                      <a:pt x="362" y="566"/>
                    </a:lnTo>
                    <a:lnTo>
                      <a:pt x="362" y="566"/>
                    </a:lnTo>
                    <a:lnTo>
                      <a:pt x="375" y="581"/>
                    </a:lnTo>
                    <a:lnTo>
                      <a:pt x="387" y="596"/>
                    </a:lnTo>
                    <a:lnTo>
                      <a:pt x="387" y="596"/>
                    </a:lnTo>
                    <a:lnTo>
                      <a:pt x="408" y="627"/>
                    </a:lnTo>
                    <a:lnTo>
                      <a:pt x="408" y="627"/>
                    </a:lnTo>
                    <a:lnTo>
                      <a:pt x="422" y="651"/>
                    </a:lnTo>
                    <a:lnTo>
                      <a:pt x="436" y="675"/>
                    </a:lnTo>
                    <a:lnTo>
                      <a:pt x="436" y="675"/>
                    </a:lnTo>
                    <a:lnTo>
                      <a:pt x="447" y="698"/>
                    </a:lnTo>
                    <a:lnTo>
                      <a:pt x="447" y="698"/>
                    </a:lnTo>
                    <a:lnTo>
                      <a:pt x="458" y="725"/>
                    </a:lnTo>
                    <a:lnTo>
                      <a:pt x="468" y="753"/>
                    </a:lnTo>
                    <a:lnTo>
                      <a:pt x="468" y="753"/>
                    </a:lnTo>
                    <a:lnTo>
                      <a:pt x="472" y="764"/>
                    </a:lnTo>
                    <a:lnTo>
                      <a:pt x="472" y="764"/>
                    </a:lnTo>
                    <a:lnTo>
                      <a:pt x="482" y="798"/>
                    </a:lnTo>
                    <a:lnTo>
                      <a:pt x="489" y="834"/>
                    </a:lnTo>
                    <a:lnTo>
                      <a:pt x="489" y="834"/>
                    </a:lnTo>
                    <a:lnTo>
                      <a:pt x="491" y="853"/>
                    </a:lnTo>
                    <a:lnTo>
                      <a:pt x="491" y="853"/>
                    </a:lnTo>
                    <a:lnTo>
                      <a:pt x="495" y="889"/>
                    </a:lnTo>
                    <a:lnTo>
                      <a:pt x="496" y="908"/>
                    </a:lnTo>
                    <a:lnTo>
                      <a:pt x="497" y="927"/>
                    </a:lnTo>
                    <a:lnTo>
                      <a:pt x="497" y="927"/>
                    </a:lnTo>
                    <a:lnTo>
                      <a:pt x="497" y="927"/>
                    </a:lnTo>
                    <a:lnTo>
                      <a:pt x="496" y="956"/>
                    </a:lnTo>
                    <a:lnTo>
                      <a:pt x="494" y="983"/>
                    </a:lnTo>
                    <a:lnTo>
                      <a:pt x="494" y="983"/>
                    </a:lnTo>
                    <a:lnTo>
                      <a:pt x="491" y="1007"/>
                    </a:lnTo>
                    <a:lnTo>
                      <a:pt x="491" y="1007"/>
                    </a:lnTo>
                    <a:lnTo>
                      <a:pt x="488" y="1023"/>
                    </a:lnTo>
                    <a:lnTo>
                      <a:pt x="486" y="1038"/>
                    </a:lnTo>
                    <a:lnTo>
                      <a:pt x="486" y="1038"/>
                    </a:lnTo>
                    <a:lnTo>
                      <a:pt x="480" y="1059"/>
                    </a:lnTo>
                    <a:lnTo>
                      <a:pt x="480" y="1059"/>
                    </a:lnTo>
                    <a:lnTo>
                      <a:pt x="476" y="1076"/>
                    </a:lnTo>
                    <a:lnTo>
                      <a:pt x="471" y="1093"/>
                    </a:lnTo>
                    <a:lnTo>
                      <a:pt x="471" y="1093"/>
                    </a:lnTo>
                    <a:lnTo>
                      <a:pt x="466" y="1108"/>
                    </a:lnTo>
                    <a:lnTo>
                      <a:pt x="466" y="1108"/>
                    </a:lnTo>
                    <a:lnTo>
                      <a:pt x="459" y="1127"/>
                    </a:lnTo>
                    <a:lnTo>
                      <a:pt x="452" y="1146"/>
                    </a:lnTo>
                    <a:lnTo>
                      <a:pt x="452" y="1146"/>
                    </a:lnTo>
                    <a:lnTo>
                      <a:pt x="441" y="1170"/>
                    </a:lnTo>
                    <a:lnTo>
                      <a:pt x="428" y="1193"/>
                    </a:lnTo>
                    <a:lnTo>
                      <a:pt x="415" y="1216"/>
                    </a:lnTo>
                    <a:lnTo>
                      <a:pt x="401" y="1238"/>
                    </a:lnTo>
                    <a:lnTo>
                      <a:pt x="386" y="1259"/>
                    </a:lnTo>
                    <a:lnTo>
                      <a:pt x="369" y="1281"/>
                    </a:lnTo>
                    <a:lnTo>
                      <a:pt x="352" y="1300"/>
                    </a:lnTo>
                    <a:lnTo>
                      <a:pt x="334" y="1320"/>
                    </a:lnTo>
                    <a:lnTo>
                      <a:pt x="334" y="1320"/>
                    </a:lnTo>
                    <a:lnTo>
                      <a:pt x="313" y="1340"/>
                    </a:lnTo>
                    <a:lnTo>
                      <a:pt x="291" y="1358"/>
                    </a:lnTo>
                    <a:lnTo>
                      <a:pt x="268" y="1376"/>
                    </a:lnTo>
                    <a:lnTo>
                      <a:pt x="245" y="1392"/>
                    </a:lnTo>
                    <a:lnTo>
                      <a:pt x="221" y="1407"/>
                    </a:lnTo>
                    <a:lnTo>
                      <a:pt x="196" y="1421"/>
                    </a:lnTo>
                    <a:lnTo>
                      <a:pt x="170" y="1433"/>
                    </a:lnTo>
                    <a:lnTo>
                      <a:pt x="145" y="1444"/>
                    </a:lnTo>
                    <a:lnTo>
                      <a:pt x="145" y="1444"/>
                    </a:lnTo>
                    <a:lnTo>
                      <a:pt x="131" y="1450"/>
                    </a:lnTo>
                    <a:lnTo>
                      <a:pt x="117" y="1458"/>
                    </a:lnTo>
                    <a:lnTo>
                      <a:pt x="105" y="1468"/>
                    </a:lnTo>
                    <a:lnTo>
                      <a:pt x="94" y="1477"/>
                    </a:lnTo>
                    <a:lnTo>
                      <a:pt x="85" y="1488"/>
                    </a:lnTo>
                    <a:lnTo>
                      <a:pt x="76" y="1499"/>
                    </a:lnTo>
                    <a:lnTo>
                      <a:pt x="67" y="1511"/>
                    </a:lnTo>
                    <a:lnTo>
                      <a:pt x="61" y="1525"/>
                    </a:lnTo>
                    <a:lnTo>
                      <a:pt x="56" y="1538"/>
                    </a:lnTo>
                    <a:lnTo>
                      <a:pt x="52" y="1552"/>
                    </a:lnTo>
                    <a:lnTo>
                      <a:pt x="50" y="1567"/>
                    </a:lnTo>
                    <a:lnTo>
                      <a:pt x="49" y="1581"/>
                    </a:lnTo>
                    <a:lnTo>
                      <a:pt x="49" y="1596"/>
                    </a:lnTo>
                    <a:lnTo>
                      <a:pt x="51" y="1610"/>
                    </a:lnTo>
                    <a:lnTo>
                      <a:pt x="54" y="1626"/>
                    </a:lnTo>
                    <a:lnTo>
                      <a:pt x="59" y="1640"/>
                    </a:lnTo>
                    <a:lnTo>
                      <a:pt x="59" y="1640"/>
                    </a:lnTo>
                    <a:lnTo>
                      <a:pt x="65" y="1654"/>
                    </a:lnTo>
                    <a:lnTo>
                      <a:pt x="74" y="1668"/>
                    </a:lnTo>
                    <a:lnTo>
                      <a:pt x="82" y="1679"/>
                    </a:lnTo>
                    <a:lnTo>
                      <a:pt x="92" y="1690"/>
                    </a:lnTo>
                    <a:lnTo>
                      <a:pt x="102" y="1700"/>
                    </a:lnTo>
                    <a:lnTo>
                      <a:pt x="114" y="1709"/>
                    </a:lnTo>
                    <a:lnTo>
                      <a:pt x="127" y="1716"/>
                    </a:lnTo>
                    <a:lnTo>
                      <a:pt x="140" y="1723"/>
                    </a:lnTo>
                    <a:lnTo>
                      <a:pt x="153" y="1728"/>
                    </a:lnTo>
                    <a:lnTo>
                      <a:pt x="167" y="1732"/>
                    </a:lnTo>
                    <a:lnTo>
                      <a:pt x="182" y="1735"/>
                    </a:lnTo>
                    <a:lnTo>
                      <a:pt x="196" y="1736"/>
                    </a:lnTo>
                    <a:lnTo>
                      <a:pt x="210" y="1735"/>
                    </a:lnTo>
                    <a:lnTo>
                      <a:pt x="226" y="1734"/>
                    </a:lnTo>
                    <a:lnTo>
                      <a:pt x="240" y="1730"/>
                    </a:lnTo>
                    <a:lnTo>
                      <a:pt x="255" y="1725"/>
                    </a:lnTo>
                    <a:lnTo>
                      <a:pt x="255" y="1725"/>
                    </a:lnTo>
                    <a:lnTo>
                      <a:pt x="296" y="1708"/>
                    </a:lnTo>
                    <a:lnTo>
                      <a:pt x="335" y="1689"/>
                    </a:lnTo>
                    <a:lnTo>
                      <a:pt x="373" y="1668"/>
                    </a:lnTo>
                    <a:lnTo>
                      <a:pt x="410" y="1644"/>
                    </a:lnTo>
                    <a:lnTo>
                      <a:pt x="447" y="1620"/>
                    </a:lnTo>
                    <a:lnTo>
                      <a:pt x="482" y="1593"/>
                    </a:lnTo>
                    <a:lnTo>
                      <a:pt x="514" y="1563"/>
                    </a:lnTo>
                    <a:lnTo>
                      <a:pt x="547" y="1533"/>
                    </a:lnTo>
                    <a:lnTo>
                      <a:pt x="547" y="1533"/>
                    </a:lnTo>
                    <a:lnTo>
                      <a:pt x="574" y="1504"/>
                    </a:lnTo>
                    <a:lnTo>
                      <a:pt x="601" y="1474"/>
                    </a:lnTo>
                    <a:lnTo>
                      <a:pt x="625" y="1442"/>
                    </a:lnTo>
                    <a:lnTo>
                      <a:pt x="649" y="1410"/>
                    </a:lnTo>
                    <a:lnTo>
                      <a:pt x="670" y="1377"/>
                    </a:lnTo>
                    <a:lnTo>
                      <a:pt x="691" y="1343"/>
                    </a:lnTo>
                    <a:lnTo>
                      <a:pt x="708" y="1308"/>
                    </a:lnTo>
                    <a:lnTo>
                      <a:pt x="725" y="1273"/>
                    </a:lnTo>
                    <a:lnTo>
                      <a:pt x="725" y="1273"/>
                    </a:lnTo>
                    <a:lnTo>
                      <a:pt x="727" y="1269"/>
                    </a:lnTo>
                    <a:lnTo>
                      <a:pt x="727" y="1269"/>
                    </a:lnTo>
                    <a:lnTo>
                      <a:pt x="728" y="1266"/>
                    </a:lnTo>
                    <a:lnTo>
                      <a:pt x="728" y="1266"/>
                    </a:lnTo>
                    <a:lnTo>
                      <a:pt x="742" y="1233"/>
                    </a:lnTo>
                    <a:lnTo>
                      <a:pt x="754" y="1198"/>
                    </a:lnTo>
                    <a:lnTo>
                      <a:pt x="754" y="1198"/>
                    </a:lnTo>
                    <a:lnTo>
                      <a:pt x="759" y="1184"/>
                    </a:lnTo>
                    <a:lnTo>
                      <a:pt x="759" y="1184"/>
                    </a:lnTo>
                    <a:lnTo>
                      <a:pt x="768" y="1151"/>
                    </a:lnTo>
                    <a:lnTo>
                      <a:pt x="776" y="1118"/>
                    </a:lnTo>
                    <a:lnTo>
                      <a:pt x="776" y="1118"/>
                    </a:lnTo>
                    <a:lnTo>
                      <a:pt x="778" y="1109"/>
                    </a:lnTo>
                    <a:lnTo>
                      <a:pt x="780" y="1099"/>
                    </a:lnTo>
                    <a:lnTo>
                      <a:pt x="780" y="1099"/>
                    </a:lnTo>
                    <a:lnTo>
                      <a:pt x="786" y="1066"/>
                    </a:lnTo>
                    <a:lnTo>
                      <a:pt x="791" y="1031"/>
                    </a:lnTo>
                    <a:lnTo>
                      <a:pt x="791" y="1031"/>
                    </a:lnTo>
                    <a:lnTo>
                      <a:pt x="794" y="1015"/>
                    </a:lnTo>
                    <a:lnTo>
                      <a:pt x="794" y="1015"/>
                    </a:lnTo>
                    <a:lnTo>
                      <a:pt x="797" y="971"/>
                    </a:lnTo>
                    <a:lnTo>
                      <a:pt x="798" y="927"/>
                    </a:lnTo>
                    <a:lnTo>
                      <a:pt x="798" y="927"/>
                    </a:lnTo>
                    <a:lnTo>
                      <a:pt x="798" y="923"/>
                    </a:lnTo>
                    <a:lnTo>
                      <a:pt x="798" y="923"/>
                    </a:lnTo>
                    <a:close/>
                    <a:moveTo>
                      <a:pt x="483" y="1470"/>
                    </a:moveTo>
                    <a:lnTo>
                      <a:pt x="483" y="1470"/>
                    </a:lnTo>
                    <a:lnTo>
                      <a:pt x="454" y="1497"/>
                    </a:lnTo>
                    <a:lnTo>
                      <a:pt x="424" y="1523"/>
                    </a:lnTo>
                    <a:lnTo>
                      <a:pt x="393" y="1546"/>
                    </a:lnTo>
                    <a:lnTo>
                      <a:pt x="361" y="1569"/>
                    </a:lnTo>
                    <a:lnTo>
                      <a:pt x="328" y="1589"/>
                    </a:lnTo>
                    <a:lnTo>
                      <a:pt x="294" y="1608"/>
                    </a:lnTo>
                    <a:lnTo>
                      <a:pt x="258" y="1626"/>
                    </a:lnTo>
                    <a:lnTo>
                      <a:pt x="221" y="1641"/>
                    </a:lnTo>
                    <a:lnTo>
                      <a:pt x="221" y="1641"/>
                    </a:lnTo>
                    <a:lnTo>
                      <a:pt x="216" y="1643"/>
                    </a:lnTo>
                    <a:lnTo>
                      <a:pt x="210" y="1644"/>
                    </a:lnTo>
                    <a:lnTo>
                      <a:pt x="198" y="1645"/>
                    </a:lnTo>
                    <a:lnTo>
                      <a:pt x="187" y="1644"/>
                    </a:lnTo>
                    <a:lnTo>
                      <a:pt x="176" y="1640"/>
                    </a:lnTo>
                    <a:lnTo>
                      <a:pt x="165" y="1635"/>
                    </a:lnTo>
                    <a:lnTo>
                      <a:pt x="156" y="1627"/>
                    </a:lnTo>
                    <a:lnTo>
                      <a:pt x="149" y="1618"/>
                    </a:lnTo>
                    <a:lnTo>
                      <a:pt x="146" y="1612"/>
                    </a:lnTo>
                    <a:lnTo>
                      <a:pt x="144" y="1607"/>
                    </a:lnTo>
                    <a:lnTo>
                      <a:pt x="144" y="1607"/>
                    </a:lnTo>
                    <a:lnTo>
                      <a:pt x="142" y="1601"/>
                    </a:lnTo>
                    <a:lnTo>
                      <a:pt x="140" y="1595"/>
                    </a:lnTo>
                    <a:lnTo>
                      <a:pt x="140" y="1583"/>
                    </a:lnTo>
                    <a:lnTo>
                      <a:pt x="141" y="1572"/>
                    </a:lnTo>
                    <a:lnTo>
                      <a:pt x="144" y="1560"/>
                    </a:lnTo>
                    <a:lnTo>
                      <a:pt x="150" y="1550"/>
                    </a:lnTo>
                    <a:lnTo>
                      <a:pt x="157" y="1542"/>
                    </a:lnTo>
                    <a:lnTo>
                      <a:pt x="166" y="1534"/>
                    </a:lnTo>
                    <a:lnTo>
                      <a:pt x="171" y="1531"/>
                    </a:lnTo>
                    <a:lnTo>
                      <a:pt x="178" y="1529"/>
                    </a:lnTo>
                    <a:lnTo>
                      <a:pt x="178" y="1529"/>
                    </a:lnTo>
                    <a:lnTo>
                      <a:pt x="208" y="1516"/>
                    </a:lnTo>
                    <a:lnTo>
                      <a:pt x="238" y="1501"/>
                    </a:lnTo>
                    <a:lnTo>
                      <a:pt x="267" y="1485"/>
                    </a:lnTo>
                    <a:lnTo>
                      <a:pt x="295" y="1468"/>
                    </a:lnTo>
                    <a:lnTo>
                      <a:pt x="322" y="1449"/>
                    </a:lnTo>
                    <a:lnTo>
                      <a:pt x="348" y="1429"/>
                    </a:lnTo>
                    <a:lnTo>
                      <a:pt x="373" y="1407"/>
                    </a:lnTo>
                    <a:lnTo>
                      <a:pt x="398" y="1384"/>
                    </a:lnTo>
                    <a:lnTo>
                      <a:pt x="398" y="1384"/>
                    </a:lnTo>
                    <a:lnTo>
                      <a:pt x="402" y="1380"/>
                    </a:lnTo>
                    <a:lnTo>
                      <a:pt x="407" y="1376"/>
                    </a:lnTo>
                    <a:lnTo>
                      <a:pt x="417" y="1371"/>
                    </a:lnTo>
                    <a:lnTo>
                      <a:pt x="428" y="1368"/>
                    </a:lnTo>
                    <a:lnTo>
                      <a:pt x="440" y="1367"/>
                    </a:lnTo>
                    <a:lnTo>
                      <a:pt x="452" y="1368"/>
                    </a:lnTo>
                    <a:lnTo>
                      <a:pt x="463" y="1371"/>
                    </a:lnTo>
                    <a:lnTo>
                      <a:pt x="473" y="1376"/>
                    </a:lnTo>
                    <a:lnTo>
                      <a:pt x="478" y="1380"/>
                    </a:lnTo>
                    <a:lnTo>
                      <a:pt x="483" y="1384"/>
                    </a:lnTo>
                    <a:lnTo>
                      <a:pt x="483" y="1384"/>
                    </a:lnTo>
                    <a:lnTo>
                      <a:pt x="487" y="1389"/>
                    </a:lnTo>
                    <a:lnTo>
                      <a:pt x="491" y="1393"/>
                    </a:lnTo>
                    <a:lnTo>
                      <a:pt x="496" y="1404"/>
                    </a:lnTo>
                    <a:lnTo>
                      <a:pt x="500" y="1416"/>
                    </a:lnTo>
                    <a:lnTo>
                      <a:pt x="501" y="1427"/>
                    </a:lnTo>
                    <a:lnTo>
                      <a:pt x="500" y="1438"/>
                    </a:lnTo>
                    <a:lnTo>
                      <a:pt x="496" y="1449"/>
                    </a:lnTo>
                    <a:lnTo>
                      <a:pt x="491" y="1459"/>
                    </a:lnTo>
                    <a:lnTo>
                      <a:pt x="487" y="1465"/>
                    </a:lnTo>
                    <a:lnTo>
                      <a:pt x="483" y="1470"/>
                    </a:lnTo>
                    <a:lnTo>
                      <a:pt x="483" y="1470"/>
                    </a:lnTo>
                    <a:close/>
                  </a:path>
                </a:pathLst>
              </a:custGeom>
              <a:solidFill>
                <a:schemeClr val="accent3"/>
              </a:solidFill>
              <a:ln w="25400" cap="flat" cmpd="sng" algn="ctr">
                <a:noFill/>
                <a:prstDash val="solid"/>
              </a:ln>
              <a:effectLst/>
              <a:ex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defTabSz="1218173">
                  <a:defRPr/>
                </a:pPr>
                <a:endParaRPr lang="en-US" sz="2400" kern="0">
                  <a:solidFill>
                    <a:prstClr val="white"/>
                  </a:solidFill>
                  <a:latin typeface="+mj-lt"/>
                </a:endParaRPr>
              </a:p>
            </p:txBody>
          </p:sp>
        </p:grpSp>
      </p:grpSp>
      <p:sp>
        <p:nvSpPr>
          <p:cNvPr id="21" name="Rectangle 20"/>
          <p:cNvSpPr/>
          <p:nvPr/>
        </p:nvSpPr>
        <p:spPr>
          <a:xfrm>
            <a:off x="1132113" y="1473386"/>
            <a:ext cx="717424" cy="422718"/>
          </a:xfrm>
          <a:prstGeom prst="rect">
            <a:avLst/>
          </a:prstGeom>
          <a:noFill/>
          <a:effectLst/>
        </p:spPr>
        <p:txBody>
          <a:bodyPr lIns="0" tIns="0" rIns="0" bIns="0" anchor="ctr" anchorCtr="0">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フィルタリング</a:t>
            </a:r>
            <a:endParaRPr lang="en-US" sz="900" kern="0" dirty="0">
              <a:solidFill>
                <a:schemeClr val="bg1"/>
              </a:solidFill>
              <a:latin typeface="+mj-lt"/>
            </a:endParaRPr>
          </a:p>
        </p:txBody>
      </p:sp>
      <p:sp>
        <p:nvSpPr>
          <p:cNvPr id="536" name="Rectangle 535"/>
          <p:cNvSpPr/>
          <p:nvPr/>
        </p:nvSpPr>
        <p:spPr>
          <a:xfrm>
            <a:off x="2041620" y="1473386"/>
            <a:ext cx="777780" cy="422718"/>
          </a:xfrm>
          <a:prstGeom prst="rect">
            <a:avLst/>
          </a:prstGeom>
          <a:noFill/>
          <a:effectLst/>
        </p:spPr>
        <p:txBody>
          <a:bodyPr lIns="0" tIns="0" rIns="0" bIns="0" anchor="ctr" anchorCtr="0">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レピュテーション</a:t>
            </a:r>
            <a:endParaRPr lang="en-US" sz="900" kern="0" dirty="0">
              <a:solidFill>
                <a:schemeClr val="bg1"/>
              </a:solidFill>
              <a:latin typeface="+mj-lt"/>
            </a:endParaRPr>
          </a:p>
        </p:txBody>
      </p:sp>
      <p:sp>
        <p:nvSpPr>
          <p:cNvPr id="537" name="Rectangle 536"/>
          <p:cNvSpPr/>
          <p:nvPr/>
        </p:nvSpPr>
        <p:spPr>
          <a:xfrm>
            <a:off x="2963565" y="1395701"/>
            <a:ext cx="805093" cy="422718"/>
          </a:xfrm>
          <a:prstGeom prst="rect">
            <a:avLst/>
          </a:prstGeom>
          <a:noFill/>
          <a:effectLst/>
        </p:spPr>
        <p:txBody>
          <a:bodyPr lIns="0" tIns="0" rIns="0" bIns="45718" anchor="ctr" anchorCtr="0">
            <a:noAutofit/>
          </a:bodyPr>
          <a:lstStyle/>
          <a:p>
            <a:pPr algn="ctr" defTabSz="914103">
              <a:defRPr/>
            </a:pPr>
            <a:r>
              <a:rPr lang="ja-JP" altLang="en-US" sz="900" kern="0" dirty="0" smtClean="0">
                <a:solidFill>
                  <a:schemeClr val="bg1"/>
                </a:solidFill>
                <a:latin typeface="+mj-lt"/>
              </a:rPr>
              <a:t>ウェブアプリ</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可視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コントロール</a:t>
            </a:r>
            <a:endParaRPr lang="en-US" sz="900" kern="0" dirty="0">
              <a:solidFill>
                <a:schemeClr val="bg1"/>
              </a:solidFill>
              <a:latin typeface="+mj-lt"/>
            </a:endParaRPr>
          </a:p>
        </p:txBody>
      </p:sp>
      <p:sp>
        <p:nvSpPr>
          <p:cNvPr id="538" name="Rectangle 537"/>
          <p:cNvSpPr/>
          <p:nvPr/>
        </p:nvSpPr>
        <p:spPr>
          <a:xfrm>
            <a:off x="3993128" y="1260118"/>
            <a:ext cx="714884" cy="263328"/>
          </a:xfrm>
          <a:prstGeom prst="rect">
            <a:avLst/>
          </a:prstGeom>
          <a:noFill/>
          <a:effectLst/>
        </p:spPr>
        <p:txBody>
          <a:bodyPr lIns="91436" tIns="45718" rIns="91436" bIns="45718">
            <a:noAutofit/>
          </a:bodyPr>
          <a:lstStyle/>
          <a:p>
            <a:pPr algn="ctr" defTabSz="914103">
              <a:defRPr/>
            </a:pPr>
            <a:r>
              <a:rPr lang="ja-JP" altLang="en-US" sz="900" kern="0" dirty="0" smtClean="0">
                <a:solidFill>
                  <a:schemeClr val="bg1"/>
                </a:solidFill>
                <a:latin typeface="+mj-lt"/>
              </a:rPr>
              <a:t>ウェブ</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ページ</a:t>
            </a:r>
            <a:endParaRPr lang="en-US" sz="900" kern="0" dirty="0">
              <a:solidFill>
                <a:schemeClr val="bg1"/>
              </a:solidFill>
              <a:latin typeface="+mj-lt"/>
            </a:endParaRPr>
          </a:p>
        </p:txBody>
      </p:sp>
      <p:grpSp>
        <p:nvGrpSpPr>
          <p:cNvPr id="775" name="Group 285"/>
          <p:cNvGrpSpPr/>
          <p:nvPr/>
        </p:nvGrpSpPr>
        <p:grpSpPr>
          <a:xfrm>
            <a:off x="4007065" y="1588482"/>
            <a:ext cx="733829" cy="707717"/>
            <a:chOff x="3981714" y="1831755"/>
            <a:chExt cx="718747" cy="693171"/>
          </a:xfrm>
        </p:grpSpPr>
        <p:sp>
          <p:nvSpPr>
            <p:cNvPr id="266" name="Rectangle 265"/>
            <p:cNvSpPr/>
            <p:nvPr/>
          </p:nvSpPr>
          <p:spPr>
            <a:xfrm>
              <a:off x="3982464" y="1831755"/>
              <a:ext cx="717995" cy="693171"/>
            </a:xfrm>
            <a:prstGeom prst="rect">
              <a:avLst/>
            </a:prstGeom>
            <a:solidFill>
              <a:srgbClr val="00B0F0">
                <a:lumMod val="50000"/>
                <a:alpha val="0"/>
              </a:srgbClr>
            </a:solidFill>
            <a:ln w="12700" cap="flat" cmpd="sng" algn="ctr">
              <a:solidFill>
                <a:schemeClr val="accent2"/>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267" name="Rectangle 266"/>
            <p:cNvSpPr/>
            <p:nvPr/>
          </p:nvSpPr>
          <p:spPr>
            <a:xfrm>
              <a:off x="3982466" y="1834957"/>
              <a:ext cx="717995" cy="66335"/>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68" name="Rounded Rectangle 267"/>
            <p:cNvSpPr/>
            <p:nvPr/>
          </p:nvSpPr>
          <p:spPr>
            <a:xfrm>
              <a:off x="4073348" y="1851950"/>
              <a:ext cx="569956" cy="32428"/>
            </a:xfrm>
            <a:prstGeom prst="roundRect">
              <a:avLst/>
            </a:prstGeom>
            <a:solidFill>
              <a:schemeClr val="accent2">
                <a:lumMod val="40000"/>
                <a:lumOff val="60000"/>
              </a:schemeClr>
            </a:solidFill>
            <a:ln w="25400" cap="flat" cmpd="sng" algn="ctr">
              <a:noFill/>
              <a:prstDash val="solid"/>
            </a:ln>
            <a:effectLst/>
          </p:spPr>
          <p:txBody>
            <a:bodyPr rtlCol="0" anchor="ctr"/>
            <a:lstStyle/>
            <a:p>
              <a:pPr defTabSz="1218539">
                <a:defRPr/>
              </a:pPr>
              <a:r>
                <a:rPr lang="en-US" sz="300" kern="0" dirty="0">
                  <a:solidFill>
                    <a:schemeClr val="tx2"/>
                  </a:solidFill>
                  <a:latin typeface="+mj-lt"/>
                </a:rPr>
                <a:t>www.website.com</a:t>
              </a:r>
            </a:p>
          </p:txBody>
        </p:sp>
        <p:sp>
          <p:nvSpPr>
            <p:cNvPr id="269" name="Isosceles Triangle 268"/>
            <p:cNvSpPr/>
            <p:nvPr/>
          </p:nvSpPr>
          <p:spPr>
            <a:xfrm rot="16200000">
              <a:off x="3998363" y="1858876"/>
              <a:ext cx="23677" cy="23381"/>
            </a:xfrm>
            <a:prstGeom prst="triangle">
              <a:avLst/>
            </a:prstGeom>
            <a:solidFill>
              <a:srgbClr val="FFFFFF"/>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0" name="Isosceles Triangle 269"/>
            <p:cNvSpPr/>
            <p:nvPr/>
          </p:nvSpPr>
          <p:spPr>
            <a:xfrm rot="5400000" flipH="1">
              <a:off x="4029555" y="1858876"/>
              <a:ext cx="23677" cy="23381"/>
            </a:xfrm>
            <a:prstGeom prst="triangle">
              <a:avLst/>
            </a:prstGeom>
            <a:solidFill>
              <a:srgbClr val="FFFFFF"/>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1" name="Rectangle 270"/>
            <p:cNvSpPr/>
            <p:nvPr/>
          </p:nvSpPr>
          <p:spPr>
            <a:xfrm>
              <a:off x="4653898" y="1853815"/>
              <a:ext cx="32748" cy="28588"/>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2" name="Rectangle 271"/>
            <p:cNvSpPr/>
            <p:nvPr/>
          </p:nvSpPr>
          <p:spPr>
            <a:xfrm>
              <a:off x="3997922" y="1913436"/>
              <a:ext cx="78728" cy="573277"/>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3" name="Rectangle 272"/>
            <p:cNvSpPr/>
            <p:nvPr/>
          </p:nvSpPr>
          <p:spPr>
            <a:xfrm>
              <a:off x="3981714" y="2500739"/>
              <a:ext cx="718747" cy="24186"/>
            </a:xfrm>
            <a:prstGeom prst="rect">
              <a:avLst/>
            </a:prstGeom>
            <a:solidFill>
              <a:schemeClr val="accent2">
                <a:lumMod val="40000"/>
                <a:lumOff val="60000"/>
                <a:alpha val="5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4" name="Rectangle 273"/>
            <p:cNvSpPr/>
            <p:nvPr/>
          </p:nvSpPr>
          <p:spPr>
            <a:xfrm>
              <a:off x="4086310" y="1913436"/>
              <a:ext cx="600336" cy="54862"/>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5" name="Rectangle 274"/>
            <p:cNvSpPr/>
            <p:nvPr/>
          </p:nvSpPr>
          <p:spPr>
            <a:xfrm>
              <a:off x="4086310" y="1980184"/>
              <a:ext cx="300167" cy="209345"/>
            </a:xfrm>
            <a:prstGeom prst="rect">
              <a:avLst/>
            </a:prstGeom>
            <a:solidFill>
              <a:srgbClr val="00B0F0">
                <a:lumMod val="50000"/>
                <a:alpha val="0"/>
              </a:srgbClr>
            </a:solidFill>
            <a:ln w="12700" cap="flat" cmpd="sng" algn="ctr">
              <a:solidFill>
                <a:schemeClr val="tx2">
                  <a:lumMod val="20000"/>
                  <a:lumOff val="80000"/>
                </a:schemeClr>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276" name="Rectangle 275"/>
            <p:cNvSpPr/>
            <p:nvPr/>
          </p:nvSpPr>
          <p:spPr>
            <a:xfrm>
              <a:off x="4400293" y="1980184"/>
              <a:ext cx="270431" cy="62559"/>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7" name="Rectangle 276"/>
            <p:cNvSpPr/>
            <p:nvPr/>
          </p:nvSpPr>
          <p:spPr>
            <a:xfrm>
              <a:off x="4400293" y="2053577"/>
              <a:ext cx="243011"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8" name="Rectangle 277"/>
            <p:cNvSpPr/>
            <p:nvPr/>
          </p:nvSpPr>
          <p:spPr>
            <a:xfrm>
              <a:off x="4399841" y="2126970"/>
              <a:ext cx="270431" cy="62559"/>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79" name="Rectangle 287"/>
            <p:cNvSpPr/>
            <p:nvPr/>
          </p:nvSpPr>
          <p:spPr>
            <a:xfrm>
              <a:off x="4086310" y="2201132"/>
              <a:ext cx="300167" cy="40689"/>
            </a:xfrm>
            <a:custGeom>
              <a:avLst/>
              <a:gdLst/>
              <a:ahLst/>
              <a:cxnLst/>
              <a:rect l="l" t="t" r="r" b="b"/>
              <a:pathLst>
                <a:path w="779146" h="241963">
                  <a:moveTo>
                    <a:pt x="0" y="0"/>
                  </a:moveTo>
                  <a:lnTo>
                    <a:pt x="779146" y="0"/>
                  </a:lnTo>
                  <a:lnTo>
                    <a:pt x="779146" y="91925"/>
                  </a:lnTo>
                  <a:lnTo>
                    <a:pt x="601617" y="91925"/>
                  </a:lnTo>
                  <a:lnTo>
                    <a:pt x="601617" y="110144"/>
                  </a:lnTo>
                  <a:lnTo>
                    <a:pt x="706071" y="110144"/>
                  </a:lnTo>
                  <a:lnTo>
                    <a:pt x="706071" y="202069"/>
                  </a:lnTo>
                  <a:lnTo>
                    <a:pt x="636830" y="202069"/>
                  </a:lnTo>
                  <a:lnTo>
                    <a:pt x="636830" y="241963"/>
                  </a:lnTo>
                  <a:lnTo>
                    <a:pt x="0" y="241963"/>
                  </a:lnTo>
                  <a:lnTo>
                    <a:pt x="0" y="202069"/>
                  </a:lnTo>
                  <a:lnTo>
                    <a:pt x="0" y="150038"/>
                  </a:lnTo>
                  <a:lnTo>
                    <a:pt x="0" y="149355"/>
                  </a:lnTo>
                  <a:lnTo>
                    <a:pt x="0" y="110144"/>
                  </a:lnTo>
                  <a:lnTo>
                    <a:pt x="0" y="91925"/>
                  </a:lnTo>
                  <a:lnTo>
                    <a:pt x="0" y="57430"/>
                  </a:lnTo>
                  <a:close/>
                </a:path>
              </a:pathLst>
            </a:cu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80" name="Rectangle 287"/>
            <p:cNvSpPr/>
            <p:nvPr/>
          </p:nvSpPr>
          <p:spPr>
            <a:xfrm>
              <a:off x="4086310" y="2250340"/>
              <a:ext cx="255152" cy="20345"/>
            </a:xfrm>
            <a:custGeom>
              <a:avLst/>
              <a:gdLst/>
              <a:ahLst/>
              <a:cxnLst/>
              <a:rect l="l" t="t" r="r" b="b"/>
              <a:pathLst>
                <a:path w="779146" h="241963">
                  <a:moveTo>
                    <a:pt x="0" y="0"/>
                  </a:moveTo>
                  <a:lnTo>
                    <a:pt x="779146" y="0"/>
                  </a:lnTo>
                  <a:lnTo>
                    <a:pt x="779146" y="91925"/>
                  </a:lnTo>
                  <a:lnTo>
                    <a:pt x="601617" y="91925"/>
                  </a:lnTo>
                  <a:lnTo>
                    <a:pt x="601617" y="110144"/>
                  </a:lnTo>
                  <a:lnTo>
                    <a:pt x="706071" y="110144"/>
                  </a:lnTo>
                  <a:lnTo>
                    <a:pt x="706071" y="202069"/>
                  </a:lnTo>
                  <a:lnTo>
                    <a:pt x="636830" y="202069"/>
                  </a:lnTo>
                  <a:lnTo>
                    <a:pt x="636830" y="241963"/>
                  </a:lnTo>
                  <a:lnTo>
                    <a:pt x="0" y="241963"/>
                  </a:lnTo>
                  <a:lnTo>
                    <a:pt x="0" y="202069"/>
                  </a:lnTo>
                  <a:lnTo>
                    <a:pt x="0" y="150038"/>
                  </a:lnTo>
                  <a:lnTo>
                    <a:pt x="0" y="149355"/>
                  </a:lnTo>
                  <a:lnTo>
                    <a:pt x="0" y="110144"/>
                  </a:lnTo>
                  <a:lnTo>
                    <a:pt x="0" y="91925"/>
                  </a:lnTo>
                  <a:lnTo>
                    <a:pt x="0" y="57430"/>
                  </a:lnTo>
                  <a:close/>
                </a:path>
              </a:pathLst>
            </a:cu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sp>
          <p:nvSpPr>
            <p:cNvPr id="281" name="Rectangle 280"/>
            <p:cNvSpPr/>
            <p:nvPr/>
          </p:nvSpPr>
          <p:spPr>
            <a:xfrm>
              <a:off x="4086310"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2" name="Rectangle 281"/>
            <p:cNvSpPr/>
            <p:nvPr/>
          </p:nvSpPr>
          <p:spPr>
            <a:xfrm>
              <a:off x="4245370"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3" name="Rectangle 282"/>
            <p:cNvSpPr/>
            <p:nvPr/>
          </p:nvSpPr>
          <p:spPr>
            <a:xfrm>
              <a:off x="4404432"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4" name="Rectangle 283"/>
            <p:cNvSpPr/>
            <p:nvPr/>
          </p:nvSpPr>
          <p:spPr>
            <a:xfrm>
              <a:off x="4563493" y="2297502"/>
              <a:ext cx="107230" cy="62559"/>
            </a:xfrm>
            <a:prstGeom prst="rect">
              <a:avLst/>
            </a:prstGeom>
            <a:solidFill>
              <a:schemeClr val="accent2">
                <a:lumMod val="60000"/>
                <a:lumOff val="40000"/>
              </a:schemeClr>
            </a:solidFill>
            <a:ln w="25400" cap="flat" cmpd="sng" algn="ctr">
              <a:noFill/>
              <a:prstDash val="solid"/>
            </a:ln>
            <a:effectLst/>
          </p:spPr>
          <p:txBody>
            <a:bodyPr rtlCol="0" anchor="ctr"/>
            <a:lstStyle/>
            <a:p>
              <a:pPr algn="ctr" defTabSz="1218539">
                <a:defRPr/>
              </a:pPr>
              <a:endParaRPr lang="en-US" sz="2400" kern="0" dirty="0">
                <a:solidFill>
                  <a:prstClr val="white"/>
                </a:solidFill>
                <a:latin typeface="+mj-lt"/>
              </a:endParaRPr>
            </a:p>
          </p:txBody>
        </p:sp>
        <p:sp>
          <p:nvSpPr>
            <p:cNvPr id="285" name="Rectangle 284"/>
            <p:cNvSpPr/>
            <p:nvPr/>
          </p:nvSpPr>
          <p:spPr>
            <a:xfrm>
              <a:off x="4086310" y="2379896"/>
              <a:ext cx="584413" cy="106817"/>
            </a:xfrm>
            <a:prstGeom prst="rect">
              <a:avLst/>
            </a:prstGeom>
            <a:solidFill>
              <a:schemeClr val="accent2">
                <a:lumMod val="40000"/>
                <a:lumOff val="60000"/>
              </a:schemeClr>
            </a:solidFill>
            <a:ln w="25400" cap="flat" cmpd="sng" algn="ctr">
              <a:noFill/>
              <a:prstDash val="solid"/>
            </a:ln>
            <a:effectLst/>
          </p:spPr>
          <p:txBody>
            <a:bodyPr rtlCol="0" anchor="ctr"/>
            <a:lstStyle/>
            <a:p>
              <a:pPr algn="ctr" defTabSz="1218539">
                <a:defRPr/>
              </a:pPr>
              <a:endParaRPr lang="en-US" sz="2400" kern="0">
                <a:solidFill>
                  <a:prstClr val="white"/>
                </a:solidFill>
                <a:latin typeface="+mj-lt"/>
              </a:endParaRPr>
            </a:p>
          </p:txBody>
        </p:sp>
      </p:grpSp>
      <p:sp>
        <p:nvSpPr>
          <p:cNvPr id="539" name="Rectangle 538"/>
          <p:cNvSpPr/>
          <p:nvPr/>
        </p:nvSpPr>
        <p:spPr>
          <a:xfrm>
            <a:off x="4815324" y="1443736"/>
            <a:ext cx="811842" cy="382033"/>
          </a:xfrm>
          <a:prstGeom prst="rect">
            <a:avLst/>
          </a:prstGeom>
          <a:noFill/>
          <a:effectLst/>
        </p:spPr>
        <p:txBody>
          <a:bodyPr lIns="91436" tIns="45718" rIns="91436" bIns="45718">
            <a:noAutofit/>
          </a:bodyPr>
          <a:lstStyle/>
          <a:p>
            <a:pPr algn="ctr" defTabSz="914103"/>
            <a:r>
              <a:rPr lang="ja-JP" altLang="en-US" sz="900" kern="0" dirty="0" smtClean="0">
                <a:solidFill>
                  <a:schemeClr val="bg1"/>
                </a:solidFill>
                <a:latin typeface="+mj-lt"/>
              </a:rPr>
              <a:t>アンチ</a:t>
            </a:r>
            <a:endParaRPr lang="en-US" altLang="ja-JP" sz="900" kern="0" dirty="0" smtClean="0">
              <a:solidFill>
                <a:schemeClr val="bg1"/>
              </a:solidFill>
              <a:latin typeface="+mj-lt"/>
            </a:endParaRPr>
          </a:p>
          <a:p>
            <a:pPr algn="ctr" defTabSz="914103"/>
            <a:r>
              <a:rPr lang="ja-JP" altLang="en-US" sz="900" kern="0" dirty="0" smtClean="0">
                <a:solidFill>
                  <a:schemeClr val="bg1"/>
                </a:solidFill>
                <a:latin typeface="+mj-lt"/>
              </a:rPr>
              <a:t>マルウェア</a:t>
            </a:r>
            <a:endParaRPr lang="en-US" sz="900" kern="0" dirty="0">
              <a:solidFill>
                <a:schemeClr val="bg1"/>
              </a:solidFill>
              <a:latin typeface="+mj-lt"/>
            </a:endParaRPr>
          </a:p>
        </p:txBody>
      </p:sp>
      <p:sp>
        <p:nvSpPr>
          <p:cNvPr id="540" name="Rectangle 539"/>
          <p:cNvSpPr/>
          <p:nvPr/>
        </p:nvSpPr>
        <p:spPr>
          <a:xfrm>
            <a:off x="5695279" y="1444954"/>
            <a:ext cx="590813" cy="420237"/>
          </a:xfrm>
          <a:prstGeom prst="rect">
            <a:avLst/>
          </a:prstGeom>
          <a:noFill/>
          <a:effectLst/>
        </p:spPr>
        <p:txBody>
          <a:bodyPr lIns="0" tIns="0" rIns="0" bIns="0" anchor="ctr">
            <a:noAutofit/>
          </a:bodyPr>
          <a:lstStyle/>
          <a:p>
            <a:pPr algn="ctr" defTabSz="914103">
              <a:defRPr/>
            </a:pPr>
            <a:r>
              <a:rPr lang="ja-JP" altLang="en-US" sz="900" kern="0" dirty="0" smtClean="0">
                <a:solidFill>
                  <a:schemeClr val="bg1"/>
                </a:solidFill>
                <a:latin typeface="+mj-lt"/>
              </a:rPr>
              <a:t>ファイル</a:t>
            </a:r>
            <a:endParaRPr lang="en-US" altLang="ja-JP" sz="900" kern="0" dirty="0" smtClean="0">
              <a:solidFill>
                <a:schemeClr val="bg1"/>
              </a:solidFill>
              <a:latin typeface="+mj-lt"/>
            </a:endParaRPr>
          </a:p>
          <a:p>
            <a:pPr algn="ctr" defTabSz="914103">
              <a:defRPr/>
            </a:pPr>
            <a:r>
              <a:rPr lang="ja-JP" altLang="en-US" sz="900" kern="0" dirty="0" smtClean="0">
                <a:solidFill>
                  <a:schemeClr val="bg1"/>
                </a:solidFill>
                <a:latin typeface="+mj-lt"/>
              </a:rPr>
              <a:t>レピュテーション</a:t>
            </a:r>
            <a:endParaRPr lang="en-US" sz="900" kern="0" dirty="0">
              <a:solidFill>
                <a:schemeClr val="bg1"/>
              </a:solidFill>
              <a:latin typeface="+mj-lt"/>
            </a:endParaRPr>
          </a:p>
        </p:txBody>
      </p:sp>
      <p:sp>
        <p:nvSpPr>
          <p:cNvPr id="542" name="Rectangle 541"/>
          <p:cNvSpPr/>
          <p:nvPr/>
        </p:nvSpPr>
        <p:spPr>
          <a:xfrm>
            <a:off x="7198624" y="1297353"/>
            <a:ext cx="786373" cy="287027"/>
          </a:xfrm>
          <a:prstGeom prst="rect">
            <a:avLst/>
          </a:prstGeom>
          <a:noFill/>
          <a:effectLst/>
        </p:spPr>
        <p:txBody>
          <a:bodyPr lIns="0" tIns="0" rIns="0" bIns="0" anchor="ctr">
            <a:noAutofit/>
          </a:bodyPr>
          <a:lstStyle/>
          <a:p>
            <a:pPr algn="ctr" defTabSz="914103"/>
            <a:r>
              <a:rPr lang="en-US" sz="800" dirty="0">
                <a:solidFill>
                  <a:schemeClr val="bg1"/>
                </a:solidFill>
                <a:latin typeface="+mj-lt"/>
              </a:rPr>
              <a:t/>
            </a:r>
            <a:br>
              <a:rPr lang="en-US" sz="800" dirty="0">
                <a:solidFill>
                  <a:schemeClr val="bg1"/>
                </a:solidFill>
                <a:latin typeface="+mj-lt"/>
              </a:rPr>
            </a:br>
            <a:r>
              <a:rPr lang="ja-JP" altLang="en-US" sz="800" dirty="0" smtClean="0">
                <a:solidFill>
                  <a:schemeClr val="bg1"/>
                </a:solidFill>
                <a:latin typeface="+mj-lt"/>
              </a:rPr>
              <a:t>サンドボックス</a:t>
            </a:r>
            <a:endParaRPr lang="en-US" sz="800" dirty="0">
              <a:solidFill>
                <a:schemeClr val="bg1"/>
              </a:solidFill>
              <a:latin typeface="+mj-lt"/>
            </a:endParaRPr>
          </a:p>
        </p:txBody>
      </p:sp>
      <p:grpSp>
        <p:nvGrpSpPr>
          <p:cNvPr id="785" name="Group 107"/>
          <p:cNvGrpSpPr/>
          <p:nvPr/>
        </p:nvGrpSpPr>
        <p:grpSpPr>
          <a:xfrm>
            <a:off x="7709858" y="1272393"/>
            <a:ext cx="288218" cy="151566"/>
            <a:chOff x="7234599" y="1342765"/>
            <a:chExt cx="307449" cy="161680"/>
          </a:xfrm>
        </p:grpSpPr>
        <p:sp>
          <p:nvSpPr>
            <p:cNvPr id="109" name="Rectangle 108"/>
            <p:cNvSpPr/>
            <p:nvPr/>
          </p:nvSpPr>
          <p:spPr>
            <a:xfrm>
              <a:off x="7234599" y="1342765"/>
              <a:ext cx="307449" cy="161680"/>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110" name="Freeform 65"/>
            <p:cNvSpPr>
              <a:spLocks noEditPoints="1"/>
            </p:cNvSpPr>
            <p:nvPr/>
          </p:nvSpPr>
          <p:spPr bwMode="auto">
            <a:xfrm>
              <a:off x="7268757" y="1379552"/>
              <a:ext cx="82997" cy="85404"/>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1" name="Freeform 66"/>
            <p:cNvSpPr>
              <a:spLocks/>
            </p:cNvSpPr>
            <p:nvPr/>
          </p:nvSpPr>
          <p:spPr bwMode="auto">
            <a:xfrm>
              <a:off x="7350188" y="1379552"/>
              <a:ext cx="79863" cy="85404"/>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2" name="Freeform 67"/>
            <p:cNvSpPr>
              <a:spLocks noEditPoints="1"/>
            </p:cNvSpPr>
            <p:nvPr/>
          </p:nvSpPr>
          <p:spPr bwMode="auto">
            <a:xfrm>
              <a:off x="7436388" y="1379552"/>
              <a:ext cx="63304" cy="85404"/>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565" name="Rectangle 564"/>
          <p:cNvSpPr/>
          <p:nvPr/>
        </p:nvSpPr>
        <p:spPr>
          <a:xfrm>
            <a:off x="7198624" y="1868583"/>
            <a:ext cx="786373" cy="287027"/>
          </a:xfrm>
          <a:prstGeom prst="rect">
            <a:avLst/>
          </a:prstGeom>
          <a:noFill/>
          <a:effectLst/>
        </p:spPr>
        <p:txBody>
          <a:bodyPr lIns="0" tIns="0" rIns="0" bIns="0" anchor="ctr">
            <a:noAutofit/>
          </a:bodyPr>
          <a:lstStyle/>
          <a:p>
            <a:pPr algn="ctr" defTabSz="1218539"/>
            <a:r>
              <a:rPr lang="en-US" sz="700" dirty="0">
                <a:solidFill>
                  <a:schemeClr val="bg1"/>
                </a:solidFill>
                <a:latin typeface="+mj-lt"/>
              </a:rPr>
              <a:t/>
            </a:r>
            <a:br>
              <a:rPr lang="en-US" sz="700" dirty="0">
                <a:solidFill>
                  <a:schemeClr val="bg1"/>
                </a:solidFill>
                <a:latin typeface="+mj-lt"/>
              </a:rPr>
            </a:br>
            <a:r>
              <a:rPr lang="ja-JP" altLang="en-US" sz="700" dirty="0" smtClean="0">
                <a:solidFill>
                  <a:schemeClr val="bg1"/>
                </a:solidFill>
                <a:latin typeface="+mj-lt"/>
              </a:rPr>
              <a:t>レトロスペクティブ</a:t>
            </a:r>
            <a:endParaRPr lang="en-US" sz="700" dirty="0">
              <a:solidFill>
                <a:schemeClr val="bg1"/>
              </a:solidFill>
              <a:latin typeface="+mj-lt"/>
            </a:endParaRPr>
          </a:p>
        </p:txBody>
      </p:sp>
      <p:sp>
        <p:nvSpPr>
          <p:cNvPr id="25" name="Rectangle 24"/>
          <p:cNvSpPr/>
          <p:nvPr/>
        </p:nvSpPr>
        <p:spPr>
          <a:xfrm>
            <a:off x="6337637" y="4023246"/>
            <a:ext cx="123659" cy="123659"/>
          </a:xfrm>
          <a:prstGeom prst="rect">
            <a:avLst/>
          </a:prstGeom>
          <a:solidFill>
            <a:schemeClr val="tx2">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chemeClr val="bg1"/>
              </a:solidFill>
              <a:latin typeface="+mj-lt"/>
            </a:endParaRPr>
          </a:p>
        </p:txBody>
      </p:sp>
      <p:sp>
        <p:nvSpPr>
          <p:cNvPr id="599" name="Rectangle 598"/>
          <p:cNvSpPr/>
          <p:nvPr/>
        </p:nvSpPr>
        <p:spPr>
          <a:xfrm>
            <a:off x="7125679" y="4023246"/>
            <a:ext cx="123659" cy="123659"/>
          </a:xfrm>
          <a:prstGeom prst="rect">
            <a:avLst/>
          </a:prstGeom>
          <a:solidFill>
            <a:schemeClr val="accent6">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rgbClr val="2F2E7E"/>
              </a:solidFill>
              <a:latin typeface="+mj-lt"/>
            </a:endParaRPr>
          </a:p>
        </p:txBody>
      </p:sp>
      <p:sp>
        <p:nvSpPr>
          <p:cNvPr id="172" name="Freeform 6"/>
          <p:cNvSpPr>
            <a:spLocks noChangeAspect="1" noEditPoints="1"/>
          </p:cNvSpPr>
          <p:nvPr/>
        </p:nvSpPr>
        <p:spPr bwMode="auto">
          <a:xfrm rot="5400000">
            <a:off x="1335156" y="1865269"/>
            <a:ext cx="272800" cy="284080"/>
          </a:xfrm>
          <a:custGeom>
            <a:avLst/>
            <a:gdLst>
              <a:gd name="T0" fmla="*/ 3905 w 4320"/>
              <a:gd name="T1" fmla="*/ 2377 h 4320"/>
              <a:gd name="T2" fmla="*/ 3524 w 4320"/>
              <a:gd name="T3" fmla="*/ 2003 h 4320"/>
              <a:gd name="T4" fmla="*/ 2602 w 4320"/>
              <a:gd name="T5" fmla="*/ 1930 h 4320"/>
              <a:gd name="T6" fmla="*/ 2396 w 4320"/>
              <a:gd name="T7" fmla="*/ 1792 h 4320"/>
              <a:gd name="T8" fmla="*/ 2595 w 4320"/>
              <a:gd name="T9" fmla="*/ 890 h 4320"/>
              <a:gd name="T10" fmla="*/ 2700 w 4320"/>
              <a:gd name="T11" fmla="*/ 441 h 4320"/>
              <a:gd name="T12" fmla="*/ 2510 w 4320"/>
              <a:gd name="T13" fmla="*/ 126 h 4320"/>
              <a:gd name="T14" fmla="*/ 2160 w 4320"/>
              <a:gd name="T15" fmla="*/ 0 h 4320"/>
              <a:gd name="T16" fmla="*/ 1830 w 4320"/>
              <a:gd name="T17" fmla="*/ 109 h 4320"/>
              <a:gd name="T18" fmla="*/ 1626 w 4320"/>
              <a:gd name="T19" fmla="*/ 414 h 4320"/>
              <a:gd name="T20" fmla="*/ 1702 w 4320"/>
              <a:gd name="T21" fmla="*/ 857 h 4320"/>
              <a:gd name="T22" fmla="*/ 1933 w 4320"/>
              <a:gd name="T23" fmla="*/ 1764 h 4320"/>
              <a:gd name="T24" fmla="*/ 1745 w 4320"/>
              <a:gd name="T25" fmla="*/ 1924 h 4320"/>
              <a:gd name="T26" fmla="*/ 837 w 4320"/>
              <a:gd name="T27" fmla="*/ 1988 h 4320"/>
              <a:gd name="T28" fmla="*/ 431 w 4320"/>
              <a:gd name="T29" fmla="*/ 2344 h 4320"/>
              <a:gd name="T30" fmla="*/ 333 w 4320"/>
              <a:gd name="T31" fmla="*/ 3262 h 4320"/>
              <a:gd name="T32" fmla="*/ 6 w 4320"/>
              <a:gd name="T33" fmla="*/ 3685 h 4320"/>
              <a:gd name="T34" fmla="*/ 79 w 4320"/>
              <a:gd name="T35" fmla="*/ 4054 h 4320"/>
              <a:gd name="T36" fmla="*/ 362 w 4320"/>
              <a:gd name="T37" fmla="*/ 4287 h 4320"/>
              <a:gd name="T38" fmla="*/ 715 w 4320"/>
              <a:gd name="T39" fmla="*/ 4296 h 4320"/>
              <a:gd name="T40" fmla="*/ 1008 w 4320"/>
              <a:gd name="T41" fmla="*/ 4077 h 4320"/>
              <a:gd name="T42" fmla="*/ 1102 w 4320"/>
              <a:gd name="T43" fmla="*/ 3727 h 4320"/>
              <a:gd name="T44" fmla="*/ 806 w 4320"/>
              <a:gd name="T45" fmla="*/ 3279 h 4320"/>
              <a:gd name="T46" fmla="*/ 852 w 4320"/>
              <a:gd name="T47" fmla="*/ 2489 h 4320"/>
              <a:gd name="T48" fmla="*/ 1586 w 4320"/>
              <a:gd name="T49" fmla="*/ 2378 h 4320"/>
              <a:gd name="T50" fmla="*/ 1838 w 4320"/>
              <a:gd name="T51" fmla="*/ 3320 h 4320"/>
              <a:gd name="T52" fmla="*/ 1609 w 4320"/>
              <a:gd name="T53" fmla="*/ 3769 h 4320"/>
              <a:gd name="T54" fmla="*/ 1735 w 4320"/>
              <a:gd name="T55" fmla="*/ 4119 h 4320"/>
              <a:gd name="T56" fmla="*/ 2049 w 4320"/>
              <a:gd name="T57" fmla="*/ 4309 h 4320"/>
              <a:gd name="T58" fmla="*/ 2398 w 4320"/>
              <a:gd name="T59" fmla="*/ 4265 h 4320"/>
              <a:gd name="T60" fmla="*/ 2657 w 4320"/>
              <a:gd name="T61" fmla="*/ 4008 h 4320"/>
              <a:gd name="T62" fmla="*/ 2687 w 4320"/>
              <a:gd name="T63" fmla="*/ 3606 h 4320"/>
              <a:gd name="T64" fmla="*/ 2378 w 4320"/>
              <a:gd name="T65" fmla="*/ 2321 h 4320"/>
              <a:gd name="T66" fmla="*/ 3303 w 4320"/>
              <a:gd name="T67" fmla="*/ 2390 h 4320"/>
              <a:gd name="T68" fmla="*/ 3510 w 4320"/>
              <a:gd name="T69" fmla="*/ 2555 h 4320"/>
              <a:gd name="T70" fmla="*/ 3386 w 4320"/>
              <a:gd name="T71" fmla="*/ 3372 h 4320"/>
              <a:gd name="T72" fmla="*/ 3220 w 4320"/>
              <a:gd name="T73" fmla="*/ 3825 h 4320"/>
              <a:gd name="T74" fmla="*/ 3379 w 4320"/>
              <a:gd name="T75" fmla="*/ 4159 h 4320"/>
              <a:gd name="T76" fmla="*/ 3713 w 4320"/>
              <a:gd name="T77" fmla="*/ 4317 h 4320"/>
              <a:gd name="T78" fmla="*/ 4054 w 4320"/>
              <a:gd name="T79" fmla="*/ 4241 h 4320"/>
              <a:gd name="T80" fmla="*/ 4287 w 4320"/>
              <a:gd name="T81" fmla="*/ 3958 h 4320"/>
              <a:gd name="T82" fmla="*/ 4267 w 4320"/>
              <a:gd name="T83" fmla="*/ 3532 h 4320"/>
              <a:gd name="T84" fmla="*/ 867 w 4320"/>
              <a:gd name="T85" fmla="*/ 3802 h 4320"/>
              <a:gd name="T86" fmla="*/ 585 w 4320"/>
              <a:gd name="T87" fmla="*/ 4086 h 4320"/>
              <a:gd name="T88" fmla="*/ 259 w 4320"/>
              <a:gd name="T89" fmla="*/ 3892 h 4320"/>
              <a:gd name="T90" fmla="*/ 349 w 4320"/>
              <a:gd name="T91" fmla="*/ 3523 h 4320"/>
              <a:gd name="T92" fmla="*/ 730 w 4320"/>
              <a:gd name="T93" fmla="*/ 3504 h 4320"/>
              <a:gd name="T94" fmla="*/ 1844 w 4320"/>
              <a:gd name="T95" fmla="*/ 518 h 4320"/>
              <a:gd name="T96" fmla="*/ 2127 w 4320"/>
              <a:gd name="T97" fmla="*/ 234 h 4320"/>
              <a:gd name="T98" fmla="*/ 2453 w 4320"/>
              <a:gd name="T99" fmla="*/ 428 h 4320"/>
              <a:gd name="T100" fmla="*/ 2363 w 4320"/>
              <a:gd name="T101" fmla="*/ 797 h 4320"/>
              <a:gd name="T102" fmla="*/ 1982 w 4320"/>
              <a:gd name="T103" fmla="*/ 816 h 4320"/>
              <a:gd name="T104" fmla="*/ 2476 w 4320"/>
              <a:gd name="T105" fmla="*/ 3802 h 4320"/>
              <a:gd name="T106" fmla="*/ 2193 w 4320"/>
              <a:gd name="T107" fmla="*/ 4086 h 4320"/>
              <a:gd name="T108" fmla="*/ 1867 w 4320"/>
              <a:gd name="T109" fmla="*/ 3892 h 4320"/>
              <a:gd name="T110" fmla="*/ 1958 w 4320"/>
              <a:gd name="T111" fmla="*/ 3523 h 4320"/>
              <a:gd name="T112" fmla="*/ 2338 w 4320"/>
              <a:gd name="T113" fmla="*/ 3504 h 4320"/>
              <a:gd name="T114" fmla="*/ 3735 w 4320"/>
              <a:gd name="T115" fmla="*/ 4086 h 4320"/>
              <a:gd name="T116" fmla="*/ 3453 w 4320"/>
              <a:gd name="T117" fmla="*/ 3802 h 4320"/>
              <a:gd name="T118" fmla="*/ 3645 w 4320"/>
              <a:gd name="T119" fmla="*/ 3476 h 4320"/>
              <a:gd name="T120" fmla="*/ 4014 w 4320"/>
              <a:gd name="T121" fmla="*/ 3566 h 4320"/>
              <a:gd name="T122" fmla="*/ 4033 w 4320"/>
              <a:gd name="T123" fmla="*/ 3947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320" h="4320">
                <a:moveTo>
                  <a:pt x="3987" y="3262"/>
                </a:moveTo>
                <a:lnTo>
                  <a:pt x="3987" y="2734"/>
                </a:lnTo>
                <a:lnTo>
                  <a:pt x="3987" y="2734"/>
                </a:lnTo>
                <a:lnTo>
                  <a:pt x="3987" y="2704"/>
                </a:lnTo>
                <a:lnTo>
                  <a:pt x="3984" y="2673"/>
                </a:lnTo>
                <a:lnTo>
                  <a:pt x="3981" y="2641"/>
                </a:lnTo>
                <a:lnTo>
                  <a:pt x="3977" y="2610"/>
                </a:lnTo>
                <a:lnTo>
                  <a:pt x="3971" y="2576"/>
                </a:lnTo>
                <a:lnTo>
                  <a:pt x="3964" y="2543"/>
                </a:lnTo>
                <a:lnTo>
                  <a:pt x="3955" y="2509"/>
                </a:lnTo>
                <a:lnTo>
                  <a:pt x="3945" y="2476"/>
                </a:lnTo>
                <a:lnTo>
                  <a:pt x="3934" y="2443"/>
                </a:lnTo>
                <a:lnTo>
                  <a:pt x="3921" y="2410"/>
                </a:lnTo>
                <a:lnTo>
                  <a:pt x="3905" y="2377"/>
                </a:lnTo>
                <a:lnTo>
                  <a:pt x="3889" y="2344"/>
                </a:lnTo>
                <a:lnTo>
                  <a:pt x="3872" y="2311"/>
                </a:lnTo>
                <a:lnTo>
                  <a:pt x="3852" y="2279"/>
                </a:lnTo>
                <a:lnTo>
                  <a:pt x="3832" y="2249"/>
                </a:lnTo>
                <a:lnTo>
                  <a:pt x="3809" y="2219"/>
                </a:lnTo>
                <a:lnTo>
                  <a:pt x="3784" y="2189"/>
                </a:lnTo>
                <a:lnTo>
                  <a:pt x="3758" y="2161"/>
                </a:lnTo>
                <a:lnTo>
                  <a:pt x="3730" y="2134"/>
                </a:lnTo>
                <a:lnTo>
                  <a:pt x="3701" y="2108"/>
                </a:lnTo>
                <a:lnTo>
                  <a:pt x="3669" y="2084"/>
                </a:lnTo>
                <a:lnTo>
                  <a:pt x="3636" y="2061"/>
                </a:lnTo>
                <a:lnTo>
                  <a:pt x="3600" y="2041"/>
                </a:lnTo>
                <a:lnTo>
                  <a:pt x="3563" y="2021"/>
                </a:lnTo>
                <a:lnTo>
                  <a:pt x="3524" y="2003"/>
                </a:lnTo>
                <a:lnTo>
                  <a:pt x="3483" y="1988"/>
                </a:lnTo>
                <a:lnTo>
                  <a:pt x="3440" y="1973"/>
                </a:lnTo>
                <a:lnTo>
                  <a:pt x="3395" y="1963"/>
                </a:lnTo>
                <a:lnTo>
                  <a:pt x="3348" y="1953"/>
                </a:lnTo>
                <a:lnTo>
                  <a:pt x="3299" y="1947"/>
                </a:lnTo>
                <a:lnTo>
                  <a:pt x="3247" y="1943"/>
                </a:lnTo>
                <a:lnTo>
                  <a:pt x="3194" y="1942"/>
                </a:lnTo>
                <a:lnTo>
                  <a:pt x="2734" y="1942"/>
                </a:lnTo>
                <a:lnTo>
                  <a:pt x="2734" y="1942"/>
                </a:lnTo>
                <a:lnTo>
                  <a:pt x="2704" y="1942"/>
                </a:lnTo>
                <a:lnTo>
                  <a:pt x="2677" y="1940"/>
                </a:lnTo>
                <a:lnTo>
                  <a:pt x="2651" y="1937"/>
                </a:lnTo>
                <a:lnTo>
                  <a:pt x="2627" y="1935"/>
                </a:lnTo>
                <a:lnTo>
                  <a:pt x="2602" y="1930"/>
                </a:lnTo>
                <a:lnTo>
                  <a:pt x="2581" y="1926"/>
                </a:lnTo>
                <a:lnTo>
                  <a:pt x="2561" y="1922"/>
                </a:lnTo>
                <a:lnTo>
                  <a:pt x="2542" y="1916"/>
                </a:lnTo>
                <a:lnTo>
                  <a:pt x="2525" y="1909"/>
                </a:lnTo>
                <a:lnTo>
                  <a:pt x="2509" y="1903"/>
                </a:lnTo>
                <a:lnTo>
                  <a:pt x="2493" y="1894"/>
                </a:lnTo>
                <a:lnTo>
                  <a:pt x="2480" y="1887"/>
                </a:lnTo>
                <a:lnTo>
                  <a:pt x="2467" y="1879"/>
                </a:lnTo>
                <a:lnTo>
                  <a:pt x="2456" y="1870"/>
                </a:lnTo>
                <a:lnTo>
                  <a:pt x="2444" y="1861"/>
                </a:lnTo>
                <a:lnTo>
                  <a:pt x="2436" y="1851"/>
                </a:lnTo>
                <a:lnTo>
                  <a:pt x="2419" y="1833"/>
                </a:lnTo>
                <a:lnTo>
                  <a:pt x="2406" y="1812"/>
                </a:lnTo>
                <a:lnTo>
                  <a:pt x="2396" y="1792"/>
                </a:lnTo>
                <a:lnTo>
                  <a:pt x="2388" y="1772"/>
                </a:lnTo>
                <a:lnTo>
                  <a:pt x="2384" y="1754"/>
                </a:lnTo>
                <a:lnTo>
                  <a:pt x="2381" y="1735"/>
                </a:lnTo>
                <a:lnTo>
                  <a:pt x="2378" y="1716"/>
                </a:lnTo>
                <a:lnTo>
                  <a:pt x="2378" y="1700"/>
                </a:lnTo>
                <a:lnTo>
                  <a:pt x="2378" y="1058"/>
                </a:lnTo>
                <a:lnTo>
                  <a:pt x="2378" y="1058"/>
                </a:lnTo>
                <a:lnTo>
                  <a:pt x="2414" y="1041"/>
                </a:lnTo>
                <a:lnTo>
                  <a:pt x="2449" y="1021"/>
                </a:lnTo>
                <a:lnTo>
                  <a:pt x="2482" y="1000"/>
                </a:lnTo>
                <a:lnTo>
                  <a:pt x="2513" y="975"/>
                </a:lnTo>
                <a:lnTo>
                  <a:pt x="2542" y="948"/>
                </a:lnTo>
                <a:lnTo>
                  <a:pt x="2569" y="921"/>
                </a:lnTo>
                <a:lnTo>
                  <a:pt x="2595" y="890"/>
                </a:lnTo>
                <a:lnTo>
                  <a:pt x="2618" y="857"/>
                </a:lnTo>
                <a:lnTo>
                  <a:pt x="2640" y="824"/>
                </a:lnTo>
                <a:lnTo>
                  <a:pt x="2658" y="788"/>
                </a:lnTo>
                <a:lnTo>
                  <a:pt x="2674" y="753"/>
                </a:lnTo>
                <a:lnTo>
                  <a:pt x="2687" y="714"/>
                </a:lnTo>
                <a:lnTo>
                  <a:pt x="2697" y="675"/>
                </a:lnTo>
                <a:lnTo>
                  <a:pt x="2706" y="635"/>
                </a:lnTo>
                <a:lnTo>
                  <a:pt x="2710" y="593"/>
                </a:lnTo>
                <a:lnTo>
                  <a:pt x="2711" y="551"/>
                </a:lnTo>
                <a:lnTo>
                  <a:pt x="2711" y="551"/>
                </a:lnTo>
                <a:lnTo>
                  <a:pt x="2711" y="523"/>
                </a:lnTo>
                <a:lnTo>
                  <a:pt x="2709" y="495"/>
                </a:lnTo>
                <a:lnTo>
                  <a:pt x="2706" y="467"/>
                </a:lnTo>
                <a:lnTo>
                  <a:pt x="2700" y="441"/>
                </a:lnTo>
                <a:lnTo>
                  <a:pt x="2694" y="414"/>
                </a:lnTo>
                <a:lnTo>
                  <a:pt x="2687" y="388"/>
                </a:lnTo>
                <a:lnTo>
                  <a:pt x="2678" y="362"/>
                </a:lnTo>
                <a:lnTo>
                  <a:pt x="2668" y="336"/>
                </a:lnTo>
                <a:lnTo>
                  <a:pt x="2657" y="312"/>
                </a:lnTo>
                <a:lnTo>
                  <a:pt x="2645" y="289"/>
                </a:lnTo>
                <a:lnTo>
                  <a:pt x="2631" y="266"/>
                </a:lnTo>
                <a:lnTo>
                  <a:pt x="2617" y="243"/>
                </a:lnTo>
                <a:lnTo>
                  <a:pt x="2602" y="221"/>
                </a:lnTo>
                <a:lnTo>
                  <a:pt x="2585" y="201"/>
                </a:lnTo>
                <a:lnTo>
                  <a:pt x="2568" y="181"/>
                </a:lnTo>
                <a:lnTo>
                  <a:pt x="2551" y="161"/>
                </a:lnTo>
                <a:lnTo>
                  <a:pt x="2531" y="144"/>
                </a:lnTo>
                <a:lnTo>
                  <a:pt x="2510" y="126"/>
                </a:lnTo>
                <a:lnTo>
                  <a:pt x="2490" y="109"/>
                </a:lnTo>
                <a:lnTo>
                  <a:pt x="2469" y="93"/>
                </a:lnTo>
                <a:lnTo>
                  <a:pt x="2446" y="79"/>
                </a:lnTo>
                <a:lnTo>
                  <a:pt x="2423" y="66"/>
                </a:lnTo>
                <a:lnTo>
                  <a:pt x="2398" y="55"/>
                </a:lnTo>
                <a:lnTo>
                  <a:pt x="2374" y="43"/>
                </a:lnTo>
                <a:lnTo>
                  <a:pt x="2350" y="33"/>
                </a:lnTo>
                <a:lnTo>
                  <a:pt x="2324" y="24"/>
                </a:lnTo>
                <a:lnTo>
                  <a:pt x="2298" y="17"/>
                </a:lnTo>
                <a:lnTo>
                  <a:pt x="2271" y="11"/>
                </a:lnTo>
                <a:lnTo>
                  <a:pt x="2243" y="6"/>
                </a:lnTo>
                <a:lnTo>
                  <a:pt x="2216" y="3"/>
                </a:lnTo>
                <a:lnTo>
                  <a:pt x="2189" y="0"/>
                </a:lnTo>
                <a:lnTo>
                  <a:pt x="2160" y="0"/>
                </a:lnTo>
                <a:lnTo>
                  <a:pt x="2160" y="0"/>
                </a:lnTo>
                <a:lnTo>
                  <a:pt x="2131" y="0"/>
                </a:lnTo>
                <a:lnTo>
                  <a:pt x="2104" y="3"/>
                </a:lnTo>
                <a:lnTo>
                  <a:pt x="2077" y="6"/>
                </a:lnTo>
                <a:lnTo>
                  <a:pt x="2049" y="11"/>
                </a:lnTo>
                <a:lnTo>
                  <a:pt x="2022" y="17"/>
                </a:lnTo>
                <a:lnTo>
                  <a:pt x="1996" y="24"/>
                </a:lnTo>
                <a:lnTo>
                  <a:pt x="1970" y="33"/>
                </a:lnTo>
                <a:lnTo>
                  <a:pt x="1946" y="43"/>
                </a:lnTo>
                <a:lnTo>
                  <a:pt x="1922" y="55"/>
                </a:lnTo>
                <a:lnTo>
                  <a:pt x="1897" y="66"/>
                </a:lnTo>
                <a:lnTo>
                  <a:pt x="1874" y="79"/>
                </a:lnTo>
                <a:lnTo>
                  <a:pt x="1851" y="93"/>
                </a:lnTo>
                <a:lnTo>
                  <a:pt x="1830" y="109"/>
                </a:lnTo>
                <a:lnTo>
                  <a:pt x="1810" y="126"/>
                </a:lnTo>
                <a:lnTo>
                  <a:pt x="1789" y="144"/>
                </a:lnTo>
                <a:lnTo>
                  <a:pt x="1769" y="161"/>
                </a:lnTo>
                <a:lnTo>
                  <a:pt x="1752" y="181"/>
                </a:lnTo>
                <a:lnTo>
                  <a:pt x="1735" y="201"/>
                </a:lnTo>
                <a:lnTo>
                  <a:pt x="1718" y="221"/>
                </a:lnTo>
                <a:lnTo>
                  <a:pt x="1703" y="243"/>
                </a:lnTo>
                <a:lnTo>
                  <a:pt x="1689" y="266"/>
                </a:lnTo>
                <a:lnTo>
                  <a:pt x="1675" y="289"/>
                </a:lnTo>
                <a:lnTo>
                  <a:pt x="1663" y="312"/>
                </a:lnTo>
                <a:lnTo>
                  <a:pt x="1652" y="336"/>
                </a:lnTo>
                <a:lnTo>
                  <a:pt x="1642" y="362"/>
                </a:lnTo>
                <a:lnTo>
                  <a:pt x="1633" y="388"/>
                </a:lnTo>
                <a:lnTo>
                  <a:pt x="1626" y="414"/>
                </a:lnTo>
                <a:lnTo>
                  <a:pt x="1620" y="441"/>
                </a:lnTo>
                <a:lnTo>
                  <a:pt x="1614" y="467"/>
                </a:lnTo>
                <a:lnTo>
                  <a:pt x="1611" y="495"/>
                </a:lnTo>
                <a:lnTo>
                  <a:pt x="1609" y="523"/>
                </a:lnTo>
                <a:lnTo>
                  <a:pt x="1609" y="551"/>
                </a:lnTo>
                <a:lnTo>
                  <a:pt x="1609" y="551"/>
                </a:lnTo>
                <a:lnTo>
                  <a:pt x="1610" y="593"/>
                </a:lnTo>
                <a:lnTo>
                  <a:pt x="1614" y="635"/>
                </a:lnTo>
                <a:lnTo>
                  <a:pt x="1623" y="675"/>
                </a:lnTo>
                <a:lnTo>
                  <a:pt x="1633" y="714"/>
                </a:lnTo>
                <a:lnTo>
                  <a:pt x="1646" y="753"/>
                </a:lnTo>
                <a:lnTo>
                  <a:pt x="1662" y="788"/>
                </a:lnTo>
                <a:lnTo>
                  <a:pt x="1680" y="824"/>
                </a:lnTo>
                <a:lnTo>
                  <a:pt x="1702" y="857"/>
                </a:lnTo>
                <a:lnTo>
                  <a:pt x="1725" y="890"/>
                </a:lnTo>
                <a:lnTo>
                  <a:pt x="1751" y="921"/>
                </a:lnTo>
                <a:lnTo>
                  <a:pt x="1778" y="948"/>
                </a:lnTo>
                <a:lnTo>
                  <a:pt x="1807" y="975"/>
                </a:lnTo>
                <a:lnTo>
                  <a:pt x="1838" y="1000"/>
                </a:lnTo>
                <a:lnTo>
                  <a:pt x="1871" y="1021"/>
                </a:lnTo>
                <a:lnTo>
                  <a:pt x="1906" y="1041"/>
                </a:lnTo>
                <a:lnTo>
                  <a:pt x="1942" y="1058"/>
                </a:lnTo>
                <a:lnTo>
                  <a:pt x="1942" y="1700"/>
                </a:lnTo>
                <a:lnTo>
                  <a:pt x="1942" y="1700"/>
                </a:lnTo>
                <a:lnTo>
                  <a:pt x="1942" y="1713"/>
                </a:lnTo>
                <a:lnTo>
                  <a:pt x="1940" y="1728"/>
                </a:lnTo>
                <a:lnTo>
                  <a:pt x="1937" y="1745"/>
                </a:lnTo>
                <a:lnTo>
                  <a:pt x="1933" y="1764"/>
                </a:lnTo>
                <a:lnTo>
                  <a:pt x="1927" y="1782"/>
                </a:lnTo>
                <a:lnTo>
                  <a:pt x="1919" y="1802"/>
                </a:lnTo>
                <a:lnTo>
                  <a:pt x="1906" y="1824"/>
                </a:lnTo>
                <a:lnTo>
                  <a:pt x="1890" y="1844"/>
                </a:lnTo>
                <a:lnTo>
                  <a:pt x="1881" y="1853"/>
                </a:lnTo>
                <a:lnTo>
                  <a:pt x="1871" y="1863"/>
                </a:lnTo>
                <a:lnTo>
                  <a:pt x="1860" y="1873"/>
                </a:lnTo>
                <a:lnTo>
                  <a:pt x="1847" y="1881"/>
                </a:lnTo>
                <a:lnTo>
                  <a:pt x="1834" y="1890"/>
                </a:lnTo>
                <a:lnTo>
                  <a:pt x="1818" y="1897"/>
                </a:lnTo>
                <a:lnTo>
                  <a:pt x="1802" y="1906"/>
                </a:lnTo>
                <a:lnTo>
                  <a:pt x="1784" y="1913"/>
                </a:lnTo>
                <a:lnTo>
                  <a:pt x="1765" y="1919"/>
                </a:lnTo>
                <a:lnTo>
                  <a:pt x="1745" y="1924"/>
                </a:lnTo>
                <a:lnTo>
                  <a:pt x="1722" y="1930"/>
                </a:lnTo>
                <a:lnTo>
                  <a:pt x="1698" y="1933"/>
                </a:lnTo>
                <a:lnTo>
                  <a:pt x="1673" y="1937"/>
                </a:lnTo>
                <a:lnTo>
                  <a:pt x="1646" y="1940"/>
                </a:lnTo>
                <a:lnTo>
                  <a:pt x="1616" y="1942"/>
                </a:lnTo>
                <a:lnTo>
                  <a:pt x="1586" y="1942"/>
                </a:lnTo>
                <a:lnTo>
                  <a:pt x="1126" y="1942"/>
                </a:lnTo>
                <a:lnTo>
                  <a:pt x="1126" y="1942"/>
                </a:lnTo>
                <a:lnTo>
                  <a:pt x="1073" y="1943"/>
                </a:lnTo>
                <a:lnTo>
                  <a:pt x="1021" y="1947"/>
                </a:lnTo>
                <a:lnTo>
                  <a:pt x="972" y="1953"/>
                </a:lnTo>
                <a:lnTo>
                  <a:pt x="925" y="1963"/>
                </a:lnTo>
                <a:lnTo>
                  <a:pt x="880" y="1973"/>
                </a:lnTo>
                <a:lnTo>
                  <a:pt x="837" y="1988"/>
                </a:lnTo>
                <a:lnTo>
                  <a:pt x="796" y="2003"/>
                </a:lnTo>
                <a:lnTo>
                  <a:pt x="757" y="2021"/>
                </a:lnTo>
                <a:lnTo>
                  <a:pt x="720" y="2041"/>
                </a:lnTo>
                <a:lnTo>
                  <a:pt x="684" y="2061"/>
                </a:lnTo>
                <a:lnTo>
                  <a:pt x="651" y="2084"/>
                </a:lnTo>
                <a:lnTo>
                  <a:pt x="619" y="2108"/>
                </a:lnTo>
                <a:lnTo>
                  <a:pt x="590" y="2134"/>
                </a:lnTo>
                <a:lnTo>
                  <a:pt x="562" y="2161"/>
                </a:lnTo>
                <a:lnTo>
                  <a:pt x="536" y="2189"/>
                </a:lnTo>
                <a:lnTo>
                  <a:pt x="511" y="2219"/>
                </a:lnTo>
                <a:lnTo>
                  <a:pt x="488" y="2249"/>
                </a:lnTo>
                <a:lnTo>
                  <a:pt x="468" y="2279"/>
                </a:lnTo>
                <a:lnTo>
                  <a:pt x="448" y="2311"/>
                </a:lnTo>
                <a:lnTo>
                  <a:pt x="431" y="2344"/>
                </a:lnTo>
                <a:lnTo>
                  <a:pt x="415" y="2377"/>
                </a:lnTo>
                <a:lnTo>
                  <a:pt x="399" y="2410"/>
                </a:lnTo>
                <a:lnTo>
                  <a:pt x="386" y="2443"/>
                </a:lnTo>
                <a:lnTo>
                  <a:pt x="375" y="2476"/>
                </a:lnTo>
                <a:lnTo>
                  <a:pt x="365" y="2509"/>
                </a:lnTo>
                <a:lnTo>
                  <a:pt x="356" y="2543"/>
                </a:lnTo>
                <a:lnTo>
                  <a:pt x="349" y="2576"/>
                </a:lnTo>
                <a:lnTo>
                  <a:pt x="343" y="2610"/>
                </a:lnTo>
                <a:lnTo>
                  <a:pt x="339" y="2641"/>
                </a:lnTo>
                <a:lnTo>
                  <a:pt x="336" y="2673"/>
                </a:lnTo>
                <a:lnTo>
                  <a:pt x="333" y="2704"/>
                </a:lnTo>
                <a:lnTo>
                  <a:pt x="333" y="2734"/>
                </a:lnTo>
                <a:lnTo>
                  <a:pt x="333" y="3262"/>
                </a:lnTo>
                <a:lnTo>
                  <a:pt x="333" y="3262"/>
                </a:lnTo>
                <a:lnTo>
                  <a:pt x="297" y="3279"/>
                </a:lnTo>
                <a:lnTo>
                  <a:pt x="263" y="3299"/>
                </a:lnTo>
                <a:lnTo>
                  <a:pt x="230" y="3320"/>
                </a:lnTo>
                <a:lnTo>
                  <a:pt x="198" y="3345"/>
                </a:lnTo>
                <a:lnTo>
                  <a:pt x="169" y="3372"/>
                </a:lnTo>
                <a:lnTo>
                  <a:pt x="142" y="3399"/>
                </a:lnTo>
                <a:lnTo>
                  <a:pt x="116" y="3430"/>
                </a:lnTo>
                <a:lnTo>
                  <a:pt x="93" y="3463"/>
                </a:lnTo>
                <a:lnTo>
                  <a:pt x="72" y="3496"/>
                </a:lnTo>
                <a:lnTo>
                  <a:pt x="53" y="3532"/>
                </a:lnTo>
                <a:lnTo>
                  <a:pt x="37" y="3567"/>
                </a:lnTo>
                <a:lnTo>
                  <a:pt x="24" y="3606"/>
                </a:lnTo>
                <a:lnTo>
                  <a:pt x="14" y="3645"/>
                </a:lnTo>
                <a:lnTo>
                  <a:pt x="6" y="3685"/>
                </a:lnTo>
                <a:lnTo>
                  <a:pt x="1" y="3727"/>
                </a:lnTo>
                <a:lnTo>
                  <a:pt x="0" y="3769"/>
                </a:lnTo>
                <a:lnTo>
                  <a:pt x="0" y="3769"/>
                </a:lnTo>
                <a:lnTo>
                  <a:pt x="0" y="3797"/>
                </a:lnTo>
                <a:lnTo>
                  <a:pt x="3" y="3825"/>
                </a:lnTo>
                <a:lnTo>
                  <a:pt x="6" y="3853"/>
                </a:lnTo>
                <a:lnTo>
                  <a:pt x="11" y="3879"/>
                </a:lnTo>
                <a:lnTo>
                  <a:pt x="17" y="3906"/>
                </a:lnTo>
                <a:lnTo>
                  <a:pt x="24" y="3932"/>
                </a:lnTo>
                <a:lnTo>
                  <a:pt x="33" y="3958"/>
                </a:lnTo>
                <a:lnTo>
                  <a:pt x="43" y="3984"/>
                </a:lnTo>
                <a:lnTo>
                  <a:pt x="55" y="4008"/>
                </a:lnTo>
                <a:lnTo>
                  <a:pt x="66" y="4031"/>
                </a:lnTo>
                <a:lnTo>
                  <a:pt x="79" y="4054"/>
                </a:lnTo>
                <a:lnTo>
                  <a:pt x="93" y="4077"/>
                </a:lnTo>
                <a:lnTo>
                  <a:pt x="109" y="4099"/>
                </a:lnTo>
                <a:lnTo>
                  <a:pt x="126" y="4119"/>
                </a:lnTo>
                <a:lnTo>
                  <a:pt x="144" y="4139"/>
                </a:lnTo>
                <a:lnTo>
                  <a:pt x="161" y="4159"/>
                </a:lnTo>
                <a:lnTo>
                  <a:pt x="181" y="4176"/>
                </a:lnTo>
                <a:lnTo>
                  <a:pt x="201" y="4194"/>
                </a:lnTo>
                <a:lnTo>
                  <a:pt x="221" y="4211"/>
                </a:lnTo>
                <a:lnTo>
                  <a:pt x="243" y="4227"/>
                </a:lnTo>
                <a:lnTo>
                  <a:pt x="266" y="4241"/>
                </a:lnTo>
                <a:lnTo>
                  <a:pt x="289" y="4254"/>
                </a:lnTo>
                <a:lnTo>
                  <a:pt x="312" y="4265"/>
                </a:lnTo>
                <a:lnTo>
                  <a:pt x="336" y="4277"/>
                </a:lnTo>
                <a:lnTo>
                  <a:pt x="362" y="4287"/>
                </a:lnTo>
                <a:lnTo>
                  <a:pt x="388" y="4296"/>
                </a:lnTo>
                <a:lnTo>
                  <a:pt x="414" y="4303"/>
                </a:lnTo>
                <a:lnTo>
                  <a:pt x="441" y="4309"/>
                </a:lnTo>
                <a:lnTo>
                  <a:pt x="467" y="4314"/>
                </a:lnTo>
                <a:lnTo>
                  <a:pt x="495" y="4317"/>
                </a:lnTo>
                <a:lnTo>
                  <a:pt x="523" y="4320"/>
                </a:lnTo>
                <a:lnTo>
                  <a:pt x="551" y="4320"/>
                </a:lnTo>
                <a:lnTo>
                  <a:pt x="551" y="4320"/>
                </a:lnTo>
                <a:lnTo>
                  <a:pt x="580" y="4320"/>
                </a:lnTo>
                <a:lnTo>
                  <a:pt x="608" y="4317"/>
                </a:lnTo>
                <a:lnTo>
                  <a:pt x="635" y="4314"/>
                </a:lnTo>
                <a:lnTo>
                  <a:pt x="662" y="4309"/>
                </a:lnTo>
                <a:lnTo>
                  <a:pt x="689" y="4303"/>
                </a:lnTo>
                <a:lnTo>
                  <a:pt x="715" y="4296"/>
                </a:lnTo>
                <a:lnTo>
                  <a:pt x="741" y="4287"/>
                </a:lnTo>
                <a:lnTo>
                  <a:pt x="765" y="4277"/>
                </a:lnTo>
                <a:lnTo>
                  <a:pt x="790" y="4265"/>
                </a:lnTo>
                <a:lnTo>
                  <a:pt x="814" y="4254"/>
                </a:lnTo>
                <a:lnTo>
                  <a:pt x="837" y="4241"/>
                </a:lnTo>
                <a:lnTo>
                  <a:pt x="860" y="4227"/>
                </a:lnTo>
                <a:lnTo>
                  <a:pt x="882" y="4211"/>
                </a:lnTo>
                <a:lnTo>
                  <a:pt x="902" y="4194"/>
                </a:lnTo>
                <a:lnTo>
                  <a:pt x="922" y="4176"/>
                </a:lnTo>
                <a:lnTo>
                  <a:pt x="941" y="4159"/>
                </a:lnTo>
                <a:lnTo>
                  <a:pt x="959" y="4139"/>
                </a:lnTo>
                <a:lnTo>
                  <a:pt x="977" y="4119"/>
                </a:lnTo>
                <a:lnTo>
                  <a:pt x="994" y="4099"/>
                </a:lnTo>
                <a:lnTo>
                  <a:pt x="1008" y="4077"/>
                </a:lnTo>
                <a:lnTo>
                  <a:pt x="1023" y="4054"/>
                </a:lnTo>
                <a:lnTo>
                  <a:pt x="1037" y="4031"/>
                </a:lnTo>
                <a:lnTo>
                  <a:pt x="1048" y="4008"/>
                </a:lnTo>
                <a:lnTo>
                  <a:pt x="1060" y="3984"/>
                </a:lnTo>
                <a:lnTo>
                  <a:pt x="1070" y="3958"/>
                </a:lnTo>
                <a:lnTo>
                  <a:pt x="1079" y="3932"/>
                </a:lnTo>
                <a:lnTo>
                  <a:pt x="1086" y="3906"/>
                </a:lnTo>
                <a:lnTo>
                  <a:pt x="1091" y="3879"/>
                </a:lnTo>
                <a:lnTo>
                  <a:pt x="1097" y="3853"/>
                </a:lnTo>
                <a:lnTo>
                  <a:pt x="1100" y="3825"/>
                </a:lnTo>
                <a:lnTo>
                  <a:pt x="1102" y="3797"/>
                </a:lnTo>
                <a:lnTo>
                  <a:pt x="1103" y="3769"/>
                </a:lnTo>
                <a:lnTo>
                  <a:pt x="1103" y="3769"/>
                </a:lnTo>
                <a:lnTo>
                  <a:pt x="1102" y="3727"/>
                </a:lnTo>
                <a:lnTo>
                  <a:pt x="1097" y="3685"/>
                </a:lnTo>
                <a:lnTo>
                  <a:pt x="1089" y="3645"/>
                </a:lnTo>
                <a:lnTo>
                  <a:pt x="1079" y="3606"/>
                </a:lnTo>
                <a:lnTo>
                  <a:pt x="1066" y="3567"/>
                </a:lnTo>
                <a:lnTo>
                  <a:pt x="1050" y="3532"/>
                </a:lnTo>
                <a:lnTo>
                  <a:pt x="1031" y="3496"/>
                </a:lnTo>
                <a:lnTo>
                  <a:pt x="1010" y="3463"/>
                </a:lnTo>
                <a:lnTo>
                  <a:pt x="987" y="3430"/>
                </a:lnTo>
                <a:lnTo>
                  <a:pt x="961" y="3399"/>
                </a:lnTo>
                <a:lnTo>
                  <a:pt x="934" y="3372"/>
                </a:lnTo>
                <a:lnTo>
                  <a:pt x="905" y="3345"/>
                </a:lnTo>
                <a:lnTo>
                  <a:pt x="873" y="3320"/>
                </a:lnTo>
                <a:lnTo>
                  <a:pt x="840" y="3299"/>
                </a:lnTo>
                <a:lnTo>
                  <a:pt x="806" y="3279"/>
                </a:lnTo>
                <a:lnTo>
                  <a:pt x="770" y="3262"/>
                </a:lnTo>
                <a:lnTo>
                  <a:pt x="770" y="2734"/>
                </a:lnTo>
                <a:lnTo>
                  <a:pt x="770" y="2734"/>
                </a:lnTo>
                <a:lnTo>
                  <a:pt x="771" y="2701"/>
                </a:lnTo>
                <a:lnTo>
                  <a:pt x="774" y="2680"/>
                </a:lnTo>
                <a:lnTo>
                  <a:pt x="777" y="2654"/>
                </a:lnTo>
                <a:lnTo>
                  <a:pt x="784" y="2625"/>
                </a:lnTo>
                <a:lnTo>
                  <a:pt x="793" y="2595"/>
                </a:lnTo>
                <a:lnTo>
                  <a:pt x="806" y="2565"/>
                </a:lnTo>
                <a:lnTo>
                  <a:pt x="813" y="2549"/>
                </a:lnTo>
                <a:lnTo>
                  <a:pt x="820" y="2533"/>
                </a:lnTo>
                <a:lnTo>
                  <a:pt x="830" y="2519"/>
                </a:lnTo>
                <a:lnTo>
                  <a:pt x="840" y="2505"/>
                </a:lnTo>
                <a:lnTo>
                  <a:pt x="852" y="2489"/>
                </a:lnTo>
                <a:lnTo>
                  <a:pt x="865" y="2476"/>
                </a:lnTo>
                <a:lnTo>
                  <a:pt x="878" y="2462"/>
                </a:lnTo>
                <a:lnTo>
                  <a:pt x="893" y="2449"/>
                </a:lnTo>
                <a:lnTo>
                  <a:pt x="909" y="2437"/>
                </a:lnTo>
                <a:lnTo>
                  <a:pt x="928" y="2426"/>
                </a:lnTo>
                <a:lnTo>
                  <a:pt x="946" y="2416"/>
                </a:lnTo>
                <a:lnTo>
                  <a:pt x="967" y="2406"/>
                </a:lnTo>
                <a:lnTo>
                  <a:pt x="990" y="2398"/>
                </a:lnTo>
                <a:lnTo>
                  <a:pt x="1014" y="2391"/>
                </a:lnTo>
                <a:lnTo>
                  <a:pt x="1038" y="2385"/>
                </a:lnTo>
                <a:lnTo>
                  <a:pt x="1066" y="2381"/>
                </a:lnTo>
                <a:lnTo>
                  <a:pt x="1094" y="2380"/>
                </a:lnTo>
                <a:lnTo>
                  <a:pt x="1126" y="2378"/>
                </a:lnTo>
                <a:lnTo>
                  <a:pt x="1586" y="2378"/>
                </a:lnTo>
                <a:lnTo>
                  <a:pt x="1586" y="2378"/>
                </a:lnTo>
                <a:lnTo>
                  <a:pt x="1637" y="2377"/>
                </a:lnTo>
                <a:lnTo>
                  <a:pt x="1686" y="2374"/>
                </a:lnTo>
                <a:lnTo>
                  <a:pt x="1733" y="2370"/>
                </a:lnTo>
                <a:lnTo>
                  <a:pt x="1779" y="2364"/>
                </a:lnTo>
                <a:lnTo>
                  <a:pt x="1823" y="2355"/>
                </a:lnTo>
                <a:lnTo>
                  <a:pt x="1864" y="2345"/>
                </a:lnTo>
                <a:lnTo>
                  <a:pt x="1904" y="2334"/>
                </a:lnTo>
                <a:lnTo>
                  <a:pt x="1942" y="2321"/>
                </a:lnTo>
                <a:lnTo>
                  <a:pt x="1942" y="3263"/>
                </a:lnTo>
                <a:lnTo>
                  <a:pt x="1942" y="3263"/>
                </a:lnTo>
                <a:lnTo>
                  <a:pt x="1906" y="3279"/>
                </a:lnTo>
                <a:lnTo>
                  <a:pt x="1871" y="3299"/>
                </a:lnTo>
                <a:lnTo>
                  <a:pt x="1838" y="3320"/>
                </a:lnTo>
                <a:lnTo>
                  <a:pt x="1807" y="3345"/>
                </a:lnTo>
                <a:lnTo>
                  <a:pt x="1778" y="3372"/>
                </a:lnTo>
                <a:lnTo>
                  <a:pt x="1751" y="3399"/>
                </a:lnTo>
                <a:lnTo>
                  <a:pt x="1725" y="3430"/>
                </a:lnTo>
                <a:lnTo>
                  <a:pt x="1702" y="3463"/>
                </a:lnTo>
                <a:lnTo>
                  <a:pt x="1680" y="3496"/>
                </a:lnTo>
                <a:lnTo>
                  <a:pt x="1662" y="3532"/>
                </a:lnTo>
                <a:lnTo>
                  <a:pt x="1646" y="3567"/>
                </a:lnTo>
                <a:lnTo>
                  <a:pt x="1633" y="3606"/>
                </a:lnTo>
                <a:lnTo>
                  <a:pt x="1623" y="3645"/>
                </a:lnTo>
                <a:lnTo>
                  <a:pt x="1614" y="3685"/>
                </a:lnTo>
                <a:lnTo>
                  <a:pt x="1610" y="3727"/>
                </a:lnTo>
                <a:lnTo>
                  <a:pt x="1609" y="3769"/>
                </a:lnTo>
                <a:lnTo>
                  <a:pt x="1609" y="3769"/>
                </a:lnTo>
                <a:lnTo>
                  <a:pt x="1609" y="3797"/>
                </a:lnTo>
                <a:lnTo>
                  <a:pt x="1611" y="3825"/>
                </a:lnTo>
                <a:lnTo>
                  <a:pt x="1614" y="3853"/>
                </a:lnTo>
                <a:lnTo>
                  <a:pt x="1620" y="3879"/>
                </a:lnTo>
                <a:lnTo>
                  <a:pt x="1626" y="3906"/>
                </a:lnTo>
                <a:lnTo>
                  <a:pt x="1633" y="3932"/>
                </a:lnTo>
                <a:lnTo>
                  <a:pt x="1642" y="3958"/>
                </a:lnTo>
                <a:lnTo>
                  <a:pt x="1652" y="3984"/>
                </a:lnTo>
                <a:lnTo>
                  <a:pt x="1663" y="4008"/>
                </a:lnTo>
                <a:lnTo>
                  <a:pt x="1675" y="4031"/>
                </a:lnTo>
                <a:lnTo>
                  <a:pt x="1689" y="4054"/>
                </a:lnTo>
                <a:lnTo>
                  <a:pt x="1703" y="4077"/>
                </a:lnTo>
                <a:lnTo>
                  <a:pt x="1718" y="4099"/>
                </a:lnTo>
                <a:lnTo>
                  <a:pt x="1735" y="4119"/>
                </a:lnTo>
                <a:lnTo>
                  <a:pt x="1752" y="4139"/>
                </a:lnTo>
                <a:lnTo>
                  <a:pt x="1769" y="4159"/>
                </a:lnTo>
                <a:lnTo>
                  <a:pt x="1789" y="4176"/>
                </a:lnTo>
                <a:lnTo>
                  <a:pt x="1810" y="4194"/>
                </a:lnTo>
                <a:lnTo>
                  <a:pt x="1830" y="4211"/>
                </a:lnTo>
                <a:lnTo>
                  <a:pt x="1851" y="4227"/>
                </a:lnTo>
                <a:lnTo>
                  <a:pt x="1874" y="4241"/>
                </a:lnTo>
                <a:lnTo>
                  <a:pt x="1897" y="4254"/>
                </a:lnTo>
                <a:lnTo>
                  <a:pt x="1922" y="4265"/>
                </a:lnTo>
                <a:lnTo>
                  <a:pt x="1946" y="4277"/>
                </a:lnTo>
                <a:lnTo>
                  <a:pt x="1970" y="4287"/>
                </a:lnTo>
                <a:lnTo>
                  <a:pt x="1996" y="4296"/>
                </a:lnTo>
                <a:lnTo>
                  <a:pt x="2022" y="4303"/>
                </a:lnTo>
                <a:lnTo>
                  <a:pt x="2049" y="4309"/>
                </a:lnTo>
                <a:lnTo>
                  <a:pt x="2077" y="4314"/>
                </a:lnTo>
                <a:lnTo>
                  <a:pt x="2104" y="4317"/>
                </a:lnTo>
                <a:lnTo>
                  <a:pt x="2131" y="4320"/>
                </a:lnTo>
                <a:lnTo>
                  <a:pt x="2160" y="4320"/>
                </a:lnTo>
                <a:lnTo>
                  <a:pt x="2160" y="4320"/>
                </a:lnTo>
                <a:lnTo>
                  <a:pt x="2189" y="4320"/>
                </a:lnTo>
                <a:lnTo>
                  <a:pt x="2216" y="4317"/>
                </a:lnTo>
                <a:lnTo>
                  <a:pt x="2243" y="4314"/>
                </a:lnTo>
                <a:lnTo>
                  <a:pt x="2271" y="4309"/>
                </a:lnTo>
                <a:lnTo>
                  <a:pt x="2298" y="4303"/>
                </a:lnTo>
                <a:lnTo>
                  <a:pt x="2324" y="4296"/>
                </a:lnTo>
                <a:lnTo>
                  <a:pt x="2350" y="4287"/>
                </a:lnTo>
                <a:lnTo>
                  <a:pt x="2374" y="4277"/>
                </a:lnTo>
                <a:lnTo>
                  <a:pt x="2398" y="4265"/>
                </a:lnTo>
                <a:lnTo>
                  <a:pt x="2423" y="4254"/>
                </a:lnTo>
                <a:lnTo>
                  <a:pt x="2446" y="4241"/>
                </a:lnTo>
                <a:lnTo>
                  <a:pt x="2469" y="4227"/>
                </a:lnTo>
                <a:lnTo>
                  <a:pt x="2490" y="4211"/>
                </a:lnTo>
                <a:lnTo>
                  <a:pt x="2510" y="4194"/>
                </a:lnTo>
                <a:lnTo>
                  <a:pt x="2531" y="4176"/>
                </a:lnTo>
                <a:lnTo>
                  <a:pt x="2551" y="4159"/>
                </a:lnTo>
                <a:lnTo>
                  <a:pt x="2568" y="4139"/>
                </a:lnTo>
                <a:lnTo>
                  <a:pt x="2585" y="4119"/>
                </a:lnTo>
                <a:lnTo>
                  <a:pt x="2602" y="4099"/>
                </a:lnTo>
                <a:lnTo>
                  <a:pt x="2617" y="4077"/>
                </a:lnTo>
                <a:lnTo>
                  <a:pt x="2631" y="4054"/>
                </a:lnTo>
                <a:lnTo>
                  <a:pt x="2645" y="4031"/>
                </a:lnTo>
                <a:lnTo>
                  <a:pt x="2657" y="4008"/>
                </a:lnTo>
                <a:lnTo>
                  <a:pt x="2668" y="3984"/>
                </a:lnTo>
                <a:lnTo>
                  <a:pt x="2678" y="3958"/>
                </a:lnTo>
                <a:lnTo>
                  <a:pt x="2687" y="3932"/>
                </a:lnTo>
                <a:lnTo>
                  <a:pt x="2694" y="3906"/>
                </a:lnTo>
                <a:lnTo>
                  <a:pt x="2700" y="3879"/>
                </a:lnTo>
                <a:lnTo>
                  <a:pt x="2706" y="3853"/>
                </a:lnTo>
                <a:lnTo>
                  <a:pt x="2709" y="3825"/>
                </a:lnTo>
                <a:lnTo>
                  <a:pt x="2711" y="3797"/>
                </a:lnTo>
                <a:lnTo>
                  <a:pt x="2711" y="3769"/>
                </a:lnTo>
                <a:lnTo>
                  <a:pt x="2711" y="3769"/>
                </a:lnTo>
                <a:lnTo>
                  <a:pt x="2710" y="3727"/>
                </a:lnTo>
                <a:lnTo>
                  <a:pt x="2706" y="3685"/>
                </a:lnTo>
                <a:lnTo>
                  <a:pt x="2697" y="3645"/>
                </a:lnTo>
                <a:lnTo>
                  <a:pt x="2687" y="3606"/>
                </a:lnTo>
                <a:lnTo>
                  <a:pt x="2674" y="3567"/>
                </a:lnTo>
                <a:lnTo>
                  <a:pt x="2658" y="3532"/>
                </a:lnTo>
                <a:lnTo>
                  <a:pt x="2640" y="3496"/>
                </a:lnTo>
                <a:lnTo>
                  <a:pt x="2618" y="3463"/>
                </a:lnTo>
                <a:lnTo>
                  <a:pt x="2595" y="3430"/>
                </a:lnTo>
                <a:lnTo>
                  <a:pt x="2569" y="3399"/>
                </a:lnTo>
                <a:lnTo>
                  <a:pt x="2542" y="3372"/>
                </a:lnTo>
                <a:lnTo>
                  <a:pt x="2513" y="3345"/>
                </a:lnTo>
                <a:lnTo>
                  <a:pt x="2482" y="3320"/>
                </a:lnTo>
                <a:lnTo>
                  <a:pt x="2449" y="3299"/>
                </a:lnTo>
                <a:lnTo>
                  <a:pt x="2414" y="3279"/>
                </a:lnTo>
                <a:lnTo>
                  <a:pt x="2378" y="3262"/>
                </a:lnTo>
                <a:lnTo>
                  <a:pt x="2378" y="2321"/>
                </a:lnTo>
                <a:lnTo>
                  <a:pt x="2378" y="2321"/>
                </a:lnTo>
                <a:lnTo>
                  <a:pt x="2416" y="2334"/>
                </a:lnTo>
                <a:lnTo>
                  <a:pt x="2456" y="2345"/>
                </a:lnTo>
                <a:lnTo>
                  <a:pt x="2498" y="2355"/>
                </a:lnTo>
                <a:lnTo>
                  <a:pt x="2541" y="2364"/>
                </a:lnTo>
                <a:lnTo>
                  <a:pt x="2587" y="2370"/>
                </a:lnTo>
                <a:lnTo>
                  <a:pt x="2634" y="2374"/>
                </a:lnTo>
                <a:lnTo>
                  <a:pt x="2683" y="2377"/>
                </a:lnTo>
                <a:lnTo>
                  <a:pt x="2734" y="2378"/>
                </a:lnTo>
                <a:lnTo>
                  <a:pt x="3194" y="2378"/>
                </a:lnTo>
                <a:lnTo>
                  <a:pt x="3194" y="2378"/>
                </a:lnTo>
                <a:lnTo>
                  <a:pt x="3224" y="2380"/>
                </a:lnTo>
                <a:lnTo>
                  <a:pt x="3251" y="2381"/>
                </a:lnTo>
                <a:lnTo>
                  <a:pt x="3277" y="2385"/>
                </a:lnTo>
                <a:lnTo>
                  <a:pt x="3303" y="2390"/>
                </a:lnTo>
                <a:lnTo>
                  <a:pt x="3326" y="2397"/>
                </a:lnTo>
                <a:lnTo>
                  <a:pt x="3348" y="2404"/>
                </a:lnTo>
                <a:lnTo>
                  <a:pt x="3368" y="2413"/>
                </a:lnTo>
                <a:lnTo>
                  <a:pt x="3386" y="2423"/>
                </a:lnTo>
                <a:lnTo>
                  <a:pt x="3404" y="2433"/>
                </a:lnTo>
                <a:lnTo>
                  <a:pt x="3420" y="2444"/>
                </a:lnTo>
                <a:lnTo>
                  <a:pt x="3435" y="2456"/>
                </a:lnTo>
                <a:lnTo>
                  <a:pt x="3450" y="2469"/>
                </a:lnTo>
                <a:lnTo>
                  <a:pt x="3461" y="2483"/>
                </a:lnTo>
                <a:lnTo>
                  <a:pt x="3473" y="2496"/>
                </a:lnTo>
                <a:lnTo>
                  <a:pt x="3484" y="2510"/>
                </a:lnTo>
                <a:lnTo>
                  <a:pt x="3493" y="2526"/>
                </a:lnTo>
                <a:lnTo>
                  <a:pt x="3501" y="2541"/>
                </a:lnTo>
                <a:lnTo>
                  <a:pt x="3510" y="2555"/>
                </a:lnTo>
                <a:lnTo>
                  <a:pt x="3523" y="2585"/>
                </a:lnTo>
                <a:lnTo>
                  <a:pt x="3533" y="2615"/>
                </a:lnTo>
                <a:lnTo>
                  <a:pt x="3540" y="2644"/>
                </a:lnTo>
                <a:lnTo>
                  <a:pt x="3544" y="2671"/>
                </a:lnTo>
                <a:lnTo>
                  <a:pt x="3547" y="2696"/>
                </a:lnTo>
                <a:lnTo>
                  <a:pt x="3550" y="2717"/>
                </a:lnTo>
                <a:lnTo>
                  <a:pt x="3550" y="2734"/>
                </a:lnTo>
                <a:lnTo>
                  <a:pt x="3550" y="3262"/>
                </a:lnTo>
                <a:lnTo>
                  <a:pt x="3550" y="3262"/>
                </a:lnTo>
                <a:lnTo>
                  <a:pt x="3514" y="3279"/>
                </a:lnTo>
                <a:lnTo>
                  <a:pt x="3480" y="3299"/>
                </a:lnTo>
                <a:lnTo>
                  <a:pt x="3447" y="3320"/>
                </a:lnTo>
                <a:lnTo>
                  <a:pt x="3415" y="3345"/>
                </a:lnTo>
                <a:lnTo>
                  <a:pt x="3386" y="3372"/>
                </a:lnTo>
                <a:lnTo>
                  <a:pt x="3359" y="3399"/>
                </a:lnTo>
                <a:lnTo>
                  <a:pt x="3333" y="3430"/>
                </a:lnTo>
                <a:lnTo>
                  <a:pt x="3310" y="3463"/>
                </a:lnTo>
                <a:lnTo>
                  <a:pt x="3289" y="3496"/>
                </a:lnTo>
                <a:lnTo>
                  <a:pt x="3270" y="3532"/>
                </a:lnTo>
                <a:lnTo>
                  <a:pt x="3254" y="3567"/>
                </a:lnTo>
                <a:lnTo>
                  <a:pt x="3241" y="3606"/>
                </a:lnTo>
                <a:lnTo>
                  <a:pt x="3231" y="3645"/>
                </a:lnTo>
                <a:lnTo>
                  <a:pt x="3223" y="3685"/>
                </a:lnTo>
                <a:lnTo>
                  <a:pt x="3218" y="3727"/>
                </a:lnTo>
                <a:lnTo>
                  <a:pt x="3217" y="3769"/>
                </a:lnTo>
                <a:lnTo>
                  <a:pt x="3217" y="3769"/>
                </a:lnTo>
                <a:lnTo>
                  <a:pt x="3218" y="3797"/>
                </a:lnTo>
                <a:lnTo>
                  <a:pt x="3220" y="3825"/>
                </a:lnTo>
                <a:lnTo>
                  <a:pt x="3223" y="3853"/>
                </a:lnTo>
                <a:lnTo>
                  <a:pt x="3229" y="3879"/>
                </a:lnTo>
                <a:lnTo>
                  <a:pt x="3234" y="3906"/>
                </a:lnTo>
                <a:lnTo>
                  <a:pt x="3241" y="3932"/>
                </a:lnTo>
                <a:lnTo>
                  <a:pt x="3250" y="3958"/>
                </a:lnTo>
                <a:lnTo>
                  <a:pt x="3260" y="3984"/>
                </a:lnTo>
                <a:lnTo>
                  <a:pt x="3272" y="4008"/>
                </a:lnTo>
                <a:lnTo>
                  <a:pt x="3283" y="4031"/>
                </a:lnTo>
                <a:lnTo>
                  <a:pt x="3297" y="4054"/>
                </a:lnTo>
                <a:lnTo>
                  <a:pt x="3312" y="4077"/>
                </a:lnTo>
                <a:lnTo>
                  <a:pt x="3326" y="4099"/>
                </a:lnTo>
                <a:lnTo>
                  <a:pt x="3343" y="4119"/>
                </a:lnTo>
                <a:lnTo>
                  <a:pt x="3361" y="4139"/>
                </a:lnTo>
                <a:lnTo>
                  <a:pt x="3379" y="4159"/>
                </a:lnTo>
                <a:lnTo>
                  <a:pt x="3398" y="4176"/>
                </a:lnTo>
                <a:lnTo>
                  <a:pt x="3418" y="4194"/>
                </a:lnTo>
                <a:lnTo>
                  <a:pt x="3438" y="4211"/>
                </a:lnTo>
                <a:lnTo>
                  <a:pt x="3460" y="4227"/>
                </a:lnTo>
                <a:lnTo>
                  <a:pt x="3483" y="4241"/>
                </a:lnTo>
                <a:lnTo>
                  <a:pt x="3506" y="4254"/>
                </a:lnTo>
                <a:lnTo>
                  <a:pt x="3530" y="4265"/>
                </a:lnTo>
                <a:lnTo>
                  <a:pt x="3555" y="4277"/>
                </a:lnTo>
                <a:lnTo>
                  <a:pt x="3579" y="4287"/>
                </a:lnTo>
                <a:lnTo>
                  <a:pt x="3605" y="4296"/>
                </a:lnTo>
                <a:lnTo>
                  <a:pt x="3631" y="4303"/>
                </a:lnTo>
                <a:lnTo>
                  <a:pt x="3658" y="4309"/>
                </a:lnTo>
                <a:lnTo>
                  <a:pt x="3685" y="4314"/>
                </a:lnTo>
                <a:lnTo>
                  <a:pt x="3713" y="4317"/>
                </a:lnTo>
                <a:lnTo>
                  <a:pt x="3740" y="4320"/>
                </a:lnTo>
                <a:lnTo>
                  <a:pt x="3769" y="4320"/>
                </a:lnTo>
                <a:lnTo>
                  <a:pt x="3769" y="4320"/>
                </a:lnTo>
                <a:lnTo>
                  <a:pt x="3797" y="4320"/>
                </a:lnTo>
                <a:lnTo>
                  <a:pt x="3825" y="4317"/>
                </a:lnTo>
                <a:lnTo>
                  <a:pt x="3853" y="4314"/>
                </a:lnTo>
                <a:lnTo>
                  <a:pt x="3879" y="4309"/>
                </a:lnTo>
                <a:lnTo>
                  <a:pt x="3906" y="4303"/>
                </a:lnTo>
                <a:lnTo>
                  <a:pt x="3932" y="4296"/>
                </a:lnTo>
                <a:lnTo>
                  <a:pt x="3958" y="4287"/>
                </a:lnTo>
                <a:lnTo>
                  <a:pt x="3984" y="4277"/>
                </a:lnTo>
                <a:lnTo>
                  <a:pt x="4008" y="4265"/>
                </a:lnTo>
                <a:lnTo>
                  <a:pt x="4031" y="4254"/>
                </a:lnTo>
                <a:lnTo>
                  <a:pt x="4054" y="4241"/>
                </a:lnTo>
                <a:lnTo>
                  <a:pt x="4077" y="4227"/>
                </a:lnTo>
                <a:lnTo>
                  <a:pt x="4099" y="4211"/>
                </a:lnTo>
                <a:lnTo>
                  <a:pt x="4119" y="4194"/>
                </a:lnTo>
                <a:lnTo>
                  <a:pt x="4139" y="4176"/>
                </a:lnTo>
                <a:lnTo>
                  <a:pt x="4159" y="4159"/>
                </a:lnTo>
                <a:lnTo>
                  <a:pt x="4176" y="4139"/>
                </a:lnTo>
                <a:lnTo>
                  <a:pt x="4194" y="4119"/>
                </a:lnTo>
                <a:lnTo>
                  <a:pt x="4211" y="4099"/>
                </a:lnTo>
                <a:lnTo>
                  <a:pt x="4227" y="4077"/>
                </a:lnTo>
                <a:lnTo>
                  <a:pt x="4241" y="4054"/>
                </a:lnTo>
                <a:lnTo>
                  <a:pt x="4254" y="4031"/>
                </a:lnTo>
                <a:lnTo>
                  <a:pt x="4265" y="4008"/>
                </a:lnTo>
                <a:lnTo>
                  <a:pt x="4277" y="3984"/>
                </a:lnTo>
                <a:lnTo>
                  <a:pt x="4287" y="3958"/>
                </a:lnTo>
                <a:lnTo>
                  <a:pt x="4296" y="3932"/>
                </a:lnTo>
                <a:lnTo>
                  <a:pt x="4303" y="3906"/>
                </a:lnTo>
                <a:lnTo>
                  <a:pt x="4309" y="3879"/>
                </a:lnTo>
                <a:lnTo>
                  <a:pt x="4314" y="3853"/>
                </a:lnTo>
                <a:lnTo>
                  <a:pt x="4317" y="3825"/>
                </a:lnTo>
                <a:lnTo>
                  <a:pt x="4320" y="3797"/>
                </a:lnTo>
                <a:lnTo>
                  <a:pt x="4320" y="3769"/>
                </a:lnTo>
                <a:lnTo>
                  <a:pt x="4320" y="3769"/>
                </a:lnTo>
                <a:lnTo>
                  <a:pt x="4319" y="3727"/>
                </a:lnTo>
                <a:lnTo>
                  <a:pt x="4314" y="3685"/>
                </a:lnTo>
                <a:lnTo>
                  <a:pt x="4306" y="3645"/>
                </a:lnTo>
                <a:lnTo>
                  <a:pt x="4296" y="3606"/>
                </a:lnTo>
                <a:lnTo>
                  <a:pt x="4283" y="3567"/>
                </a:lnTo>
                <a:lnTo>
                  <a:pt x="4267" y="3532"/>
                </a:lnTo>
                <a:lnTo>
                  <a:pt x="4248" y="3496"/>
                </a:lnTo>
                <a:lnTo>
                  <a:pt x="4227" y="3463"/>
                </a:lnTo>
                <a:lnTo>
                  <a:pt x="4204" y="3430"/>
                </a:lnTo>
                <a:lnTo>
                  <a:pt x="4178" y="3399"/>
                </a:lnTo>
                <a:lnTo>
                  <a:pt x="4151" y="3372"/>
                </a:lnTo>
                <a:lnTo>
                  <a:pt x="4122" y="3345"/>
                </a:lnTo>
                <a:lnTo>
                  <a:pt x="4090" y="3320"/>
                </a:lnTo>
                <a:lnTo>
                  <a:pt x="4057" y="3299"/>
                </a:lnTo>
                <a:lnTo>
                  <a:pt x="4023" y="3279"/>
                </a:lnTo>
                <a:lnTo>
                  <a:pt x="3987" y="3262"/>
                </a:lnTo>
                <a:lnTo>
                  <a:pt x="3987" y="3262"/>
                </a:lnTo>
                <a:close/>
                <a:moveTo>
                  <a:pt x="869" y="3769"/>
                </a:moveTo>
                <a:lnTo>
                  <a:pt x="869" y="3769"/>
                </a:lnTo>
                <a:lnTo>
                  <a:pt x="867" y="3802"/>
                </a:lnTo>
                <a:lnTo>
                  <a:pt x="863" y="3833"/>
                </a:lnTo>
                <a:lnTo>
                  <a:pt x="855" y="3863"/>
                </a:lnTo>
                <a:lnTo>
                  <a:pt x="844" y="3892"/>
                </a:lnTo>
                <a:lnTo>
                  <a:pt x="832" y="3921"/>
                </a:lnTo>
                <a:lnTo>
                  <a:pt x="816" y="3947"/>
                </a:lnTo>
                <a:lnTo>
                  <a:pt x="797" y="3971"/>
                </a:lnTo>
                <a:lnTo>
                  <a:pt x="777" y="3994"/>
                </a:lnTo>
                <a:lnTo>
                  <a:pt x="754" y="4014"/>
                </a:lnTo>
                <a:lnTo>
                  <a:pt x="730" y="4033"/>
                </a:lnTo>
                <a:lnTo>
                  <a:pt x="702" y="4049"/>
                </a:lnTo>
                <a:lnTo>
                  <a:pt x="675" y="4061"/>
                </a:lnTo>
                <a:lnTo>
                  <a:pt x="646" y="4073"/>
                </a:lnTo>
                <a:lnTo>
                  <a:pt x="616" y="4080"/>
                </a:lnTo>
                <a:lnTo>
                  <a:pt x="585" y="4086"/>
                </a:lnTo>
                <a:lnTo>
                  <a:pt x="551" y="4087"/>
                </a:lnTo>
                <a:lnTo>
                  <a:pt x="551" y="4087"/>
                </a:lnTo>
                <a:lnTo>
                  <a:pt x="518" y="4086"/>
                </a:lnTo>
                <a:lnTo>
                  <a:pt x="487" y="4080"/>
                </a:lnTo>
                <a:lnTo>
                  <a:pt x="457" y="4073"/>
                </a:lnTo>
                <a:lnTo>
                  <a:pt x="428" y="4061"/>
                </a:lnTo>
                <a:lnTo>
                  <a:pt x="399" y="4049"/>
                </a:lnTo>
                <a:lnTo>
                  <a:pt x="373" y="4033"/>
                </a:lnTo>
                <a:lnTo>
                  <a:pt x="349" y="4014"/>
                </a:lnTo>
                <a:lnTo>
                  <a:pt x="326" y="3994"/>
                </a:lnTo>
                <a:lnTo>
                  <a:pt x="306" y="3971"/>
                </a:lnTo>
                <a:lnTo>
                  <a:pt x="287" y="3947"/>
                </a:lnTo>
                <a:lnTo>
                  <a:pt x="271" y="3921"/>
                </a:lnTo>
                <a:lnTo>
                  <a:pt x="259" y="3892"/>
                </a:lnTo>
                <a:lnTo>
                  <a:pt x="247" y="3863"/>
                </a:lnTo>
                <a:lnTo>
                  <a:pt x="240" y="3833"/>
                </a:lnTo>
                <a:lnTo>
                  <a:pt x="234" y="3802"/>
                </a:lnTo>
                <a:lnTo>
                  <a:pt x="233" y="3769"/>
                </a:lnTo>
                <a:lnTo>
                  <a:pt x="233" y="3769"/>
                </a:lnTo>
                <a:lnTo>
                  <a:pt x="234" y="3735"/>
                </a:lnTo>
                <a:lnTo>
                  <a:pt x="240" y="3704"/>
                </a:lnTo>
                <a:lnTo>
                  <a:pt x="247" y="3674"/>
                </a:lnTo>
                <a:lnTo>
                  <a:pt x="259" y="3645"/>
                </a:lnTo>
                <a:lnTo>
                  <a:pt x="271" y="3616"/>
                </a:lnTo>
                <a:lnTo>
                  <a:pt x="287" y="3590"/>
                </a:lnTo>
                <a:lnTo>
                  <a:pt x="306" y="3566"/>
                </a:lnTo>
                <a:lnTo>
                  <a:pt x="326" y="3543"/>
                </a:lnTo>
                <a:lnTo>
                  <a:pt x="349" y="3523"/>
                </a:lnTo>
                <a:lnTo>
                  <a:pt x="373" y="3504"/>
                </a:lnTo>
                <a:lnTo>
                  <a:pt x="399" y="3488"/>
                </a:lnTo>
                <a:lnTo>
                  <a:pt x="428" y="3476"/>
                </a:lnTo>
                <a:lnTo>
                  <a:pt x="457" y="3465"/>
                </a:lnTo>
                <a:lnTo>
                  <a:pt x="487" y="3457"/>
                </a:lnTo>
                <a:lnTo>
                  <a:pt x="518" y="3453"/>
                </a:lnTo>
                <a:lnTo>
                  <a:pt x="551" y="3451"/>
                </a:lnTo>
                <a:lnTo>
                  <a:pt x="551" y="3451"/>
                </a:lnTo>
                <a:lnTo>
                  <a:pt x="585" y="3453"/>
                </a:lnTo>
                <a:lnTo>
                  <a:pt x="616" y="3457"/>
                </a:lnTo>
                <a:lnTo>
                  <a:pt x="646" y="3465"/>
                </a:lnTo>
                <a:lnTo>
                  <a:pt x="675" y="3476"/>
                </a:lnTo>
                <a:lnTo>
                  <a:pt x="702" y="3488"/>
                </a:lnTo>
                <a:lnTo>
                  <a:pt x="730" y="3504"/>
                </a:lnTo>
                <a:lnTo>
                  <a:pt x="754" y="3523"/>
                </a:lnTo>
                <a:lnTo>
                  <a:pt x="777" y="3543"/>
                </a:lnTo>
                <a:lnTo>
                  <a:pt x="797" y="3566"/>
                </a:lnTo>
                <a:lnTo>
                  <a:pt x="816" y="3590"/>
                </a:lnTo>
                <a:lnTo>
                  <a:pt x="832" y="3616"/>
                </a:lnTo>
                <a:lnTo>
                  <a:pt x="844" y="3645"/>
                </a:lnTo>
                <a:lnTo>
                  <a:pt x="855" y="3674"/>
                </a:lnTo>
                <a:lnTo>
                  <a:pt x="863" y="3704"/>
                </a:lnTo>
                <a:lnTo>
                  <a:pt x="867" y="3735"/>
                </a:lnTo>
                <a:lnTo>
                  <a:pt x="869" y="3769"/>
                </a:lnTo>
                <a:lnTo>
                  <a:pt x="869" y="3769"/>
                </a:lnTo>
                <a:close/>
                <a:moveTo>
                  <a:pt x="1841" y="551"/>
                </a:moveTo>
                <a:lnTo>
                  <a:pt x="1841" y="551"/>
                </a:lnTo>
                <a:lnTo>
                  <a:pt x="1844" y="518"/>
                </a:lnTo>
                <a:lnTo>
                  <a:pt x="1848" y="487"/>
                </a:lnTo>
                <a:lnTo>
                  <a:pt x="1856" y="457"/>
                </a:lnTo>
                <a:lnTo>
                  <a:pt x="1867" y="428"/>
                </a:lnTo>
                <a:lnTo>
                  <a:pt x="1880" y="399"/>
                </a:lnTo>
                <a:lnTo>
                  <a:pt x="1896" y="373"/>
                </a:lnTo>
                <a:lnTo>
                  <a:pt x="1914" y="349"/>
                </a:lnTo>
                <a:lnTo>
                  <a:pt x="1935" y="326"/>
                </a:lnTo>
                <a:lnTo>
                  <a:pt x="1958" y="306"/>
                </a:lnTo>
                <a:lnTo>
                  <a:pt x="1982" y="287"/>
                </a:lnTo>
                <a:lnTo>
                  <a:pt x="2008" y="271"/>
                </a:lnTo>
                <a:lnTo>
                  <a:pt x="2036" y="259"/>
                </a:lnTo>
                <a:lnTo>
                  <a:pt x="2065" y="247"/>
                </a:lnTo>
                <a:lnTo>
                  <a:pt x="2095" y="240"/>
                </a:lnTo>
                <a:lnTo>
                  <a:pt x="2127" y="234"/>
                </a:lnTo>
                <a:lnTo>
                  <a:pt x="2160" y="233"/>
                </a:lnTo>
                <a:lnTo>
                  <a:pt x="2160" y="233"/>
                </a:lnTo>
                <a:lnTo>
                  <a:pt x="2193" y="234"/>
                </a:lnTo>
                <a:lnTo>
                  <a:pt x="2225" y="240"/>
                </a:lnTo>
                <a:lnTo>
                  <a:pt x="2255" y="247"/>
                </a:lnTo>
                <a:lnTo>
                  <a:pt x="2284" y="259"/>
                </a:lnTo>
                <a:lnTo>
                  <a:pt x="2312" y="271"/>
                </a:lnTo>
                <a:lnTo>
                  <a:pt x="2338" y="287"/>
                </a:lnTo>
                <a:lnTo>
                  <a:pt x="2363" y="306"/>
                </a:lnTo>
                <a:lnTo>
                  <a:pt x="2385" y="326"/>
                </a:lnTo>
                <a:lnTo>
                  <a:pt x="2406" y="349"/>
                </a:lnTo>
                <a:lnTo>
                  <a:pt x="2424" y="373"/>
                </a:lnTo>
                <a:lnTo>
                  <a:pt x="2440" y="399"/>
                </a:lnTo>
                <a:lnTo>
                  <a:pt x="2453" y="428"/>
                </a:lnTo>
                <a:lnTo>
                  <a:pt x="2464" y="457"/>
                </a:lnTo>
                <a:lnTo>
                  <a:pt x="2472" y="487"/>
                </a:lnTo>
                <a:lnTo>
                  <a:pt x="2476" y="518"/>
                </a:lnTo>
                <a:lnTo>
                  <a:pt x="2479" y="551"/>
                </a:lnTo>
                <a:lnTo>
                  <a:pt x="2479" y="551"/>
                </a:lnTo>
                <a:lnTo>
                  <a:pt x="2476" y="585"/>
                </a:lnTo>
                <a:lnTo>
                  <a:pt x="2472" y="616"/>
                </a:lnTo>
                <a:lnTo>
                  <a:pt x="2464" y="646"/>
                </a:lnTo>
                <a:lnTo>
                  <a:pt x="2453" y="675"/>
                </a:lnTo>
                <a:lnTo>
                  <a:pt x="2440" y="704"/>
                </a:lnTo>
                <a:lnTo>
                  <a:pt x="2424" y="730"/>
                </a:lnTo>
                <a:lnTo>
                  <a:pt x="2406" y="754"/>
                </a:lnTo>
                <a:lnTo>
                  <a:pt x="2385" y="777"/>
                </a:lnTo>
                <a:lnTo>
                  <a:pt x="2363" y="797"/>
                </a:lnTo>
                <a:lnTo>
                  <a:pt x="2338" y="816"/>
                </a:lnTo>
                <a:lnTo>
                  <a:pt x="2312" y="832"/>
                </a:lnTo>
                <a:lnTo>
                  <a:pt x="2284" y="844"/>
                </a:lnTo>
                <a:lnTo>
                  <a:pt x="2255" y="855"/>
                </a:lnTo>
                <a:lnTo>
                  <a:pt x="2225" y="863"/>
                </a:lnTo>
                <a:lnTo>
                  <a:pt x="2193" y="867"/>
                </a:lnTo>
                <a:lnTo>
                  <a:pt x="2160" y="869"/>
                </a:lnTo>
                <a:lnTo>
                  <a:pt x="2160" y="869"/>
                </a:lnTo>
                <a:lnTo>
                  <a:pt x="2127" y="867"/>
                </a:lnTo>
                <a:lnTo>
                  <a:pt x="2095" y="863"/>
                </a:lnTo>
                <a:lnTo>
                  <a:pt x="2065" y="855"/>
                </a:lnTo>
                <a:lnTo>
                  <a:pt x="2036" y="844"/>
                </a:lnTo>
                <a:lnTo>
                  <a:pt x="2008" y="832"/>
                </a:lnTo>
                <a:lnTo>
                  <a:pt x="1982" y="816"/>
                </a:lnTo>
                <a:lnTo>
                  <a:pt x="1958" y="797"/>
                </a:lnTo>
                <a:lnTo>
                  <a:pt x="1935" y="777"/>
                </a:lnTo>
                <a:lnTo>
                  <a:pt x="1914" y="754"/>
                </a:lnTo>
                <a:lnTo>
                  <a:pt x="1896" y="730"/>
                </a:lnTo>
                <a:lnTo>
                  <a:pt x="1880" y="704"/>
                </a:lnTo>
                <a:lnTo>
                  <a:pt x="1867" y="675"/>
                </a:lnTo>
                <a:lnTo>
                  <a:pt x="1856" y="646"/>
                </a:lnTo>
                <a:lnTo>
                  <a:pt x="1848" y="616"/>
                </a:lnTo>
                <a:lnTo>
                  <a:pt x="1844" y="585"/>
                </a:lnTo>
                <a:lnTo>
                  <a:pt x="1841" y="551"/>
                </a:lnTo>
                <a:lnTo>
                  <a:pt x="1841" y="551"/>
                </a:lnTo>
                <a:close/>
                <a:moveTo>
                  <a:pt x="2479" y="3769"/>
                </a:moveTo>
                <a:lnTo>
                  <a:pt x="2479" y="3769"/>
                </a:lnTo>
                <a:lnTo>
                  <a:pt x="2476" y="3802"/>
                </a:lnTo>
                <a:lnTo>
                  <a:pt x="2472" y="3833"/>
                </a:lnTo>
                <a:lnTo>
                  <a:pt x="2464" y="3863"/>
                </a:lnTo>
                <a:lnTo>
                  <a:pt x="2453" y="3892"/>
                </a:lnTo>
                <a:lnTo>
                  <a:pt x="2440" y="3921"/>
                </a:lnTo>
                <a:lnTo>
                  <a:pt x="2424" y="3947"/>
                </a:lnTo>
                <a:lnTo>
                  <a:pt x="2406" y="3971"/>
                </a:lnTo>
                <a:lnTo>
                  <a:pt x="2385" y="3994"/>
                </a:lnTo>
                <a:lnTo>
                  <a:pt x="2363" y="4014"/>
                </a:lnTo>
                <a:lnTo>
                  <a:pt x="2338" y="4033"/>
                </a:lnTo>
                <a:lnTo>
                  <a:pt x="2312" y="4049"/>
                </a:lnTo>
                <a:lnTo>
                  <a:pt x="2284" y="4061"/>
                </a:lnTo>
                <a:lnTo>
                  <a:pt x="2255" y="4073"/>
                </a:lnTo>
                <a:lnTo>
                  <a:pt x="2225" y="4080"/>
                </a:lnTo>
                <a:lnTo>
                  <a:pt x="2193" y="4086"/>
                </a:lnTo>
                <a:lnTo>
                  <a:pt x="2160" y="4087"/>
                </a:lnTo>
                <a:lnTo>
                  <a:pt x="2160" y="4087"/>
                </a:lnTo>
                <a:lnTo>
                  <a:pt x="2127" y="4086"/>
                </a:lnTo>
                <a:lnTo>
                  <a:pt x="2095" y="4080"/>
                </a:lnTo>
                <a:lnTo>
                  <a:pt x="2065" y="4073"/>
                </a:lnTo>
                <a:lnTo>
                  <a:pt x="2036" y="4061"/>
                </a:lnTo>
                <a:lnTo>
                  <a:pt x="2008" y="4049"/>
                </a:lnTo>
                <a:lnTo>
                  <a:pt x="1982" y="4033"/>
                </a:lnTo>
                <a:lnTo>
                  <a:pt x="1958" y="4014"/>
                </a:lnTo>
                <a:lnTo>
                  <a:pt x="1935" y="3994"/>
                </a:lnTo>
                <a:lnTo>
                  <a:pt x="1914" y="3971"/>
                </a:lnTo>
                <a:lnTo>
                  <a:pt x="1896" y="3947"/>
                </a:lnTo>
                <a:lnTo>
                  <a:pt x="1880" y="3921"/>
                </a:lnTo>
                <a:lnTo>
                  <a:pt x="1867" y="3892"/>
                </a:lnTo>
                <a:lnTo>
                  <a:pt x="1856" y="3863"/>
                </a:lnTo>
                <a:lnTo>
                  <a:pt x="1848" y="3833"/>
                </a:lnTo>
                <a:lnTo>
                  <a:pt x="1844" y="3802"/>
                </a:lnTo>
                <a:lnTo>
                  <a:pt x="1841" y="3769"/>
                </a:lnTo>
                <a:lnTo>
                  <a:pt x="1841" y="3769"/>
                </a:lnTo>
                <a:lnTo>
                  <a:pt x="1844" y="3735"/>
                </a:lnTo>
                <a:lnTo>
                  <a:pt x="1848" y="3704"/>
                </a:lnTo>
                <a:lnTo>
                  <a:pt x="1856" y="3674"/>
                </a:lnTo>
                <a:lnTo>
                  <a:pt x="1867" y="3645"/>
                </a:lnTo>
                <a:lnTo>
                  <a:pt x="1880" y="3616"/>
                </a:lnTo>
                <a:lnTo>
                  <a:pt x="1896" y="3590"/>
                </a:lnTo>
                <a:lnTo>
                  <a:pt x="1914" y="3566"/>
                </a:lnTo>
                <a:lnTo>
                  <a:pt x="1935" y="3543"/>
                </a:lnTo>
                <a:lnTo>
                  <a:pt x="1958" y="3523"/>
                </a:lnTo>
                <a:lnTo>
                  <a:pt x="1982" y="3504"/>
                </a:lnTo>
                <a:lnTo>
                  <a:pt x="2008" y="3488"/>
                </a:lnTo>
                <a:lnTo>
                  <a:pt x="2036" y="3476"/>
                </a:lnTo>
                <a:lnTo>
                  <a:pt x="2065" y="3465"/>
                </a:lnTo>
                <a:lnTo>
                  <a:pt x="2095" y="3457"/>
                </a:lnTo>
                <a:lnTo>
                  <a:pt x="2127" y="3453"/>
                </a:lnTo>
                <a:lnTo>
                  <a:pt x="2160" y="3451"/>
                </a:lnTo>
                <a:lnTo>
                  <a:pt x="2160" y="3451"/>
                </a:lnTo>
                <a:lnTo>
                  <a:pt x="2193" y="3453"/>
                </a:lnTo>
                <a:lnTo>
                  <a:pt x="2225" y="3457"/>
                </a:lnTo>
                <a:lnTo>
                  <a:pt x="2255" y="3465"/>
                </a:lnTo>
                <a:lnTo>
                  <a:pt x="2284" y="3476"/>
                </a:lnTo>
                <a:lnTo>
                  <a:pt x="2312" y="3488"/>
                </a:lnTo>
                <a:lnTo>
                  <a:pt x="2338" y="3504"/>
                </a:lnTo>
                <a:lnTo>
                  <a:pt x="2363" y="3523"/>
                </a:lnTo>
                <a:lnTo>
                  <a:pt x="2385" y="3543"/>
                </a:lnTo>
                <a:lnTo>
                  <a:pt x="2406" y="3566"/>
                </a:lnTo>
                <a:lnTo>
                  <a:pt x="2424" y="3590"/>
                </a:lnTo>
                <a:lnTo>
                  <a:pt x="2440" y="3616"/>
                </a:lnTo>
                <a:lnTo>
                  <a:pt x="2453" y="3645"/>
                </a:lnTo>
                <a:lnTo>
                  <a:pt x="2464" y="3674"/>
                </a:lnTo>
                <a:lnTo>
                  <a:pt x="2472" y="3704"/>
                </a:lnTo>
                <a:lnTo>
                  <a:pt x="2476" y="3735"/>
                </a:lnTo>
                <a:lnTo>
                  <a:pt x="2479" y="3769"/>
                </a:lnTo>
                <a:lnTo>
                  <a:pt x="2479" y="3769"/>
                </a:lnTo>
                <a:close/>
                <a:moveTo>
                  <a:pt x="3769" y="4087"/>
                </a:moveTo>
                <a:lnTo>
                  <a:pt x="3769" y="4087"/>
                </a:lnTo>
                <a:lnTo>
                  <a:pt x="3735" y="4086"/>
                </a:lnTo>
                <a:lnTo>
                  <a:pt x="3704" y="4080"/>
                </a:lnTo>
                <a:lnTo>
                  <a:pt x="3674" y="4073"/>
                </a:lnTo>
                <a:lnTo>
                  <a:pt x="3645" y="4061"/>
                </a:lnTo>
                <a:lnTo>
                  <a:pt x="3618" y="4049"/>
                </a:lnTo>
                <a:lnTo>
                  <a:pt x="3590" y="4033"/>
                </a:lnTo>
                <a:lnTo>
                  <a:pt x="3566" y="4014"/>
                </a:lnTo>
                <a:lnTo>
                  <a:pt x="3543" y="3994"/>
                </a:lnTo>
                <a:lnTo>
                  <a:pt x="3523" y="3971"/>
                </a:lnTo>
                <a:lnTo>
                  <a:pt x="3504" y="3947"/>
                </a:lnTo>
                <a:lnTo>
                  <a:pt x="3488" y="3921"/>
                </a:lnTo>
                <a:lnTo>
                  <a:pt x="3476" y="3892"/>
                </a:lnTo>
                <a:lnTo>
                  <a:pt x="3465" y="3863"/>
                </a:lnTo>
                <a:lnTo>
                  <a:pt x="3457" y="3833"/>
                </a:lnTo>
                <a:lnTo>
                  <a:pt x="3453" y="3802"/>
                </a:lnTo>
                <a:lnTo>
                  <a:pt x="3451" y="3769"/>
                </a:lnTo>
                <a:lnTo>
                  <a:pt x="3451" y="3769"/>
                </a:lnTo>
                <a:lnTo>
                  <a:pt x="3453" y="3735"/>
                </a:lnTo>
                <a:lnTo>
                  <a:pt x="3457" y="3704"/>
                </a:lnTo>
                <a:lnTo>
                  <a:pt x="3465" y="3674"/>
                </a:lnTo>
                <a:lnTo>
                  <a:pt x="3476" y="3645"/>
                </a:lnTo>
                <a:lnTo>
                  <a:pt x="3488" y="3616"/>
                </a:lnTo>
                <a:lnTo>
                  <a:pt x="3504" y="3590"/>
                </a:lnTo>
                <a:lnTo>
                  <a:pt x="3523" y="3566"/>
                </a:lnTo>
                <a:lnTo>
                  <a:pt x="3543" y="3543"/>
                </a:lnTo>
                <a:lnTo>
                  <a:pt x="3566" y="3523"/>
                </a:lnTo>
                <a:lnTo>
                  <a:pt x="3590" y="3504"/>
                </a:lnTo>
                <a:lnTo>
                  <a:pt x="3618" y="3488"/>
                </a:lnTo>
                <a:lnTo>
                  <a:pt x="3645" y="3476"/>
                </a:lnTo>
                <a:lnTo>
                  <a:pt x="3674" y="3465"/>
                </a:lnTo>
                <a:lnTo>
                  <a:pt x="3704" y="3457"/>
                </a:lnTo>
                <a:lnTo>
                  <a:pt x="3735" y="3453"/>
                </a:lnTo>
                <a:lnTo>
                  <a:pt x="3769" y="3451"/>
                </a:lnTo>
                <a:lnTo>
                  <a:pt x="3769" y="3451"/>
                </a:lnTo>
                <a:lnTo>
                  <a:pt x="3802" y="3453"/>
                </a:lnTo>
                <a:lnTo>
                  <a:pt x="3833" y="3457"/>
                </a:lnTo>
                <a:lnTo>
                  <a:pt x="3863" y="3465"/>
                </a:lnTo>
                <a:lnTo>
                  <a:pt x="3892" y="3476"/>
                </a:lnTo>
                <a:lnTo>
                  <a:pt x="3921" y="3488"/>
                </a:lnTo>
                <a:lnTo>
                  <a:pt x="3947" y="3504"/>
                </a:lnTo>
                <a:lnTo>
                  <a:pt x="3971" y="3523"/>
                </a:lnTo>
                <a:lnTo>
                  <a:pt x="3994" y="3543"/>
                </a:lnTo>
                <a:lnTo>
                  <a:pt x="4014" y="3566"/>
                </a:lnTo>
                <a:lnTo>
                  <a:pt x="4033" y="3590"/>
                </a:lnTo>
                <a:lnTo>
                  <a:pt x="4049" y="3616"/>
                </a:lnTo>
                <a:lnTo>
                  <a:pt x="4061" y="3645"/>
                </a:lnTo>
                <a:lnTo>
                  <a:pt x="4073" y="3674"/>
                </a:lnTo>
                <a:lnTo>
                  <a:pt x="4080" y="3704"/>
                </a:lnTo>
                <a:lnTo>
                  <a:pt x="4086" y="3735"/>
                </a:lnTo>
                <a:lnTo>
                  <a:pt x="4087" y="3769"/>
                </a:lnTo>
                <a:lnTo>
                  <a:pt x="4087" y="3769"/>
                </a:lnTo>
                <a:lnTo>
                  <a:pt x="4086" y="3802"/>
                </a:lnTo>
                <a:lnTo>
                  <a:pt x="4080" y="3833"/>
                </a:lnTo>
                <a:lnTo>
                  <a:pt x="4073" y="3863"/>
                </a:lnTo>
                <a:lnTo>
                  <a:pt x="4061" y="3892"/>
                </a:lnTo>
                <a:lnTo>
                  <a:pt x="4049" y="3921"/>
                </a:lnTo>
                <a:lnTo>
                  <a:pt x="4033" y="3947"/>
                </a:lnTo>
                <a:lnTo>
                  <a:pt x="4014" y="3971"/>
                </a:lnTo>
                <a:lnTo>
                  <a:pt x="3994" y="3994"/>
                </a:lnTo>
                <a:lnTo>
                  <a:pt x="3971" y="4014"/>
                </a:lnTo>
                <a:lnTo>
                  <a:pt x="3947" y="4033"/>
                </a:lnTo>
                <a:lnTo>
                  <a:pt x="3921" y="4049"/>
                </a:lnTo>
                <a:lnTo>
                  <a:pt x="3892" y="4061"/>
                </a:lnTo>
                <a:lnTo>
                  <a:pt x="3863" y="4073"/>
                </a:lnTo>
                <a:lnTo>
                  <a:pt x="3833" y="4080"/>
                </a:lnTo>
                <a:lnTo>
                  <a:pt x="3802" y="4086"/>
                </a:lnTo>
                <a:lnTo>
                  <a:pt x="3769" y="4087"/>
                </a:lnTo>
                <a:lnTo>
                  <a:pt x="3769" y="4087"/>
                </a:lnTo>
                <a:close/>
              </a:path>
            </a:pathLst>
          </a:custGeom>
          <a:solidFill>
            <a:schemeClr val="bg1"/>
          </a:solidFill>
          <a:ln>
            <a:noFill/>
          </a:ln>
        </p:spPr>
        <p:txBody>
          <a:bodyPr vert="horz" wrap="square" lIns="91412" tIns="45706" rIns="91412" bIns="45706" numCol="1" anchor="t" anchorCtr="0" compatLnSpc="1">
            <a:prstTxWarp prst="textNoShape">
              <a:avLst/>
            </a:prstTxWarp>
          </a:bodyPr>
          <a:lstStyle/>
          <a:p>
            <a:pPr defTabSz="914103">
              <a:defRPr/>
            </a:pPr>
            <a:endParaRPr lang="en-US" kern="0" dirty="0">
              <a:solidFill>
                <a:srgbClr val="FFFFFF"/>
              </a:solidFill>
              <a:latin typeface="+mj-lt"/>
            </a:endParaRPr>
          </a:p>
        </p:txBody>
      </p:sp>
      <p:sp>
        <p:nvSpPr>
          <p:cNvPr id="641" name="Rectangle 640"/>
          <p:cNvSpPr/>
          <p:nvPr/>
        </p:nvSpPr>
        <p:spPr>
          <a:xfrm>
            <a:off x="6715870" y="1758209"/>
            <a:ext cx="20918" cy="349773"/>
          </a:xfrm>
          <a:prstGeom prst="rect">
            <a:avLst/>
          </a:prstGeom>
          <a:gradFill>
            <a:gsLst>
              <a:gs pos="0">
                <a:srgbClr val="BCB09E">
                  <a:alpha val="65000"/>
                </a:srgbClr>
              </a:gs>
              <a:gs pos="54000">
                <a:srgbClr val="565595"/>
              </a:gs>
            </a:gsLst>
            <a:lin ang="5400000" scaled="0"/>
          </a:gradFill>
          <a:ln w="25400" cap="flat" cmpd="sng" algn="ctr">
            <a:no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28" name="Freeform 27"/>
          <p:cNvSpPr>
            <a:spLocks/>
          </p:cNvSpPr>
          <p:nvPr/>
        </p:nvSpPr>
        <p:spPr bwMode="auto">
          <a:xfrm>
            <a:off x="6376215" y="1834233"/>
            <a:ext cx="703953" cy="601596"/>
          </a:xfrm>
          <a:custGeom>
            <a:avLst/>
            <a:gdLst>
              <a:gd name="connsiteX0" fmla="*/ 0 w 750924"/>
              <a:gd name="connsiteY0" fmla="*/ 0 h 644253"/>
              <a:gd name="connsiteX1" fmla="*/ 750924 w 750924"/>
              <a:gd name="connsiteY1" fmla="*/ 0 h 644253"/>
              <a:gd name="connsiteX2" fmla="*/ 750924 w 750924"/>
              <a:gd name="connsiteY2" fmla="*/ 637175 h 644253"/>
              <a:gd name="connsiteX3" fmla="*/ 562963 w 750924"/>
              <a:gd name="connsiteY3" fmla="*/ 637765 h 644253"/>
              <a:gd name="connsiteX4" fmla="*/ 375462 w 750924"/>
              <a:gd name="connsiteY4" fmla="*/ 638945 h 644253"/>
              <a:gd name="connsiteX5" fmla="*/ 187042 w 750924"/>
              <a:gd name="connsiteY5" fmla="*/ 641894 h 644253"/>
              <a:gd name="connsiteX6" fmla="*/ 0 w 750924"/>
              <a:gd name="connsiteY6" fmla="*/ 644253 h 644253"/>
              <a:gd name="connsiteX7" fmla="*/ 0 w 750924"/>
              <a:gd name="connsiteY7" fmla="*/ 0 h 64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0924" h="644253">
                <a:moveTo>
                  <a:pt x="0" y="0"/>
                </a:moveTo>
                <a:lnTo>
                  <a:pt x="750924" y="0"/>
                </a:lnTo>
                <a:lnTo>
                  <a:pt x="750924" y="637175"/>
                </a:lnTo>
                <a:lnTo>
                  <a:pt x="562963" y="637765"/>
                </a:lnTo>
                <a:lnTo>
                  <a:pt x="375462" y="638945"/>
                </a:lnTo>
                <a:lnTo>
                  <a:pt x="187042" y="641894"/>
                </a:lnTo>
                <a:lnTo>
                  <a:pt x="0" y="644253"/>
                </a:lnTo>
                <a:lnTo>
                  <a:pt x="0" y="0"/>
                </a:lnTo>
                <a:close/>
              </a:path>
            </a:pathLst>
          </a:custGeom>
          <a:solidFill>
            <a:schemeClr val="accent6">
              <a:lumMod val="60000"/>
              <a:lumOff val="40000"/>
            </a:schemeClr>
          </a:solidFill>
          <a:ln>
            <a:noFill/>
          </a:ln>
        </p:spPr>
        <p:txBody>
          <a:bodyPr vert="horz" wrap="square" lIns="0" tIns="91436" rIns="0" bIns="0" numCol="1" anchor="t" anchorCtr="0" compatLnSpc="1">
            <a:prstTxWarp prst="textNoShape">
              <a:avLst/>
            </a:prstTxWarp>
            <a:noAutofit/>
          </a:bodyPr>
          <a:lstStyle/>
          <a:p>
            <a:pPr algn="ctr" defTabSz="914103">
              <a:defRPr/>
            </a:pPr>
            <a:r>
              <a:rPr lang="en-US" sz="900" kern="0" dirty="0" smtClean="0">
                <a:solidFill>
                  <a:schemeClr val="bg1"/>
                </a:solidFill>
                <a:latin typeface="+mj-lt"/>
              </a:rPr>
              <a:t>DLP</a:t>
            </a:r>
            <a:endParaRPr lang="en-US" sz="900" kern="0" dirty="0">
              <a:solidFill>
                <a:schemeClr val="bg1"/>
              </a:solidFill>
              <a:latin typeface="+mj-lt"/>
            </a:endParaRPr>
          </a:p>
        </p:txBody>
      </p:sp>
      <p:grpSp>
        <p:nvGrpSpPr>
          <p:cNvPr id="788" name="Group 525"/>
          <p:cNvGrpSpPr/>
          <p:nvPr/>
        </p:nvGrpSpPr>
        <p:grpSpPr>
          <a:xfrm>
            <a:off x="6657446" y="2205848"/>
            <a:ext cx="163124" cy="178578"/>
            <a:chOff x="5059330" y="7098673"/>
            <a:chExt cx="742341" cy="812665"/>
          </a:xfrm>
          <a:solidFill>
            <a:schemeClr val="bg1"/>
          </a:solidFill>
        </p:grpSpPr>
        <p:sp>
          <p:nvSpPr>
            <p:cNvPr id="527" name="Freeform 19"/>
            <p:cNvSpPr>
              <a:spLocks noChangeAspect="1" noEditPoints="1"/>
            </p:cNvSpPr>
            <p:nvPr/>
          </p:nvSpPr>
          <p:spPr bwMode="auto">
            <a:xfrm>
              <a:off x="5059330" y="7384519"/>
              <a:ext cx="409969" cy="526816"/>
            </a:xfrm>
            <a:custGeom>
              <a:avLst/>
              <a:gdLst>
                <a:gd name="T0" fmla="*/ 1252 w 1449"/>
                <a:gd name="T1" fmla="*/ 501 h 1860"/>
                <a:gd name="T2" fmla="*/ 1229 w 1449"/>
                <a:gd name="T3" fmla="*/ 372 h 1860"/>
                <a:gd name="T4" fmla="*/ 1176 w 1449"/>
                <a:gd name="T5" fmla="*/ 254 h 1860"/>
                <a:gd name="T6" fmla="*/ 1098 w 1449"/>
                <a:gd name="T7" fmla="*/ 155 h 1860"/>
                <a:gd name="T8" fmla="*/ 999 w 1449"/>
                <a:gd name="T9" fmla="*/ 77 h 1860"/>
                <a:gd name="T10" fmla="*/ 881 w 1449"/>
                <a:gd name="T11" fmla="*/ 24 h 1860"/>
                <a:gd name="T12" fmla="*/ 752 w 1449"/>
                <a:gd name="T13" fmla="*/ 1 h 1860"/>
                <a:gd name="T14" fmla="*/ 645 w 1449"/>
                <a:gd name="T15" fmla="*/ 6 h 1860"/>
                <a:gd name="T16" fmla="*/ 519 w 1449"/>
                <a:gd name="T17" fmla="*/ 42 h 1860"/>
                <a:gd name="T18" fmla="*/ 409 w 1449"/>
                <a:gd name="T19" fmla="*/ 105 h 1860"/>
                <a:gd name="T20" fmla="*/ 317 w 1449"/>
                <a:gd name="T21" fmla="*/ 193 h 1860"/>
                <a:gd name="T22" fmla="*/ 249 w 1449"/>
                <a:gd name="T23" fmla="*/ 299 h 1860"/>
                <a:gd name="T24" fmla="*/ 207 w 1449"/>
                <a:gd name="T25" fmla="*/ 422 h 1860"/>
                <a:gd name="T26" fmla="*/ 197 w 1449"/>
                <a:gd name="T27" fmla="*/ 781 h 1860"/>
                <a:gd name="T28" fmla="*/ 21 w 1449"/>
                <a:gd name="T29" fmla="*/ 789 h 1860"/>
                <a:gd name="T30" fmla="*/ 0 w 1449"/>
                <a:gd name="T31" fmla="*/ 827 h 1860"/>
                <a:gd name="T32" fmla="*/ 10 w 1449"/>
                <a:gd name="T33" fmla="*/ 1698 h 1860"/>
                <a:gd name="T34" fmla="*/ 69 w 1449"/>
                <a:gd name="T35" fmla="*/ 1792 h 1860"/>
                <a:gd name="T36" fmla="*/ 163 w 1449"/>
                <a:gd name="T37" fmla="*/ 1850 h 1860"/>
                <a:gd name="T38" fmla="*/ 1218 w 1449"/>
                <a:gd name="T39" fmla="*/ 1860 h 1860"/>
                <a:gd name="T40" fmla="*/ 1328 w 1449"/>
                <a:gd name="T41" fmla="*/ 1832 h 1860"/>
                <a:gd name="T42" fmla="*/ 1410 w 1449"/>
                <a:gd name="T43" fmla="*/ 1758 h 1860"/>
                <a:gd name="T44" fmla="*/ 1448 w 1449"/>
                <a:gd name="T45" fmla="*/ 1652 h 1860"/>
                <a:gd name="T46" fmla="*/ 1445 w 1449"/>
                <a:gd name="T47" fmla="*/ 809 h 1860"/>
                <a:gd name="T48" fmla="*/ 1413 w 1449"/>
                <a:gd name="T49" fmla="*/ 782 h 1860"/>
                <a:gd name="T50" fmla="*/ 793 w 1449"/>
                <a:gd name="T51" fmla="*/ 1536 h 1860"/>
                <a:gd name="T52" fmla="*/ 780 w 1449"/>
                <a:gd name="T53" fmla="*/ 1554 h 1860"/>
                <a:gd name="T54" fmla="*/ 724 w 1449"/>
                <a:gd name="T55" fmla="*/ 1565 h 1860"/>
                <a:gd name="T56" fmla="*/ 669 w 1449"/>
                <a:gd name="T57" fmla="*/ 1554 h 1860"/>
                <a:gd name="T58" fmla="*/ 656 w 1449"/>
                <a:gd name="T59" fmla="*/ 1536 h 1860"/>
                <a:gd name="T60" fmla="*/ 628 w 1449"/>
                <a:gd name="T61" fmla="*/ 1322 h 1860"/>
                <a:gd name="T62" fmla="*/ 609 w 1449"/>
                <a:gd name="T63" fmla="*/ 1258 h 1860"/>
                <a:gd name="T64" fmla="*/ 618 w 1449"/>
                <a:gd name="T65" fmla="*/ 1212 h 1860"/>
                <a:gd name="T66" fmla="*/ 651 w 1449"/>
                <a:gd name="T67" fmla="*/ 1168 h 1860"/>
                <a:gd name="T68" fmla="*/ 702 w 1449"/>
                <a:gd name="T69" fmla="*/ 1144 h 1860"/>
                <a:gd name="T70" fmla="*/ 748 w 1449"/>
                <a:gd name="T71" fmla="*/ 1144 h 1860"/>
                <a:gd name="T72" fmla="*/ 799 w 1449"/>
                <a:gd name="T73" fmla="*/ 1168 h 1860"/>
                <a:gd name="T74" fmla="*/ 831 w 1449"/>
                <a:gd name="T75" fmla="*/ 1212 h 1860"/>
                <a:gd name="T76" fmla="*/ 841 w 1449"/>
                <a:gd name="T77" fmla="*/ 1258 h 1860"/>
                <a:gd name="T78" fmla="*/ 821 w 1449"/>
                <a:gd name="T79" fmla="*/ 1322 h 1860"/>
                <a:gd name="T80" fmla="*/ 1008 w 1449"/>
                <a:gd name="T81" fmla="*/ 781 h 1860"/>
                <a:gd name="T82" fmla="*/ 444 w 1449"/>
                <a:gd name="T83" fmla="*/ 499 h 1860"/>
                <a:gd name="T84" fmla="*/ 459 w 1449"/>
                <a:gd name="T85" fmla="*/ 431 h 1860"/>
                <a:gd name="T86" fmla="*/ 491 w 1449"/>
                <a:gd name="T87" fmla="*/ 371 h 1860"/>
                <a:gd name="T88" fmla="*/ 535 w 1449"/>
                <a:gd name="T89" fmla="*/ 318 h 1860"/>
                <a:gd name="T90" fmla="*/ 590 w 1449"/>
                <a:gd name="T91" fmla="*/ 280 h 1860"/>
                <a:gd name="T92" fmla="*/ 654 w 1449"/>
                <a:gd name="T93" fmla="*/ 254 h 1860"/>
                <a:gd name="T94" fmla="*/ 724 w 1449"/>
                <a:gd name="T95" fmla="*/ 245 h 1860"/>
                <a:gd name="T96" fmla="*/ 781 w 1449"/>
                <a:gd name="T97" fmla="*/ 251 h 1860"/>
                <a:gd name="T98" fmla="*/ 848 w 1449"/>
                <a:gd name="T99" fmla="*/ 274 h 1860"/>
                <a:gd name="T100" fmla="*/ 905 w 1449"/>
                <a:gd name="T101" fmla="*/ 310 h 1860"/>
                <a:gd name="T102" fmla="*/ 952 w 1449"/>
                <a:gd name="T103" fmla="*/ 359 h 1860"/>
                <a:gd name="T104" fmla="*/ 985 w 1449"/>
                <a:gd name="T105" fmla="*/ 418 h 1860"/>
                <a:gd name="T106" fmla="*/ 1005 w 1449"/>
                <a:gd name="T107" fmla="*/ 485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9" h="1860">
                  <a:moveTo>
                    <a:pt x="1402" y="781"/>
                  </a:moveTo>
                  <a:lnTo>
                    <a:pt x="1253" y="781"/>
                  </a:lnTo>
                  <a:lnTo>
                    <a:pt x="1253" y="529"/>
                  </a:lnTo>
                  <a:lnTo>
                    <a:pt x="1253" y="529"/>
                  </a:lnTo>
                  <a:lnTo>
                    <a:pt x="1252" y="501"/>
                  </a:lnTo>
                  <a:lnTo>
                    <a:pt x="1249" y="475"/>
                  </a:lnTo>
                  <a:lnTo>
                    <a:pt x="1246" y="448"/>
                  </a:lnTo>
                  <a:lnTo>
                    <a:pt x="1242" y="422"/>
                  </a:lnTo>
                  <a:lnTo>
                    <a:pt x="1236" y="396"/>
                  </a:lnTo>
                  <a:lnTo>
                    <a:pt x="1229" y="372"/>
                  </a:lnTo>
                  <a:lnTo>
                    <a:pt x="1221" y="347"/>
                  </a:lnTo>
                  <a:lnTo>
                    <a:pt x="1211" y="323"/>
                  </a:lnTo>
                  <a:lnTo>
                    <a:pt x="1201" y="299"/>
                  </a:lnTo>
                  <a:lnTo>
                    <a:pt x="1188" y="277"/>
                  </a:lnTo>
                  <a:lnTo>
                    <a:pt x="1176" y="254"/>
                  </a:lnTo>
                  <a:lnTo>
                    <a:pt x="1163" y="233"/>
                  </a:lnTo>
                  <a:lnTo>
                    <a:pt x="1147" y="212"/>
                  </a:lnTo>
                  <a:lnTo>
                    <a:pt x="1132" y="193"/>
                  </a:lnTo>
                  <a:lnTo>
                    <a:pt x="1115" y="174"/>
                  </a:lnTo>
                  <a:lnTo>
                    <a:pt x="1098" y="155"/>
                  </a:lnTo>
                  <a:lnTo>
                    <a:pt x="1079" y="138"/>
                  </a:lnTo>
                  <a:lnTo>
                    <a:pt x="1061" y="121"/>
                  </a:lnTo>
                  <a:lnTo>
                    <a:pt x="1040" y="105"/>
                  </a:lnTo>
                  <a:lnTo>
                    <a:pt x="1020" y="91"/>
                  </a:lnTo>
                  <a:lnTo>
                    <a:pt x="999" y="77"/>
                  </a:lnTo>
                  <a:lnTo>
                    <a:pt x="976" y="64"/>
                  </a:lnTo>
                  <a:lnTo>
                    <a:pt x="954" y="52"/>
                  </a:lnTo>
                  <a:lnTo>
                    <a:pt x="930" y="42"/>
                  </a:lnTo>
                  <a:lnTo>
                    <a:pt x="906" y="33"/>
                  </a:lnTo>
                  <a:lnTo>
                    <a:pt x="881" y="24"/>
                  </a:lnTo>
                  <a:lnTo>
                    <a:pt x="857" y="17"/>
                  </a:lnTo>
                  <a:lnTo>
                    <a:pt x="831" y="11"/>
                  </a:lnTo>
                  <a:lnTo>
                    <a:pt x="805" y="6"/>
                  </a:lnTo>
                  <a:lnTo>
                    <a:pt x="778" y="3"/>
                  </a:lnTo>
                  <a:lnTo>
                    <a:pt x="752" y="1"/>
                  </a:lnTo>
                  <a:lnTo>
                    <a:pt x="724" y="0"/>
                  </a:lnTo>
                  <a:lnTo>
                    <a:pt x="724" y="0"/>
                  </a:lnTo>
                  <a:lnTo>
                    <a:pt x="698" y="1"/>
                  </a:lnTo>
                  <a:lnTo>
                    <a:pt x="671" y="3"/>
                  </a:lnTo>
                  <a:lnTo>
                    <a:pt x="645" y="6"/>
                  </a:lnTo>
                  <a:lnTo>
                    <a:pt x="618" y="11"/>
                  </a:lnTo>
                  <a:lnTo>
                    <a:pt x="593" y="17"/>
                  </a:lnTo>
                  <a:lnTo>
                    <a:pt x="568" y="24"/>
                  </a:lnTo>
                  <a:lnTo>
                    <a:pt x="544" y="33"/>
                  </a:lnTo>
                  <a:lnTo>
                    <a:pt x="519" y="42"/>
                  </a:lnTo>
                  <a:lnTo>
                    <a:pt x="496" y="52"/>
                  </a:lnTo>
                  <a:lnTo>
                    <a:pt x="473" y="64"/>
                  </a:lnTo>
                  <a:lnTo>
                    <a:pt x="451" y="77"/>
                  </a:lnTo>
                  <a:lnTo>
                    <a:pt x="430" y="91"/>
                  </a:lnTo>
                  <a:lnTo>
                    <a:pt x="409" y="105"/>
                  </a:lnTo>
                  <a:lnTo>
                    <a:pt x="389" y="121"/>
                  </a:lnTo>
                  <a:lnTo>
                    <a:pt x="370" y="138"/>
                  </a:lnTo>
                  <a:lnTo>
                    <a:pt x="352" y="155"/>
                  </a:lnTo>
                  <a:lnTo>
                    <a:pt x="335" y="174"/>
                  </a:lnTo>
                  <a:lnTo>
                    <a:pt x="317" y="193"/>
                  </a:lnTo>
                  <a:lnTo>
                    <a:pt x="302" y="212"/>
                  </a:lnTo>
                  <a:lnTo>
                    <a:pt x="287" y="233"/>
                  </a:lnTo>
                  <a:lnTo>
                    <a:pt x="274" y="254"/>
                  </a:lnTo>
                  <a:lnTo>
                    <a:pt x="260" y="277"/>
                  </a:lnTo>
                  <a:lnTo>
                    <a:pt x="249" y="299"/>
                  </a:lnTo>
                  <a:lnTo>
                    <a:pt x="239" y="323"/>
                  </a:lnTo>
                  <a:lnTo>
                    <a:pt x="229" y="347"/>
                  </a:lnTo>
                  <a:lnTo>
                    <a:pt x="221" y="372"/>
                  </a:lnTo>
                  <a:lnTo>
                    <a:pt x="213" y="396"/>
                  </a:lnTo>
                  <a:lnTo>
                    <a:pt x="207" y="422"/>
                  </a:lnTo>
                  <a:lnTo>
                    <a:pt x="203" y="448"/>
                  </a:lnTo>
                  <a:lnTo>
                    <a:pt x="200" y="475"/>
                  </a:lnTo>
                  <a:lnTo>
                    <a:pt x="198" y="501"/>
                  </a:lnTo>
                  <a:lnTo>
                    <a:pt x="197" y="529"/>
                  </a:lnTo>
                  <a:lnTo>
                    <a:pt x="197" y="781"/>
                  </a:lnTo>
                  <a:lnTo>
                    <a:pt x="47" y="781"/>
                  </a:lnTo>
                  <a:lnTo>
                    <a:pt x="47" y="781"/>
                  </a:lnTo>
                  <a:lnTo>
                    <a:pt x="38" y="782"/>
                  </a:lnTo>
                  <a:lnTo>
                    <a:pt x="29" y="785"/>
                  </a:lnTo>
                  <a:lnTo>
                    <a:pt x="21" y="789"/>
                  </a:lnTo>
                  <a:lnTo>
                    <a:pt x="14" y="794"/>
                  </a:lnTo>
                  <a:lnTo>
                    <a:pt x="8" y="801"/>
                  </a:lnTo>
                  <a:lnTo>
                    <a:pt x="4" y="809"/>
                  </a:lnTo>
                  <a:lnTo>
                    <a:pt x="1" y="817"/>
                  </a:lnTo>
                  <a:lnTo>
                    <a:pt x="0" y="827"/>
                  </a:lnTo>
                  <a:lnTo>
                    <a:pt x="0" y="1628"/>
                  </a:lnTo>
                  <a:lnTo>
                    <a:pt x="0" y="1628"/>
                  </a:lnTo>
                  <a:lnTo>
                    <a:pt x="1" y="1652"/>
                  </a:lnTo>
                  <a:lnTo>
                    <a:pt x="5" y="1675"/>
                  </a:lnTo>
                  <a:lnTo>
                    <a:pt x="10" y="1698"/>
                  </a:lnTo>
                  <a:lnTo>
                    <a:pt x="19" y="1718"/>
                  </a:lnTo>
                  <a:lnTo>
                    <a:pt x="29" y="1738"/>
                  </a:lnTo>
                  <a:lnTo>
                    <a:pt x="40" y="1758"/>
                  </a:lnTo>
                  <a:lnTo>
                    <a:pt x="53" y="1775"/>
                  </a:lnTo>
                  <a:lnTo>
                    <a:pt x="69" y="1792"/>
                  </a:lnTo>
                  <a:lnTo>
                    <a:pt x="85" y="1807"/>
                  </a:lnTo>
                  <a:lnTo>
                    <a:pt x="102" y="1820"/>
                  </a:lnTo>
                  <a:lnTo>
                    <a:pt x="122" y="1832"/>
                  </a:lnTo>
                  <a:lnTo>
                    <a:pt x="142" y="1841"/>
                  </a:lnTo>
                  <a:lnTo>
                    <a:pt x="163" y="1850"/>
                  </a:lnTo>
                  <a:lnTo>
                    <a:pt x="186" y="1856"/>
                  </a:lnTo>
                  <a:lnTo>
                    <a:pt x="208" y="1859"/>
                  </a:lnTo>
                  <a:lnTo>
                    <a:pt x="232" y="1860"/>
                  </a:lnTo>
                  <a:lnTo>
                    <a:pt x="1218" y="1860"/>
                  </a:lnTo>
                  <a:lnTo>
                    <a:pt x="1218" y="1860"/>
                  </a:lnTo>
                  <a:lnTo>
                    <a:pt x="1241" y="1859"/>
                  </a:lnTo>
                  <a:lnTo>
                    <a:pt x="1264" y="1856"/>
                  </a:lnTo>
                  <a:lnTo>
                    <a:pt x="1286" y="1850"/>
                  </a:lnTo>
                  <a:lnTo>
                    <a:pt x="1308" y="1841"/>
                  </a:lnTo>
                  <a:lnTo>
                    <a:pt x="1328" y="1832"/>
                  </a:lnTo>
                  <a:lnTo>
                    <a:pt x="1346" y="1820"/>
                  </a:lnTo>
                  <a:lnTo>
                    <a:pt x="1365" y="1807"/>
                  </a:lnTo>
                  <a:lnTo>
                    <a:pt x="1381" y="1792"/>
                  </a:lnTo>
                  <a:lnTo>
                    <a:pt x="1396" y="1775"/>
                  </a:lnTo>
                  <a:lnTo>
                    <a:pt x="1410" y="1758"/>
                  </a:lnTo>
                  <a:lnTo>
                    <a:pt x="1421" y="1738"/>
                  </a:lnTo>
                  <a:lnTo>
                    <a:pt x="1431" y="1718"/>
                  </a:lnTo>
                  <a:lnTo>
                    <a:pt x="1439" y="1698"/>
                  </a:lnTo>
                  <a:lnTo>
                    <a:pt x="1444" y="1675"/>
                  </a:lnTo>
                  <a:lnTo>
                    <a:pt x="1448" y="1652"/>
                  </a:lnTo>
                  <a:lnTo>
                    <a:pt x="1449" y="1628"/>
                  </a:lnTo>
                  <a:lnTo>
                    <a:pt x="1449" y="827"/>
                  </a:lnTo>
                  <a:lnTo>
                    <a:pt x="1449" y="827"/>
                  </a:lnTo>
                  <a:lnTo>
                    <a:pt x="1448" y="817"/>
                  </a:lnTo>
                  <a:lnTo>
                    <a:pt x="1445" y="809"/>
                  </a:lnTo>
                  <a:lnTo>
                    <a:pt x="1441" y="801"/>
                  </a:lnTo>
                  <a:lnTo>
                    <a:pt x="1435" y="794"/>
                  </a:lnTo>
                  <a:lnTo>
                    <a:pt x="1429" y="789"/>
                  </a:lnTo>
                  <a:lnTo>
                    <a:pt x="1421" y="785"/>
                  </a:lnTo>
                  <a:lnTo>
                    <a:pt x="1413" y="782"/>
                  </a:lnTo>
                  <a:lnTo>
                    <a:pt x="1402" y="781"/>
                  </a:lnTo>
                  <a:lnTo>
                    <a:pt x="1402" y="781"/>
                  </a:lnTo>
                  <a:close/>
                  <a:moveTo>
                    <a:pt x="793" y="1351"/>
                  </a:moveTo>
                  <a:lnTo>
                    <a:pt x="793" y="1536"/>
                  </a:lnTo>
                  <a:lnTo>
                    <a:pt x="793" y="1536"/>
                  </a:lnTo>
                  <a:lnTo>
                    <a:pt x="793" y="1539"/>
                  </a:lnTo>
                  <a:lnTo>
                    <a:pt x="792" y="1543"/>
                  </a:lnTo>
                  <a:lnTo>
                    <a:pt x="790" y="1546"/>
                  </a:lnTo>
                  <a:lnTo>
                    <a:pt x="788" y="1549"/>
                  </a:lnTo>
                  <a:lnTo>
                    <a:pt x="780" y="1554"/>
                  </a:lnTo>
                  <a:lnTo>
                    <a:pt x="771" y="1558"/>
                  </a:lnTo>
                  <a:lnTo>
                    <a:pt x="761" y="1561"/>
                  </a:lnTo>
                  <a:lnTo>
                    <a:pt x="750" y="1563"/>
                  </a:lnTo>
                  <a:lnTo>
                    <a:pt x="738" y="1564"/>
                  </a:lnTo>
                  <a:lnTo>
                    <a:pt x="724" y="1565"/>
                  </a:lnTo>
                  <a:lnTo>
                    <a:pt x="712" y="1564"/>
                  </a:lnTo>
                  <a:lnTo>
                    <a:pt x="700" y="1563"/>
                  </a:lnTo>
                  <a:lnTo>
                    <a:pt x="689" y="1561"/>
                  </a:lnTo>
                  <a:lnTo>
                    <a:pt x="677" y="1558"/>
                  </a:lnTo>
                  <a:lnTo>
                    <a:pt x="669" y="1554"/>
                  </a:lnTo>
                  <a:lnTo>
                    <a:pt x="662" y="1549"/>
                  </a:lnTo>
                  <a:lnTo>
                    <a:pt x="660" y="1546"/>
                  </a:lnTo>
                  <a:lnTo>
                    <a:pt x="658" y="1543"/>
                  </a:lnTo>
                  <a:lnTo>
                    <a:pt x="657" y="1539"/>
                  </a:lnTo>
                  <a:lnTo>
                    <a:pt x="656" y="1536"/>
                  </a:lnTo>
                  <a:lnTo>
                    <a:pt x="656" y="1351"/>
                  </a:lnTo>
                  <a:lnTo>
                    <a:pt x="656" y="1351"/>
                  </a:lnTo>
                  <a:lnTo>
                    <a:pt x="646" y="1343"/>
                  </a:lnTo>
                  <a:lnTo>
                    <a:pt x="637" y="1332"/>
                  </a:lnTo>
                  <a:lnTo>
                    <a:pt x="628" y="1322"/>
                  </a:lnTo>
                  <a:lnTo>
                    <a:pt x="622" y="1311"/>
                  </a:lnTo>
                  <a:lnTo>
                    <a:pt x="616" y="1299"/>
                  </a:lnTo>
                  <a:lnTo>
                    <a:pt x="612" y="1285"/>
                  </a:lnTo>
                  <a:lnTo>
                    <a:pt x="610" y="1271"/>
                  </a:lnTo>
                  <a:lnTo>
                    <a:pt x="609" y="1258"/>
                  </a:lnTo>
                  <a:lnTo>
                    <a:pt x="609" y="1258"/>
                  </a:lnTo>
                  <a:lnTo>
                    <a:pt x="610" y="1246"/>
                  </a:lnTo>
                  <a:lnTo>
                    <a:pt x="611" y="1234"/>
                  </a:lnTo>
                  <a:lnTo>
                    <a:pt x="614" y="1223"/>
                  </a:lnTo>
                  <a:lnTo>
                    <a:pt x="618" y="1212"/>
                  </a:lnTo>
                  <a:lnTo>
                    <a:pt x="623" y="1202"/>
                  </a:lnTo>
                  <a:lnTo>
                    <a:pt x="628" y="1193"/>
                  </a:lnTo>
                  <a:lnTo>
                    <a:pt x="636" y="1183"/>
                  </a:lnTo>
                  <a:lnTo>
                    <a:pt x="643" y="1175"/>
                  </a:lnTo>
                  <a:lnTo>
                    <a:pt x="651" y="1168"/>
                  </a:lnTo>
                  <a:lnTo>
                    <a:pt x="660" y="1161"/>
                  </a:lnTo>
                  <a:lnTo>
                    <a:pt x="669" y="1156"/>
                  </a:lnTo>
                  <a:lnTo>
                    <a:pt x="679" y="1151"/>
                  </a:lnTo>
                  <a:lnTo>
                    <a:pt x="691" y="1147"/>
                  </a:lnTo>
                  <a:lnTo>
                    <a:pt x="702" y="1144"/>
                  </a:lnTo>
                  <a:lnTo>
                    <a:pt x="713" y="1143"/>
                  </a:lnTo>
                  <a:lnTo>
                    <a:pt x="725" y="1142"/>
                  </a:lnTo>
                  <a:lnTo>
                    <a:pt x="725" y="1142"/>
                  </a:lnTo>
                  <a:lnTo>
                    <a:pt x="737" y="1143"/>
                  </a:lnTo>
                  <a:lnTo>
                    <a:pt x="748" y="1144"/>
                  </a:lnTo>
                  <a:lnTo>
                    <a:pt x="759" y="1147"/>
                  </a:lnTo>
                  <a:lnTo>
                    <a:pt x="770" y="1151"/>
                  </a:lnTo>
                  <a:lnTo>
                    <a:pt x="780" y="1156"/>
                  </a:lnTo>
                  <a:lnTo>
                    <a:pt x="790" y="1161"/>
                  </a:lnTo>
                  <a:lnTo>
                    <a:pt x="799" y="1168"/>
                  </a:lnTo>
                  <a:lnTo>
                    <a:pt x="807" y="1175"/>
                  </a:lnTo>
                  <a:lnTo>
                    <a:pt x="814" y="1183"/>
                  </a:lnTo>
                  <a:lnTo>
                    <a:pt x="821" y="1193"/>
                  </a:lnTo>
                  <a:lnTo>
                    <a:pt x="826" y="1202"/>
                  </a:lnTo>
                  <a:lnTo>
                    <a:pt x="831" y="1212"/>
                  </a:lnTo>
                  <a:lnTo>
                    <a:pt x="835" y="1223"/>
                  </a:lnTo>
                  <a:lnTo>
                    <a:pt x="839" y="1234"/>
                  </a:lnTo>
                  <a:lnTo>
                    <a:pt x="841" y="1246"/>
                  </a:lnTo>
                  <a:lnTo>
                    <a:pt x="841" y="1258"/>
                  </a:lnTo>
                  <a:lnTo>
                    <a:pt x="841" y="1258"/>
                  </a:lnTo>
                  <a:lnTo>
                    <a:pt x="840" y="1271"/>
                  </a:lnTo>
                  <a:lnTo>
                    <a:pt x="837" y="1285"/>
                  </a:lnTo>
                  <a:lnTo>
                    <a:pt x="833" y="1299"/>
                  </a:lnTo>
                  <a:lnTo>
                    <a:pt x="827" y="1311"/>
                  </a:lnTo>
                  <a:lnTo>
                    <a:pt x="821" y="1322"/>
                  </a:lnTo>
                  <a:lnTo>
                    <a:pt x="813" y="1332"/>
                  </a:lnTo>
                  <a:lnTo>
                    <a:pt x="803" y="1343"/>
                  </a:lnTo>
                  <a:lnTo>
                    <a:pt x="793" y="1351"/>
                  </a:lnTo>
                  <a:lnTo>
                    <a:pt x="793" y="1351"/>
                  </a:lnTo>
                  <a:close/>
                  <a:moveTo>
                    <a:pt x="1008" y="781"/>
                  </a:moveTo>
                  <a:lnTo>
                    <a:pt x="442" y="781"/>
                  </a:lnTo>
                  <a:lnTo>
                    <a:pt x="442" y="529"/>
                  </a:lnTo>
                  <a:lnTo>
                    <a:pt x="442" y="529"/>
                  </a:lnTo>
                  <a:lnTo>
                    <a:pt x="443" y="513"/>
                  </a:lnTo>
                  <a:lnTo>
                    <a:pt x="444" y="499"/>
                  </a:lnTo>
                  <a:lnTo>
                    <a:pt x="445" y="485"/>
                  </a:lnTo>
                  <a:lnTo>
                    <a:pt x="448" y="471"/>
                  </a:lnTo>
                  <a:lnTo>
                    <a:pt x="451" y="457"/>
                  </a:lnTo>
                  <a:lnTo>
                    <a:pt x="455" y="444"/>
                  </a:lnTo>
                  <a:lnTo>
                    <a:pt x="459" y="431"/>
                  </a:lnTo>
                  <a:lnTo>
                    <a:pt x="464" y="418"/>
                  </a:lnTo>
                  <a:lnTo>
                    <a:pt x="470" y="406"/>
                  </a:lnTo>
                  <a:lnTo>
                    <a:pt x="476" y="394"/>
                  </a:lnTo>
                  <a:lnTo>
                    <a:pt x="483" y="382"/>
                  </a:lnTo>
                  <a:lnTo>
                    <a:pt x="491" y="371"/>
                  </a:lnTo>
                  <a:lnTo>
                    <a:pt x="498" y="359"/>
                  </a:lnTo>
                  <a:lnTo>
                    <a:pt x="507" y="348"/>
                  </a:lnTo>
                  <a:lnTo>
                    <a:pt x="515" y="338"/>
                  </a:lnTo>
                  <a:lnTo>
                    <a:pt x="525" y="329"/>
                  </a:lnTo>
                  <a:lnTo>
                    <a:pt x="535" y="318"/>
                  </a:lnTo>
                  <a:lnTo>
                    <a:pt x="545" y="310"/>
                  </a:lnTo>
                  <a:lnTo>
                    <a:pt x="556" y="301"/>
                  </a:lnTo>
                  <a:lnTo>
                    <a:pt x="567" y="294"/>
                  </a:lnTo>
                  <a:lnTo>
                    <a:pt x="578" y="287"/>
                  </a:lnTo>
                  <a:lnTo>
                    <a:pt x="590" y="280"/>
                  </a:lnTo>
                  <a:lnTo>
                    <a:pt x="602" y="274"/>
                  </a:lnTo>
                  <a:lnTo>
                    <a:pt x="615" y="267"/>
                  </a:lnTo>
                  <a:lnTo>
                    <a:pt x="627" y="262"/>
                  </a:lnTo>
                  <a:lnTo>
                    <a:pt x="641" y="258"/>
                  </a:lnTo>
                  <a:lnTo>
                    <a:pt x="654" y="254"/>
                  </a:lnTo>
                  <a:lnTo>
                    <a:pt x="668" y="251"/>
                  </a:lnTo>
                  <a:lnTo>
                    <a:pt x="681" y="249"/>
                  </a:lnTo>
                  <a:lnTo>
                    <a:pt x="696" y="247"/>
                  </a:lnTo>
                  <a:lnTo>
                    <a:pt x="710" y="246"/>
                  </a:lnTo>
                  <a:lnTo>
                    <a:pt x="724" y="245"/>
                  </a:lnTo>
                  <a:lnTo>
                    <a:pt x="724" y="245"/>
                  </a:lnTo>
                  <a:lnTo>
                    <a:pt x="740" y="246"/>
                  </a:lnTo>
                  <a:lnTo>
                    <a:pt x="754" y="247"/>
                  </a:lnTo>
                  <a:lnTo>
                    <a:pt x="768" y="249"/>
                  </a:lnTo>
                  <a:lnTo>
                    <a:pt x="781" y="251"/>
                  </a:lnTo>
                  <a:lnTo>
                    <a:pt x="796" y="254"/>
                  </a:lnTo>
                  <a:lnTo>
                    <a:pt x="809" y="258"/>
                  </a:lnTo>
                  <a:lnTo>
                    <a:pt x="822" y="262"/>
                  </a:lnTo>
                  <a:lnTo>
                    <a:pt x="834" y="267"/>
                  </a:lnTo>
                  <a:lnTo>
                    <a:pt x="848" y="274"/>
                  </a:lnTo>
                  <a:lnTo>
                    <a:pt x="859" y="280"/>
                  </a:lnTo>
                  <a:lnTo>
                    <a:pt x="871" y="287"/>
                  </a:lnTo>
                  <a:lnTo>
                    <a:pt x="882" y="294"/>
                  </a:lnTo>
                  <a:lnTo>
                    <a:pt x="894" y="301"/>
                  </a:lnTo>
                  <a:lnTo>
                    <a:pt x="905" y="310"/>
                  </a:lnTo>
                  <a:lnTo>
                    <a:pt x="915" y="318"/>
                  </a:lnTo>
                  <a:lnTo>
                    <a:pt x="924" y="329"/>
                  </a:lnTo>
                  <a:lnTo>
                    <a:pt x="934" y="338"/>
                  </a:lnTo>
                  <a:lnTo>
                    <a:pt x="943" y="348"/>
                  </a:lnTo>
                  <a:lnTo>
                    <a:pt x="952" y="359"/>
                  </a:lnTo>
                  <a:lnTo>
                    <a:pt x="959" y="371"/>
                  </a:lnTo>
                  <a:lnTo>
                    <a:pt x="967" y="382"/>
                  </a:lnTo>
                  <a:lnTo>
                    <a:pt x="973" y="394"/>
                  </a:lnTo>
                  <a:lnTo>
                    <a:pt x="979" y="406"/>
                  </a:lnTo>
                  <a:lnTo>
                    <a:pt x="985" y="418"/>
                  </a:lnTo>
                  <a:lnTo>
                    <a:pt x="990" y="431"/>
                  </a:lnTo>
                  <a:lnTo>
                    <a:pt x="995" y="444"/>
                  </a:lnTo>
                  <a:lnTo>
                    <a:pt x="999" y="457"/>
                  </a:lnTo>
                  <a:lnTo>
                    <a:pt x="1002" y="471"/>
                  </a:lnTo>
                  <a:lnTo>
                    <a:pt x="1005" y="485"/>
                  </a:lnTo>
                  <a:lnTo>
                    <a:pt x="1006" y="499"/>
                  </a:lnTo>
                  <a:lnTo>
                    <a:pt x="1007" y="513"/>
                  </a:lnTo>
                  <a:lnTo>
                    <a:pt x="1008" y="529"/>
                  </a:lnTo>
                  <a:lnTo>
                    <a:pt x="1008" y="781"/>
                  </a:lnTo>
                  <a:close/>
                </a:path>
              </a:pathLst>
            </a:custGeom>
            <a:grpFill/>
            <a:ln>
              <a:noFill/>
            </a:ln>
          </p:spPr>
          <p:txBody>
            <a:bodyPr vert="horz" wrap="square" lIns="91440" tIns="45720" rIns="91440" bIns="45720" numCol="1" anchor="t" anchorCtr="0" compatLnSpc="1">
              <a:prstTxWarp prst="textNoShape">
                <a:avLst/>
              </a:prstTxWarp>
            </a:bodyPr>
            <a:lstStyle/>
            <a:p>
              <a:pPr defTabSz="457170"/>
              <a:endParaRPr lang="en-US">
                <a:solidFill>
                  <a:srgbClr val="435153"/>
                </a:solidFill>
                <a:latin typeface="+mj-lt"/>
              </a:endParaRPr>
            </a:p>
          </p:txBody>
        </p:sp>
        <p:sp>
          <p:nvSpPr>
            <p:cNvPr id="528" name="Freeform 168"/>
            <p:cNvSpPr>
              <a:spLocks noEditPoints="1"/>
            </p:cNvSpPr>
            <p:nvPr/>
          </p:nvSpPr>
          <p:spPr bwMode="auto">
            <a:xfrm>
              <a:off x="5093242" y="7098673"/>
              <a:ext cx="708429" cy="812665"/>
            </a:xfrm>
            <a:custGeom>
              <a:avLst/>
              <a:gdLst>
                <a:gd name="T0" fmla="*/ 1059 w 1605"/>
                <a:gd name="T1" fmla="*/ 16 h 1837"/>
                <a:gd name="T2" fmla="*/ 1040 w 1605"/>
                <a:gd name="T3" fmla="*/ 4 h 1837"/>
                <a:gd name="T4" fmla="*/ 239 w 1605"/>
                <a:gd name="T5" fmla="*/ 0 h 1837"/>
                <a:gd name="T6" fmla="*/ 214 w 1605"/>
                <a:gd name="T7" fmla="*/ 1 h 1837"/>
                <a:gd name="T8" fmla="*/ 145 w 1605"/>
                <a:gd name="T9" fmla="*/ 19 h 1837"/>
                <a:gd name="T10" fmla="*/ 87 w 1605"/>
                <a:gd name="T11" fmla="*/ 53 h 1837"/>
                <a:gd name="T12" fmla="*/ 41 w 1605"/>
                <a:gd name="T13" fmla="*/ 105 h 1837"/>
                <a:gd name="T14" fmla="*/ 11 w 1605"/>
                <a:gd name="T15" fmla="*/ 167 h 1837"/>
                <a:gd name="T16" fmla="*/ 0 w 1605"/>
                <a:gd name="T17" fmla="*/ 225 h 1837"/>
                <a:gd name="T18" fmla="*/ 0 w 1605"/>
                <a:gd name="T19" fmla="*/ 451 h 1837"/>
                <a:gd name="T20" fmla="*/ 11 w 1605"/>
                <a:gd name="T21" fmla="*/ 484 h 1837"/>
                <a:gd name="T22" fmla="*/ 36 w 1605"/>
                <a:gd name="T23" fmla="*/ 505 h 1837"/>
                <a:gd name="T24" fmla="*/ 59 w 1605"/>
                <a:gd name="T25" fmla="*/ 510 h 1837"/>
                <a:gd name="T26" fmla="*/ 92 w 1605"/>
                <a:gd name="T27" fmla="*/ 500 h 1837"/>
                <a:gd name="T28" fmla="*/ 113 w 1605"/>
                <a:gd name="T29" fmla="*/ 474 h 1837"/>
                <a:gd name="T30" fmla="*/ 117 w 1605"/>
                <a:gd name="T31" fmla="*/ 451 h 1837"/>
                <a:gd name="T32" fmla="*/ 118 w 1605"/>
                <a:gd name="T33" fmla="*/ 225 h 1837"/>
                <a:gd name="T34" fmla="*/ 128 w 1605"/>
                <a:gd name="T35" fmla="*/ 190 h 1837"/>
                <a:gd name="T36" fmla="*/ 145 w 1605"/>
                <a:gd name="T37" fmla="*/ 160 h 1837"/>
                <a:gd name="T38" fmla="*/ 171 w 1605"/>
                <a:gd name="T39" fmla="*/ 138 h 1837"/>
                <a:gd name="T40" fmla="*/ 203 w 1605"/>
                <a:gd name="T41" fmla="*/ 122 h 1837"/>
                <a:gd name="T42" fmla="*/ 239 w 1605"/>
                <a:gd name="T43" fmla="*/ 117 h 1837"/>
                <a:gd name="T44" fmla="*/ 955 w 1605"/>
                <a:gd name="T45" fmla="*/ 405 h 1837"/>
                <a:gd name="T46" fmla="*/ 960 w 1605"/>
                <a:gd name="T47" fmla="*/ 453 h 1837"/>
                <a:gd name="T48" fmla="*/ 983 w 1605"/>
                <a:gd name="T49" fmla="*/ 519 h 1837"/>
                <a:gd name="T50" fmla="*/ 1024 w 1605"/>
                <a:gd name="T51" fmla="*/ 574 h 1837"/>
                <a:gd name="T52" fmla="*/ 1079 w 1605"/>
                <a:gd name="T53" fmla="*/ 615 h 1837"/>
                <a:gd name="T54" fmla="*/ 1145 w 1605"/>
                <a:gd name="T55" fmla="*/ 639 h 1837"/>
                <a:gd name="T56" fmla="*/ 1193 w 1605"/>
                <a:gd name="T57" fmla="*/ 644 h 1837"/>
                <a:gd name="T58" fmla="*/ 1488 w 1605"/>
                <a:gd name="T59" fmla="*/ 1600 h 1837"/>
                <a:gd name="T60" fmla="*/ 1482 w 1605"/>
                <a:gd name="T61" fmla="*/ 1636 h 1837"/>
                <a:gd name="T62" fmla="*/ 1468 w 1605"/>
                <a:gd name="T63" fmla="*/ 1667 h 1837"/>
                <a:gd name="T64" fmla="*/ 1444 w 1605"/>
                <a:gd name="T65" fmla="*/ 1692 h 1837"/>
                <a:gd name="T66" fmla="*/ 1414 w 1605"/>
                <a:gd name="T67" fmla="*/ 1711 h 1837"/>
                <a:gd name="T68" fmla="*/ 1379 w 1605"/>
                <a:gd name="T69" fmla="*/ 1720 h 1837"/>
                <a:gd name="T70" fmla="*/ 1134 w 1605"/>
                <a:gd name="T71" fmla="*/ 1720 h 1837"/>
                <a:gd name="T72" fmla="*/ 1102 w 1605"/>
                <a:gd name="T73" fmla="*/ 1730 h 1837"/>
                <a:gd name="T74" fmla="*/ 1080 w 1605"/>
                <a:gd name="T75" fmla="*/ 1756 h 1837"/>
                <a:gd name="T76" fmla="*/ 1076 w 1605"/>
                <a:gd name="T77" fmla="*/ 1779 h 1837"/>
                <a:gd name="T78" fmla="*/ 1085 w 1605"/>
                <a:gd name="T79" fmla="*/ 1812 h 1837"/>
                <a:gd name="T80" fmla="*/ 1112 w 1605"/>
                <a:gd name="T81" fmla="*/ 1833 h 1837"/>
                <a:gd name="T82" fmla="*/ 1367 w 1605"/>
                <a:gd name="T83" fmla="*/ 1837 h 1837"/>
                <a:gd name="T84" fmla="*/ 1392 w 1605"/>
                <a:gd name="T85" fmla="*/ 1836 h 1837"/>
                <a:gd name="T86" fmla="*/ 1459 w 1605"/>
                <a:gd name="T87" fmla="*/ 1819 h 1837"/>
                <a:gd name="T88" fmla="*/ 1519 w 1605"/>
                <a:gd name="T89" fmla="*/ 1784 h 1837"/>
                <a:gd name="T90" fmla="*/ 1564 w 1605"/>
                <a:gd name="T91" fmla="*/ 1733 h 1837"/>
                <a:gd name="T92" fmla="*/ 1595 w 1605"/>
                <a:gd name="T93" fmla="*/ 1671 h 1837"/>
                <a:gd name="T94" fmla="*/ 1605 w 1605"/>
                <a:gd name="T95" fmla="*/ 1612 h 1837"/>
                <a:gd name="T96" fmla="*/ 1605 w 1605"/>
                <a:gd name="T97" fmla="*/ 585 h 1837"/>
                <a:gd name="T98" fmla="*/ 1601 w 1605"/>
                <a:gd name="T99" fmla="*/ 562 h 1837"/>
                <a:gd name="T100" fmla="*/ 1588 w 1605"/>
                <a:gd name="T101" fmla="*/ 544 h 1837"/>
                <a:gd name="T102" fmla="*/ 1404 w 1605"/>
                <a:gd name="T103" fmla="*/ 526 h 1837"/>
                <a:gd name="T104" fmla="*/ 1181 w 1605"/>
                <a:gd name="T105" fmla="*/ 525 h 1837"/>
                <a:gd name="T106" fmla="*/ 1146 w 1605"/>
                <a:gd name="T107" fmla="*/ 516 h 1837"/>
                <a:gd name="T108" fmla="*/ 1116 w 1605"/>
                <a:gd name="T109" fmla="*/ 499 h 1837"/>
                <a:gd name="T110" fmla="*/ 1092 w 1605"/>
                <a:gd name="T111" fmla="*/ 473 h 1837"/>
                <a:gd name="T112" fmla="*/ 1078 w 1605"/>
                <a:gd name="T113" fmla="*/ 441 h 1837"/>
                <a:gd name="T114" fmla="*/ 1072 w 1605"/>
                <a:gd name="T115" fmla="*/ 405 h 1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5" h="1837">
                  <a:moveTo>
                    <a:pt x="1588" y="544"/>
                  </a:moveTo>
                  <a:lnTo>
                    <a:pt x="1588" y="543"/>
                  </a:lnTo>
                  <a:lnTo>
                    <a:pt x="1059" y="16"/>
                  </a:lnTo>
                  <a:lnTo>
                    <a:pt x="1059" y="16"/>
                  </a:lnTo>
                  <a:lnTo>
                    <a:pt x="1050" y="9"/>
                  </a:lnTo>
                  <a:lnTo>
                    <a:pt x="1040" y="4"/>
                  </a:lnTo>
                  <a:lnTo>
                    <a:pt x="1030" y="1"/>
                  </a:lnTo>
                  <a:lnTo>
                    <a:pt x="1017" y="0"/>
                  </a:lnTo>
                  <a:lnTo>
                    <a:pt x="239" y="0"/>
                  </a:lnTo>
                  <a:lnTo>
                    <a:pt x="239" y="0"/>
                  </a:lnTo>
                  <a:lnTo>
                    <a:pt x="226" y="0"/>
                  </a:lnTo>
                  <a:lnTo>
                    <a:pt x="214" y="1"/>
                  </a:lnTo>
                  <a:lnTo>
                    <a:pt x="190" y="4"/>
                  </a:lnTo>
                  <a:lnTo>
                    <a:pt x="168" y="10"/>
                  </a:lnTo>
                  <a:lnTo>
                    <a:pt x="145" y="19"/>
                  </a:lnTo>
                  <a:lnTo>
                    <a:pt x="125" y="28"/>
                  </a:lnTo>
                  <a:lnTo>
                    <a:pt x="105" y="40"/>
                  </a:lnTo>
                  <a:lnTo>
                    <a:pt x="87" y="53"/>
                  </a:lnTo>
                  <a:lnTo>
                    <a:pt x="70" y="69"/>
                  </a:lnTo>
                  <a:lnTo>
                    <a:pt x="55" y="86"/>
                  </a:lnTo>
                  <a:lnTo>
                    <a:pt x="41" y="105"/>
                  </a:lnTo>
                  <a:lnTo>
                    <a:pt x="29" y="124"/>
                  </a:lnTo>
                  <a:lnTo>
                    <a:pt x="19" y="145"/>
                  </a:lnTo>
                  <a:lnTo>
                    <a:pt x="11" y="167"/>
                  </a:lnTo>
                  <a:lnTo>
                    <a:pt x="5" y="189"/>
                  </a:lnTo>
                  <a:lnTo>
                    <a:pt x="1" y="213"/>
                  </a:lnTo>
                  <a:lnTo>
                    <a:pt x="0" y="225"/>
                  </a:lnTo>
                  <a:lnTo>
                    <a:pt x="0" y="238"/>
                  </a:lnTo>
                  <a:lnTo>
                    <a:pt x="0" y="451"/>
                  </a:lnTo>
                  <a:lnTo>
                    <a:pt x="0" y="451"/>
                  </a:lnTo>
                  <a:lnTo>
                    <a:pt x="1" y="463"/>
                  </a:lnTo>
                  <a:lnTo>
                    <a:pt x="5" y="474"/>
                  </a:lnTo>
                  <a:lnTo>
                    <a:pt x="11" y="484"/>
                  </a:lnTo>
                  <a:lnTo>
                    <a:pt x="18" y="493"/>
                  </a:lnTo>
                  <a:lnTo>
                    <a:pt x="26" y="500"/>
                  </a:lnTo>
                  <a:lnTo>
                    <a:pt x="36" y="505"/>
                  </a:lnTo>
                  <a:lnTo>
                    <a:pt x="48" y="509"/>
                  </a:lnTo>
                  <a:lnTo>
                    <a:pt x="59" y="510"/>
                  </a:lnTo>
                  <a:lnTo>
                    <a:pt x="59" y="510"/>
                  </a:lnTo>
                  <a:lnTo>
                    <a:pt x="71" y="509"/>
                  </a:lnTo>
                  <a:lnTo>
                    <a:pt x="81" y="505"/>
                  </a:lnTo>
                  <a:lnTo>
                    <a:pt x="92" y="500"/>
                  </a:lnTo>
                  <a:lnTo>
                    <a:pt x="101" y="493"/>
                  </a:lnTo>
                  <a:lnTo>
                    <a:pt x="108" y="484"/>
                  </a:lnTo>
                  <a:lnTo>
                    <a:pt x="113" y="474"/>
                  </a:lnTo>
                  <a:lnTo>
                    <a:pt x="116" y="463"/>
                  </a:lnTo>
                  <a:lnTo>
                    <a:pt x="117" y="451"/>
                  </a:lnTo>
                  <a:lnTo>
                    <a:pt x="117" y="451"/>
                  </a:lnTo>
                  <a:lnTo>
                    <a:pt x="117" y="238"/>
                  </a:lnTo>
                  <a:lnTo>
                    <a:pt x="117" y="238"/>
                  </a:lnTo>
                  <a:lnTo>
                    <a:pt x="118" y="225"/>
                  </a:lnTo>
                  <a:lnTo>
                    <a:pt x="121" y="213"/>
                  </a:lnTo>
                  <a:lnTo>
                    <a:pt x="124" y="202"/>
                  </a:lnTo>
                  <a:lnTo>
                    <a:pt x="128" y="190"/>
                  </a:lnTo>
                  <a:lnTo>
                    <a:pt x="132" y="180"/>
                  </a:lnTo>
                  <a:lnTo>
                    <a:pt x="138" y="170"/>
                  </a:lnTo>
                  <a:lnTo>
                    <a:pt x="145" y="160"/>
                  </a:lnTo>
                  <a:lnTo>
                    <a:pt x="153" y="152"/>
                  </a:lnTo>
                  <a:lnTo>
                    <a:pt x="162" y="145"/>
                  </a:lnTo>
                  <a:lnTo>
                    <a:pt x="171" y="138"/>
                  </a:lnTo>
                  <a:lnTo>
                    <a:pt x="181" y="132"/>
                  </a:lnTo>
                  <a:lnTo>
                    <a:pt x="192" y="126"/>
                  </a:lnTo>
                  <a:lnTo>
                    <a:pt x="203" y="122"/>
                  </a:lnTo>
                  <a:lnTo>
                    <a:pt x="214" y="119"/>
                  </a:lnTo>
                  <a:lnTo>
                    <a:pt x="226" y="117"/>
                  </a:lnTo>
                  <a:lnTo>
                    <a:pt x="239" y="117"/>
                  </a:lnTo>
                  <a:lnTo>
                    <a:pt x="955" y="117"/>
                  </a:lnTo>
                  <a:lnTo>
                    <a:pt x="955" y="405"/>
                  </a:lnTo>
                  <a:lnTo>
                    <a:pt x="955" y="405"/>
                  </a:lnTo>
                  <a:lnTo>
                    <a:pt x="955" y="417"/>
                  </a:lnTo>
                  <a:lnTo>
                    <a:pt x="956" y="430"/>
                  </a:lnTo>
                  <a:lnTo>
                    <a:pt x="960" y="453"/>
                  </a:lnTo>
                  <a:lnTo>
                    <a:pt x="966" y="476"/>
                  </a:lnTo>
                  <a:lnTo>
                    <a:pt x="973" y="498"/>
                  </a:lnTo>
                  <a:lnTo>
                    <a:pt x="983" y="519"/>
                  </a:lnTo>
                  <a:lnTo>
                    <a:pt x="996" y="539"/>
                  </a:lnTo>
                  <a:lnTo>
                    <a:pt x="1009" y="557"/>
                  </a:lnTo>
                  <a:lnTo>
                    <a:pt x="1024" y="574"/>
                  </a:lnTo>
                  <a:lnTo>
                    <a:pt x="1041" y="589"/>
                  </a:lnTo>
                  <a:lnTo>
                    <a:pt x="1059" y="603"/>
                  </a:lnTo>
                  <a:lnTo>
                    <a:pt x="1079" y="615"/>
                  </a:lnTo>
                  <a:lnTo>
                    <a:pt x="1101" y="625"/>
                  </a:lnTo>
                  <a:lnTo>
                    <a:pt x="1122" y="633"/>
                  </a:lnTo>
                  <a:lnTo>
                    <a:pt x="1145" y="639"/>
                  </a:lnTo>
                  <a:lnTo>
                    <a:pt x="1168" y="643"/>
                  </a:lnTo>
                  <a:lnTo>
                    <a:pt x="1181" y="644"/>
                  </a:lnTo>
                  <a:lnTo>
                    <a:pt x="1193" y="644"/>
                  </a:lnTo>
                  <a:lnTo>
                    <a:pt x="1488" y="644"/>
                  </a:lnTo>
                  <a:lnTo>
                    <a:pt x="1488" y="1600"/>
                  </a:lnTo>
                  <a:lnTo>
                    <a:pt x="1488" y="1600"/>
                  </a:lnTo>
                  <a:lnTo>
                    <a:pt x="1487" y="1612"/>
                  </a:lnTo>
                  <a:lnTo>
                    <a:pt x="1485" y="1625"/>
                  </a:lnTo>
                  <a:lnTo>
                    <a:pt x="1482" y="1636"/>
                  </a:lnTo>
                  <a:lnTo>
                    <a:pt x="1478" y="1647"/>
                  </a:lnTo>
                  <a:lnTo>
                    <a:pt x="1473" y="1657"/>
                  </a:lnTo>
                  <a:lnTo>
                    <a:pt x="1468" y="1667"/>
                  </a:lnTo>
                  <a:lnTo>
                    <a:pt x="1460" y="1676"/>
                  </a:lnTo>
                  <a:lnTo>
                    <a:pt x="1452" y="1685"/>
                  </a:lnTo>
                  <a:lnTo>
                    <a:pt x="1444" y="1692"/>
                  </a:lnTo>
                  <a:lnTo>
                    <a:pt x="1435" y="1700"/>
                  </a:lnTo>
                  <a:lnTo>
                    <a:pt x="1424" y="1706"/>
                  </a:lnTo>
                  <a:lnTo>
                    <a:pt x="1414" y="1711"/>
                  </a:lnTo>
                  <a:lnTo>
                    <a:pt x="1403" y="1715"/>
                  </a:lnTo>
                  <a:lnTo>
                    <a:pt x="1392" y="1718"/>
                  </a:lnTo>
                  <a:lnTo>
                    <a:pt x="1379" y="1720"/>
                  </a:lnTo>
                  <a:lnTo>
                    <a:pt x="1367" y="1720"/>
                  </a:lnTo>
                  <a:lnTo>
                    <a:pt x="1134" y="1720"/>
                  </a:lnTo>
                  <a:lnTo>
                    <a:pt x="1134" y="1720"/>
                  </a:lnTo>
                  <a:lnTo>
                    <a:pt x="1122" y="1721"/>
                  </a:lnTo>
                  <a:lnTo>
                    <a:pt x="1112" y="1725"/>
                  </a:lnTo>
                  <a:lnTo>
                    <a:pt x="1102" y="1730"/>
                  </a:lnTo>
                  <a:lnTo>
                    <a:pt x="1092" y="1738"/>
                  </a:lnTo>
                  <a:lnTo>
                    <a:pt x="1085" y="1746"/>
                  </a:lnTo>
                  <a:lnTo>
                    <a:pt x="1080" y="1756"/>
                  </a:lnTo>
                  <a:lnTo>
                    <a:pt x="1077" y="1767"/>
                  </a:lnTo>
                  <a:lnTo>
                    <a:pt x="1076" y="1779"/>
                  </a:lnTo>
                  <a:lnTo>
                    <a:pt x="1076" y="1779"/>
                  </a:lnTo>
                  <a:lnTo>
                    <a:pt x="1077" y="1791"/>
                  </a:lnTo>
                  <a:lnTo>
                    <a:pt x="1080" y="1802"/>
                  </a:lnTo>
                  <a:lnTo>
                    <a:pt x="1085" y="1812"/>
                  </a:lnTo>
                  <a:lnTo>
                    <a:pt x="1092" y="1821"/>
                  </a:lnTo>
                  <a:lnTo>
                    <a:pt x="1102" y="1828"/>
                  </a:lnTo>
                  <a:lnTo>
                    <a:pt x="1112" y="1833"/>
                  </a:lnTo>
                  <a:lnTo>
                    <a:pt x="1122" y="1836"/>
                  </a:lnTo>
                  <a:lnTo>
                    <a:pt x="1134" y="1837"/>
                  </a:lnTo>
                  <a:lnTo>
                    <a:pt x="1367" y="1837"/>
                  </a:lnTo>
                  <a:lnTo>
                    <a:pt x="1367" y="1837"/>
                  </a:lnTo>
                  <a:lnTo>
                    <a:pt x="1379" y="1837"/>
                  </a:lnTo>
                  <a:lnTo>
                    <a:pt x="1392" y="1836"/>
                  </a:lnTo>
                  <a:lnTo>
                    <a:pt x="1415" y="1833"/>
                  </a:lnTo>
                  <a:lnTo>
                    <a:pt x="1438" y="1827"/>
                  </a:lnTo>
                  <a:lnTo>
                    <a:pt x="1459" y="1819"/>
                  </a:lnTo>
                  <a:lnTo>
                    <a:pt x="1481" y="1809"/>
                  </a:lnTo>
                  <a:lnTo>
                    <a:pt x="1501" y="1797"/>
                  </a:lnTo>
                  <a:lnTo>
                    <a:pt x="1519" y="1784"/>
                  </a:lnTo>
                  <a:lnTo>
                    <a:pt x="1536" y="1769"/>
                  </a:lnTo>
                  <a:lnTo>
                    <a:pt x="1551" y="1751"/>
                  </a:lnTo>
                  <a:lnTo>
                    <a:pt x="1564" y="1733"/>
                  </a:lnTo>
                  <a:lnTo>
                    <a:pt x="1577" y="1713"/>
                  </a:lnTo>
                  <a:lnTo>
                    <a:pt x="1587" y="1692"/>
                  </a:lnTo>
                  <a:lnTo>
                    <a:pt x="1595" y="1671"/>
                  </a:lnTo>
                  <a:lnTo>
                    <a:pt x="1600" y="1648"/>
                  </a:lnTo>
                  <a:lnTo>
                    <a:pt x="1604" y="1625"/>
                  </a:lnTo>
                  <a:lnTo>
                    <a:pt x="1605" y="1612"/>
                  </a:lnTo>
                  <a:lnTo>
                    <a:pt x="1605" y="1600"/>
                  </a:lnTo>
                  <a:lnTo>
                    <a:pt x="1605" y="585"/>
                  </a:lnTo>
                  <a:lnTo>
                    <a:pt x="1605" y="585"/>
                  </a:lnTo>
                  <a:lnTo>
                    <a:pt x="1604" y="574"/>
                  </a:lnTo>
                  <a:lnTo>
                    <a:pt x="1601" y="562"/>
                  </a:lnTo>
                  <a:lnTo>
                    <a:pt x="1601" y="562"/>
                  </a:lnTo>
                  <a:lnTo>
                    <a:pt x="1595" y="552"/>
                  </a:lnTo>
                  <a:lnTo>
                    <a:pt x="1588" y="544"/>
                  </a:lnTo>
                  <a:lnTo>
                    <a:pt x="1588" y="544"/>
                  </a:lnTo>
                  <a:close/>
                  <a:moveTo>
                    <a:pt x="1072" y="405"/>
                  </a:moveTo>
                  <a:lnTo>
                    <a:pt x="1072" y="195"/>
                  </a:lnTo>
                  <a:lnTo>
                    <a:pt x="1404" y="526"/>
                  </a:lnTo>
                  <a:lnTo>
                    <a:pt x="1193" y="526"/>
                  </a:lnTo>
                  <a:lnTo>
                    <a:pt x="1193" y="526"/>
                  </a:lnTo>
                  <a:lnTo>
                    <a:pt x="1181" y="525"/>
                  </a:lnTo>
                  <a:lnTo>
                    <a:pt x="1168" y="523"/>
                  </a:lnTo>
                  <a:lnTo>
                    <a:pt x="1157" y="520"/>
                  </a:lnTo>
                  <a:lnTo>
                    <a:pt x="1146" y="516"/>
                  </a:lnTo>
                  <a:lnTo>
                    <a:pt x="1136" y="511"/>
                  </a:lnTo>
                  <a:lnTo>
                    <a:pt x="1125" y="506"/>
                  </a:lnTo>
                  <a:lnTo>
                    <a:pt x="1116" y="499"/>
                  </a:lnTo>
                  <a:lnTo>
                    <a:pt x="1108" y="490"/>
                  </a:lnTo>
                  <a:lnTo>
                    <a:pt x="1100" y="482"/>
                  </a:lnTo>
                  <a:lnTo>
                    <a:pt x="1092" y="473"/>
                  </a:lnTo>
                  <a:lnTo>
                    <a:pt x="1087" y="463"/>
                  </a:lnTo>
                  <a:lnTo>
                    <a:pt x="1082" y="452"/>
                  </a:lnTo>
                  <a:lnTo>
                    <a:pt x="1078" y="441"/>
                  </a:lnTo>
                  <a:lnTo>
                    <a:pt x="1075" y="430"/>
                  </a:lnTo>
                  <a:lnTo>
                    <a:pt x="1073" y="417"/>
                  </a:lnTo>
                  <a:lnTo>
                    <a:pt x="1072" y="405"/>
                  </a:lnTo>
                  <a:lnTo>
                    <a:pt x="1072"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170"/>
              <a:endParaRPr lang="en-US">
                <a:solidFill>
                  <a:srgbClr val="435153"/>
                </a:solidFill>
                <a:latin typeface="+mj-lt"/>
              </a:endParaRPr>
            </a:p>
          </p:txBody>
        </p:sp>
      </p:grpSp>
      <p:sp>
        <p:nvSpPr>
          <p:cNvPr id="532" name="Rectangle 531"/>
          <p:cNvSpPr/>
          <p:nvPr/>
        </p:nvSpPr>
        <p:spPr>
          <a:xfrm>
            <a:off x="6715870" y="2404955"/>
            <a:ext cx="20918" cy="349773"/>
          </a:xfrm>
          <a:prstGeom prst="rect">
            <a:avLst/>
          </a:prstGeom>
          <a:gradFill>
            <a:gsLst>
              <a:gs pos="0">
                <a:srgbClr val="EAEEEE">
                  <a:alpha val="55000"/>
                </a:srgbClr>
              </a:gs>
              <a:gs pos="100000">
                <a:srgbClr val="565595"/>
              </a:gs>
            </a:gsLst>
            <a:lin ang="5400000" scaled="0"/>
          </a:gradFill>
          <a:ln w="25400" cap="flat" cmpd="sng" algn="ctr">
            <a:noFill/>
            <a:prstDash val="solid"/>
          </a:ln>
          <a:effectLst/>
        </p:spPr>
        <p:txBody>
          <a:bodyPr lIns="91436" tIns="45718" rIns="91436" bIns="45718" rtlCol="0" anchor="ctr"/>
          <a:lstStyle/>
          <a:p>
            <a:pPr algn="ctr" defTabSz="1218539"/>
            <a:endParaRPr lang="en-US" sz="2400" kern="0">
              <a:solidFill>
                <a:prstClr val="white"/>
              </a:solidFill>
              <a:latin typeface="+mj-lt"/>
            </a:endParaRPr>
          </a:p>
        </p:txBody>
      </p:sp>
      <p:sp>
        <p:nvSpPr>
          <p:cNvPr id="501" name="Rectangle 500"/>
          <p:cNvSpPr/>
          <p:nvPr/>
        </p:nvSpPr>
        <p:spPr>
          <a:xfrm>
            <a:off x="8228108" y="4023246"/>
            <a:ext cx="123659" cy="123659"/>
          </a:xfrm>
          <a:prstGeom prst="rect">
            <a:avLst/>
          </a:prstGeom>
          <a:solidFill>
            <a:srgbClr val="004080"/>
          </a:solidFill>
          <a:ln>
            <a:noFill/>
          </a:ln>
        </p:spPr>
        <p:txBody>
          <a:bodyPr vert="horz" wrap="square" lIns="0" tIns="91436" rIns="0" bIns="0" numCol="1" anchor="t" anchorCtr="0" compatLnSpc="1">
            <a:prstTxWarp prst="textNoShape">
              <a:avLst/>
            </a:prstTxWarp>
            <a:noAutofit/>
          </a:bodyPr>
          <a:lstStyle/>
          <a:p>
            <a:pPr algn="ctr" defTabSz="914103"/>
            <a:endParaRPr lang="en-US" sz="900" kern="0" dirty="0">
              <a:solidFill>
                <a:srgbClr val="2F2E7E"/>
              </a:solidFill>
              <a:latin typeface="+mj-lt"/>
            </a:endParaRPr>
          </a:p>
        </p:txBody>
      </p:sp>
      <p:sp>
        <p:nvSpPr>
          <p:cNvPr id="502" name="Rectangle 501"/>
          <p:cNvSpPr/>
          <p:nvPr/>
        </p:nvSpPr>
        <p:spPr>
          <a:xfrm>
            <a:off x="8376916" y="4046048"/>
            <a:ext cx="362217" cy="8833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8" rIns="0" bIns="45718" rtlCol="0" anchor="ctr"/>
          <a:lstStyle/>
          <a:p>
            <a:pPr defTabSz="457170"/>
            <a:r>
              <a:rPr lang="en-US" sz="800" kern="0" dirty="0">
                <a:solidFill>
                  <a:srgbClr val="676767">
                    <a:lumMod val="75000"/>
                  </a:srgbClr>
                </a:solidFill>
                <a:latin typeface="+mj-lt"/>
                <a:ea typeface="ＭＳ Ｐゴシック" charset="0"/>
                <a:cs typeface="ＭＳ Ｐゴシック" charset="0"/>
              </a:rPr>
              <a:t>Hybrid</a:t>
            </a:r>
          </a:p>
        </p:txBody>
      </p:sp>
      <p:sp>
        <p:nvSpPr>
          <p:cNvPr id="503" name="Rectangle 502"/>
          <p:cNvSpPr/>
          <p:nvPr/>
        </p:nvSpPr>
        <p:spPr>
          <a:xfrm>
            <a:off x="1321352" y="2942415"/>
            <a:ext cx="3949284" cy="341029"/>
          </a:xfrm>
          <a:prstGeom prst="rect">
            <a:avLst/>
          </a:prstGeom>
          <a:solidFill>
            <a:srgbClr val="D7E8FC"/>
          </a:solidFill>
          <a:ln w="6350">
            <a:solidFill>
              <a:schemeClr val="tx2">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45718" tIns="45718" rIns="91436" bIns="45718" rtlCol="0" anchor="ctr"/>
          <a:lstStyle/>
          <a:p>
            <a:r>
              <a:rPr lang="en-US" sz="1000" dirty="0">
                <a:solidFill>
                  <a:schemeClr val="accent5">
                    <a:lumMod val="50000"/>
                  </a:schemeClr>
                </a:solidFill>
                <a:latin typeface="+mj-lt"/>
              </a:rPr>
              <a:t>CWS</a:t>
            </a:r>
          </a:p>
        </p:txBody>
      </p:sp>
      <p:sp>
        <p:nvSpPr>
          <p:cNvPr id="504" name="Rectangle 503"/>
          <p:cNvSpPr/>
          <p:nvPr/>
        </p:nvSpPr>
        <p:spPr>
          <a:xfrm>
            <a:off x="1321352" y="3295926"/>
            <a:ext cx="3949284" cy="341029"/>
          </a:xfrm>
          <a:prstGeom prst="rect">
            <a:avLst/>
          </a:prstGeom>
          <a:solidFill>
            <a:srgbClr val="000099">
              <a:alpha val="6667"/>
            </a:srgbClr>
          </a:solidFill>
          <a:ln w="6350">
            <a:solidFill>
              <a:srgbClr val="8989FF"/>
            </a:solidFill>
          </a:ln>
          <a:effectLst/>
        </p:spPr>
        <p:style>
          <a:lnRef idx="2">
            <a:schemeClr val="accent1">
              <a:shade val="50000"/>
            </a:schemeClr>
          </a:lnRef>
          <a:fillRef idx="1">
            <a:schemeClr val="accent1"/>
          </a:fillRef>
          <a:effectRef idx="0">
            <a:schemeClr val="accent1"/>
          </a:effectRef>
          <a:fontRef idx="minor">
            <a:schemeClr val="lt1"/>
          </a:fontRef>
        </p:style>
        <p:txBody>
          <a:bodyPr lIns="45718" tIns="45718" rIns="91436" bIns="45718" rtlCol="0" anchor="ctr"/>
          <a:lstStyle/>
          <a:p>
            <a:r>
              <a:rPr lang="en-US" sz="1000" dirty="0">
                <a:solidFill>
                  <a:schemeClr val="accent3">
                    <a:lumMod val="75000"/>
                  </a:schemeClr>
                </a:solidFill>
                <a:latin typeface="+mj-lt"/>
              </a:rPr>
              <a:t>WSA</a:t>
            </a:r>
          </a:p>
        </p:txBody>
      </p:sp>
      <p:sp>
        <p:nvSpPr>
          <p:cNvPr id="505" name="Freeform 504"/>
          <p:cNvSpPr>
            <a:spLocks noEditPoints="1"/>
          </p:cNvSpPr>
          <p:nvPr/>
        </p:nvSpPr>
        <p:spPr bwMode="auto">
          <a:xfrm flipH="1">
            <a:off x="1223934" y="3836669"/>
            <a:ext cx="437690" cy="486280"/>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rgbClr val="676767">
              <a:lumMod val="85000"/>
            </a:srgbClr>
          </a:solidFill>
          <a:ln w="9525">
            <a:noFill/>
            <a:round/>
            <a:headEnd/>
            <a:tailEnd/>
          </a:ln>
        </p:spPr>
        <p:txBody>
          <a:bodyPr vert="horz" wrap="square" lIns="68577" tIns="34289" rIns="68577" bIns="34289" numCol="1" anchor="t" anchorCtr="0" compatLnSpc="1">
            <a:prstTxWarp prst="textNoShape">
              <a:avLst/>
            </a:prstTxWarp>
          </a:bodyPr>
          <a:lstStyle/>
          <a:p>
            <a:pPr defTabSz="685600" fontAlgn="auto">
              <a:spcBef>
                <a:spcPts val="0"/>
              </a:spcBef>
              <a:spcAft>
                <a:spcPts val="0"/>
              </a:spcAft>
              <a:defRPr/>
            </a:pPr>
            <a:endParaRPr lang="en-US" sz="900" kern="0">
              <a:solidFill>
                <a:srgbClr val="FFFFFF"/>
              </a:solidFill>
              <a:latin typeface="+mj-lt"/>
            </a:endParaRPr>
          </a:p>
        </p:txBody>
      </p:sp>
      <p:sp>
        <p:nvSpPr>
          <p:cNvPr id="506" name="Rounded Rectangle 191"/>
          <p:cNvSpPr/>
          <p:nvPr/>
        </p:nvSpPr>
        <p:spPr>
          <a:xfrm>
            <a:off x="4005226" y="4327057"/>
            <a:ext cx="786948"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defRPr/>
            </a:pPr>
            <a:r>
              <a:rPr lang="ja-JP" altLang="en-US" sz="900" kern="0" dirty="0" smtClean="0">
                <a:solidFill>
                  <a:srgbClr val="676767"/>
                </a:solidFill>
                <a:latin typeface="+mj-lt"/>
              </a:rPr>
              <a:t>ローミング</a:t>
            </a:r>
            <a:endParaRPr lang="en-US" sz="900" kern="0" dirty="0">
              <a:solidFill>
                <a:srgbClr val="676767"/>
              </a:solidFill>
              <a:latin typeface="+mj-lt"/>
            </a:endParaRPr>
          </a:p>
        </p:txBody>
      </p:sp>
      <p:grpSp>
        <p:nvGrpSpPr>
          <p:cNvPr id="789" name="Group 506"/>
          <p:cNvGrpSpPr/>
          <p:nvPr/>
        </p:nvGrpSpPr>
        <p:grpSpPr>
          <a:xfrm>
            <a:off x="4296840" y="3778979"/>
            <a:ext cx="396046" cy="543970"/>
            <a:chOff x="2427200" y="7613831"/>
            <a:chExt cx="1051866" cy="1445113"/>
          </a:xfrm>
          <a:solidFill>
            <a:srgbClr val="676767">
              <a:lumMod val="85000"/>
            </a:srgbClr>
          </a:solidFill>
        </p:grpSpPr>
        <p:grpSp>
          <p:nvGrpSpPr>
            <p:cNvPr id="793" name="Group 549"/>
            <p:cNvGrpSpPr/>
            <p:nvPr/>
          </p:nvGrpSpPr>
          <p:grpSpPr>
            <a:xfrm rot="19897570">
              <a:off x="3208484" y="7613831"/>
              <a:ext cx="270582" cy="541943"/>
              <a:chOff x="4630738" y="4803775"/>
              <a:chExt cx="2216150" cy="4438650"/>
            </a:xfrm>
            <a:grpFill/>
          </p:grpSpPr>
          <p:sp>
            <p:nvSpPr>
              <p:cNvPr id="554" name="Freeform 5"/>
              <p:cNvSpPr>
                <a:spLocks/>
              </p:cNvSpPr>
              <p:nvPr/>
            </p:nvSpPr>
            <p:spPr bwMode="auto">
              <a:xfrm>
                <a:off x="5462588" y="4803775"/>
                <a:ext cx="1384300" cy="4438650"/>
              </a:xfrm>
              <a:custGeom>
                <a:avLst/>
                <a:gdLst>
                  <a:gd name="T0" fmla="*/ 226 w 872"/>
                  <a:gd name="T1" fmla="*/ 6 h 2796"/>
                  <a:gd name="T2" fmla="*/ 298 w 872"/>
                  <a:gd name="T3" fmla="*/ 46 h 2796"/>
                  <a:gd name="T4" fmla="*/ 378 w 872"/>
                  <a:gd name="T5" fmla="*/ 124 h 2796"/>
                  <a:gd name="T6" fmla="*/ 470 w 872"/>
                  <a:gd name="T7" fmla="*/ 232 h 2796"/>
                  <a:gd name="T8" fmla="*/ 590 w 872"/>
                  <a:gd name="T9" fmla="*/ 402 h 2796"/>
                  <a:gd name="T10" fmla="*/ 688 w 872"/>
                  <a:gd name="T11" fmla="*/ 582 h 2796"/>
                  <a:gd name="T12" fmla="*/ 766 w 872"/>
                  <a:gd name="T13" fmla="*/ 774 h 2796"/>
                  <a:gd name="T14" fmla="*/ 824 w 872"/>
                  <a:gd name="T15" fmla="*/ 974 h 2796"/>
                  <a:gd name="T16" fmla="*/ 850 w 872"/>
                  <a:gd name="T17" fmla="*/ 1112 h 2796"/>
                  <a:gd name="T18" fmla="*/ 872 w 872"/>
                  <a:gd name="T19" fmla="*/ 1362 h 2796"/>
                  <a:gd name="T20" fmla="*/ 862 w 872"/>
                  <a:gd name="T21" fmla="*/ 1606 h 2796"/>
                  <a:gd name="T22" fmla="*/ 820 w 872"/>
                  <a:gd name="T23" fmla="*/ 1844 h 2796"/>
                  <a:gd name="T24" fmla="*/ 748 w 872"/>
                  <a:gd name="T25" fmla="*/ 2076 h 2796"/>
                  <a:gd name="T26" fmla="*/ 642 w 872"/>
                  <a:gd name="T27" fmla="*/ 2302 h 2796"/>
                  <a:gd name="T28" fmla="*/ 570 w 872"/>
                  <a:gd name="T29" fmla="*/ 2426 h 2796"/>
                  <a:gd name="T30" fmla="*/ 468 w 872"/>
                  <a:gd name="T31" fmla="*/ 2570 h 2796"/>
                  <a:gd name="T32" fmla="*/ 352 w 872"/>
                  <a:gd name="T33" fmla="*/ 2702 h 2796"/>
                  <a:gd name="T34" fmla="*/ 296 w 872"/>
                  <a:gd name="T35" fmla="*/ 2756 h 2796"/>
                  <a:gd name="T36" fmla="*/ 252 w 872"/>
                  <a:gd name="T37" fmla="*/ 2782 h 2796"/>
                  <a:gd name="T38" fmla="*/ 202 w 872"/>
                  <a:gd name="T39" fmla="*/ 2794 h 2796"/>
                  <a:gd name="T40" fmla="*/ 152 w 872"/>
                  <a:gd name="T41" fmla="*/ 2794 h 2796"/>
                  <a:gd name="T42" fmla="*/ 102 w 872"/>
                  <a:gd name="T43" fmla="*/ 2778 h 2796"/>
                  <a:gd name="T44" fmla="*/ 60 w 872"/>
                  <a:gd name="T45" fmla="*/ 2748 h 2796"/>
                  <a:gd name="T46" fmla="*/ 36 w 872"/>
                  <a:gd name="T47" fmla="*/ 2720 h 2796"/>
                  <a:gd name="T48" fmla="*/ 10 w 872"/>
                  <a:gd name="T49" fmla="*/ 2672 h 2796"/>
                  <a:gd name="T50" fmla="*/ 0 w 872"/>
                  <a:gd name="T51" fmla="*/ 2622 h 2796"/>
                  <a:gd name="T52" fmla="*/ 6 w 872"/>
                  <a:gd name="T53" fmla="*/ 2570 h 2796"/>
                  <a:gd name="T54" fmla="*/ 26 w 872"/>
                  <a:gd name="T55" fmla="*/ 2522 h 2796"/>
                  <a:gd name="T56" fmla="*/ 48 w 872"/>
                  <a:gd name="T57" fmla="*/ 2494 h 2796"/>
                  <a:gd name="T58" fmla="*/ 160 w 872"/>
                  <a:gd name="T59" fmla="*/ 2368 h 2796"/>
                  <a:gd name="T60" fmla="*/ 258 w 872"/>
                  <a:gd name="T61" fmla="*/ 2234 h 2796"/>
                  <a:gd name="T62" fmla="*/ 316 w 872"/>
                  <a:gd name="T63" fmla="*/ 2138 h 2796"/>
                  <a:gd name="T64" fmla="*/ 408 w 872"/>
                  <a:gd name="T65" fmla="*/ 1940 h 2796"/>
                  <a:gd name="T66" fmla="*/ 470 w 872"/>
                  <a:gd name="T67" fmla="*/ 1732 h 2796"/>
                  <a:gd name="T68" fmla="*/ 494 w 872"/>
                  <a:gd name="T69" fmla="*/ 1588 h 2796"/>
                  <a:gd name="T70" fmla="*/ 506 w 872"/>
                  <a:gd name="T71" fmla="*/ 1348 h 2796"/>
                  <a:gd name="T72" fmla="*/ 480 w 872"/>
                  <a:gd name="T73" fmla="*/ 1114 h 2796"/>
                  <a:gd name="T74" fmla="*/ 442 w 872"/>
                  <a:gd name="T75" fmla="*/ 960 h 2796"/>
                  <a:gd name="T76" fmla="*/ 396 w 872"/>
                  <a:gd name="T77" fmla="*/ 826 h 2796"/>
                  <a:gd name="T78" fmla="*/ 338 w 872"/>
                  <a:gd name="T79" fmla="*/ 700 h 2796"/>
                  <a:gd name="T80" fmla="*/ 268 w 872"/>
                  <a:gd name="T81" fmla="*/ 580 h 2796"/>
                  <a:gd name="T82" fmla="*/ 188 w 872"/>
                  <a:gd name="T83" fmla="*/ 466 h 2796"/>
                  <a:gd name="T84" fmla="*/ 98 w 872"/>
                  <a:gd name="T85" fmla="*/ 358 h 2796"/>
                  <a:gd name="T86" fmla="*/ 44 w 872"/>
                  <a:gd name="T87" fmla="*/ 304 h 2796"/>
                  <a:gd name="T88" fmla="*/ 6 w 872"/>
                  <a:gd name="T89" fmla="*/ 234 h 2796"/>
                  <a:gd name="T90" fmla="*/ 2 w 872"/>
                  <a:gd name="T91" fmla="*/ 158 h 2796"/>
                  <a:gd name="T92" fmla="*/ 20 w 872"/>
                  <a:gd name="T93" fmla="*/ 104 h 2796"/>
                  <a:gd name="T94" fmla="*/ 66 w 872"/>
                  <a:gd name="T95" fmla="*/ 44 h 2796"/>
                  <a:gd name="T96" fmla="*/ 134 w 872"/>
                  <a:gd name="T97" fmla="*/ 10 h 2796"/>
                  <a:gd name="T98" fmla="*/ 166 w 872"/>
                  <a:gd name="T99" fmla="*/ 4 h 2796"/>
                  <a:gd name="T100" fmla="*/ 198 w 872"/>
                  <a:gd name="T101" fmla="*/ 0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72" h="2796">
                    <a:moveTo>
                      <a:pt x="198" y="0"/>
                    </a:moveTo>
                    <a:lnTo>
                      <a:pt x="198" y="0"/>
                    </a:lnTo>
                    <a:lnTo>
                      <a:pt x="226" y="6"/>
                    </a:lnTo>
                    <a:lnTo>
                      <a:pt x="252" y="18"/>
                    </a:lnTo>
                    <a:lnTo>
                      <a:pt x="276" y="30"/>
                    </a:lnTo>
                    <a:lnTo>
                      <a:pt x="298" y="46"/>
                    </a:lnTo>
                    <a:lnTo>
                      <a:pt x="320" y="64"/>
                    </a:lnTo>
                    <a:lnTo>
                      <a:pt x="340" y="84"/>
                    </a:lnTo>
                    <a:lnTo>
                      <a:pt x="378" y="124"/>
                    </a:lnTo>
                    <a:lnTo>
                      <a:pt x="378" y="124"/>
                    </a:lnTo>
                    <a:lnTo>
                      <a:pt x="424" y="178"/>
                    </a:lnTo>
                    <a:lnTo>
                      <a:pt x="470" y="232"/>
                    </a:lnTo>
                    <a:lnTo>
                      <a:pt x="512" y="288"/>
                    </a:lnTo>
                    <a:lnTo>
                      <a:pt x="552" y="344"/>
                    </a:lnTo>
                    <a:lnTo>
                      <a:pt x="590" y="402"/>
                    </a:lnTo>
                    <a:lnTo>
                      <a:pt x="624" y="462"/>
                    </a:lnTo>
                    <a:lnTo>
                      <a:pt x="658" y="522"/>
                    </a:lnTo>
                    <a:lnTo>
                      <a:pt x="688" y="582"/>
                    </a:lnTo>
                    <a:lnTo>
                      <a:pt x="718" y="646"/>
                    </a:lnTo>
                    <a:lnTo>
                      <a:pt x="744" y="708"/>
                    </a:lnTo>
                    <a:lnTo>
                      <a:pt x="766" y="774"/>
                    </a:lnTo>
                    <a:lnTo>
                      <a:pt x="788" y="838"/>
                    </a:lnTo>
                    <a:lnTo>
                      <a:pt x="808" y="906"/>
                    </a:lnTo>
                    <a:lnTo>
                      <a:pt x="824" y="974"/>
                    </a:lnTo>
                    <a:lnTo>
                      <a:pt x="838" y="1042"/>
                    </a:lnTo>
                    <a:lnTo>
                      <a:pt x="850" y="1112"/>
                    </a:lnTo>
                    <a:lnTo>
                      <a:pt x="850" y="1112"/>
                    </a:lnTo>
                    <a:lnTo>
                      <a:pt x="862" y="1196"/>
                    </a:lnTo>
                    <a:lnTo>
                      <a:pt x="868" y="1280"/>
                    </a:lnTo>
                    <a:lnTo>
                      <a:pt x="872" y="1362"/>
                    </a:lnTo>
                    <a:lnTo>
                      <a:pt x="872" y="1444"/>
                    </a:lnTo>
                    <a:lnTo>
                      <a:pt x="870" y="1526"/>
                    </a:lnTo>
                    <a:lnTo>
                      <a:pt x="862" y="1606"/>
                    </a:lnTo>
                    <a:lnTo>
                      <a:pt x="852" y="1686"/>
                    </a:lnTo>
                    <a:lnTo>
                      <a:pt x="838" y="1766"/>
                    </a:lnTo>
                    <a:lnTo>
                      <a:pt x="820" y="1844"/>
                    </a:lnTo>
                    <a:lnTo>
                      <a:pt x="800" y="1922"/>
                    </a:lnTo>
                    <a:lnTo>
                      <a:pt x="776" y="2000"/>
                    </a:lnTo>
                    <a:lnTo>
                      <a:pt x="748" y="2076"/>
                    </a:lnTo>
                    <a:lnTo>
                      <a:pt x="716" y="2152"/>
                    </a:lnTo>
                    <a:lnTo>
                      <a:pt x="682" y="2228"/>
                    </a:lnTo>
                    <a:lnTo>
                      <a:pt x="642" y="2302"/>
                    </a:lnTo>
                    <a:lnTo>
                      <a:pt x="600" y="2376"/>
                    </a:lnTo>
                    <a:lnTo>
                      <a:pt x="600" y="2376"/>
                    </a:lnTo>
                    <a:lnTo>
                      <a:pt x="570" y="2426"/>
                    </a:lnTo>
                    <a:lnTo>
                      <a:pt x="538" y="2476"/>
                    </a:lnTo>
                    <a:lnTo>
                      <a:pt x="504" y="2524"/>
                    </a:lnTo>
                    <a:lnTo>
                      <a:pt x="468" y="2570"/>
                    </a:lnTo>
                    <a:lnTo>
                      <a:pt x="430" y="2616"/>
                    </a:lnTo>
                    <a:lnTo>
                      <a:pt x="392" y="2660"/>
                    </a:lnTo>
                    <a:lnTo>
                      <a:pt x="352" y="2702"/>
                    </a:lnTo>
                    <a:lnTo>
                      <a:pt x="310" y="2744"/>
                    </a:lnTo>
                    <a:lnTo>
                      <a:pt x="310" y="2744"/>
                    </a:lnTo>
                    <a:lnTo>
                      <a:pt x="296" y="2756"/>
                    </a:lnTo>
                    <a:lnTo>
                      <a:pt x="282" y="2766"/>
                    </a:lnTo>
                    <a:lnTo>
                      <a:pt x="268" y="2776"/>
                    </a:lnTo>
                    <a:lnTo>
                      <a:pt x="252" y="2782"/>
                    </a:lnTo>
                    <a:lnTo>
                      <a:pt x="236" y="2788"/>
                    </a:lnTo>
                    <a:lnTo>
                      <a:pt x="218" y="2792"/>
                    </a:lnTo>
                    <a:lnTo>
                      <a:pt x="202" y="2794"/>
                    </a:lnTo>
                    <a:lnTo>
                      <a:pt x="184" y="2796"/>
                    </a:lnTo>
                    <a:lnTo>
                      <a:pt x="168" y="2796"/>
                    </a:lnTo>
                    <a:lnTo>
                      <a:pt x="152" y="2794"/>
                    </a:lnTo>
                    <a:lnTo>
                      <a:pt x="134" y="2790"/>
                    </a:lnTo>
                    <a:lnTo>
                      <a:pt x="118" y="2784"/>
                    </a:lnTo>
                    <a:lnTo>
                      <a:pt x="102" y="2778"/>
                    </a:lnTo>
                    <a:lnTo>
                      <a:pt x="88" y="2768"/>
                    </a:lnTo>
                    <a:lnTo>
                      <a:pt x="74" y="2758"/>
                    </a:lnTo>
                    <a:lnTo>
                      <a:pt x="60" y="2748"/>
                    </a:lnTo>
                    <a:lnTo>
                      <a:pt x="60" y="2748"/>
                    </a:lnTo>
                    <a:lnTo>
                      <a:pt x="46" y="2734"/>
                    </a:lnTo>
                    <a:lnTo>
                      <a:pt x="36" y="2720"/>
                    </a:lnTo>
                    <a:lnTo>
                      <a:pt x="26" y="2704"/>
                    </a:lnTo>
                    <a:lnTo>
                      <a:pt x="16" y="2688"/>
                    </a:lnTo>
                    <a:lnTo>
                      <a:pt x="10" y="2672"/>
                    </a:lnTo>
                    <a:lnTo>
                      <a:pt x="6" y="2656"/>
                    </a:lnTo>
                    <a:lnTo>
                      <a:pt x="2" y="2638"/>
                    </a:lnTo>
                    <a:lnTo>
                      <a:pt x="0" y="2622"/>
                    </a:lnTo>
                    <a:lnTo>
                      <a:pt x="0" y="2604"/>
                    </a:lnTo>
                    <a:lnTo>
                      <a:pt x="2" y="2588"/>
                    </a:lnTo>
                    <a:lnTo>
                      <a:pt x="6" y="2570"/>
                    </a:lnTo>
                    <a:lnTo>
                      <a:pt x="10" y="2554"/>
                    </a:lnTo>
                    <a:lnTo>
                      <a:pt x="18" y="2538"/>
                    </a:lnTo>
                    <a:lnTo>
                      <a:pt x="26" y="2522"/>
                    </a:lnTo>
                    <a:lnTo>
                      <a:pt x="36" y="2508"/>
                    </a:lnTo>
                    <a:lnTo>
                      <a:pt x="48" y="2494"/>
                    </a:lnTo>
                    <a:lnTo>
                      <a:pt x="48" y="2494"/>
                    </a:lnTo>
                    <a:lnTo>
                      <a:pt x="86" y="2452"/>
                    </a:lnTo>
                    <a:lnTo>
                      <a:pt x="124" y="2410"/>
                    </a:lnTo>
                    <a:lnTo>
                      <a:pt x="160" y="2368"/>
                    </a:lnTo>
                    <a:lnTo>
                      <a:pt x="194" y="2324"/>
                    </a:lnTo>
                    <a:lnTo>
                      <a:pt x="228" y="2280"/>
                    </a:lnTo>
                    <a:lnTo>
                      <a:pt x="258" y="2234"/>
                    </a:lnTo>
                    <a:lnTo>
                      <a:pt x="288" y="2186"/>
                    </a:lnTo>
                    <a:lnTo>
                      <a:pt x="316" y="2138"/>
                    </a:lnTo>
                    <a:lnTo>
                      <a:pt x="316" y="2138"/>
                    </a:lnTo>
                    <a:lnTo>
                      <a:pt x="350" y="2072"/>
                    </a:lnTo>
                    <a:lnTo>
                      <a:pt x="380" y="2006"/>
                    </a:lnTo>
                    <a:lnTo>
                      <a:pt x="408" y="1940"/>
                    </a:lnTo>
                    <a:lnTo>
                      <a:pt x="432" y="1872"/>
                    </a:lnTo>
                    <a:lnTo>
                      <a:pt x="452" y="1802"/>
                    </a:lnTo>
                    <a:lnTo>
                      <a:pt x="470" y="1732"/>
                    </a:lnTo>
                    <a:lnTo>
                      <a:pt x="484" y="1660"/>
                    </a:lnTo>
                    <a:lnTo>
                      <a:pt x="494" y="1588"/>
                    </a:lnTo>
                    <a:lnTo>
                      <a:pt x="494" y="1588"/>
                    </a:lnTo>
                    <a:lnTo>
                      <a:pt x="502" y="1508"/>
                    </a:lnTo>
                    <a:lnTo>
                      <a:pt x="506" y="1428"/>
                    </a:lnTo>
                    <a:lnTo>
                      <a:pt x="506" y="1348"/>
                    </a:lnTo>
                    <a:lnTo>
                      <a:pt x="502" y="1270"/>
                    </a:lnTo>
                    <a:lnTo>
                      <a:pt x="492" y="1192"/>
                    </a:lnTo>
                    <a:lnTo>
                      <a:pt x="480" y="1114"/>
                    </a:lnTo>
                    <a:lnTo>
                      <a:pt x="464" y="1036"/>
                    </a:lnTo>
                    <a:lnTo>
                      <a:pt x="442" y="960"/>
                    </a:lnTo>
                    <a:lnTo>
                      <a:pt x="442" y="960"/>
                    </a:lnTo>
                    <a:lnTo>
                      <a:pt x="428" y="914"/>
                    </a:lnTo>
                    <a:lnTo>
                      <a:pt x="412" y="870"/>
                    </a:lnTo>
                    <a:lnTo>
                      <a:pt x="396" y="826"/>
                    </a:lnTo>
                    <a:lnTo>
                      <a:pt x="378" y="784"/>
                    </a:lnTo>
                    <a:lnTo>
                      <a:pt x="358" y="742"/>
                    </a:lnTo>
                    <a:lnTo>
                      <a:pt x="338" y="700"/>
                    </a:lnTo>
                    <a:lnTo>
                      <a:pt x="316" y="658"/>
                    </a:lnTo>
                    <a:lnTo>
                      <a:pt x="292" y="618"/>
                    </a:lnTo>
                    <a:lnTo>
                      <a:pt x="268" y="580"/>
                    </a:lnTo>
                    <a:lnTo>
                      <a:pt x="244" y="540"/>
                    </a:lnTo>
                    <a:lnTo>
                      <a:pt x="216" y="502"/>
                    </a:lnTo>
                    <a:lnTo>
                      <a:pt x="188" y="466"/>
                    </a:lnTo>
                    <a:lnTo>
                      <a:pt x="160" y="430"/>
                    </a:lnTo>
                    <a:lnTo>
                      <a:pt x="128" y="394"/>
                    </a:lnTo>
                    <a:lnTo>
                      <a:pt x="98" y="358"/>
                    </a:lnTo>
                    <a:lnTo>
                      <a:pt x="64" y="324"/>
                    </a:lnTo>
                    <a:lnTo>
                      <a:pt x="64" y="324"/>
                    </a:lnTo>
                    <a:lnTo>
                      <a:pt x="44" y="304"/>
                    </a:lnTo>
                    <a:lnTo>
                      <a:pt x="28" y="282"/>
                    </a:lnTo>
                    <a:lnTo>
                      <a:pt x="16" y="258"/>
                    </a:lnTo>
                    <a:lnTo>
                      <a:pt x="6" y="234"/>
                    </a:lnTo>
                    <a:lnTo>
                      <a:pt x="2" y="210"/>
                    </a:lnTo>
                    <a:lnTo>
                      <a:pt x="0" y="184"/>
                    </a:lnTo>
                    <a:lnTo>
                      <a:pt x="2" y="158"/>
                    </a:lnTo>
                    <a:lnTo>
                      <a:pt x="10" y="130"/>
                    </a:lnTo>
                    <a:lnTo>
                      <a:pt x="10" y="130"/>
                    </a:lnTo>
                    <a:lnTo>
                      <a:pt x="20" y="104"/>
                    </a:lnTo>
                    <a:lnTo>
                      <a:pt x="32" y="82"/>
                    </a:lnTo>
                    <a:lnTo>
                      <a:pt x="48" y="62"/>
                    </a:lnTo>
                    <a:lnTo>
                      <a:pt x="66" y="44"/>
                    </a:lnTo>
                    <a:lnTo>
                      <a:pt x="86" y="30"/>
                    </a:lnTo>
                    <a:lnTo>
                      <a:pt x="110" y="18"/>
                    </a:lnTo>
                    <a:lnTo>
                      <a:pt x="134" y="10"/>
                    </a:lnTo>
                    <a:lnTo>
                      <a:pt x="162" y="6"/>
                    </a:lnTo>
                    <a:lnTo>
                      <a:pt x="162" y="6"/>
                    </a:lnTo>
                    <a:lnTo>
                      <a:pt x="166" y="4"/>
                    </a:lnTo>
                    <a:lnTo>
                      <a:pt x="170" y="0"/>
                    </a:lnTo>
                    <a:lnTo>
                      <a:pt x="170" y="0"/>
                    </a:lnTo>
                    <a:lnTo>
                      <a:pt x="198" y="0"/>
                    </a:lnTo>
                    <a:lnTo>
                      <a:pt x="1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55" name="Freeform 6"/>
              <p:cNvSpPr>
                <a:spLocks/>
              </p:cNvSpPr>
              <p:nvPr/>
            </p:nvSpPr>
            <p:spPr bwMode="auto">
              <a:xfrm>
                <a:off x="4630738" y="5632450"/>
                <a:ext cx="1044575" cy="2784475"/>
              </a:xfrm>
              <a:custGeom>
                <a:avLst/>
                <a:gdLst>
                  <a:gd name="T0" fmla="*/ 654 w 658"/>
                  <a:gd name="T1" fmla="*/ 944 h 1754"/>
                  <a:gd name="T2" fmla="*/ 632 w 658"/>
                  <a:gd name="T3" fmla="*/ 1112 h 1754"/>
                  <a:gd name="T4" fmla="*/ 588 w 658"/>
                  <a:gd name="T5" fmla="*/ 1270 h 1754"/>
                  <a:gd name="T6" fmla="*/ 522 w 658"/>
                  <a:gd name="T7" fmla="*/ 1422 h 1754"/>
                  <a:gd name="T8" fmla="*/ 432 w 658"/>
                  <a:gd name="T9" fmla="*/ 1564 h 1754"/>
                  <a:gd name="T10" fmla="*/ 318 w 658"/>
                  <a:gd name="T11" fmla="*/ 1696 h 1754"/>
                  <a:gd name="T12" fmla="*/ 288 w 658"/>
                  <a:gd name="T13" fmla="*/ 1720 h 1754"/>
                  <a:gd name="T14" fmla="*/ 240 w 658"/>
                  <a:gd name="T15" fmla="*/ 1744 h 1754"/>
                  <a:gd name="T16" fmla="*/ 188 w 658"/>
                  <a:gd name="T17" fmla="*/ 1754 h 1754"/>
                  <a:gd name="T18" fmla="*/ 138 w 658"/>
                  <a:gd name="T19" fmla="*/ 1748 h 1754"/>
                  <a:gd name="T20" fmla="*/ 90 w 658"/>
                  <a:gd name="T21" fmla="*/ 1728 h 1754"/>
                  <a:gd name="T22" fmla="*/ 62 w 658"/>
                  <a:gd name="T23" fmla="*/ 1706 h 1754"/>
                  <a:gd name="T24" fmla="*/ 26 w 658"/>
                  <a:gd name="T25" fmla="*/ 1660 h 1754"/>
                  <a:gd name="T26" fmla="*/ 6 w 658"/>
                  <a:gd name="T27" fmla="*/ 1610 h 1754"/>
                  <a:gd name="T28" fmla="*/ 2 w 658"/>
                  <a:gd name="T29" fmla="*/ 1558 h 1754"/>
                  <a:gd name="T30" fmla="*/ 14 w 658"/>
                  <a:gd name="T31" fmla="*/ 1506 h 1754"/>
                  <a:gd name="T32" fmla="*/ 42 w 658"/>
                  <a:gd name="T33" fmla="*/ 1458 h 1754"/>
                  <a:gd name="T34" fmla="*/ 82 w 658"/>
                  <a:gd name="T35" fmla="*/ 1414 h 1754"/>
                  <a:gd name="T36" fmla="*/ 154 w 658"/>
                  <a:gd name="T37" fmla="*/ 1324 h 1754"/>
                  <a:gd name="T38" fmla="*/ 210 w 658"/>
                  <a:gd name="T39" fmla="*/ 1230 h 1754"/>
                  <a:gd name="T40" fmla="*/ 252 w 658"/>
                  <a:gd name="T41" fmla="*/ 1128 h 1754"/>
                  <a:gd name="T42" fmla="*/ 278 w 658"/>
                  <a:gd name="T43" fmla="*/ 1020 h 1754"/>
                  <a:gd name="T44" fmla="*/ 290 w 658"/>
                  <a:gd name="T45" fmla="*/ 906 h 1754"/>
                  <a:gd name="T46" fmla="*/ 288 w 658"/>
                  <a:gd name="T47" fmla="*/ 822 h 1754"/>
                  <a:gd name="T48" fmla="*/ 272 w 658"/>
                  <a:gd name="T49" fmla="*/ 702 h 1754"/>
                  <a:gd name="T50" fmla="*/ 238 w 658"/>
                  <a:gd name="T51" fmla="*/ 590 h 1754"/>
                  <a:gd name="T52" fmla="*/ 186 w 658"/>
                  <a:gd name="T53" fmla="*/ 484 h 1754"/>
                  <a:gd name="T54" fmla="*/ 118 w 658"/>
                  <a:gd name="T55" fmla="*/ 384 h 1754"/>
                  <a:gd name="T56" fmla="*/ 62 w 658"/>
                  <a:gd name="T57" fmla="*/ 322 h 1754"/>
                  <a:gd name="T58" fmla="*/ 24 w 658"/>
                  <a:gd name="T59" fmla="*/ 268 h 1754"/>
                  <a:gd name="T60" fmla="*/ 4 w 658"/>
                  <a:gd name="T61" fmla="*/ 210 h 1754"/>
                  <a:gd name="T62" fmla="*/ 4 w 658"/>
                  <a:gd name="T63" fmla="*/ 164 h 1754"/>
                  <a:gd name="T64" fmla="*/ 24 w 658"/>
                  <a:gd name="T65" fmla="*/ 96 h 1754"/>
                  <a:gd name="T66" fmla="*/ 66 w 658"/>
                  <a:gd name="T67" fmla="*/ 44 h 1754"/>
                  <a:gd name="T68" fmla="*/ 108 w 658"/>
                  <a:gd name="T69" fmla="*/ 20 h 1754"/>
                  <a:gd name="T70" fmla="*/ 180 w 658"/>
                  <a:gd name="T71" fmla="*/ 0 h 1754"/>
                  <a:gd name="T72" fmla="*/ 252 w 658"/>
                  <a:gd name="T73" fmla="*/ 12 h 1754"/>
                  <a:gd name="T74" fmla="*/ 294 w 658"/>
                  <a:gd name="T75" fmla="*/ 40 h 1754"/>
                  <a:gd name="T76" fmla="*/ 418 w 658"/>
                  <a:gd name="T77" fmla="*/ 176 h 1754"/>
                  <a:gd name="T78" fmla="*/ 478 w 658"/>
                  <a:gd name="T79" fmla="*/ 262 h 1754"/>
                  <a:gd name="T80" fmla="*/ 544 w 658"/>
                  <a:gd name="T81" fmla="*/ 376 h 1754"/>
                  <a:gd name="T82" fmla="*/ 592 w 658"/>
                  <a:gd name="T83" fmla="*/ 496 h 1754"/>
                  <a:gd name="T84" fmla="*/ 628 w 658"/>
                  <a:gd name="T85" fmla="*/ 622 h 1754"/>
                  <a:gd name="T86" fmla="*/ 648 w 658"/>
                  <a:gd name="T87" fmla="*/ 752 h 1754"/>
                  <a:gd name="T88" fmla="*/ 658 w 658"/>
                  <a:gd name="T89" fmla="*/ 886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58" h="1754">
                    <a:moveTo>
                      <a:pt x="658" y="886"/>
                    </a:moveTo>
                    <a:lnTo>
                      <a:pt x="658" y="886"/>
                    </a:lnTo>
                    <a:lnTo>
                      <a:pt x="654" y="944"/>
                    </a:lnTo>
                    <a:lnTo>
                      <a:pt x="650" y="1000"/>
                    </a:lnTo>
                    <a:lnTo>
                      <a:pt x="642" y="1056"/>
                    </a:lnTo>
                    <a:lnTo>
                      <a:pt x="632" y="1112"/>
                    </a:lnTo>
                    <a:lnTo>
                      <a:pt x="620" y="1166"/>
                    </a:lnTo>
                    <a:lnTo>
                      <a:pt x="606" y="1218"/>
                    </a:lnTo>
                    <a:lnTo>
                      <a:pt x="588" y="1270"/>
                    </a:lnTo>
                    <a:lnTo>
                      <a:pt x="568" y="1322"/>
                    </a:lnTo>
                    <a:lnTo>
                      <a:pt x="546" y="1372"/>
                    </a:lnTo>
                    <a:lnTo>
                      <a:pt x="522" y="1422"/>
                    </a:lnTo>
                    <a:lnTo>
                      <a:pt x="494" y="1470"/>
                    </a:lnTo>
                    <a:lnTo>
                      <a:pt x="464" y="1518"/>
                    </a:lnTo>
                    <a:lnTo>
                      <a:pt x="432" y="1564"/>
                    </a:lnTo>
                    <a:lnTo>
                      <a:pt x="396" y="1608"/>
                    </a:lnTo>
                    <a:lnTo>
                      <a:pt x="358" y="1652"/>
                    </a:lnTo>
                    <a:lnTo>
                      <a:pt x="318" y="1696"/>
                    </a:lnTo>
                    <a:lnTo>
                      <a:pt x="318" y="1696"/>
                    </a:lnTo>
                    <a:lnTo>
                      <a:pt x="304" y="1708"/>
                    </a:lnTo>
                    <a:lnTo>
                      <a:pt x="288" y="1720"/>
                    </a:lnTo>
                    <a:lnTo>
                      <a:pt x="274" y="1730"/>
                    </a:lnTo>
                    <a:lnTo>
                      <a:pt x="258" y="1738"/>
                    </a:lnTo>
                    <a:lnTo>
                      <a:pt x="240" y="1744"/>
                    </a:lnTo>
                    <a:lnTo>
                      <a:pt x="224" y="1748"/>
                    </a:lnTo>
                    <a:lnTo>
                      <a:pt x="206" y="1752"/>
                    </a:lnTo>
                    <a:lnTo>
                      <a:pt x="188" y="1754"/>
                    </a:lnTo>
                    <a:lnTo>
                      <a:pt x="172" y="1754"/>
                    </a:lnTo>
                    <a:lnTo>
                      <a:pt x="154" y="1752"/>
                    </a:lnTo>
                    <a:lnTo>
                      <a:pt x="138" y="1748"/>
                    </a:lnTo>
                    <a:lnTo>
                      <a:pt x="122" y="1744"/>
                    </a:lnTo>
                    <a:lnTo>
                      <a:pt x="106" y="1736"/>
                    </a:lnTo>
                    <a:lnTo>
                      <a:pt x="90" y="1728"/>
                    </a:lnTo>
                    <a:lnTo>
                      <a:pt x="76" y="1718"/>
                    </a:lnTo>
                    <a:lnTo>
                      <a:pt x="62" y="1706"/>
                    </a:lnTo>
                    <a:lnTo>
                      <a:pt x="62" y="1706"/>
                    </a:lnTo>
                    <a:lnTo>
                      <a:pt x="48" y="1692"/>
                    </a:lnTo>
                    <a:lnTo>
                      <a:pt x="36" y="1676"/>
                    </a:lnTo>
                    <a:lnTo>
                      <a:pt x="26" y="1660"/>
                    </a:lnTo>
                    <a:lnTo>
                      <a:pt x="18" y="1644"/>
                    </a:lnTo>
                    <a:lnTo>
                      <a:pt x="10" y="1628"/>
                    </a:lnTo>
                    <a:lnTo>
                      <a:pt x="6" y="1610"/>
                    </a:lnTo>
                    <a:lnTo>
                      <a:pt x="2" y="1594"/>
                    </a:lnTo>
                    <a:lnTo>
                      <a:pt x="0" y="1576"/>
                    </a:lnTo>
                    <a:lnTo>
                      <a:pt x="2" y="1558"/>
                    </a:lnTo>
                    <a:lnTo>
                      <a:pt x="4" y="1540"/>
                    </a:lnTo>
                    <a:lnTo>
                      <a:pt x="8" y="1524"/>
                    </a:lnTo>
                    <a:lnTo>
                      <a:pt x="14" y="1506"/>
                    </a:lnTo>
                    <a:lnTo>
                      <a:pt x="22" y="1490"/>
                    </a:lnTo>
                    <a:lnTo>
                      <a:pt x="30" y="1474"/>
                    </a:lnTo>
                    <a:lnTo>
                      <a:pt x="42" y="1458"/>
                    </a:lnTo>
                    <a:lnTo>
                      <a:pt x="56" y="1442"/>
                    </a:lnTo>
                    <a:lnTo>
                      <a:pt x="56" y="1442"/>
                    </a:lnTo>
                    <a:lnTo>
                      <a:pt x="82" y="1414"/>
                    </a:lnTo>
                    <a:lnTo>
                      <a:pt x="108" y="1386"/>
                    </a:lnTo>
                    <a:lnTo>
                      <a:pt x="132" y="1356"/>
                    </a:lnTo>
                    <a:lnTo>
                      <a:pt x="154" y="1324"/>
                    </a:lnTo>
                    <a:lnTo>
                      <a:pt x="174" y="1294"/>
                    </a:lnTo>
                    <a:lnTo>
                      <a:pt x="192" y="1262"/>
                    </a:lnTo>
                    <a:lnTo>
                      <a:pt x="210" y="1230"/>
                    </a:lnTo>
                    <a:lnTo>
                      <a:pt x="224" y="1196"/>
                    </a:lnTo>
                    <a:lnTo>
                      <a:pt x="238" y="1162"/>
                    </a:lnTo>
                    <a:lnTo>
                      <a:pt x="252" y="1128"/>
                    </a:lnTo>
                    <a:lnTo>
                      <a:pt x="262" y="1092"/>
                    </a:lnTo>
                    <a:lnTo>
                      <a:pt x="270" y="1056"/>
                    </a:lnTo>
                    <a:lnTo>
                      <a:pt x="278" y="1020"/>
                    </a:lnTo>
                    <a:lnTo>
                      <a:pt x="284" y="982"/>
                    </a:lnTo>
                    <a:lnTo>
                      <a:pt x="288" y="944"/>
                    </a:lnTo>
                    <a:lnTo>
                      <a:pt x="290" y="906"/>
                    </a:lnTo>
                    <a:lnTo>
                      <a:pt x="290" y="906"/>
                    </a:lnTo>
                    <a:lnTo>
                      <a:pt x="290" y="864"/>
                    </a:lnTo>
                    <a:lnTo>
                      <a:pt x="288" y="822"/>
                    </a:lnTo>
                    <a:lnTo>
                      <a:pt x="284" y="782"/>
                    </a:lnTo>
                    <a:lnTo>
                      <a:pt x="280" y="742"/>
                    </a:lnTo>
                    <a:lnTo>
                      <a:pt x="272" y="702"/>
                    </a:lnTo>
                    <a:lnTo>
                      <a:pt x="262" y="664"/>
                    </a:lnTo>
                    <a:lnTo>
                      <a:pt x="252" y="626"/>
                    </a:lnTo>
                    <a:lnTo>
                      <a:pt x="238" y="590"/>
                    </a:lnTo>
                    <a:lnTo>
                      <a:pt x="224" y="554"/>
                    </a:lnTo>
                    <a:lnTo>
                      <a:pt x="206" y="518"/>
                    </a:lnTo>
                    <a:lnTo>
                      <a:pt x="186" y="484"/>
                    </a:lnTo>
                    <a:lnTo>
                      <a:pt x="166" y="450"/>
                    </a:lnTo>
                    <a:lnTo>
                      <a:pt x="142" y="416"/>
                    </a:lnTo>
                    <a:lnTo>
                      <a:pt x="118" y="384"/>
                    </a:lnTo>
                    <a:lnTo>
                      <a:pt x="92" y="352"/>
                    </a:lnTo>
                    <a:lnTo>
                      <a:pt x="62" y="322"/>
                    </a:lnTo>
                    <a:lnTo>
                      <a:pt x="62" y="322"/>
                    </a:lnTo>
                    <a:lnTo>
                      <a:pt x="48" y="304"/>
                    </a:lnTo>
                    <a:lnTo>
                      <a:pt x="34" y="286"/>
                    </a:lnTo>
                    <a:lnTo>
                      <a:pt x="24" y="268"/>
                    </a:lnTo>
                    <a:lnTo>
                      <a:pt x="14" y="250"/>
                    </a:lnTo>
                    <a:lnTo>
                      <a:pt x="8" y="230"/>
                    </a:lnTo>
                    <a:lnTo>
                      <a:pt x="4" y="210"/>
                    </a:lnTo>
                    <a:lnTo>
                      <a:pt x="2" y="188"/>
                    </a:lnTo>
                    <a:lnTo>
                      <a:pt x="4" y="164"/>
                    </a:lnTo>
                    <a:lnTo>
                      <a:pt x="4" y="164"/>
                    </a:lnTo>
                    <a:lnTo>
                      <a:pt x="8" y="140"/>
                    </a:lnTo>
                    <a:lnTo>
                      <a:pt x="14" y="116"/>
                    </a:lnTo>
                    <a:lnTo>
                      <a:pt x="24" y="96"/>
                    </a:lnTo>
                    <a:lnTo>
                      <a:pt x="36" y="76"/>
                    </a:lnTo>
                    <a:lnTo>
                      <a:pt x="50" y="60"/>
                    </a:lnTo>
                    <a:lnTo>
                      <a:pt x="66" y="44"/>
                    </a:lnTo>
                    <a:lnTo>
                      <a:pt x="86" y="30"/>
                    </a:lnTo>
                    <a:lnTo>
                      <a:pt x="108" y="20"/>
                    </a:lnTo>
                    <a:lnTo>
                      <a:pt x="108" y="20"/>
                    </a:lnTo>
                    <a:lnTo>
                      <a:pt x="132" y="10"/>
                    </a:lnTo>
                    <a:lnTo>
                      <a:pt x="156" y="4"/>
                    </a:lnTo>
                    <a:lnTo>
                      <a:pt x="180" y="0"/>
                    </a:lnTo>
                    <a:lnTo>
                      <a:pt x="204" y="0"/>
                    </a:lnTo>
                    <a:lnTo>
                      <a:pt x="228" y="4"/>
                    </a:lnTo>
                    <a:lnTo>
                      <a:pt x="252" y="12"/>
                    </a:lnTo>
                    <a:lnTo>
                      <a:pt x="272" y="24"/>
                    </a:lnTo>
                    <a:lnTo>
                      <a:pt x="294" y="40"/>
                    </a:lnTo>
                    <a:lnTo>
                      <a:pt x="294" y="40"/>
                    </a:lnTo>
                    <a:lnTo>
                      <a:pt x="336" y="84"/>
                    </a:lnTo>
                    <a:lnTo>
                      <a:pt x="378" y="128"/>
                    </a:lnTo>
                    <a:lnTo>
                      <a:pt x="418" y="176"/>
                    </a:lnTo>
                    <a:lnTo>
                      <a:pt x="454" y="226"/>
                    </a:lnTo>
                    <a:lnTo>
                      <a:pt x="454" y="226"/>
                    </a:lnTo>
                    <a:lnTo>
                      <a:pt x="478" y="262"/>
                    </a:lnTo>
                    <a:lnTo>
                      <a:pt x="502" y="300"/>
                    </a:lnTo>
                    <a:lnTo>
                      <a:pt x="524" y="338"/>
                    </a:lnTo>
                    <a:lnTo>
                      <a:pt x="544" y="376"/>
                    </a:lnTo>
                    <a:lnTo>
                      <a:pt x="562" y="416"/>
                    </a:lnTo>
                    <a:lnTo>
                      <a:pt x="578" y="456"/>
                    </a:lnTo>
                    <a:lnTo>
                      <a:pt x="592" y="496"/>
                    </a:lnTo>
                    <a:lnTo>
                      <a:pt x="606" y="538"/>
                    </a:lnTo>
                    <a:lnTo>
                      <a:pt x="618" y="578"/>
                    </a:lnTo>
                    <a:lnTo>
                      <a:pt x="628" y="622"/>
                    </a:lnTo>
                    <a:lnTo>
                      <a:pt x="636" y="664"/>
                    </a:lnTo>
                    <a:lnTo>
                      <a:pt x="644" y="708"/>
                    </a:lnTo>
                    <a:lnTo>
                      <a:pt x="648" y="752"/>
                    </a:lnTo>
                    <a:lnTo>
                      <a:pt x="654" y="796"/>
                    </a:lnTo>
                    <a:lnTo>
                      <a:pt x="656" y="840"/>
                    </a:lnTo>
                    <a:lnTo>
                      <a:pt x="658" y="886"/>
                    </a:lnTo>
                    <a:lnTo>
                      <a:pt x="65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grpSp>
        <p:sp>
          <p:nvSpPr>
            <p:cNvPr id="551" name="Freeform 550"/>
            <p:cNvSpPr>
              <a:spLocks noEditPoints="1"/>
            </p:cNvSpPr>
            <p:nvPr/>
          </p:nvSpPr>
          <p:spPr bwMode="auto">
            <a:xfrm flipH="1">
              <a:off x="2427200" y="7926223"/>
              <a:ext cx="1019273" cy="1132721"/>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FFFFFF"/>
                </a:solidFill>
                <a:latin typeface="+mj-lt"/>
              </a:endParaRPr>
            </a:p>
          </p:txBody>
        </p:sp>
      </p:grpSp>
      <p:sp>
        <p:nvSpPr>
          <p:cNvPr id="564" name="Rounded Rectangle 191"/>
          <p:cNvSpPr/>
          <p:nvPr/>
        </p:nvSpPr>
        <p:spPr>
          <a:xfrm>
            <a:off x="2338280" y="4327057"/>
            <a:ext cx="734864"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pPr>
            <a:r>
              <a:rPr lang="ja-JP" altLang="en-US" sz="900" kern="0" dirty="0" smtClean="0">
                <a:solidFill>
                  <a:srgbClr val="676767"/>
                </a:solidFill>
                <a:latin typeface="+mj-lt"/>
              </a:rPr>
              <a:t>支社</a:t>
            </a:r>
            <a:endParaRPr lang="en-US" sz="900" kern="0" dirty="0">
              <a:solidFill>
                <a:srgbClr val="676767"/>
              </a:solidFill>
              <a:latin typeface="+mj-lt"/>
            </a:endParaRPr>
          </a:p>
        </p:txBody>
      </p:sp>
      <p:grpSp>
        <p:nvGrpSpPr>
          <p:cNvPr id="795" name="Group 567"/>
          <p:cNvGrpSpPr/>
          <p:nvPr/>
        </p:nvGrpSpPr>
        <p:grpSpPr>
          <a:xfrm>
            <a:off x="2467848" y="3804051"/>
            <a:ext cx="432267" cy="518898"/>
            <a:chOff x="5816600" y="1936751"/>
            <a:chExt cx="450840" cy="541339"/>
          </a:xfrm>
          <a:solidFill>
            <a:srgbClr val="676767">
              <a:lumMod val="85000"/>
            </a:srgbClr>
          </a:solidFill>
        </p:grpSpPr>
        <p:sp>
          <p:nvSpPr>
            <p:cNvPr id="569" name="Freeform 278"/>
            <p:cNvSpPr>
              <a:spLocks/>
            </p:cNvSpPr>
            <p:nvPr/>
          </p:nvSpPr>
          <p:spPr bwMode="auto">
            <a:xfrm>
              <a:off x="5997565" y="2133601"/>
              <a:ext cx="269875" cy="344489"/>
            </a:xfrm>
            <a:custGeom>
              <a:avLst/>
              <a:gdLst>
                <a:gd name="T0" fmla="*/ 125 w 339"/>
                <a:gd name="T1" fmla="*/ 397 h 436"/>
                <a:gd name="T2" fmla="*/ 125 w 339"/>
                <a:gd name="T3" fmla="*/ 363 h 436"/>
                <a:gd name="T4" fmla="*/ 304 w 339"/>
                <a:gd name="T5" fmla="*/ 370 h 436"/>
                <a:gd name="T6" fmla="*/ 304 w 339"/>
                <a:gd name="T7" fmla="*/ 328 h 436"/>
                <a:gd name="T8" fmla="*/ 125 w 339"/>
                <a:gd name="T9" fmla="*/ 297 h 436"/>
                <a:gd name="T10" fmla="*/ 125 w 339"/>
                <a:gd name="T11" fmla="*/ 263 h 436"/>
                <a:gd name="T12" fmla="*/ 304 w 339"/>
                <a:gd name="T13" fmla="*/ 302 h 436"/>
                <a:gd name="T14" fmla="*/ 304 w 339"/>
                <a:gd name="T15" fmla="*/ 261 h 436"/>
                <a:gd name="T16" fmla="*/ 125 w 339"/>
                <a:gd name="T17" fmla="*/ 197 h 436"/>
                <a:gd name="T18" fmla="*/ 125 w 339"/>
                <a:gd name="T19" fmla="*/ 162 h 436"/>
                <a:gd name="T20" fmla="*/ 304 w 339"/>
                <a:gd name="T21" fmla="*/ 234 h 436"/>
                <a:gd name="T22" fmla="*/ 304 w 339"/>
                <a:gd name="T23" fmla="*/ 195 h 436"/>
                <a:gd name="T24" fmla="*/ 125 w 339"/>
                <a:gd name="T25" fmla="*/ 97 h 436"/>
                <a:gd name="T26" fmla="*/ 125 w 339"/>
                <a:gd name="T27" fmla="*/ 61 h 436"/>
                <a:gd name="T28" fmla="*/ 304 w 339"/>
                <a:gd name="T29" fmla="*/ 165 h 436"/>
                <a:gd name="T30" fmla="*/ 304 w 339"/>
                <a:gd name="T31" fmla="*/ 128 h 436"/>
                <a:gd name="T32" fmla="*/ 125 w 339"/>
                <a:gd name="T33" fmla="*/ 0 h 436"/>
                <a:gd name="T34" fmla="*/ 70 w 339"/>
                <a:gd name="T35" fmla="*/ 41 h 436"/>
                <a:gd name="T36" fmla="*/ 70 w 339"/>
                <a:gd name="T37" fmla="*/ 41 h 436"/>
                <a:gd name="T38" fmla="*/ 57 w 339"/>
                <a:gd name="T39" fmla="*/ 71 h 436"/>
                <a:gd name="T40" fmla="*/ 40 w 339"/>
                <a:gd name="T41" fmla="*/ 114 h 436"/>
                <a:gd name="T42" fmla="*/ 22 w 339"/>
                <a:gd name="T43" fmla="*/ 153 h 436"/>
                <a:gd name="T44" fmla="*/ 16 w 339"/>
                <a:gd name="T45" fmla="*/ 165 h 436"/>
                <a:gd name="T46" fmla="*/ 13 w 339"/>
                <a:gd name="T47" fmla="*/ 169 h 436"/>
                <a:gd name="T48" fmla="*/ 10 w 339"/>
                <a:gd name="T49" fmla="*/ 170 h 436"/>
                <a:gd name="T50" fmla="*/ 0 w 339"/>
                <a:gd name="T51" fmla="*/ 406 h 436"/>
                <a:gd name="T52" fmla="*/ 0 w 339"/>
                <a:gd name="T53" fmla="*/ 406 h 436"/>
                <a:gd name="T54" fmla="*/ 18 w 339"/>
                <a:gd name="T55" fmla="*/ 416 h 436"/>
                <a:gd name="T56" fmla="*/ 18 w 339"/>
                <a:gd name="T57" fmla="*/ 416 h 436"/>
                <a:gd name="T58" fmla="*/ 18 w 339"/>
                <a:gd name="T59" fmla="*/ 420 h 436"/>
                <a:gd name="T60" fmla="*/ 18 w 339"/>
                <a:gd name="T61" fmla="*/ 424 h 436"/>
                <a:gd name="T62" fmla="*/ 18 w 339"/>
                <a:gd name="T63" fmla="*/ 426 h 436"/>
                <a:gd name="T64" fmla="*/ 17 w 339"/>
                <a:gd name="T65" fmla="*/ 431 h 436"/>
                <a:gd name="T66" fmla="*/ 17 w 339"/>
                <a:gd name="T67" fmla="*/ 431 h 436"/>
                <a:gd name="T68" fmla="*/ 14 w 339"/>
                <a:gd name="T69" fmla="*/ 433 h 436"/>
                <a:gd name="T70" fmla="*/ 10 w 339"/>
                <a:gd name="T71" fmla="*/ 435 h 436"/>
                <a:gd name="T72" fmla="*/ 5 w 339"/>
                <a:gd name="T73" fmla="*/ 436 h 436"/>
                <a:gd name="T74" fmla="*/ 339 w 339"/>
                <a:gd name="T75" fmla="*/ 436 h 436"/>
                <a:gd name="T76" fmla="*/ 339 w 339"/>
                <a:gd name="T77" fmla="*/ 397 h 436"/>
                <a:gd name="T78" fmla="*/ 125 w 339"/>
                <a:gd name="T79" fmla="*/ 397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9" h="436">
                  <a:moveTo>
                    <a:pt x="125" y="397"/>
                  </a:moveTo>
                  <a:lnTo>
                    <a:pt x="125" y="363"/>
                  </a:lnTo>
                  <a:lnTo>
                    <a:pt x="304" y="370"/>
                  </a:lnTo>
                  <a:lnTo>
                    <a:pt x="304" y="328"/>
                  </a:lnTo>
                  <a:lnTo>
                    <a:pt x="125" y="297"/>
                  </a:lnTo>
                  <a:lnTo>
                    <a:pt x="125" y="263"/>
                  </a:lnTo>
                  <a:lnTo>
                    <a:pt x="304" y="302"/>
                  </a:lnTo>
                  <a:lnTo>
                    <a:pt x="304" y="261"/>
                  </a:lnTo>
                  <a:lnTo>
                    <a:pt x="125" y="197"/>
                  </a:lnTo>
                  <a:lnTo>
                    <a:pt x="125" y="162"/>
                  </a:lnTo>
                  <a:lnTo>
                    <a:pt x="304" y="234"/>
                  </a:lnTo>
                  <a:lnTo>
                    <a:pt x="304" y="195"/>
                  </a:lnTo>
                  <a:lnTo>
                    <a:pt x="125" y="97"/>
                  </a:lnTo>
                  <a:lnTo>
                    <a:pt x="125" y="61"/>
                  </a:lnTo>
                  <a:lnTo>
                    <a:pt x="304" y="165"/>
                  </a:lnTo>
                  <a:lnTo>
                    <a:pt x="304" y="128"/>
                  </a:lnTo>
                  <a:lnTo>
                    <a:pt x="125" y="0"/>
                  </a:lnTo>
                  <a:lnTo>
                    <a:pt x="70" y="41"/>
                  </a:lnTo>
                  <a:lnTo>
                    <a:pt x="70" y="41"/>
                  </a:lnTo>
                  <a:lnTo>
                    <a:pt x="57" y="71"/>
                  </a:lnTo>
                  <a:lnTo>
                    <a:pt x="40" y="114"/>
                  </a:lnTo>
                  <a:lnTo>
                    <a:pt x="22" y="153"/>
                  </a:lnTo>
                  <a:lnTo>
                    <a:pt x="16" y="165"/>
                  </a:lnTo>
                  <a:lnTo>
                    <a:pt x="13" y="169"/>
                  </a:lnTo>
                  <a:lnTo>
                    <a:pt x="10" y="170"/>
                  </a:lnTo>
                  <a:lnTo>
                    <a:pt x="0" y="406"/>
                  </a:lnTo>
                  <a:lnTo>
                    <a:pt x="0" y="406"/>
                  </a:lnTo>
                  <a:lnTo>
                    <a:pt x="18" y="416"/>
                  </a:lnTo>
                  <a:lnTo>
                    <a:pt x="18" y="416"/>
                  </a:lnTo>
                  <a:lnTo>
                    <a:pt x="18" y="420"/>
                  </a:lnTo>
                  <a:lnTo>
                    <a:pt x="18" y="424"/>
                  </a:lnTo>
                  <a:lnTo>
                    <a:pt x="18" y="426"/>
                  </a:lnTo>
                  <a:lnTo>
                    <a:pt x="17" y="431"/>
                  </a:lnTo>
                  <a:lnTo>
                    <a:pt x="17" y="431"/>
                  </a:lnTo>
                  <a:lnTo>
                    <a:pt x="14" y="433"/>
                  </a:lnTo>
                  <a:lnTo>
                    <a:pt x="10" y="435"/>
                  </a:lnTo>
                  <a:lnTo>
                    <a:pt x="5" y="436"/>
                  </a:lnTo>
                  <a:lnTo>
                    <a:pt x="339" y="436"/>
                  </a:lnTo>
                  <a:lnTo>
                    <a:pt x="339" y="397"/>
                  </a:lnTo>
                  <a:lnTo>
                    <a:pt x="125"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74" name="Freeform 279"/>
            <p:cNvSpPr>
              <a:spLocks/>
            </p:cNvSpPr>
            <p:nvPr/>
          </p:nvSpPr>
          <p:spPr bwMode="auto">
            <a:xfrm>
              <a:off x="5878503" y="1936751"/>
              <a:ext cx="93663" cy="117476"/>
            </a:xfrm>
            <a:custGeom>
              <a:avLst/>
              <a:gdLst>
                <a:gd name="T0" fmla="*/ 14 w 119"/>
                <a:gd name="T1" fmla="*/ 93 h 148"/>
                <a:gd name="T2" fmla="*/ 15 w 119"/>
                <a:gd name="T3" fmla="*/ 93 h 148"/>
                <a:gd name="T4" fmla="*/ 26 w 119"/>
                <a:gd name="T5" fmla="*/ 116 h 148"/>
                <a:gd name="T6" fmla="*/ 27 w 119"/>
                <a:gd name="T7" fmla="*/ 124 h 148"/>
                <a:gd name="T8" fmla="*/ 27 w 119"/>
                <a:gd name="T9" fmla="*/ 137 h 148"/>
                <a:gd name="T10" fmla="*/ 30 w 119"/>
                <a:gd name="T11" fmla="*/ 141 h 148"/>
                <a:gd name="T12" fmla="*/ 45 w 119"/>
                <a:gd name="T13" fmla="*/ 147 h 148"/>
                <a:gd name="T14" fmla="*/ 60 w 119"/>
                <a:gd name="T15" fmla="*/ 148 h 148"/>
                <a:gd name="T16" fmla="*/ 83 w 119"/>
                <a:gd name="T17" fmla="*/ 144 h 148"/>
                <a:gd name="T18" fmla="*/ 91 w 119"/>
                <a:gd name="T19" fmla="*/ 137 h 148"/>
                <a:gd name="T20" fmla="*/ 91 w 119"/>
                <a:gd name="T21" fmla="*/ 130 h 148"/>
                <a:gd name="T22" fmla="*/ 92 w 119"/>
                <a:gd name="T23" fmla="*/ 116 h 148"/>
                <a:gd name="T24" fmla="*/ 99 w 119"/>
                <a:gd name="T25" fmla="*/ 105 h 148"/>
                <a:gd name="T26" fmla="*/ 103 w 119"/>
                <a:gd name="T27" fmla="*/ 93 h 148"/>
                <a:gd name="T28" fmla="*/ 104 w 119"/>
                <a:gd name="T29" fmla="*/ 93 h 148"/>
                <a:gd name="T30" fmla="*/ 112 w 119"/>
                <a:gd name="T31" fmla="*/ 87 h 148"/>
                <a:gd name="T32" fmla="*/ 118 w 119"/>
                <a:gd name="T33" fmla="*/ 77 h 148"/>
                <a:gd name="T34" fmla="*/ 119 w 119"/>
                <a:gd name="T35" fmla="*/ 70 h 148"/>
                <a:gd name="T36" fmla="*/ 116 w 119"/>
                <a:gd name="T37" fmla="*/ 62 h 148"/>
                <a:gd name="T38" fmla="*/ 112 w 119"/>
                <a:gd name="T39" fmla="*/ 60 h 148"/>
                <a:gd name="T40" fmla="*/ 111 w 119"/>
                <a:gd name="T41" fmla="*/ 60 h 148"/>
                <a:gd name="T42" fmla="*/ 114 w 119"/>
                <a:gd name="T43" fmla="*/ 50 h 148"/>
                <a:gd name="T44" fmla="*/ 111 w 119"/>
                <a:gd name="T45" fmla="*/ 28 h 148"/>
                <a:gd name="T46" fmla="*/ 98 w 119"/>
                <a:gd name="T47" fmla="*/ 10 h 148"/>
                <a:gd name="T48" fmla="*/ 75 w 119"/>
                <a:gd name="T49" fmla="*/ 1 h 148"/>
                <a:gd name="T50" fmla="*/ 60 w 119"/>
                <a:gd name="T51" fmla="*/ 0 h 148"/>
                <a:gd name="T52" fmla="*/ 32 w 119"/>
                <a:gd name="T53" fmla="*/ 5 h 148"/>
                <a:gd name="T54" fmla="*/ 14 w 119"/>
                <a:gd name="T55" fmla="*/ 19 h 148"/>
                <a:gd name="T56" fmla="*/ 5 w 119"/>
                <a:gd name="T57" fmla="*/ 39 h 148"/>
                <a:gd name="T58" fmla="*/ 7 w 119"/>
                <a:gd name="T59" fmla="*/ 60 h 148"/>
                <a:gd name="T60" fmla="*/ 6 w 119"/>
                <a:gd name="T61" fmla="*/ 60 h 148"/>
                <a:gd name="T62" fmla="*/ 5 w 119"/>
                <a:gd name="T63" fmla="*/ 60 h 148"/>
                <a:gd name="T64" fmla="*/ 0 w 119"/>
                <a:gd name="T65" fmla="*/ 64 h 148"/>
                <a:gd name="T66" fmla="*/ 0 w 119"/>
                <a:gd name="T67" fmla="*/ 77 h 148"/>
                <a:gd name="T68" fmla="*/ 3 w 119"/>
                <a:gd name="T69" fmla="*/ 82 h 148"/>
                <a:gd name="T70" fmla="*/ 10 w 119"/>
                <a:gd name="T71" fmla="*/ 91 h 148"/>
                <a:gd name="T72" fmla="*/ 14 w 119"/>
                <a:gd name="T73" fmla="*/ 9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9" h="148">
                  <a:moveTo>
                    <a:pt x="14" y="93"/>
                  </a:moveTo>
                  <a:lnTo>
                    <a:pt x="14" y="93"/>
                  </a:lnTo>
                  <a:lnTo>
                    <a:pt x="15" y="93"/>
                  </a:lnTo>
                  <a:lnTo>
                    <a:pt x="15" y="93"/>
                  </a:lnTo>
                  <a:lnTo>
                    <a:pt x="21" y="105"/>
                  </a:lnTo>
                  <a:lnTo>
                    <a:pt x="26" y="116"/>
                  </a:lnTo>
                  <a:lnTo>
                    <a:pt x="26" y="116"/>
                  </a:lnTo>
                  <a:lnTo>
                    <a:pt x="27" y="124"/>
                  </a:lnTo>
                  <a:lnTo>
                    <a:pt x="27" y="130"/>
                  </a:lnTo>
                  <a:lnTo>
                    <a:pt x="27" y="137"/>
                  </a:lnTo>
                  <a:lnTo>
                    <a:pt x="27" y="137"/>
                  </a:lnTo>
                  <a:lnTo>
                    <a:pt x="30" y="141"/>
                  </a:lnTo>
                  <a:lnTo>
                    <a:pt x="36" y="144"/>
                  </a:lnTo>
                  <a:lnTo>
                    <a:pt x="45" y="147"/>
                  </a:lnTo>
                  <a:lnTo>
                    <a:pt x="60" y="148"/>
                  </a:lnTo>
                  <a:lnTo>
                    <a:pt x="60" y="148"/>
                  </a:lnTo>
                  <a:lnTo>
                    <a:pt x="73" y="147"/>
                  </a:lnTo>
                  <a:lnTo>
                    <a:pt x="83" y="144"/>
                  </a:lnTo>
                  <a:lnTo>
                    <a:pt x="88" y="141"/>
                  </a:lnTo>
                  <a:lnTo>
                    <a:pt x="91" y="137"/>
                  </a:lnTo>
                  <a:lnTo>
                    <a:pt x="91" y="137"/>
                  </a:lnTo>
                  <a:lnTo>
                    <a:pt x="91" y="130"/>
                  </a:lnTo>
                  <a:lnTo>
                    <a:pt x="92" y="124"/>
                  </a:lnTo>
                  <a:lnTo>
                    <a:pt x="92" y="116"/>
                  </a:lnTo>
                  <a:lnTo>
                    <a:pt x="92" y="116"/>
                  </a:lnTo>
                  <a:lnTo>
                    <a:pt x="99" y="105"/>
                  </a:lnTo>
                  <a:lnTo>
                    <a:pt x="103" y="93"/>
                  </a:lnTo>
                  <a:lnTo>
                    <a:pt x="103" y="93"/>
                  </a:lnTo>
                  <a:lnTo>
                    <a:pt x="104" y="93"/>
                  </a:lnTo>
                  <a:lnTo>
                    <a:pt x="104" y="93"/>
                  </a:lnTo>
                  <a:lnTo>
                    <a:pt x="108" y="91"/>
                  </a:lnTo>
                  <a:lnTo>
                    <a:pt x="112" y="87"/>
                  </a:lnTo>
                  <a:lnTo>
                    <a:pt x="116" y="82"/>
                  </a:lnTo>
                  <a:lnTo>
                    <a:pt x="118" y="77"/>
                  </a:lnTo>
                  <a:lnTo>
                    <a:pt x="118" y="77"/>
                  </a:lnTo>
                  <a:lnTo>
                    <a:pt x="119" y="70"/>
                  </a:lnTo>
                  <a:lnTo>
                    <a:pt x="118" y="64"/>
                  </a:lnTo>
                  <a:lnTo>
                    <a:pt x="116" y="62"/>
                  </a:lnTo>
                  <a:lnTo>
                    <a:pt x="115" y="60"/>
                  </a:lnTo>
                  <a:lnTo>
                    <a:pt x="112" y="60"/>
                  </a:lnTo>
                  <a:lnTo>
                    <a:pt x="112" y="60"/>
                  </a:lnTo>
                  <a:lnTo>
                    <a:pt x="111" y="60"/>
                  </a:lnTo>
                  <a:lnTo>
                    <a:pt x="111" y="60"/>
                  </a:lnTo>
                  <a:lnTo>
                    <a:pt x="114" y="50"/>
                  </a:lnTo>
                  <a:lnTo>
                    <a:pt x="114" y="39"/>
                  </a:lnTo>
                  <a:lnTo>
                    <a:pt x="111" y="28"/>
                  </a:lnTo>
                  <a:lnTo>
                    <a:pt x="106" y="19"/>
                  </a:lnTo>
                  <a:lnTo>
                    <a:pt x="98" y="10"/>
                  </a:lnTo>
                  <a:lnTo>
                    <a:pt x="87" y="5"/>
                  </a:lnTo>
                  <a:lnTo>
                    <a:pt x="75" y="1"/>
                  </a:lnTo>
                  <a:lnTo>
                    <a:pt x="60" y="0"/>
                  </a:lnTo>
                  <a:lnTo>
                    <a:pt x="60" y="0"/>
                  </a:lnTo>
                  <a:lnTo>
                    <a:pt x="45" y="1"/>
                  </a:lnTo>
                  <a:lnTo>
                    <a:pt x="32" y="5"/>
                  </a:lnTo>
                  <a:lnTo>
                    <a:pt x="22" y="10"/>
                  </a:lnTo>
                  <a:lnTo>
                    <a:pt x="14" y="19"/>
                  </a:lnTo>
                  <a:lnTo>
                    <a:pt x="7" y="28"/>
                  </a:lnTo>
                  <a:lnTo>
                    <a:pt x="5" y="39"/>
                  </a:lnTo>
                  <a:lnTo>
                    <a:pt x="5" y="50"/>
                  </a:lnTo>
                  <a:lnTo>
                    <a:pt x="7" y="60"/>
                  </a:lnTo>
                  <a:lnTo>
                    <a:pt x="7" y="60"/>
                  </a:lnTo>
                  <a:lnTo>
                    <a:pt x="6" y="60"/>
                  </a:lnTo>
                  <a:lnTo>
                    <a:pt x="6" y="60"/>
                  </a:lnTo>
                  <a:lnTo>
                    <a:pt x="5" y="60"/>
                  </a:lnTo>
                  <a:lnTo>
                    <a:pt x="2" y="62"/>
                  </a:lnTo>
                  <a:lnTo>
                    <a:pt x="0" y="64"/>
                  </a:lnTo>
                  <a:lnTo>
                    <a:pt x="0" y="70"/>
                  </a:lnTo>
                  <a:lnTo>
                    <a:pt x="0" y="77"/>
                  </a:lnTo>
                  <a:lnTo>
                    <a:pt x="0" y="77"/>
                  </a:lnTo>
                  <a:lnTo>
                    <a:pt x="3" y="82"/>
                  </a:lnTo>
                  <a:lnTo>
                    <a:pt x="6" y="87"/>
                  </a:lnTo>
                  <a:lnTo>
                    <a:pt x="10" y="91"/>
                  </a:lnTo>
                  <a:lnTo>
                    <a:pt x="14" y="93"/>
                  </a:lnTo>
                  <a:lnTo>
                    <a:pt x="14" y="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sp>
          <p:nvSpPr>
            <p:cNvPr id="575" name="Freeform 280"/>
            <p:cNvSpPr>
              <a:spLocks/>
            </p:cNvSpPr>
            <p:nvPr/>
          </p:nvSpPr>
          <p:spPr bwMode="auto">
            <a:xfrm>
              <a:off x="5816600" y="2049462"/>
              <a:ext cx="217488" cy="428625"/>
            </a:xfrm>
            <a:custGeom>
              <a:avLst/>
              <a:gdLst>
                <a:gd name="T0" fmla="*/ 255 w 274"/>
                <a:gd name="T1" fmla="*/ 38 h 541"/>
                <a:gd name="T2" fmla="*/ 251 w 274"/>
                <a:gd name="T3" fmla="*/ 26 h 541"/>
                <a:gd name="T4" fmla="*/ 240 w 274"/>
                <a:gd name="T5" fmla="*/ 18 h 541"/>
                <a:gd name="T6" fmla="*/ 211 w 274"/>
                <a:gd name="T7" fmla="*/ 10 h 541"/>
                <a:gd name="T8" fmla="*/ 181 w 274"/>
                <a:gd name="T9" fmla="*/ 3 h 541"/>
                <a:gd name="T10" fmla="*/ 177 w 274"/>
                <a:gd name="T11" fmla="*/ 0 h 541"/>
                <a:gd name="T12" fmla="*/ 150 w 274"/>
                <a:gd name="T13" fmla="*/ 62 h 541"/>
                <a:gd name="T14" fmla="*/ 143 w 274"/>
                <a:gd name="T15" fmla="*/ 30 h 541"/>
                <a:gd name="T16" fmla="*/ 147 w 274"/>
                <a:gd name="T17" fmla="*/ 24 h 541"/>
                <a:gd name="T18" fmla="*/ 147 w 274"/>
                <a:gd name="T19" fmla="*/ 19 h 541"/>
                <a:gd name="T20" fmla="*/ 146 w 274"/>
                <a:gd name="T21" fmla="*/ 12 h 541"/>
                <a:gd name="T22" fmla="*/ 143 w 274"/>
                <a:gd name="T23" fmla="*/ 11 h 541"/>
                <a:gd name="T24" fmla="*/ 136 w 274"/>
                <a:gd name="T25" fmla="*/ 11 h 541"/>
                <a:gd name="T26" fmla="*/ 131 w 274"/>
                <a:gd name="T27" fmla="*/ 11 h 541"/>
                <a:gd name="T28" fmla="*/ 127 w 274"/>
                <a:gd name="T29" fmla="*/ 14 h 541"/>
                <a:gd name="T30" fmla="*/ 127 w 274"/>
                <a:gd name="T31" fmla="*/ 19 h 541"/>
                <a:gd name="T32" fmla="*/ 131 w 274"/>
                <a:gd name="T33" fmla="*/ 30 h 541"/>
                <a:gd name="T34" fmla="*/ 124 w 274"/>
                <a:gd name="T35" fmla="*/ 62 h 541"/>
                <a:gd name="T36" fmla="*/ 99 w 274"/>
                <a:gd name="T37" fmla="*/ 0 h 541"/>
                <a:gd name="T38" fmla="*/ 93 w 274"/>
                <a:gd name="T39" fmla="*/ 3 h 541"/>
                <a:gd name="T40" fmla="*/ 78 w 274"/>
                <a:gd name="T41" fmla="*/ 6 h 541"/>
                <a:gd name="T42" fmla="*/ 34 w 274"/>
                <a:gd name="T43" fmla="*/ 18 h 541"/>
                <a:gd name="T44" fmla="*/ 29 w 274"/>
                <a:gd name="T45" fmla="*/ 20 h 541"/>
                <a:gd name="T46" fmla="*/ 21 w 274"/>
                <a:gd name="T47" fmla="*/ 31 h 541"/>
                <a:gd name="T48" fmla="*/ 19 w 274"/>
                <a:gd name="T49" fmla="*/ 38 h 541"/>
                <a:gd name="T50" fmla="*/ 6 w 274"/>
                <a:gd name="T51" fmla="*/ 103 h 541"/>
                <a:gd name="T52" fmla="*/ 0 w 274"/>
                <a:gd name="T53" fmla="*/ 142 h 541"/>
                <a:gd name="T54" fmla="*/ 0 w 274"/>
                <a:gd name="T55" fmla="*/ 150 h 541"/>
                <a:gd name="T56" fmla="*/ 6 w 274"/>
                <a:gd name="T57" fmla="*/ 167 h 541"/>
                <a:gd name="T58" fmla="*/ 31 w 274"/>
                <a:gd name="T59" fmla="*/ 221 h 541"/>
                <a:gd name="T60" fmla="*/ 45 w 274"/>
                <a:gd name="T61" fmla="*/ 254 h 541"/>
                <a:gd name="T62" fmla="*/ 50 w 274"/>
                <a:gd name="T63" fmla="*/ 263 h 541"/>
                <a:gd name="T64" fmla="*/ 60 w 274"/>
                <a:gd name="T65" fmla="*/ 269 h 541"/>
                <a:gd name="T66" fmla="*/ 70 w 274"/>
                <a:gd name="T67" fmla="*/ 511 h 541"/>
                <a:gd name="T68" fmla="*/ 53 w 274"/>
                <a:gd name="T69" fmla="*/ 522 h 541"/>
                <a:gd name="T70" fmla="*/ 52 w 274"/>
                <a:gd name="T71" fmla="*/ 529 h 541"/>
                <a:gd name="T72" fmla="*/ 54 w 274"/>
                <a:gd name="T73" fmla="*/ 536 h 541"/>
                <a:gd name="T74" fmla="*/ 56 w 274"/>
                <a:gd name="T75" fmla="*/ 538 h 541"/>
                <a:gd name="T76" fmla="*/ 65 w 274"/>
                <a:gd name="T77" fmla="*/ 541 h 541"/>
                <a:gd name="T78" fmla="*/ 122 w 274"/>
                <a:gd name="T79" fmla="*/ 541 h 541"/>
                <a:gd name="T80" fmla="*/ 126 w 274"/>
                <a:gd name="T81" fmla="*/ 541 h 541"/>
                <a:gd name="T82" fmla="*/ 128 w 274"/>
                <a:gd name="T83" fmla="*/ 536 h 541"/>
                <a:gd name="T84" fmla="*/ 124 w 274"/>
                <a:gd name="T85" fmla="*/ 514 h 541"/>
                <a:gd name="T86" fmla="*/ 150 w 274"/>
                <a:gd name="T87" fmla="*/ 514 h 541"/>
                <a:gd name="T88" fmla="*/ 147 w 274"/>
                <a:gd name="T89" fmla="*/ 531 h 541"/>
                <a:gd name="T90" fmla="*/ 147 w 274"/>
                <a:gd name="T91" fmla="*/ 538 h 541"/>
                <a:gd name="T92" fmla="*/ 153 w 274"/>
                <a:gd name="T93" fmla="*/ 541 h 541"/>
                <a:gd name="T94" fmla="*/ 209 w 274"/>
                <a:gd name="T95" fmla="*/ 541 h 541"/>
                <a:gd name="T96" fmla="*/ 215 w 274"/>
                <a:gd name="T97" fmla="*/ 540 h 541"/>
                <a:gd name="T98" fmla="*/ 221 w 274"/>
                <a:gd name="T99" fmla="*/ 536 h 541"/>
                <a:gd name="T100" fmla="*/ 223 w 274"/>
                <a:gd name="T101" fmla="*/ 533 h 541"/>
                <a:gd name="T102" fmla="*/ 223 w 274"/>
                <a:gd name="T103" fmla="*/ 525 h 541"/>
                <a:gd name="T104" fmla="*/ 221 w 274"/>
                <a:gd name="T105" fmla="*/ 522 h 541"/>
                <a:gd name="T106" fmla="*/ 215 w 274"/>
                <a:gd name="T107" fmla="*/ 269 h 541"/>
                <a:gd name="T108" fmla="*/ 220 w 274"/>
                <a:gd name="T109" fmla="*/ 267 h 541"/>
                <a:gd name="T110" fmla="*/ 228 w 274"/>
                <a:gd name="T111" fmla="*/ 259 h 541"/>
                <a:gd name="T112" fmla="*/ 230 w 274"/>
                <a:gd name="T113" fmla="*/ 254 h 541"/>
                <a:gd name="T114" fmla="*/ 258 w 274"/>
                <a:gd name="T115" fmla="*/ 192 h 541"/>
                <a:gd name="T116" fmla="*/ 273 w 274"/>
                <a:gd name="T117" fmla="*/ 158 h 541"/>
                <a:gd name="T118" fmla="*/ 274 w 274"/>
                <a:gd name="T119" fmla="*/ 150 h 541"/>
                <a:gd name="T120" fmla="*/ 274 w 274"/>
                <a:gd name="T121" fmla="*/ 131 h 541"/>
                <a:gd name="T122" fmla="*/ 263 w 274"/>
                <a:gd name="T123" fmla="*/ 70 h 541"/>
                <a:gd name="T124" fmla="*/ 255 w 274"/>
                <a:gd name="T125" fmla="*/ 38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 h="541">
                  <a:moveTo>
                    <a:pt x="255" y="38"/>
                  </a:moveTo>
                  <a:lnTo>
                    <a:pt x="255" y="38"/>
                  </a:lnTo>
                  <a:lnTo>
                    <a:pt x="254" y="31"/>
                  </a:lnTo>
                  <a:lnTo>
                    <a:pt x="251" y="26"/>
                  </a:lnTo>
                  <a:lnTo>
                    <a:pt x="247" y="20"/>
                  </a:lnTo>
                  <a:lnTo>
                    <a:pt x="240" y="18"/>
                  </a:lnTo>
                  <a:lnTo>
                    <a:pt x="240" y="18"/>
                  </a:lnTo>
                  <a:lnTo>
                    <a:pt x="211" y="10"/>
                  </a:lnTo>
                  <a:lnTo>
                    <a:pt x="196" y="6"/>
                  </a:lnTo>
                  <a:lnTo>
                    <a:pt x="181" y="3"/>
                  </a:lnTo>
                  <a:lnTo>
                    <a:pt x="181" y="3"/>
                  </a:lnTo>
                  <a:lnTo>
                    <a:pt x="177" y="0"/>
                  </a:lnTo>
                  <a:lnTo>
                    <a:pt x="176" y="2"/>
                  </a:lnTo>
                  <a:lnTo>
                    <a:pt x="150" y="62"/>
                  </a:lnTo>
                  <a:lnTo>
                    <a:pt x="150" y="62"/>
                  </a:lnTo>
                  <a:lnTo>
                    <a:pt x="143" y="30"/>
                  </a:lnTo>
                  <a:lnTo>
                    <a:pt x="143" y="30"/>
                  </a:lnTo>
                  <a:lnTo>
                    <a:pt x="147" y="24"/>
                  </a:lnTo>
                  <a:lnTo>
                    <a:pt x="147" y="19"/>
                  </a:lnTo>
                  <a:lnTo>
                    <a:pt x="147" y="19"/>
                  </a:lnTo>
                  <a:lnTo>
                    <a:pt x="147" y="14"/>
                  </a:lnTo>
                  <a:lnTo>
                    <a:pt x="146" y="12"/>
                  </a:lnTo>
                  <a:lnTo>
                    <a:pt x="143" y="11"/>
                  </a:lnTo>
                  <a:lnTo>
                    <a:pt x="143" y="11"/>
                  </a:lnTo>
                  <a:lnTo>
                    <a:pt x="136" y="11"/>
                  </a:lnTo>
                  <a:lnTo>
                    <a:pt x="136" y="11"/>
                  </a:lnTo>
                  <a:lnTo>
                    <a:pt x="131" y="11"/>
                  </a:lnTo>
                  <a:lnTo>
                    <a:pt x="131" y="11"/>
                  </a:lnTo>
                  <a:lnTo>
                    <a:pt x="128" y="12"/>
                  </a:lnTo>
                  <a:lnTo>
                    <a:pt x="127" y="14"/>
                  </a:lnTo>
                  <a:lnTo>
                    <a:pt x="127" y="19"/>
                  </a:lnTo>
                  <a:lnTo>
                    <a:pt x="127" y="19"/>
                  </a:lnTo>
                  <a:lnTo>
                    <a:pt x="128" y="26"/>
                  </a:lnTo>
                  <a:lnTo>
                    <a:pt x="131" y="30"/>
                  </a:lnTo>
                  <a:lnTo>
                    <a:pt x="131" y="30"/>
                  </a:lnTo>
                  <a:lnTo>
                    <a:pt x="124" y="62"/>
                  </a:lnTo>
                  <a:lnTo>
                    <a:pt x="99" y="2"/>
                  </a:lnTo>
                  <a:lnTo>
                    <a:pt x="99" y="0"/>
                  </a:lnTo>
                  <a:lnTo>
                    <a:pt x="99" y="0"/>
                  </a:lnTo>
                  <a:lnTo>
                    <a:pt x="93" y="3"/>
                  </a:lnTo>
                  <a:lnTo>
                    <a:pt x="93" y="3"/>
                  </a:lnTo>
                  <a:lnTo>
                    <a:pt x="78" y="6"/>
                  </a:lnTo>
                  <a:lnTo>
                    <a:pt x="64" y="10"/>
                  </a:lnTo>
                  <a:lnTo>
                    <a:pt x="34" y="18"/>
                  </a:lnTo>
                  <a:lnTo>
                    <a:pt x="34" y="18"/>
                  </a:lnTo>
                  <a:lnTo>
                    <a:pt x="29" y="20"/>
                  </a:lnTo>
                  <a:lnTo>
                    <a:pt x="25" y="26"/>
                  </a:lnTo>
                  <a:lnTo>
                    <a:pt x="21" y="31"/>
                  </a:lnTo>
                  <a:lnTo>
                    <a:pt x="19" y="38"/>
                  </a:lnTo>
                  <a:lnTo>
                    <a:pt x="19" y="38"/>
                  </a:lnTo>
                  <a:lnTo>
                    <a:pt x="12" y="70"/>
                  </a:lnTo>
                  <a:lnTo>
                    <a:pt x="6" y="103"/>
                  </a:lnTo>
                  <a:lnTo>
                    <a:pt x="2" y="131"/>
                  </a:lnTo>
                  <a:lnTo>
                    <a:pt x="0" y="142"/>
                  </a:lnTo>
                  <a:lnTo>
                    <a:pt x="0" y="150"/>
                  </a:lnTo>
                  <a:lnTo>
                    <a:pt x="0" y="150"/>
                  </a:lnTo>
                  <a:lnTo>
                    <a:pt x="3" y="158"/>
                  </a:lnTo>
                  <a:lnTo>
                    <a:pt x="6" y="167"/>
                  </a:lnTo>
                  <a:lnTo>
                    <a:pt x="16" y="192"/>
                  </a:lnTo>
                  <a:lnTo>
                    <a:pt x="31" y="221"/>
                  </a:lnTo>
                  <a:lnTo>
                    <a:pt x="45" y="254"/>
                  </a:lnTo>
                  <a:lnTo>
                    <a:pt x="45" y="254"/>
                  </a:lnTo>
                  <a:lnTo>
                    <a:pt x="47" y="259"/>
                  </a:lnTo>
                  <a:lnTo>
                    <a:pt x="50" y="263"/>
                  </a:lnTo>
                  <a:lnTo>
                    <a:pt x="54" y="267"/>
                  </a:lnTo>
                  <a:lnTo>
                    <a:pt x="60" y="269"/>
                  </a:lnTo>
                  <a:lnTo>
                    <a:pt x="70" y="511"/>
                  </a:lnTo>
                  <a:lnTo>
                    <a:pt x="70" y="511"/>
                  </a:lnTo>
                  <a:lnTo>
                    <a:pt x="53" y="522"/>
                  </a:lnTo>
                  <a:lnTo>
                    <a:pt x="53" y="522"/>
                  </a:lnTo>
                  <a:lnTo>
                    <a:pt x="52" y="525"/>
                  </a:lnTo>
                  <a:lnTo>
                    <a:pt x="52" y="529"/>
                  </a:lnTo>
                  <a:lnTo>
                    <a:pt x="53" y="533"/>
                  </a:lnTo>
                  <a:lnTo>
                    <a:pt x="54" y="536"/>
                  </a:lnTo>
                  <a:lnTo>
                    <a:pt x="54" y="536"/>
                  </a:lnTo>
                  <a:lnTo>
                    <a:pt x="56" y="538"/>
                  </a:lnTo>
                  <a:lnTo>
                    <a:pt x="60" y="540"/>
                  </a:lnTo>
                  <a:lnTo>
                    <a:pt x="65" y="541"/>
                  </a:lnTo>
                  <a:lnTo>
                    <a:pt x="65" y="541"/>
                  </a:lnTo>
                  <a:lnTo>
                    <a:pt x="122" y="541"/>
                  </a:lnTo>
                  <a:lnTo>
                    <a:pt x="122" y="541"/>
                  </a:lnTo>
                  <a:lnTo>
                    <a:pt x="126" y="541"/>
                  </a:lnTo>
                  <a:lnTo>
                    <a:pt x="127" y="538"/>
                  </a:lnTo>
                  <a:lnTo>
                    <a:pt x="128" y="536"/>
                  </a:lnTo>
                  <a:lnTo>
                    <a:pt x="128" y="531"/>
                  </a:lnTo>
                  <a:lnTo>
                    <a:pt x="124" y="514"/>
                  </a:lnTo>
                  <a:lnTo>
                    <a:pt x="138" y="341"/>
                  </a:lnTo>
                  <a:lnTo>
                    <a:pt x="150" y="514"/>
                  </a:lnTo>
                  <a:lnTo>
                    <a:pt x="150" y="514"/>
                  </a:lnTo>
                  <a:lnTo>
                    <a:pt x="147" y="531"/>
                  </a:lnTo>
                  <a:lnTo>
                    <a:pt x="147" y="536"/>
                  </a:lnTo>
                  <a:lnTo>
                    <a:pt x="147" y="538"/>
                  </a:lnTo>
                  <a:lnTo>
                    <a:pt x="150" y="541"/>
                  </a:lnTo>
                  <a:lnTo>
                    <a:pt x="153" y="541"/>
                  </a:lnTo>
                  <a:lnTo>
                    <a:pt x="153" y="541"/>
                  </a:lnTo>
                  <a:lnTo>
                    <a:pt x="209" y="541"/>
                  </a:lnTo>
                  <a:lnTo>
                    <a:pt x="209" y="541"/>
                  </a:lnTo>
                  <a:lnTo>
                    <a:pt x="215" y="540"/>
                  </a:lnTo>
                  <a:lnTo>
                    <a:pt x="219" y="538"/>
                  </a:lnTo>
                  <a:lnTo>
                    <a:pt x="221" y="536"/>
                  </a:lnTo>
                  <a:lnTo>
                    <a:pt x="221" y="536"/>
                  </a:lnTo>
                  <a:lnTo>
                    <a:pt x="223" y="533"/>
                  </a:lnTo>
                  <a:lnTo>
                    <a:pt x="223" y="529"/>
                  </a:lnTo>
                  <a:lnTo>
                    <a:pt x="223" y="525"/>
                  </a:lnTo>
                  <a:lnTo>
                    <a:pt x="221" y="522"/>
                  </a:lnTo>
                  <a:lnTo>
                    <a:pt x="221" y="522"/>
                  </a:lnTo>
                  <a:lnTo>
                    <a:pt x="204" y="511"/>
                  </a:lnTo>
                  <a:lnTo>
                    <a:pt x="215" y="269"/>
                  </a:lnTo>
                  <a:lnTo>
                    <a:pt x="215" y="269"/>
                  </a:lnTo>
                  <a:lnTo>
                    <a:pt x="220" y="267"/>
                  </a:lnTo>
                  <a:lnTo>
                    <a:pt x="224" y="263"/>
                  </a:lnTo>
                  <a:lnTo>
                    <a:pt x="228" y="259"/>
                  </a:lnTo>
                  <a:lnTo>
                    <a:pt x="230" y="254"/>
                  </a:lnTo>
                  <a:lnTo>
                    <a:pt x="230" y="254"/>
                  </a:lnTo>
                  <a:lnTo>
                    <a:pt x="244" y="221"/>
                  </a:lnTo>
                  <a:lnTo>
                    <a:pt x="258" y="192"/>
                  </a:lnTo>
                  <a:lnTo>
                    <a:pt x="269" y="167"/>
                  </a:lnTo>
                  <a:lnTo>
                    <a:pt x="273" y="158"/>
                  </a:lnTo>
                  <a:lnTo>
                    <a:pt x="274" y="150"/>
                  </a:lnTo>
                  <a:lnTo>
                    <a:pt x="274" y="150"/>
                  </a:lnTo>
                  <a:lnTo>
                    <a:pt x="274" y="142"/>
                  </a:lnTo>
                  <a:lnTo>
                    <a:pt x="274" y="131"/>
                  </a:lnTo>
                  <a:lnTo>
                    <a:pt x="270" y="103"/>
                  </a:lnTo>
                  <a:lnTo>
                    <a:pt x="263" y="70"/>
                  </a:lnTo>
                  <a:lnTo>
                    <a:pt x="255" y="38"/>
                  </a:lnTo>
                  <a:lnTo>
                    <a:pt x="255"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600" fontAlgn="auto">
                <a:spcBef>
                  <a:spcPts val="0"/>
                </a:spcBef>
                <a:spcAft>
                  <a:spcPts val="0"/>
                </a:spcAft>
                <a:defRPr/>
              </a:pPr>
              <a:endParaRPr lang="en-US" sz="900" kern="0">
                <a:solidFill>
                  <a:srgbClr val="676767"/>
                </a:solidFill>
                <a:latin typeface="+mj-lt"/>
              </a:endParaRPr>
            </a:p>
          </p:txBody>
        </p:sp>
      </p:grpSp>
      <p:cxnSp>
        <p:nvCxnSpPr>
          <p:cNvPr id="576" name="Straight Connector 575"/>
          <p:cNvCxnSpPr/>
          <p:nvPr/>
        </p:nvCxnSpPr>
        <p:spPr>
          <a:xfrm>
            <a:off x="4695197" y="2984298"/>
            <a:ext cx="0" cy="262330"/>
          </a:xfrm>
          <a:prstGeom prst="line">
            <a:avLst/>
          </a:prstGeom>
          <a:noFill/>
          <a:ln w="9525" cap="flat" cmpd="sng" algn="ctr">
            <a:solidFill>
              <a:srgbClr val="435153"/>
            </a:solidFill>
            <a:prstDash val="solid"/>
          </a:ln>
          <a:effectLst/>
        </p:spPr>
      </p:cxnSp>
      <p:grpSp>
        <p:nvGrpSpPr>
          <p:cNvPr id="64" name="Group 576"/>
          <p:cNvGrpSpPr/>
          <p:nvPr/>
        </p:nvGrpSpPr>
        <p:grpSpPr>
          <a:xfrm>
            <a:off x="1936508" y="3454427"/>
            <a:ext cx="495623" cy="124969"/>
            <a:chOff x="-7735888" y="-3497263"/>
            <a:chExt cx="3568700" cy="895350"/>
          </a:xfrm>
        </p:grpSpPr>
        <p:sp>
          <p:nvSpPr>
            <p:cNvPr id="578" name="Freeform 21"/>
            <p:cNvSpPr>
              <a:spLocks/>
            </p:cNvSpPr>
            <p:nvPr/>
          </p:nvSpPr>
          <p:spPr bwMode="auto">
            <a:xfrm>
              <a:off x="-7681913" y="-3338513"/>
              <a:ext cx="3028950" cy="736600"/>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79" name="Freeform 39"/>
            <p:cNvSpPr>
              <a:spLocks/>
            </p:cNvSpPr>
            <p:nvPr/>
          </p:nvSpPr>
          <p:spPr bwMode="auto">
            <a:xfrm>
              <a:off x="-7735888" y="-3497263"/>
              <a:ext cx="3568700" cy="889000"/>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chemeClr val="accent3">
                <a:lumMod val="75000"/>
              </a:schemeClr>
            </a:solidFill>
            <a:ln>
              <a:noFill/>
            </a:ln>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95" name="Freeform 40"/>
            <p:cNvSpPr>
              <a:spLocks/>
            </p:cNvSpPr>
            <p:nvPr/>
          </p:nvSpPr>
          <p:spPr bwMode="auto">
            <a:xfrm>
              <a:off x="-7735888" y="-3338513"/>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596" name="Freeform 41"/>
            <p:cNvSpPr>
              <a:spLocks/>
            </p:cNvSpPr>
            <p:nvPr/>
          </p:nvSpPr>
          <p:spPr bwMode="auto">
            <a:xfrm>
              <a:off x="-6478588" y="-3275013"/>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00" name="Freeform 42"/>
            <p:cNvSpPr>
              <a:spLocks/>
            </p:cNvSpPr>
            <p:nvPr/>
          </p:nvSpPr>
          <p:spPr bwMode="auto">
            <a:xfrm>
              <a:off x="-59769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1" name="Freeform 43"/>
            <p:cNvSpPr>
              <a:spLocks/>
            </p:cNvSpPr>
            <p:nvPr/>
          </p:nvSpPr>
          <p:spPr bwMode="auto">
            <a:xfrm>
              <a:off x="-6065838" y="-3119438"/>
              <a:ext cx="63500" cy="76200"/>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2" name="Freeform 44"/>
            <p:cNvSpPr>
              <a:spLocks/>
            </p:cNvSpPr>
            <p:nvPr/>
          </p:nvSpPr>
          <p:spPr bwMode="auto">
            <a:xfrm>
              <a:off x="-6262688" y="-3125788"/>
              <a:ext cx="66675" cy="79375"/>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3" name="Freeform 45"/>
            <p:cNvSpPr>
              <a:spLocks/>
            </p:cNvSpPr>
            <p:nvPr/>
          </p:nvSpPr>
          <p:spPr bwMode="auto">
            <a:xfrm>
              <a:off x="-6348413" y="-312896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4" name="Freeform 46"/>
            <p:cNvSpPr>
              <a:spLocks/>
            </p:cNvSpPr>
            <p:nvPr/>
          </p:nvSpPr>
          <p:spPr bwMode="auto">
            <a:xfrm>
              <a:off x="-6437313" y="-313213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5" name="Freeform 47"/>
            <p:cNvSpPr>
              <a:spLocks/>
            </p:cNvSpPr>
            <p:nvPr/>
          </p:nvSpPr>
          <p:spPr bwMode="auto">
            <a:xfrm>
              <a:off x="-6523038" y="-3135313"/>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6" name="Freeform 48"/>
            <p:cNvSpPr>
              <a:spLocks/>
            </p:cNvSpPr>
            <p:nvPr/>
          </p:nvSpPr>
          <p:spPr bwMode="auto">
            <a:xfrm>
              <a:off x="-6611938" y="-3138488"/>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7" name="Freeform 49"/>
            <p:cNvSpPr>
              <a:spLocks/>
            </p:cNvSpPr>
            <p:nvPr/>
          </p:nvSpPr>
          <p:spPr bwMode="auto">
            <a:xfrm>
              <a:off x="-6697663" y="-3138488"/>
              <a:ext cx="66675" cy="76200"/>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8" name="Freeform 50"/>
            <p:cNvSpPr>
              <a:spLocks/>
            </p:cNvSpPr>
            <p:nvPr/>
          </p:nvSpPr>
          <p:spPr bwMode="auto">
            <a:xfrm>
              <a:off x="-7694613" y="-3275013"/>
              <a:ext cx="107950" cy="107950"/>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09" name="Freeform 51"/>
            <p:cNvSpPr>
              <a:spLocks/>
            </p:cNvSpPr>
            <p:nvPr/>
          </p:nvSpPr>
          <p:spPr bwMode="auto">
            <a:xfrm>
              <a:off x="-7586663" y="-3148013"/>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0" name="Rectangle 52"/>
            <p:cNvSpPr>
              <a:spLocks noChangeArrowheads="1"/>
            </p:cNvSpPr>
            <p:nvPr/>
          </p:nvSpPr>
          <p:spPr bwMode="auto">
            <a:xfrm>
              <a:off x="-75295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1" name="Rectangle 53"/>
            <p:cNvSpPr>
              <a:spLocks noChangeArrowheads="1"/>
            </p:cNvSpPr>
            <p:nvPr/>
          </p:nvSpPr>
          <p:spPr bwMode="auto">
            <a:xfrm>
              <a:off x="-738346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12" name="Rectangle 54"/>
            <p:cNvSpPr>
              <a:spLocks noChangeArrowheads="1"/>
            </p:cNvSpPr>
            <p:nvPr/>
          </p:nvSpPr>
          <p:spPr bwMode="auto">
            <a:xfrm>
              <a:off x="-724058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2" name="Rectangle 55"/>
            <p:cNvSpPr>
              <a:spLocks noChangeArrowheads="1"/>
            </p:cNvSpPr>
            <p:nvPr/>
          </p:nvSpPr>
          <p:spPr bwMode="auto">
            <a:xfrm>
              <a:off x="-7094538"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3" name="Rectangle 56"/>
            <p:cNvSpPr>
              <a:spLocks noChangeArrowheads="1"/>
            </p:cNvSpPr>
            <p:nvPr/>
          </p:nvSpPr>
          <p:spPr bwMode="auto">
            <a:xfrm>
              <a:off x="-6704013" y="-3275013"/>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4" name="Rectangle 57"/>
            <p:cNvSpPr>
              <a:spLocks noChangeArrowheads="1"/>
            </p:cNvSpPr>
            <p:nvPr/>
          </p:nvSpPr>
          <p:spPr bwMode="auto">
            <a:xfrm>
              <a:off x="-6967538" y="-3290888"/>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5" name="Freeform 58"/>
            <p:cNvSpPr>
              <a:spLocks/>
            </p:cNvSpPr>
            <p:nvPr/>
          </p:nvSpPr>
          <p:spPr bwMode="auto">
            <a:xfrm>
              <a:off x="-7735888" y="-2998788"/>
              <a:ext cx="3079750" cy="342900"/>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6" name="Freeform 59"/>
            <p:cNvSpPr>
              <a:spLocks/>
            </p:cNvSpPr>
            <p:nvPr/>
          </p:nvSpPr>
          <p:spPr bwMode="auto">
            <a:xfrm>
              <a:off x="-6478588" y="-2935288"/>
              <a:ext cx="1666875" cy="247650"/>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47" name="Freeform 60"/>
            <p:cNvSpPr>
              <a:spLocks/>
            </p:cNvSpPr>
            <p:nvPr/>
          </p:nvSpPr>
          <p:spPr bwMode="auto">
            <a:xfrm>
              <a:off x="-59769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8" name="Freeform 61"/>
            <p:cNvSpPr>
              <a:spLocks/>
            </p:cNvSpPr>
            <p:nvPr/>
          </p:nvSpPr>
          <p:spPr bwMode="auto">
            <a:xfrm>
              <a:off x="-6065838" y="-2779713"/>
              <a:ext cx="63500" cy="76200"/>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49" name="Freeform 62"/>
            <p:cNvSpPr>
              <a:spLocks/>
            </p:cNvSpPr>
            <p:nvPr/>
          </p:nvSpPr>
          <p:spPr bwMode="auto">
            <a:xfrm>
              <a:off x="-6262688" y="-2786063"/>
              <a:ext cx="66675" cy="76200"/>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0" name="Freeform 63"/>
            <p:cNvSpPr>
              <a:spLocks/>
            </p:cNvSpPr>
            <p:nvPr/>
          </p:nvSpPr>
          <p:spPr bwMode="auto">
            <a:xfrm>
              <a:off x="-6348413" y="-278923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1" name="Freeform 64"/>
            <p:cNvSpPr>
              <a:spLocks/>
            </p:cNvSpPr>
            <p:nvPr/>
          </p:nvSpPr>
          <p:spPr bwMode="auto">
            <a:xfrm>
              <a:off x="-6437313" y="-2792413"/>
              <a:ext cx="66675" cy="79375"/>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2" name="Freeform 65"/>
            <p:cNvSpPr>
              <a:spLocks/>
            </p:cNvSpPr>
            <p:nvPr/>
          </p:nvSpPr>
          <p:spPr bwMode="auto">
            <a:xfrm>
              <a:off x="-6523038" y="-2795588"/>
              <a:ext cx="66675" cy="79375"/>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3" name="Freeform 66"/>
            <p:cNvSpPr>
              <a:spLocks/>
            </p:cNvSpPr>
            <p:nvPr/>
          </p:nvSpPr>
          <p:spPr bwMode="auto">
            <a:xfrm>
              <a:off x="-6611938" y="-2798763"/>
              <a:ext cx="66675" cy="79375"/>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4" name="Freeform 67"/>
            <p:cNvSpPr>
              <a:spLocks/>
            </p:cNvSpPr>
            <p:nvPr/>
          </p:nvSpPr>
          <p:spPr bwMode="auto">
            <a:xfrm>
              <a:off x="-6697663" y="-2801938"/>
              <a:ext cx="66675" cy="79375"/>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5" name="Freeform 68"/>
            <p:cNvSpPr>
              <a:spLocks/>
            </p:cNvSpPr>
            <p:nvPr/>
          </p:nvSpPr>
          <p:spPr bwMode="auto">
            <a:xfrm>
              <a:off x="-7694613" y="-2935288"/>
              <a:ext cx="107950" cy="107950"/>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6" name="Freeform 69"/>
            <p:cNvSpPr>
              <a:spLocks/>
            </p:cNvSpPr>
            <p:nvPr/>
          </p:nvSpPr>
          <p:spPr bwMode="auto">
            <a:xfrm>
              <a:off x="-7586663" y="-2808288"/>
              <a:ext cx="768350" cy="76200"/>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7" name="Rectangle 70"/>
            <p:cNvSpPr>
              <a:spLocks noChangeArrowheads="1"/>
            </p:cNvSpPr>
            <p:nvPr/>
          </p:nvSpPr>
          <p:spPr bwMode="auto">
            <a:xfrm>
              <a:off x="-75295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8" name="Rectangle 71"/>
            <p:cNvSpPr>
              <a:spLocks noChangeArrowheads="1"/>
            </p:cNvSpPr>
            <p:nvPr/>
          </p:nvSpPr>
          <p:spPr bwMode="auto">
            <a:xfrm>
              <a:off x="-738346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59" name="Rectangle 72"/>
            <p:cNvSpPr>
              <a:spLocks noChangeArrowheads="1"/>
            </p:cNvSpPr>
            <p:nvPr/>
          </p:nvSpPr>
          <p:spPr bwMode="auto">
            <a:xfrm>
              <a:off x="-724058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0" name="Rectangle 73"/>
            <p:cNvSpPr>
              <a:spLocks noChangeArrowheads="1"/>
            </p:cNvSpPr>
            <p:nvPr/>
          </p:nvSpPr>
          <p:spPr bwMode="auto">
            <a:xfrm>
              <a:off x="-7094538"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1" name="Rectangle 74"/>
            <p:cNvSpPr>
              <a:spLocks noChangeArrowheads="1"/>
            </p:cNvSpPr>
            <p:nvPr/>
          </p:nvSpPr>
          <p:spPr bwMode="auto">
            <a:xfrm>
              <a:off x="-6704013" y="-2935288"/>
              <a:ext cx="79375" cy="7937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662" name="Rectangle 75"/>
            <p:cNvSpPr>
              <a:spLocks noChangeArrowheads="1"/>
            </p:cNvSpPr>
            <p:nvPr/>
          </p:nvSpPr>
          <p:spPr bwMode="auto">
            <a:xfrm>
              <a:off x="-6967538" y="-2951163"/>
              <a:ext cx="136525" cy="136525"/>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grpSp>
      <p:sp>
        <p:nvSpPr>
          <p:cNvPr id="663" name="Rounded Rectangle 191"/>
          <p:cNvSpPr/>
          <p:nvPr/>
        </p:nvSpPr>
        <p:spPr>
          <a:xfrm>
            <a:off x="2062176" y="3335221"/>
            <a:ext cx="244679"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WCCP</a:t>
            </a:r>
          </a:p>
        </p:txBody>
      </p:sp>
      <p:grpSp>
        <p:nvGrpSpPr>
          <p:cNvPr id="65" name="Group 663"/>
          <p:cNvGrpSpPr/>
          <p:nvPr/>
        </p:nvGrpSpPr>
        <p:grpSpPr>
          <a:xfrm>
            <a:off x="1721847" y="3101536"/>
            <a:ext cx="542397" cy="136797"/>
            <a:chOff x="1377853" y="3377132"/>
            <a:chExt cx="567188" cy="143050"/>
          </a:xfrm>
        </p:grpSpPr>
        <p:sp>
          <p:nvSpPr>
            <p:cNvPr id="665" name="Freeform 21"/>
            <p:cNvSpPr>
              <a:spLocks/>
            </p:cNvSpPr>
            <p:nvPr/>
          </p:nvSpPr>
          <p:spPr bwMode="auto">
            <a:xfrm>
              <a:off x="1386433" y="3402495"/>
              <a:ext cx="481403" cy="117687"/>
            </a:xfrm>
            <a:custGeom>
              <a:avLst/>
              <a:gdLst>
                <a:gd name="T0" fmla="*/ 1908 w 1908"/>
                <a:gd name="T1" fmla="*/ 464 h 464"/>
                <a:gd name="T2" fmla="*/ 0 w 1908"/>
                <a:gd name="T3" fmla="*/ 432 h 464"/>
                <a:gd name="T4" fmla="*/ 0 w 1908"/>
                <a:gd name="T5" fmla="*/ 0 h 464"/>
                <a:gd name="T6" fmla="*/ 1908 w 1908"/>
                <a:gd name="T7" fmla="*/ 30 h 464"/>
                <a:gd name="T8" fmla="*/ 1908 w 1908"/>
                <a:gd name="T9" fmla="*/ 464 h 464"/>
              </a:gdLst>
              <a:ahLst/>
              <a:cxnLst>
                <a:cxn ang="0">
                  <a:pos x="T0" y="T1"/>
                </a:cxn>
                <a:cxn ang="0">
                  <a:pos x="T2" y="T3"/>
                </a:cxn>
                <a:cxn ang="0">
                  <a:pos x="T4" y="T5"/>
                </a:cxn>
                <a:cxn ang="0">
                  <a:pos x="T6" y="T7"/>
                </a:cxn>
                <a:cxn ang="0">
                  <a:pos x="T8" y="T9"/>
                </a:cxn>
              </a:cxnLst>
              <a:rect l="0" t="0" r="r" b="b"/>
              <a:pathLst>
                <a:path w="1908" h="464">
                  <a:moveTo>
                    <a:pt x="1908" y="464"/>
                  </a:moveTo>
                  <a:lnTo>
                    <a:pt x="0" y="432"/>
                  </a:lnTo>
                  <a:lnTo>
                    <a:pt x="0" y="0"/>
                  </a:lnTo>
                  <a:lnTo>
                    <a:pt x="1908" y="30"/>
                  </a:lnTo>
                  <a:lnTo>
                    <a:pt x="1908" y="46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6" name="Freeform 39"/>
            <p:cNvSpPr>
              <a:spLocks/>
            </p:cNvSpPr>
            <p:nvPr/>
          </p:nvSpPr>
          <p:spPr bwMode="auto">
            <a:xfrm>
              <a:off x="1377853" y="3377132"/>
              <a:ext cx="567188" cy="142036"/>
            </a:xfrm>
            <a:custGeom>
              <a:avLst/>
              <a:gdLst>
                <a:gd name="T0" fmla="*/ 0 w 2248"/>
                <a:gd name="T1" fmla="*/ 108 h 560"/>
                <a:gd name="T2" fmla="*/ 0 w 2248"/>
                <a:gd name="T3" fmla="*/ 108 h 560"/>
                <a:gd name="T4" fmla="*/ 420 w 2248"/>
                <a:gd name="T5" fmla="*/ 52 h 560"/>
                <a:gd name="T6" fmla="*/ 832 w 2248"/>
                <a:gd name="T7" fmla="*/ 0 h 560"/>
                <a:gd name="T8" fmla="*/ 2248 w 2248"/>
                <a:gd name="T9" fmla="*/ 16 h 560"/>
                <a:gd name="T10" fmla="*/ 2248 w 2248"/>
                <a:gd name="T11" fmla="*/ 318 h 560"/>
                <a:gd name="T12" fmla="*/ 1934 w 2248"/>
                <a:gd name="T13" fmla="*/ 560 h 560"/>
                <a:gd name="T14" fmla="*/ 1940 w 2248"/>
                <a:gd name="T15" fmla="*/ 134 h 560"/>
                <a:gd name="T16" fmla="*/ 0 w 2248"/>
                <a:gd name="T17" fmla="*/ 1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8" h="560">
                  <a:moveTo>
                    <a:pt x="0" y="108"/>
                  </a:moveTo>
                  <a:lnTo>
                    <a:pt x="0" y="108"/>
                  </a:lnTo>
                  <a:lnTo>
                    <a:pt x="420" y="52"/>
                  </a:lnTo>
                  <a:lnTo>
                    <a:pt x="832" y="0"/>
                  </a:lnTo>
                  <a:lnTo>
                    <a:pt x="2248" y="16"/>
                  </a:lnTo>
                  <a:lnTo>
                    <a:pt x="2248" y="318"/>
                  </a:lnTo>
                  <a:lnTo>
                    <a:pt x="1934" y="560"/>
                  </a:lnTo>
                  <a:lnTo>
                    <a:pt x="1940" y="134"/>
                  </a:lnTo>
                  <a:lnTo>
                    <a:pt x="0" y="108"/>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7" name="Freeform 40"/>
            <p:cNvSpPr>
              <a:spLocks/>
            </p:cNvSpPr>
            <p:nvPr/>
          </p:nvSpPr>
          <p:spPr bwMode="auto">
            <a:xfrm>
              <a:off x="1377854" y="3402496"/>
              <a:ext cx="489477" cy="54785"/>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8" name="Freeform 41"/>
            <p:cNvSpPr>
              <a:spLocks/>
            </p:cNvSpPr>
            <p:nvPr/>
          </p:nvSpPr>
          <p:spPr bwMode="auto">
            <a:xfrm>
              <a:off x="1577682" y="3412640"/>
              <a:ext cx="264923" cy="39567"/>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69" name="Freeform 42"/>
            <p:cNvSpPr>
              <a:spLocks/>
            </p:cNvSpPr>
            <p:nvPr/>
          </p:nvSpPr>
          <p:spPr bwMode="auto">
            <a:xfrm>
              <a:off x="1657410" y="3437497"/>
              <a:ext cx="10092" cy="12175"/>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0" name="Freeform 43"/>
            <p:cNvSpPr>
              <a:spLocks/>
            </p:cNvSpPr>
            <p:nvPr/>
          </p:nvSpPr>
          <p:spPr bwMode="auto">
            <a:xfrm>
              <a:off x="1643281" y="3437497"/>
              <a:ext cx="10092" cy="12175"/>
            </a:xfrm>
            <a:custGeom>
              <a:avLst/>
              <a:gdLst>
                <a:gd name="T0" fmla="*/ 26 w 40"/>
                <a:gd name="T1" fmla="*/ 8 h 48"/>
                <a:gd name="T2" fmla="*/ 26 w 40"/>
                <a:gd name="T3" fmla="*/ 0 h 48"/>
                <a:gd name="T4" fmla="*/ 12 w 40"/>
                <a:gd name="T5" fmla="*/ 0 h 48"/>
                <a:gd name="T6" fmla="*/ 12 w 40"/>
                <a:gd name="T7" fmla="*/ 8 h 48"/>
                <a:gd name="T8" fmla="*/ 0 w 40"/>
                <a:gd name="T9" fmla="*/ 8 h 48"/>
                <a:gd name="T10" fmla="*/ 0 w 40"/>
                <a:gd name="T11" fmla="*/ 48 h 48"/>
                <a:gd name="T12" fmla="*/ 40 w 40"/>
                <a:gd name="T13" fmla="*/ 48 h 48"/>
                <a:gd name="T14" fmla="*/ 40 w 40"/>
                <a:gd name="T15" fmla="*/ 8 h 48"/>
                <a:gd name="T16" fmla="*/ 26 w 40"/>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8"/>
                  </a:moveTo>
                  <a:lnTo>
                    <a:pt x="26" y="0"/>
                  </a:lnTo>
                  <a:lnTo>
                    <a:pt x="12" y="0"/>
                  </a:lnTo>
                  <a:lnTo>
                    <a:pt x="12" y="8"/>
                  </a:lnTo>
                  <a:lnTo>
                    <a:pt x="0" y="8"/>
                  </a:lnTo>
                  <a:lnTo>
                    <a:pt x="0" y="48"/>
                  </a:lnTo>
                  <a:lnTo>
                    <a:pt x="40" y="48"/>
                  </a:lnTo>
                  <a:lnTo>
                    <a:pt x="40" y="8"/>
                  </a:lnTo>
                  <a:lnTo>
                    <a:pt x="26"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1" name="Freeform 44"/>
            <p:cNvSpPr>
              <a:spLocks/>
            </p:cNvSpPr>
            <p:nvPr/>
          </p:nvSpPr>
          <p:spPr bwMode="auto">
            <a:xfrm>
              <a:off x="1611996" y="3436482"/>
              <a:ext cx="10597" cy="12682"/>
            </a:xfrm>
            <a:custGeom>
              <a:avLst/>
              <a:gdLst>
                <a:gd name="T0" fmla="*/ 28 w 42"/>
                <a:gd name="T1" fmla="*/ 8 h 50"/>
                <a:gd name="T2" fmla="*/ 28 w 42"/>
                <a:gd name="T3" fmla="*/ 0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2" name="Freeform 45"/>
            <p:cNvSpPr>
              <a:spLocks/>
            </p:cNvSpPr>
            <p:nvPr/>
          </p:nvSpPr>
          <p:spPr bwMode="auto">
            <a:xfrm>
              <a:off x="1598370" y="3435975"/>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3" name="Freeform 46"/>
            <p:cNvSpPr>
              <a:spLocks/>
            </p:cNvSpPr>
            <p:nvPr/>
          </p:nvSpPr>
          <p:spPr bwMode="auto">
            <a:xfrm>
              <a:off x="1584241" y="3435468"/>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4" name="Freeform 47"/>
            <p:cNvSpPr>
              <a:spLocks/>
            </p:cNvSpPr>
            <p:nvPr/>
          </p:nvSpPr>
          <p:spPr bwMode="auto">
            <a:xfrm>
              <a:off x="1570617" y="3434961"/>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5" name="Freeform 48"/>
            <p:cNvSpPr>
              <a:spLocks/>
            </p:cNvSpPr>
            <p:nvPr/>
          </p:nvSpPr>
          <p:spPr bwMode="auto">
            <a:xfrm>
              <a:off x="1556487" y="3434454"/>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6" name="Freeform 49"/>
            <p:cNvSpPr>
              <a:spLocks/>
            </p:cNvSpPr>
            <p:nvPr/>
          </p:nvSpPr>
          <p:spPr bwMode="auto">
            <a:xfrm>
              <a:off x="1542863" y="3434454"/>
              <a:ext cx="10597" cy="12175"/>
            </a:xfrm>
            <a:custGeom>
              <a:avLst/>
              <a:gdLst>
                <a:gd name="T0" fmla="*/ 28 w 42"/>
                <a:gd name="T1" fmla="*/ 6 h 48"/>
                <a:gd name="T2" fmla="*/ 28 w 42"/>
                <a:gd name="T3" fmla="*/ 0 h 48"/>
                <a:gd name="T4" fmla="*/ 14 w 42"/>
                <a:gd name="T5" fmla="*/ 0 h 48"/>
                <a:gd name="T6" fmla="*/ 14 w 42"/>
                <a:gd name="T7" fmla="*/ 6 h 48"/>
                <a:gd name="T8" fmla="*/ 0 w 42"/>
                <a:gd name="T9" fmla="*/ 6 h 48"/>
                <a:gd name="T10" fmla="*/ 0 w 42"/>
                <a:gd name="T11" fmla="*/ 46 h 48"/>
                <a:gd name="T12" fmla="*/ 40 w 42"/>
                <a:gd name="T13" fmla="*/ 48 h 48"/>
                <a:gd name="T14" fmla="*/ 42 w 42"/>
                <a:gd name="T15" fmla="*/ 8 h 48"/>
                <a:gd name="T16" fmla="*/ 28 w 42"/>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6"/>
                  </a:moveTo>
                  <a:lnTo>
                    <a:pt x="28" y="0"/>
                  </a:lnTo>
                  <a:lnTo>
                    <a:pt x="14" y="0"/>
                  </a:lnTo>
                  <a:lnTo>
                    <a:pt x="14" y="6"/>
                  </a:lnTo>
                  <a:lnTo>
                    <a:pt x="0" y="6"/>
                  </a:lnTo>
                  <a:lnTo>
                    <a:pt x="0" y="46"/>
                  </a:lnTo>
                  <a:lnTo>
                    <a:pt x="40" y="48"/>
                  </a:lnTo>
                  <a:lnTo>
                    <a:pt x="42" y="8"/>
                  </a:lnTo>
                  <a:lnTo>
                    <a:pt x="28"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7" name="Freeform 50"/>
            <p:cNvSpPr>
              <a:spLocks/>
            </p:cNvSpPr>
            <p:nvPr/>
          </p:nvSpPr>
          <p:spPr bwMode="auto">
            <a:xfrm>
              <a:off x="1384414" y="3412640"/>
              <a:ext cx="17157" cy="17247"/>
            </a:xfrm>
            <a:custGeom>
              <a:avLst/>
              <a:gdLst>
                <a:gd name="T0" fmla="*/ 68 w 68"/>
                <a:gd name="T1" fmla="*/ 34 h 68"/>
                <a:gd name="T2" fmla="*/ 68 w 68"/>
                <a:gd name="T3" fmla="*/ 34 h 68"/>
                <a:gd name="T4" fmla="*/ 68 w 68"/>
                <a:gd name="T5" fmla="*/ 40 h 68"/>
                <a:gd name="T6" fmla="*/ 66 w 68"/>
                <a:gd name="T7" fmla="*/ 48 h 68"/>
                <a:gd name="T8" fmla="*/ 62 w 68"/>
                <a:gd name="T9" fmla="*/ 54 h 68"/>
                <a:gd name="T10" fmla="*/ 58 w 68"/>
                <a:gd name="T11" fmla="*/ 58 h 68"/>
                <a:gd name="T12" fmla="*/ 54 w 68"/>
                <a:gd name="T13" fmla="*/ 62 h 68"/>
                <a:gd name="T14" fmla="*/ 48 w 68"/>
                <a:gd name="T15" fmla="*/ 66 h 68"/>
                <a:gd name="T16" fmla="*/ 40 w 68"/>
                <a:gd name="T17" fmla="*/ 68 h 68"/>
                <a:gd name="T18" fmla="*/ 34 w 68"/>
                <a:gd name="T19" fmla="*/ 68 h 68"/>
                <a:gd name="T20" fmla="*/ 34 w 68"/>
                <a:gd name="T21" fmla="*/ 68 h 68"/>
                <a:gd name="T22" fmla="*/ 28 w 68"/>
                <a:gd name="T23" fmla="*/ 68 h 68"/>
                <a:gd name="T24" fmla="*/ 20 w 68"/>
                <a:gd name="T25" fmla="*/ 66 h 68"/>
                <a:gd name="T26" fmla="*/ 14 w 68"/>
                <a:gd name="T27" fmla="*/ 62 h 68"/>
                <a:gd name="T28" fmla="*/ 10 w 68"/>
                <a:gd name="T29" fmla="*/ 58 h 68"/>
                <a:gd name="T30" fmla="*/ 6 w 68"/>
                <a:gd name="T31" fmla="*/ 54 h 68"/>
                <a:gd name="T32" fmla="*/ 2 w 68"/>
                <a:gd name="T33" fmla="*/ 48 h 68"/>
                <a:gd name="T34" fmla="*/ 0 w 68"/>
                <a:gd name="T35" fmla="*/ 40 h 68"/>
                <a:gd name="T36" fmla="*/ 0 w 68"/>
                <a:gd name="T37" fmla="*/ 34 h 68"/>
                <a:gd name="T38" fmla="*/ 0 w 68"/>
                <a:gd name="T39" fmla="*/ 34 h 68"/>
                <a:gd name="T40" fmla="*/ 0 w 68"/>
                <a:gd name="T41" fmla="*/ 28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8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8"/>
                  </a:lnTo>
                  <a:lnTo>
                    <a:pt x="62" y="54"/>
                  </a:lnTo>
                  <a:lnTo>
                    <a:pt x="58" y="58"/>
                  </a:lnTo>
                  <a:lnTo>
                    <a:pt x="54" y="62"/>
                  </a:lnTo>
                  <a:lnTo>
                    <a:pt x="48" y="66"/>
                  </a:lnTo>
                  <a:lnTo>
                    <a:pt x="40" y="68"/>
                  </a:lnTo>
                  <a:lnTo>
                    <a:pt x="34" y="68"/>
                  </a:lnTo>
                  <a:lnTo>
                    <a:pt x="34" y="68"/>
                  </a:lnTo>
                  <a:lnTo>
                    <a:pt x="28" y="68"/>
                  </a:lnTo>
                  <a:lnTo>
                    <a:pt x="20" y="66"/>
                  </a:lnTo>
                  <a:lnTo>
                    <a:pt x="14" y="62"/>
                  </a:lnTo>
                  <a:lnTo>
                    <a:pt x="10" y="58"/>
                  </a:lnTo>
                  <a:lnTo>
                    <a:pt x="6" y="54"/>
                  </a:lnTo>
                  <a:lnTo>
                    <a:pt x="2" y="48"/>
                  </a:lnTo>
                  <a:lnTo>
                    <a:pt x="0" y="40"/>
                  </a:lnTo>
                  <a:lnTo>
                    <a:pt x="0" y="34"/>
                  </a:lnTo>
                  <a:lnTo>
                    <a:pt x="0" y="34"/>
                  </a:lnTo>
                  <a:lnTo>
                    <a:pt x="0" y="28"/>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8"/>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8" name="Freeform 51"/>
            <p:cNvSpPr>
              <a:spLocks/>
            </p:cNvSpPr>
            <p:nvPr/>
          </p:nvSpPr>
          <p:spPr bwMode="auto">
            <a:xfrm>
              <a:off x="1401571" y="3432932"/>
              <a:ext cx="122117" cy="12175"/>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79" name="Rectangle 52"/>
            <p:cNvSpPr>
              <a:spLocks noChangeArrowheads="1"/>
            </p:cNvSpPr>
            <p:nvPr/>
          </p:nvSpPr>
          <p:spPr bwMode="auto">
            <a:xfrm>
              <a:off x="141065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0" name="Rectangle 53"/>
            <p:cNvSpPr>
              <a:spLocks noChangeArrowheads="1"/>
            </p:cNvSpPr>
            <p:nvPr/>
          </p:nvSpPr>
          <p:spPr bwMode="auto">
            <a:xfrm>
              <a:off x="1433866"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1" name="Rectangle 54"/>
            <p:cNvSpPr>
              <a:spLocks noChangeArrowheads="1"/>
            </p:cNvSpPr>
            <p:nvPr/>
          </p:nvSpPr>
          <p:spPr bwMode="auto">
            <a:xfrm>
              <a:off x="145657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2" name="Rectangle 55"/>
            <p:cNvSpPr>
              <a:spLocks noChangeArrowheads="1"/>
            </p:cNvSpPr>
            <p:nvPr/>
          </p:nvSpPr>
          <p:spPr bwMode="auto">
            <a:xfrm>
              <a:off x="1479786"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3" name="Rectangle 56"/>
            <p:cNvSpPr>
              <a:spLocks noChangeArrowheads="1"/>
            </p:cNvSpPr>
            <p:nvPr/>
          </p:nvSpPr>
          <p:spPr bwMode="auto">
            <a:xfrm>
              <a:off x="1541854" y="3412641"/>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4" name="Rectangle 57"/>
            <p:cNvSpPr>
              <a:spLocks noChangeArrowheads="1"/>
            </p:cNvSpPr>
            <p:nvPr/>
          </p:nvSpPr>
          <p:spPr bwMode="auto">
            <a:xfrm>
              <a:off x="1499971" y="3410105"/>
              <a:ext cx="21698" cy="21813"/>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5" name="Freeform 58"/>
            <p:cNvSpPr>
              <a:spLocks/>
            </p:cNvSpPr>
            <p:nvPr/>
          </p:nvSpPr>
          <p:spPr bwMode="auto">
            <a:xfrm>
              <a:off x="1377854" y="3456774"/>
              <a:ext cx="489477" cy="54785"/>
            </a:xfrm>
            <a:custGeom>
              <a:avLst/>
              <a:gdLst>
                <a:gd name="T0" fmla="*/ 1940 w 1940"/>
                <a:gd name="T1" fmla="*/ 216 h 216"/>
                <a:gd name="T2" fmla="*/ 0 w 1940"/>
                <a:gd name="T3" fmla="*/ 182 h 216"/>
                <a:gd name="T4" fmla="*/ 0 w 1940"/>
                <a:gd name="T5" fmla="*/ 0 h 216"/>
                <a:gd name="T6" fmla="*/ 1940 w 1940"/>
                <a:gd name="T7" fmla="*/ 34 h 216"/>
                <a:gd name="T8" fmla="*/ 1940 w 1940"/>
                <a:gd name="T9" fmla="*/ 216 h 216"/>
              </a:gdLst>
              <a:ahLst/>
              <a:cxnLst>
                <a:cxn ang="0">
                  <a:pos x="T0" y="T1"/>
                </a:cxn>
                <a:cxn ang="0">
                  <a:pos x="T2" y="T3"/>
                </a:cxn>
                <a:cxn ang="0">
                  <a:pos x="T4" y="T5"/>
                </a:cxn>
                <a:cxn ang="0">
                  <a:pos x="T6" y="T7"/>
                </a:cxn>
                <a:cxn ang="0">
                  <a:pos x="T8" y="T9"/>
                </a:cxn>
              </a:cxnLst>
              <a:rect l="0" t="0" r="r" b="b"/>
              <a:pathLst>
                <a:path w="1940" h="216">
                  <a:moveTo>
                    <a:pt x="1940" y="216"/>
                  </a:moveTo>
                  <a:lnTo>
                    <a:pt x="0" y="182"/>
                  </a:lnTo>
                  <a:lnTo>
                    <a:pt x="0" y="0"/>
                  </a:lnTo>
                  <a:lnTo>
                    <a:pt x="1940" y="34"/>
                  </a:lnTo>
                  <a:lnTo>
                    <a:pt x="1940" y="216"/>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6" name="Freeform 59"/>
            <p:cNvSpPr>
              <a:spLocks/>
            </p:cNvSpPr>
            <p:nvPr/>
          </p:nvSpPr>
          <p:spPr bwMode="auto">
            <a:xfrm>
              <a:off x="1577682" y="3466919"/>
              <a:ext cx="264923" cy="39567"/>
            </a:xfrm>
            <a:custGeom>
              <a:avLst/>
              <a:gdLst>
                <a:gd name="T0" fmla="*/ 0 w 1050"/>
                <a:gd name="T1" fmla="*/ 0 h 156"/>
                <a:gd name="T2" fmla="*/ 0 w 1050"/>
                <a:gd name="T3" fmla="*/ 70 h 156"/>
                <a:gd name="T4" fmla="*/ 386 w 1050"/>
                <a:gd name="T5" fmla="*/ 78 h 156"/>
                <a:gd name="T6" fmla="*/ 386 w 1050"/>
                <a:gd name="T7" fmla="*/ 142 h 156"/>
                <a:gd name="T8" fmla="*/ 778 w 1050"/>
                <a:gd name="T9" fmla="*/ 148 h 156"/>
                <a:gd name="T10" fmla="*/ 778 w 1050"/>
                <a:gd name="T11" fmla="*/ 86 h 156"/>
                <a:gd name="T12" fmla="*/ 952 w 1050"/>
                <a:gd name="T13" fmla="*/ 86 h 156"/>
                <a:gd name="T14" fmla="*/ 952 w 1050"/>
                <a:gd name="T15" fmla="*/ 156 h 156"/>
                <a:gd name="T16" fmla="*/ 1050 w 1050"/>
                <a:gd name="T17" fmla="*/ 156 h 156"/>
                <a:gd name="T18" fmla="*/ 1050 w 1050"/>
                <a:gd name="T19" fmla="*/ 26 h 156"/>
                <a:gd name="T20" fmla="*/ 0 w 1050"/>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0" h="156">
                  <a:moveTo>
                    <a:pt x="0" y="0"/>
                  </a:moveTo>
                  <a:lnTo>
                    <a:pt x="0" y="70"/>
                  </a:lnTo>
                  <a:lnTo>
                    <a:pt x="386" y="78"/>
                  </a:lnTo>
                  <a:lnTo>
                    <a:pt x="386" y="142"/>
                  </a:lnTo>
                  <a:lnTo>
                    <a:pt x="778" y="148"/>
                  </a:lnTo>
                  <a:lnTo>
                    <a:pt x="778" y="86"/>
                  </a:lnTo>
                  <a:lnTo>
                    <a:pt x="952" y="86"/>
                  </a:lnTo>
                  <a:lnTo>
                    <a:pt x="952" y="156"/>
                  </a:lnTo>
                  <a:lnTo>
                    <a:pt x="1050" y="156"/>
                  </a:lnTo>
                  <a:lnTo>
                    <a:pt x="1050" y="26"/>
                  </a:lnTo>
                  <a:lnTo>
                    <a:pt x="0" y="0"/>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7" name="Freeform 60"/>
            <p:cNvSpPr>
              <a:spLocks/>
            </p:cNvSpPr>
            <p:nvPr/>
          </p:nvSpPr>
          <p:spPr bwMode="auto">
            <a:xfrm>
              <a:off x="1657410" y="3491775"/>
              <a:ext cx="10092" cy="12175"/>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8" name="Freeform 61"/>
            <p:cNvSpPr>
              <a:spLocks/>
            </p:cNvSpPr>
            <p:nvPr/>
          </p:nvSpPr>
          <p:spPr bwMode="auto">
            <a:xfrm>
              <a:off x="1643281" y="3491775"/>
              <a:ext cx="10092" cy="12175"/>
            </a:xfrm>
            <a:custGeom>
              <a:avLst/>
              <a:gdLst>
                <a:gd name="T0" fmla="*/ 26 w 40"/>
                <a:gd name="T1" fmla="*/ 6 h 48"/>
                <a:gd name="T2" fmla="*/ 26 w 40"/>
                <a:gd name="T3" fmla="*/ 0 h 48"/>
                <a:gd name="T4" fmla="*/ 12 w 40"/>
                <a:gd name="T5" fmla="*/ 0 h 48"/>
                <a:gd name="T6" fmla="*/ 12 w 40"/>
                <a:gd name="T7" fmla="*/ 6 h 48"/>
                <a:gd name="T8" fmla="*/ 0 w 40"/>
                <a:gd name="T9" fmla="*/ 6 h 48"/>
                <a:gd name="T10" fmla="*/ 0 w 40"/>
                <a:gd name="T11" fmla="*/ 48 h 48"/>
                <a:gd name="T12" fmla="*/ 40 w 40"/>
                <a:gd name="T13" fmla="*/ 48 h 48"/>
                <a:gd name="T14" fmla="*/ 40 w 40"/>
                <a:gd name="T15" fmla="*/ 6 h 48"/>
                <a:gd name="T16" fmla="*/ 26 w 40"/>
                <a:gd name="T17" fmla="*/ 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48">
                  <a:moveTo>
                    <a:pt x="26" y="6"/>
                  </a:moveTo>
                  <a:lnTo>
                    <a:pt x="26" y="0"/>
                  </a:lnTo>
                  <a:lnTo>
                    <a:pt x="12" y="0"/>
                  </a:lnTo>
                  <a:lnTo>
                    <a:pt x="12" y="6"/>
                  </a:lnTo>
                  <a:lnTo>
                    <a:pt x="0" y="6"/>
                  </a:lnTo>
                  <a:lnTo>
                    <a:pt x="0" y="48"/>
                  </a:lnTo>
                  <a:lnTo>
                    <a:pt x="40" y="48"/>
                  </a:lnTo>
                  <a:lnTo>
                    <a:pt x="40" y="6"/>
                  </a:lnTo>
                  <a:lnTo>
                    <a:pt x="26" y="6"/>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89" name="Freeform 62"/>
            <p:cNvSpPr>
              <a:spLocks/>
            </p:cNvSpPr>
            <p:nvPr/>
          </p:nvSpPr>
          <p:spPr bwMode="auto">
            <a:xfrm>
              <a:off x="1611996" y="3490761"/>
              <a:ext cx="10597" cy="12175"/>
            </a:xfrm>
            <a:custGeom>
              <a:avLst/>
              <a:gdLst>
                <a:gd name="T0" fmla="*/ 28 w 42"/>
                <a:gd name="T1" fmla="*/ 8 h 48"/>
                <a:gd name="T2" fmla="*/ 28 w 42"/>
                <a:gd name="T3" fmla="*/ 0 h 48"/>
                <a:gd name="T4" fmla="*/ 14 w 42"/>
                <a:gd name="T5" fmla="*/ 0 h 48"/>
                <a:gd name="T6" fmla="*/ 14 w 42"/>
                <a:gd name="T7" fmla="*/ 8 h 48"/>
                <a:gd name="T8" fmla="*/ 2 w 42"/>
                <a:gd name="T9" fmla="*/ 6 h 48"/>
                <a:gd name="T10" fmla="*/ 0 w 42"/>
                <a:gd name="T11" fmla="*/ 48 h 48"/>
                <a:gd name="T12" fmla="*/ 42 w 42"/>
                <a:gd name="T13" fmla="*/ 48 h 48"/>
                <a:gd name="T14" fmla="*/ 42 w 42"/>
                <a:gd name="T15" fmla="*/ 8 h 48"/>
                <a:gd name="T16" fmla="*/ 28 w 42"/>
                <a:gd name="T17"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8">
                  <a:moveTo>
                    <a:pt x="28" y="8"/>
                  </a:moveTo>
                  <a:lnTo>
                    <a:pt x="28" y="0"/>
                  </a:lnTo>
                  <a:lnTo>
                    <a:pt x="14" y="0"/>
                  </a:lnTo>
                  <a:lnTo>
                    <a:pt x="14" y="8"/>
                  </a:lnTo>
                  <a:lnTo>
                    <a:pt x="2" y="6"/>
                  </a:lnTo>
                  <a:lnTo>
                    <a:pt x="0" y="48"/>
                  </a:lnTo>
                  <a:lnTo>
                    <a:pt x="42" y="48"/>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0" name="Freeform 63"/>
            <p:cNvSpPr>
              <a:spLocks/>
            </p:cNvSpPr>
            <p:nvPr/>
          </p:nvSpPr>
          <p:spPr bwMode="auto">
            <a:xfrm>
              <a:off x="1598370" y="3490254"/>
              <a:ext cx="10597" cy="12682"/>
            </a:xfrm>
            <a:custGeom>
              <a:avLst/>
              <a:gdLst>
                <a:gd name="T0" fmla="*/ 28 w 42"/>
                <a:gd name="T1" fmla="*/ 8 h 50"/>
                <a:gd name="T2" fmla="*/ 28 w 42"/>
                <a:gd name="T3" fmla="*/ 0 h 50"/>
                <a:gd name="T4" fmla="*/ 14 w 42"/>
                <a:gd name="T5" fmla="*/ 0 h 50"/>
                <a:gd name="T6" fmla="*/ 14 w 42"/>
                <a:gd name="T7" fmla="*/ 8 h 50"/>
                <a:gd name="T8" fmla="*/ 0 w 42"/>
                <a:gd name="T9" fmla="*/ 6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6"/>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1" name="Freeform 64"/>
            <p:cNvSpPr>
              <a:spLocks/>
            </p:cNvSpPr>
            <p:nvPr/>
          </p:nvSpPr>
          <p:spPr bwMode="auto">
            <a:xfrm>
              <a:off x="1584241" y="3489746"/>
              <a:ext cx="10597" cy="12682"/>
            </a:xfrm>
            <a:custGeom>
              <a:avLst/>
              <a:gdLst>
                <a:gd name="T0" fmla="*/ 28 w 42"/>
                <a:gd name="T1" fmla="*/ 8 h 50"/>
                <a:gd name="T2" fmla="*/ 28 w 42"/>
                <a:gd name="T3" fmla="*/ 0 h 50"/>
                <a:gd name="T4" fmla="*/ 14 w 42"/>
                <a:gd name="T5" fmla="*/ 0 h 50"/>
                <a:gd name="T6" fmla="*/ 14 w 42"/>
                <a:gd name="T7" fmla="*/ 8 h 50"/>
                <a:gd name="T8" fmla="*/ 2 w 42"/>
                <a:gd name="T9" fmla="*/ 6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2" y="6"/>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2" name="Freeform 65"/>
            <p:cNvSpPr>
              <a:spLocks/>
            </p:cNvSpPr>
            <p:nvPr/>
          </p:nvSpPr>
          <p:spPr bwMode="auto">
            <a:xfrm>
              <a:off x="1570617" y="3489239"/>
              <a:ext cx="10597" cy="12682"/>
            </a:xfrm>
            <a:custGeom>
              <a:avLst/>
              <a:gdLst>
                <a:gd name="T0" fmla="*/ 28 w 42"/>
                <a:gd name="T1" fmla="*/ 8 h 50"/>
                <a:gd name="T2" fmla="*/ 28 w 42"/>
                <a:gd name="T3" fmla="*/ 0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0"/>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3" name="Freeform 66"/>
            <p:cNvSpPr>
              <a:spLocks/>
            </p:cNvSpPr>
            <p:nvPr/>
          </p:nvSpPr>
          <p:spPr bwMode="auto">
            <a:xfrm>
              <a:off x="1556487" y="3488732"/>
              <a:ext cx="10597" cy="12682"/>
            </a:xfrm>
            <a:custGeom>
              <a:avLst/>
              <a:gdLst>
                <a:gd name="T0" fmla="*/ 28 w 42"/>
                <a:gd name="T1" fmla="*/ 8 h 50"/>
                <a:gd name="T2" fmla="*/ 28 w 42"/>
                <a:gd name="T3" fmla="*/ 2 h 50"/>
                <a:gd name="T4" fmla="*/ 14 w 42"/>
                <a:gd name="T5" fmla="*/ 0 h 50"/>
                <a:gd name="T6" fmla="*/ 14 w 42"/>
                <a:gd name="T7" fmla="*/ 8 h 50"/>
                <a:gd name="T8" fmla="*/ 2 w 42"/>
                <a:gd name="T9" fmla="*/ 8 h 50"/>
                <a:gd name="T10" fmla="*/ 0 w 42"/>
                <a:gd name="T11" fmla="*/ 48 h 50"/>
                <a:gd name="T12" fmla="*/ 42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2" y="8"/>
                  </a:lnTo>
                  <a:lnTo>
                    <a:pt x="0" y="48"/>
                  </a:lnTo>
                  <a:lnTo>
                    <a:pt x="42"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4" name="Freeform 67"/>
            <p:cNvSpPr>
              <a:spLocks/>
            </p:cNvSpPr>
            <p:nvPr/>
          </p:nvSpPr>
          <p:spPr bwMode="auto">
            <a:xfrm>
              <a:off x="1542863" y="3488224"/>
              <a:ext cx="10597" cy="12682"/>
            </a:xfrm>
            <a:custGeom>
              <a:avLst/>
              <a:gdLst>
                <a:gd name="T0" fmla="*/ 28 w 42"/>
                <a:gd name="T1" fmla="*/ 8 h 50"/>
                <a:gd name="T2" fmla="*/ 28 w 42"/>
                <a:gd name="T3" fmla="*/ 2 h 50"/>
                <a:gd name="T4" fmla="*/ 14 w 42"/>
                <a:gd name="T5" fmla="*/ 0 h 50"/>
                <a:gd name="T6" fmla="*/ 14 w 42"/>
                <a:gd name="T7" fmla="*/ 8 h 50"/>
                <a:gd name="T8" fmla="*/ 0 w 42"/>
                <a:gd name="T9" fmla="*/ 8 h 50"/>
                <a:gd name="T10" fmla="*/ 0 w 42"/>
                <a:gd name="T11" fmla="*/ 48 h 50"/>
                <a:gd name="T12" fmla="*/ 40 w 42"/>
                <a:gd name="T13" fmla="*/ 50 h 50"/>
                <a:gd name="T14" fmla="*/ 42 w 42"/>
                <a:gd name="T15" fmla="*/ 8 h 50"/>
                <a:gd name="T16" fmla="*/ 28 w 42"/>
                <a:gd name="T17" fmla="*/ 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0">
                  <a:moveTo>
                    <a:pt x="28" y="8"/>
                  </a:moveTo>
                  <a:lnTo>
                    <a:pt x="28" y="2"/>
                  </a:lnTo>
                  <a:lnTo>
                    <a:pt x="14" y="0"/>
                  </a:lnTo>
                  <a:lnTo>
                    <a:pt x="14" y="8"/>
                  </a:lnTo>
                  <a:lnTo>
                    <a:pt x="0" y="8"/>
                  </a:lnTo>
                  <a:lnTo>
                    <a:pt x="0" y="48"/>
                  </a:lnTo>
                  <a:lnTo>
                    <a:pt x="40" y="50"/>
                  </a:lnTo>
                  <a:lnTo>
                    <a:pt x="42" y="8"/>
                  </a:lnTo>
                  <a:lnTo>
                    <a:pt x="28" y="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5" name="Freeform 68"/>
            <p:cNvSpPr>
              <a:spLocks/>
            </p:cNvSpPr>
            <p:nvPr/>
          </p:nvSpPr>
          <p:spPr bwMode="auto">
            <a:xfrm>
              <a:off x="1384414" y="3466919"/>
              <a:ext cx="17157" cy="17247"/>
            </a:xfrm>
            <a:custGeom>
              <a:avLst/>
              <a:gdLst>
                <a:gd name="T0" fmla="*/ 68 w 68"/>
                <a:gd name="T1" fmla="*/ 34 h 68"/>
                <a:gd name="T2" fmla="*/ 68 w 68"/>
                <a:gd name="T3" fmla="*/ 34 h 68"/>
                <a:gd name="T4" fmla="*/ 68 w 68"/>
                <a:gd name="T5" fmla="*/ 40 h 68"/>
                <a:gd name="T6" fmla="*/ 66 w 68"/>
                <a:gd name="T7" fmla="*/ 46 h 68"/>
                <a:gd name="T8" fmla="*/ 62 w 68"/>
                <a:gd name="T9" fmla="*/ 52 h 68"/>
                <a:gd name="T10" fmla="*/ 58 w 68"/>
                <a:gd name="T11" fmla="*/ 58 h 68"/>
                <a:gd name="T12" fmla="*/ 54 w 68"/>
                <a:gd name="T13" fmla="*/ 62 h 68"/>
                <a:gd name="T14" fmla="*/ 48 w 68"/>
                <a:gd name="T15" fmla="*/ 64 h 68"/>
                <a:gd name="T16" fmla="*/ 40 w 68"/>
                <a:gd name="T17" fmla="*/ 66 h 68"/>
                <a:gd name="T18" fmla="*/ 34 w 68"/>
                <a:gd name="T19" fmla="*/ 68 h 68"/>
                <a:gd name="T20" fmla="*/ 34 w 68"/>
                <a:gd name="T21" fmla="*/ 68 h 68"/>
                <a:gd name="T22" fmla="*/ 28 w 68"/>
                <a:gd name="T23" fmla="*/ 66 h 68"/>
                <a:gd name="T24" fmla="*/ 20 w 68"/>
                <a:gd name="T25" fmla="*/ 64 h 68"/>
                <a:gd name="T26" fmla="*/ 14 w 68"/>
                <a:gd name="T27" fmla="*/ 62 h 68"/>
                <a:gd name="T28" fmla="*/ 10 w 68"/>
                <a:gd name="T29" fmla="*/ 58 h 68"/>
                <a:gd name="T30" fmla="*/ 6 w 68"/>
                <a:gd name="T31" fmla="*/ 52 h 68"/>
                <a:gd name="T32" fmla="*/ 2 w 68"/>
                <a:gd name="T33" fmla="*/ 46 h 68"/>
                <a:gd name="T34" fmla="*/ 0 w 68"/>
                <a:gd name="T35" fmla="*/ 40 h 68"/>
                <a:gd name="T36" fmla="*/ 0 w 68"/>
                <a:gd name="T37" fmla="*/ 34 h 68"/>
                <a:gd name="T38" fmla="*/ 0 w 68"/>
                <a:gd name="T39" fmla="*/ 34 h 68"/>
                <a:gd name="T40" fmla="*/ 0 w 68"/>
                <a:gd name="T41" fmla="*/ 26 h 68"/>
                <a:gd name="T42" fmla="*/ 2 w 68"/>
                <a:gd name="T43" fmla="*/ 20 h 68"/>
                <a:gd name="T44" fmla="*/ 6 w 68"/>
                <a:gd name="T45" fmla="*/ 14 h 68"/>
                <a:gd name="T46" fmla="*/ 10 w 68"/>
                <a:gd name="T47" fmla="*/ 10 h 68"/>
                <a:gd name="T48" fmla="*/ 14 w 68"/>
                <a:gd name="T49" fmla="*/ 6 h 68"/>
                <a:gd name="T50" fmla="*/ 20 w 68"/>
                <a:gd name="T51" fmla="*/ 2 h 68"/>
                <a:gd name="T52" fmla="*/ 28 w 68"/>
                <a:gd name="T53" fmla="*/ 0 h 68"/>
                <a:gd name="T54" fmla="*/ 34 w 68"/>
                <a:gd name="T55" fmla="*/ 0 h 68"/>
                <a:gd name="T56" fmla="*/ 34 w 68"/>
                <a:gd name="T57" fmla="*/ 0 h 68"/>
                <a:gd name="T58" fmla="*/ 40 w 68"/>
                <a:gd name="T59" fmla="*/ 0 h 68"/>
                <a:gd name="T60" fmla="*/ 48 w 68"/>
                <a:gd name="T61" fmla="*/ 2 h 68"/>
                <a:gd name="T62" fmla="*/ 54 w 68"/>
                <a:gd name="T63" fmla="*/ 6 h 68"/>
                <a:gd name="T64" fmla="*/ 58 w 68"/>
                <a:gd name="T65" fmla="*/ 10 h 68"/>
                <a:gd name="T66" fmla="*/ 62 w 68"/>
                <a:gd name="T67" fmla="*/ 14 h 68"/>
                <a:gd name="T68" fmla="*/ 66 w 68"/>
                <a:gd name="T69" fmla="*/ 20 h 68"/>
                <a:gd name="T70" fmla="*/ 68 w 68"/>
                <a:gd name="T71" fmla="*/ 26 h 68"/>
                <a:gd name="T72" fmla="*/ 68 w 68"/>
                <a:gd name="T73" fmla="*/ 34 h 68"/>
                <a:gd name="T74" fmla="*/ 68 w 68"/>
                <a:gd name="T75" fmla="*/ 3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68">
                  <a:moveTo>
                    <a:pt x="68" y="34"/>
                  </a:moveTo>
                  <a:lnTo>
                    <a:pt x="68" y="34"/>
                  </a:lnTo>
                  <a:lnTo>
                    <a:pt x="68" y="40"/>
                  </a:lnTo>
                  <a:lnTo>
                    <a:pt x="66" y="46"/>
                  </a:lnTo>
                  <a:lnTo>
                    <a:pt x="62" y="52"/>
                  </a:lnTo>
                  <a:lnTo>
                    <a:pt x="58" y="58"/>
                  </a:lnTo>
                  <a:lnTo>
                    <a:pt x="54" y="62"/>
                  </a:lnTo>
                  <a:lnTo>
                    <a:pt x="48" y="64"/>
                  </a:lnTo>
                  <a:lnTo>
                    <a:pt x="40" y="66"/>
                  </a:lnTo>
                  <a:lnTo>
                    <a:pt x="34" y="68"/>
                  </a:lnTo>
                  <a:lnTo>
                    <a:pt x="34" y="68"/>
                  </a:lnTo>
                  <a:lnTo>
                    <a:pt x="28" y="66"/>
                  </a:lnTo>
                  <a:lnTo>
                    <a:pt x="20" y="64"/>
                  </a:lnTo>
                  <a:lnTo>
                    <a:pt x="14" y="62"/>
                  </a:lnTo>
                  <a:lnTo>
                    <a:pt x="10" y="58"/>
                  </a:lnTo>
                  <a:lnTo>
                    <a:pt x="6" y="52"/>
                  </a:lnTo>
                  <a:lnTo>
                    <a:pt x="2" y="46"/>
                  </a:lnTo>
                  <a:lnTo>
                    <a:pt x="0" y="40"/>
                  </a:lnTo>
                  <a:lnTo>
                    <a:pt x="0" y="34"/>
                  </a:lnTo>
                  <a:lnTo>
                    <a:pt x="0" y="34"/>
                  </a:lnTo>
                  <a:lnTo>
                    <a:pt x="0" y="26"/>
                  </a:lnTo>
                  <a:lnTo>
                    <a:pt x="2" y="20"/>
                  </a:lnTo>
                  <a:lnTo>
                    <a:pt x="6" y="14"/>
                  </a:lnTo>
                  <a:lnTo>
                    <a:pt x="10" y="10"/>
                  </a:lnTo>
                  <a:lnTo>
                    <a:pt x="14" y="6"/>
                  </a:lnTo>
                  <a:lnTo>
                    <a:pt x="20" y="2"/>
                  </a:lnTo>
                  <a:lnTo>
                    <a:pt x="28" y="0"/>
                  </a:lnTo>
                  <a:lnTo>
                    <a:pt x="34" y="0"/>
                  </a:lnTo>
                  <a:lnTo>
                    <a:pt x="34" y="0"/>
                  </a:lnTo>
                  <a:lnTo>
                    <a:pt x="40" y="0"/>
                  </a:lnTo>
                  <a:lnTo>
                    <a:pt x="48" y="2"/>
                  </a:lnTo>
                  <a:lnTo>
                    <a:pt x="54" y="6"/>
                  </a:lnTo>
                  <a:lnTo>
                    <a:pt x="58" y="10"/>
                  </a:lnTo>
                  <a:lnTo>
                    <a:pt x="62" y="14"/>
                  </a:lnTo>
                  <a:lnTo>
                    <a:pt x="66" y="20"/>
                  </a:lnTo>
                  <a:lnTo>
                    <a:pt x="68" y="26"/>
                  </a:lnTo>
                  <a:lnTo>
                    <a:pt x="68" y="34"/>
                  </a:lnTo>
                  <a:lnTo>
                    <a:pt x="68" y="34"/>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6" name="Freeform 69"/>
            <p:cNvSpPr>
              <a:spLocks/>
            </p:cNvSpPr>
            <p:nvPr/>
          </p:nvSpPr>
          <p:spPr bwMode="auto">
            <a:xfrm>
              <a:off x="1401571" y="3487209"/>
              <a:ext cx="122117" cy="12175"/>
            </a:xfrm>
            <a:custGeom>
              <a:avLst/>
              <a:gdLst>
                <a:gd name="T0" fmla="*/ 484 w 484"/>
                <a:gd name="T1" fmla="*/ 48 h 48"/>
                <a:gd name="T2" fmla="*/ 0 w 484"/>
                <a:gd name="T3" fmla="*/ 36 h 48"/>
                <a:gd name="T4" fmla="*/ 0 w 484"/>
                <a:gd name="T5" fmla="*/ 0 h 48"/>
                <a:gd name="T6" fmla="*/ 484 w 484"/>
                <a:gd name="T7" fmla="*/ 10 h 48"/>
                <a:gd name="T8" fmla="*/ 484 w 484"/>
                <a:gd name="T9" fmla="*/ 48 h 48"/>
              </a:gdLst>
              <a:ahLst/>
              <a:cxnLst>
                <a:cxn ang="0">
                  <a:pos x="T0" y="T1"/>
                </a:cxn>
                <a:cxn ang="0">
                  <a:pos x="T2" y="T3"/>
                </a:cxn>
                <a:cxn ang="0">
                  <a:pos x="T4" y="T5"/>
                </a:cxn>
                <a:cxn ang="0">
                  <a:pos x="T6" y="T7"/>
                </a:cxn>
                <a:cxn ang="0">
                  <a:pos x="T8" y="T9"/>
                </a:cxn>
              </a:cxnLst>
              <a:rect l="0" t="0" r="r" b="b"/>
              <a:pathLst>
                <a:path w="484" h="48">
                  <a:moveTo>
                    <a:pt x="484" y="48"/>
                  </a:moveTo>
                  <a:lnTo>
                    <a:pt x="0" y="36"/>
                  </a:lnTo>
                  <a:lnTo>
                    <a:pt x="0" y="0"/>
                  </a:lnTo>
                  <a:lnTo>
                    <a:pt x="484" y="10"/>
                  </a:lnTo>
                  <a:lnTo>
                    <a:pt x="484" y="48"/>
                  </a:lnTo>
                  <a:close/>
                </a:path>
              </a:pathLst>
            </a:custGeom>
            <a:solidFill>
              <a:srgbClr val="0B0B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7" name="Rectangle 70"/>
            <p:cNvSpPr>
              <a:spLocks noChangeArrowheads="1"/>
            </p:cNvSpPr>
            <p:nvPr/>
          </p:nvSpPr>
          <p:spPr bwMode="auto">
            <a:xfrm>
              <a:off x="141065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8" name="Rectangle 71"/>
            <p:cNvSpPr>
              <a:spLocks noChangeArrowheads="1"/>
            </p:cNvSpPr>
            <p:nvPr/>
          </p:nvSpPr>
          <p:spPr bwMode="auto">
            <a:xfrm>
              <a:off x="1433866"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699" name="Rectangle 72"/>
            <p:cNvSpPr>
              <a:spLocks noChangeArrowheads="1"/>
            </p:cNvSpPr>
            <p:nvPr/>
          </p:nvSpPr>
          <p:spPr bwMode="auto">
            <a:xfrm>
              <a:off x="145657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0" name="Rectangle 73"/>
            <p:cNvSpPr>
              <a:spLocks noChangeArrowheads="1"/>
            </p:cNvSpPr>
            <p:nvPr/>
          </p:nvSpPr>
          <p:spPr bwMode="auto">
            <a:xfrm>
              <a:off x="1479786"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1" name="Rectangle 74"/>
            <p:cNvSpPr>
              <a:spLocks noChangeArrowheads="1"/>
            </p:cNvSpPr>
            <p:nvPr/>
          </p:nvSpPr>
          <p:spPr bwMode="auto">
            <a:xfrm>
              <a:off x="1541854" y="3466919"/>
              <a:ext cx="12616" cy="12682"/>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2" name="Rectangle 75"/>
            <p:cNvSpPr>
              <a:spLocks noChangeArrowheads="1"/>
            </p:cNvSpPr>
            <p:nvPr/>
          </p:nvSpPr>
          <p:spPr bwMode="auto">
            <a:xfrm>
              <a:off x="1499971" y="3464382"/>
              <a:ext cx="21698" cy="21813"/>
            </a:xfrm>
            <a:prstGeom prst="rect">
              <a:avLst/>
            </a:prstGeom>
            <a:solidFill>
              <a:srgbClr val="0B0B0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03" name="Rounded Rectangle 191"/>
          <p:cNvSpPr/>
          <p:nvPr/>
        </p:nvSpPr>
        <p:spPr>
          <a:xfrm>
            <a:off x="1937792" y="2972594"/>
            <a:ext cx="166265"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ASA</a:t>
            </a:r>
          </a:p>
        </p:txBody>
      </p:sp>
      <p:grpSp>
        <p:nvGrpSpPr>
          <p:cNvPr id="66" name="Group 703"/>
          <p:cNvGrpSpPr/>
          <p:nvPr/>
        </p:nvGrpSpPr>
        <p:grpSpPr>
          <a:xfrm>
            <a:off x="2753327" y="3463323"/>
            <a:ext cx="422528" cy="110719"/>
            <a:chOff x="-12771438" y="-1804988"/>
            <a:chExt cx="4140200" cy="1079501"/>
          </a:xfrm>
        </p:grpSpPr>
        <p:sp>
          <p:nvSpPr>
            <p:cNvPr id="705" name="Freeform 22"/>
            <p:cNvSpPr>
              <a:spLocks/>
            </p:cNvSpPr>
            <p:nvPr/>
          </p:nvSpPr>
          <p:spPr bwMode="auto">
            <a:xfrm>
              <a:off x="-12555538" y="-1804988"/>
              <a:ext cx="3924300" cy="908050"/>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06" name="Freeform 23"/>
            <p:cNvSpPr>
              <a:spLocks/>
            </p:cNvSpPr>
            <p:nvPr/>
          </p:nvSpPr>
          <p:spPr bwMode="auto">
            <a:xfrm>
              <a:off x="-12771438" y="-1566862"/>
              <a:ext cx="3886200" cy="841375"/>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676767">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07" name="Freeform 24"/>
            <p:cNvSpPr>
              <a:spLocks/>
            </p:cNvSpPr>
            <p:nvPr/>
          </p:nvSpPr>
          <p:spPr bwMode="auto">
            <a:xfrm>
              <a:off x="-12515533" y="-1476057"/>
              <a:ext cx="3305175" cy="685800"/>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8" name="Freeform 25"/>
            <p:cNvSpPr>
              <a:spLocks/>
            </p:cNvSpPr>
            <p:nvPr/>
          </p:nvSpPr>
          <p:spPr bwMode="auto">
            <a:xfrm>
              <a:off x="-12515533" y="-1476057"/>
              <a:ext cx="3305175" cy="266700"/>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09" name="Freeform 26"/>
            <p:cNvSpPr>
              <a:spLocks/>
            </p:cNvSpPr>
            <p:nvPr/>
          </p:nvSpPr>
          <p:spPr bwMode="auto">
            <a:xfrm>
              <a:off x="-12742863" y="-1268412"/>
              <a:ext cx="149225" cy="368300"/>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0" name="Freeform 27"/>
            <p:cNvSpPr>
              <a:spLocks/>
            </p:cNvSpPr>
            <p:nvPr/>
          </p:nvSpPr>
          <p:spPr bwMode="auto">
            <a:xfrm>
              <a:off x="-9125903" y="-1119187"/>
              <a:ext cx="168275" cy="365125"/>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1" name="Freeform 28"/>
            <p:cNvSpPr>
              <a:spLocks/>
            </p:cNvSpPr>
            <p:nvPr/>
          </p:nvSpPr>
          <p:spPr bwMode="auto">
            <a:xfrm>
              <a:off x="-9043353" y="-881062"/>
              <a:ext cx="85725" cy="82550"/>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2" name="Freeform 29"/>
            <p:cNvSpPr>
              <a:spLocks/>
            </p:cNvSpPr>
            <p:nvPr/>
          </p:nvSpPr>
          <p:spPr bwMode="auto">
            <a:xfrm>
              <a:off x="-12742863" y="-1033462"/>
              <a:ext cx="82550" cy="82550"/>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13" name="Rounded Rectangle 191"/>
          <p:cNvSpPr/>
          <p:nvPr/>
        </p:nvSpPr>
        <p:spPr>
          <a:xfrm>
            <a:off x="2736524" y="3335221"/>
            <a:ext cx="514006"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Load Balancer</a:t>
            </a:r>
          </a:p>
        </p:txBody>
      </p:sp>
      <p:grpSp>
        <p:nvGrpSpPr>
          <p:cNvPr id="67" name="Group 713"/>
          <p:cNvGrpSpPr/>
          <p:nvPr/>
        </p:nvGrpSpPr>
        <p:grpSpPr>
          <a:xfrm>
            <a:off x="2547189" y="3107395"/>
            <a:ext cx="462403" cy="121200"/>
            <a:chOff x="2129791" y="3385289"/>
            <a:chExt cx="483538" cy="126740"/>
          </a:xfrm>
        </p:grpSpPr>
        <p:sp>
          <p:nvSpPr>
            <p:cNvPr id="715" name="Freeform 22"/>
            <p:cNvSpPr>
              <a:spLocks/>
            </p:cNvSpPr>
            <p:nvPr/>
          </p:nvSpPr>
          <p:spPr bwMode="auto">
            <a:xfrm>
              <a:off x="2155006" y="3385289"/>
              <a:ext cx="458323" cy="106611"/>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rgbClr val="435153">
                    <a:lumMod val="50000"/>
                  </a:srgbClr>
                </a:gs>
                <a:gs pos="31000">
                  <a:srgbClr val="435153">
                    <a:lumMod val="75000"/>
                  </a:srgbClr>
                </a:gs>
              </a:gsLst>
              <a:lin ang="27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6" name="Freeform 23"/>
            <p:cNvSpPr>
              <a:spLocks/>
            </p:cNvSpPr>
            <p:nvPr/>
          </p:nvSpPr>
          <p:spPr bwMode="auto">
            <a:xfrm>
              <a:off x="2129791" y="3413246"/>
              <a:ext cx="453873" cy="98783"/>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A6A8AB">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7" name="Freeform 24"/>
            <p:cNvSpPr>
              <a:spLocks/>
            </p:cNvSpPr>
            <p:nvPr/>
          </p:nvSpPr>
          <p:spPr bwMode="auto">
            <a:xfrm>
              <a:off x="2159678" y="3423907"/>
              <a:ext cx="386015" cy="80517"/>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8" name="Freeform 25"/>
            <p:cNvSpPr>
              <a:spLocks/>
            </p:cNvSpPr>
            <p:nvPr/>
          </p:nvSpPr>
          <p:spPr bwMode="auto">
            <a:xfrm>
              <a:off x="2159678" y="3423907"/>
              <a:ext cx="386015" cy="31313"/>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rgbClr val="435153">
                <a:lumMod val="5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19" name="Freeform 26"/>
            <p:cNvSpPr>
              <a:spLocks/>
            </p:cNvSpPr>
            <p:nvPr/>
          </p:nvSpPr>
          <p:spPr bwMode="auto">
            <a:xfrm>
              <a:off x="2133129" y="3448286"/>
              <a:ext cx="17428" cy="43241"/>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0" name="Freeform 27"/>
            <p:cNvSpPr>
              <a:spLocks/>
            </p:cNvSpPr>
            <p:nvPr/>
          </p:nvSpPr>
          <p:spPr bwMode="auto">
            <a:xfrm>
              <a:off x="2555556" y="3465807"/>
              <a:ext cx="19653" cy="42868"/>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1" name="Freeform 28"/>
            <p:cNvSpPr>
              <a:spLocks/>
            </p:cNvSpPr>
            <p:nvPr/>
          </p:nvSpPr>
          <p:spPr bwMode="auto">
            <a:xfrm>
              <a:off x="2565198" y="3493764"/>
              <a:ext cx="10012" cy="9692"/>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22" name="Freeform 29"/>
            <p:cNvSpPr>
              <a:spLocks/>
            </p:cNvSpPr>
            <p:nvPr/>
          </p:nvSpPr>
          <p:spPr bwMode="auto">
            <a:xfrm>
              <a:off x="2133129" y="3475871"/>
              <a:ext cx="9641" cy="9692"/>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grpSp>
      <p:sp>
        <p:nvSpPr>
          <p:cNvPr id="723" name="Rounded Rectangle 191"/>
          <p:cNvSpPr/>
          <p:nvPr/>
        </p:nvSpPr>
        <p:spPr>
          <a:xfrm>
            <a:off x="2669217" y="2972594"/>
            <a:ext cx="285124"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WSA</a:t>
            </a:r>
          </a:p>
        </p:txBody>
      </p:sp>
      <p:grpSp>
        <p:nvGrpSpPr>
          <p:cNvPr id="69" name="Group 724"/>
          <p:cNvGrpSpPr/>
          <p:nvPr/>
        </p:nvGrpSpPr>
        <p:grpSpPr>
          <a:xfrm>
            <a:off x="4078782" y="3456644"/>
            <a:ext cx="414737" cy="146293"/>
            <a:chOff x="8929533" y="-3143770"/>
            <a:chExt cx="4737107" cy="1662632"/>
          </a:xfrm>
        </p:grpSpPr>
        <p:grpSp>
          <p:nvGrpSpPr>
            <p:cNvPr id="72" name="Group 736"/>
            <p:cNvGrpSpPr/>
            <p:nvPr/>
          </p:nvGrpSpPr>
          <p:grpSpPr>
            <a:xfrm>
              <a:off x="8929533" y="-3143770"/>
              <a:ext cx="4737107" cy="1662632"/>
              <a:chOff x="8929533" y="-3143770"/>
              <a:chExt cx="4737107" cy="1662632"/>
            </a:xfrm>
          </p:grpSpPr>
          <p:sp>
            <p:nvSpPr>
              <p:cNvPr id="740" name="Freeform 30"/>
              <p:cNvSpPr>
                <a:spLocks/>
              </p:cNvSpPr>
              <p:nvPr/>
            </p:nvSpPr>
            <p:spPr bwMode="auto">
              <a:xfrm>
                <a:off x="9558190" y="-2163763"/>
                <a:ext cx="831850" cy="552450"/>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1" name="Freeform 31"/>
              <p:cNvSpPr>
                <a:spLocks/>
              </p:cNvSpPr>
              <p:nvPr/>
            </p:nvSpPr>
            <p:spPr bwMode="auto">
              <a:xfrm>
                <a:off x="11469540" y="-2074863"/>
                <a:ext cx="831850" cy="552450"/>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2" name="Freeform 32"/>
              <p:cNvSpPr>
                <a:spLocks/>
              </p:cNvSpPr>
              <p:nvPr/>
            </p:nvSpPr>
            <p:spPr bwMode="auto">
              <a:xfrm>
                <a:off x="8929540" y="-2817813"/>
                <a:ext cx="4152900" cy="317500"/>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3" name="Freeform 33"/>
              <p:cNvSpPr>
                <a:spLocks/>
              </p:cNvSpPr>
              <p:nvPr/>
            </p:nvSpPr>
            <p:spPr bwMode="auto">
              <a:xfrm>
                <a:off x="8929533" y="-2557465"/>
                <a:ext cx="4152894" cy="1076327"/>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4" name="Freeform 34"/>
              <p:cNvSpPr>
                <a:spLocks/>
              </p:cNvSpPr>
              <p:nvPr/>
            </p:nvSpPr>
            <p:spPr bwMode="auto">
              <a:xfrm>
                <a:off x="13082440" y="-3073402"/>
                <a:ext cx="584200" cy="1573213"/>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45" name="Freeform 35"/>
              <p:cNvSpPr>
                <a:spLocks/>
              </p:cNvSpPr>
              <p:nvPr/>
            </p:nvSpPr>
            <p:spPr bwMode="auto">
              <a:xfrm>
                <a:off x="8929540" y="-3143770"/>
                <a:ext cx="4737100" cy="364057"/>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676767">
                  <a:lumMod val="50000"/>
                </a:srgbClr>
              </a:solidFill>
              <a:ln>
                <a:noFill/>
              </a:ln>
            </p:spPr>
            <p:txBody>
              <a:bodyPr vert="horz" wrap="square" lIns="91392" tIns="45696" rIns="91392" bIns="45696"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grpSp>
        <p:sp>
          <p:nvSpPr>
            <p:cNvPr id="738" name="Rectangle 737"/>
            <p:cNvSpPr/>
            <p:nvPr/>
          </p:nvSpPr>
          <p:spPr>
            <a:xfrm>
              <a:off x="9794081" y="-1887538"/>
              <a:ext cx="370510" cy="171862"/>
            </a:xfrm>
            <a:prstGeom prst="rect">
              <a:avLst/>
            </a:prstGeom>
            <a:solidFill>
              <a:srgbClr val="232429"/>
            </a:solidFill>
            <a:ln w="25400" cap="flat" cmpd="sng" algn="ctr">
              <a:noFill/>
              <a:prstDash val="solid"/>
            </a:ln>
            <a:effectLst/>
          </p:spPr>
          <p:txBody>
            <a:bodyPr rtlCol="0" anchor="ctr"/>
            <a:lstStyle/>
            <a:p>
              <a:pPr algn="ctr" defTabSz="913661">
                <a:defRPr/>
              </a:pPr>
              <a:endParaRPr lang="en-US" sz="1400" kern="0">
                <a:solidFill>
                  <a:prstClr val="white"/>
                </a:solidFill>
                <a:latin typeface="+mj-lt"/>
                <a:ea typeface="+mn-ea"/>
                <a:cs typeface="+mn-cs"/>
              </a:endParaRPr>
            </a:p>
          </p:txBody>
        </p:sp>
        <p:sp>
          <p:nvSpPr>
            <p:cNvPr id="739" name="Rectangle 738"/>
            <p:cNvSpPr/>
            <p:nvPr/>
          </p:nvSpPr>
          <p:spPr>
            <a:xfrm>
              <a:off x="11719942" y="-1801607"/>
              <a:ext cx="370510" cy="171862"/>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726" name="Rounded Rectangle 191"/>
          <p:cNvSpPr/>
          <p:nvPr/>
        </p:nvSpPr>
        <p:spPr>
          <a:xfrm>
            <a:off x="4154980" y="3335221"/>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PBR</a:t>
            </a:r>
          </a:p>
        </p:txBody>
      </p:sp>
      <p:grpSp>
        <p:nvGrpSpPr>
          <p:cNvPr id="77" name="Group 726"/>
          <p:cNvGrpSpPr/>
          <p:nvPr/>
        </p:nvGrpSpPr>
        <p:grpSpPr>
          <a:xfrm>
            <a:off x="4011460" y="3093620"/>
            <a:ext cx="453878" cy="160140"/>
            <a:chOff x="3553591" y="3364929"/>
            <a:chExt cx="474623" cy="167460"/>
          </a:xfrm>
        </p:grpSpPr>
        <p:sp>
          <p:nvSpPr>
            <p:cNvPr id="729" name="Freeform 30"/>
            <p:cNvSpPr>
              <a:spLocks/>
            </p:cNvSpPr>
            <p:nvPr/>
          </p:nvSpPr>
          <p:spPr bwMode="auto">
            <a:xfrm>
              <a:off x="3616578" y="3463636"/>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0" name="Freeform 31"/>
            <p:cNvSpPr>
              <a:spLocks/>
            </p:cNvSpPr>
            <p:nvPr/>
          </p:nvSpPr>
          <p:spPr bwMode="auto">
            <a:xfrm>
              <a:off x="3808081" y="3472589"/>
              <a:ext cx="83345" cy="55643"/>
            </a:xfrm>
            <a:custGeom>
              <a:avLst/>
              <a:gdLst>
                <a:gd name="T0" fmla="*/ 60 w 524"/>
                <a:gd name="T1" fmla="*/ 324 h 348"/>
                <a:gd name="T2" fmla="*/ 60 w 524"/>
                <a:gd name="T3" fmla="*/ 324 h 348"/>
                <a:gd name="T4" fmla="*/ 524 w 524"/>
                <a:gd name="T5" fmla="*/ 348 h 348"/>
                <a:gd name="T6" fmla="*/ 524 w 524"/>
                <a:gd name="T7" fmla="*/ 348 h 348"/>
                <a:gd name="T8" fmla="*/ 522 w 524"/>
                <a:gd name="T9" fmla="*/ 194 h 348"/>
                <a:gd name="T10" fmla="*/ 522 w 524"/>
                <a:gd name="T11" fmla="*/ 88 h 348"/>
                <a:gd name="T12" fmla="*/ 524 w 524"/>
                <a:gd name="T13" fmla="*/ 54 h 348"/>
                <a:gd name="T14" fmla="*/ 524 w 524"/>
                <a:gd name="T15" fmla="*/ 40 h 348"/>
                <a:gd name="T16" fmla="*/ 524 w 524"/>
                <a:gd name="T17" fmla="*/ 40 h 348"/>
                <a:gd name="T18" fmla="*/ 0 w 524"/>
                <a:gd name="T19" fmla="*/ 0 h 348"/>
                <a:gd name="T20" fmla="*/ 60 w 524"/>
                <a:gd name="T21" fmla="*/ 32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4" h="348">
                  <a:moveTo>
                    <a:pt x="60" y="324"/>
                  </a:moveTo>
                  <a:lnTo>
                    <a:pt x="60" y="324"/>
                  </a:lnTo>
                  <a:lnTo>
                    <a:pt x="524" y="348"/>
                  </a:lnTo>
                  <a:lnTo>
                    <a:pt x="524" y="348"/>
                  </a:lnTo>
                  <a:lnTo>
                    <a:pt x="522" y="194"/>
                  </a:lnTo>
                  <a:lnTo>
                    <a:pt x="522" y="88"/>
                  </a:lnTo>
                  <a:lnTo>
                    <a:pt x="524" y="54"/>
                  </a:lnTo>
                  <a:lnTo>
                    <a:pt x="524" y="40"/>
                  </a:lnTo>
                  <a:lnTo>
                    <a:pt x="524" y="40"/>
                  </a:lnTo>
                  <a:lnTo>
                    <a:pt x="0" y="0"/>
                  </a:lnTo>
                  <a:lnTo>
                    <a:pt x="60" y="324"/>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1" name="Freeform 32"/>
            <p:cNvSpPr>
              <a:spLocks/>
            </p:cNvSpPr>
            <p:nvPr/>
          </p:nvSpPr>
          <p:spPr bwMode="auto">
            <a:xfrm>
              <a:off x="3553591" y="3397759"/>
              <a:ext cx="416090" cy="31979"/>
            </a:xfrm>
            <a:custGeom>
              <a:avLst/>
              <a:gdLst>
                <a:gd name="T0" fmla="*/ 2616 w 2616"/>
                <a:gd name="T1" fmla="*/ 200 h 200"/>
                <a:gd name="T2" fmla="*/ 0 w 2616"/>
                <a:gd name="T3" fmla="*/ 176 h 200"/>
                <a:gd name="T4" fmla="*/ 0 w 2616"/>
                <a:gd name="T5" fmla="*/ 0 h 200"/>
                <a:gd name="T6" fmla="*/ 2616 w 2616"/>
                <a:gd name="T7" fmla="*/ 24 h 200"/>
                <a:gd name="T8" fmla="*/ 2616 w 2616"/>
                <a:gd name="T9" fmla="*/ 200 h 200"/>
              </a:gdLst>
              <a:ahLst/>
              <a:cxnLst>
                <a:cxn ang="0">
                  <a:pos x="T0" y="T1"/>
                </a:cxn>
                <a:cxn ang="0">
                  <a:pos x="T2" y="T3"/>
                </a:cxn>
                <a:cxn ang="0">
                  <a:pos x="T4" y="T5"/>
                </a:cxn>
                <a:cxn ang="0">
                  <a:pos x="T6" y="T7"/>
                </a:cxn>
                <a:cxn ang="0">
                  <a:pos x="T8" y="T9"/>
                </a:cxn>
              </a:cxnLst>
              <a:rect l="0" t="0" r="r" b="b"/>
              <a:pathLst>
                <a:path w="2616" h="200">
                  <a:moveTo>
                    <a:pt x="2616" y="200"/>
                  </a:moveTo>
                  <a:lnTo>
                    <a:pt x="0" y="176"/>
                  </a:lnTo>
                  <a:lnTo>
                    <a:pt x="0" y="0"/>
                  </a:lnTo>
                  <a:lnTo>
                    <a:pt x="2616" y="24"/>
                  </a:lnTo>
                  <a:lnTo>
                    <a:pt x="2616" y="200"/>
                  </a:lnTo>
                  <a:close/>
                </a:path>
              </a:pathLst>
            </a:custGeom>
            <a:solidFill>
              <a:srgbClr val="435153">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2" name="Freeform 33"/>
            <p:cNvSpPr>
              <a:spLocks/>
            </p:cNvSpPr>
            <p:nvPr/>
          </p:nvSpPr>
          <p:spPr bwMode="auto">
            <a:xfrm>
              <a:off x="3553591" y="3423981"/>
              <a:ext cx="416089" cy="108408"/>
            </a:xfrm>
            <a:custGeom>
              <a:avLst/>
              <a:gdLst>
                <a:gd name="T0" fmla="*/ 492 w 2616"/>
                <a:gd name="T1" fmla="*/ 370 h 678"/>
                <a:gd name="T2" fmla="*/ 840 w 2616"/>
                <a:gd name="T3" fmla="*/ 370 h 678"/>
                <a:gd name="T4" fmla="*/ 840 w 2616"/>
                <a:gd name="T5" fmla="*/ 596 h 678"/>
                <a:gd name="T6" fmla="*/ 1696 w 2616"/>
                <a:gd name="T7" fmla="*/ 636 h 678"/>
                <a:gd name="T8" fmla="*/ 1696 w 2616"/>
                <a:gd name="T9" fmla="*/ 636 h 678"/>
                <a:gd name="T10" fmla="*/ 1692 w 2616"/>
                <a:gd name="T11" fmla="*/ 576 h 678"/>
                <a:gd name="T12" fmla="*/ 1690 w 2616"/>
                <a:gd name="T13" fmla="*/ 502 h 678"/>
                <a:gd name="T14" fmla="*/ 1692 w 2616"/>
                <a:gd name="T15" fmla="*/ 434 h 678"/>
                <a:gd name="T16" fmla="*/ 1692 w 2616"/>
                <a:gd name="T17" fmla="*/ 412 h 678"/>
                <a:gd name="T18" fmla="*/ 1694 w 2616"/>
                <a:gd name="T19" fmla="*/ 406 h 678"/>
                <a:gd name="T20" fmla="*/ 1696 w 2616"/>
                <a:gd name="T21" fmla="*/ 402 h 678"/>
                <a:gd name="T22" fmla="*/ 1696 w 2616"/>
                <a:gd name="T23" fmla="*/ 402 h 678"/>
                <a:gd name="T24" fmla="*/ 1702 w 2616"/>
                <a:gd name="T25" fmla="*/ 400 h 678"/>
                <a:gd name="T26" fmla="*/ 1716 w 2616"/>
                <a:gd name="T27" fmla="*/ 398 h 678"/>
                <a:gd name="T28" fmla="*/ 1760 w 2616"/>
                <a:gd name="T29" fmla="*/ 398 h 678"/>
                <a:gd name="T30" fmla="*/ 1888 w 2616"/>
                <a:gd name="T31" fmla="*/ 400 h 678"/>
                <a:gd name="T32" fmla="*/ 2072 w 2616"/>
                <a:gd name="T33" fmla="*/ 406 h 678"/>
                <a:gd name="T34" fmla="*/ 2072 w 2616"/>
                <a:gd name="T35" fmla="*/ 654 h 678"/>
                <a:gd name="T36" fmla="*/ 2616 w 2616"/>
                <a:gd name="T37" fmla="*/ 678 h 678"/>
                <a:gd name="T38" fmla="*/ 2616 w 2616"/>
                <a:gd name="T39" fmla="*/ 24 h 678"/>
                <a:gd name="T40" fmla="*/ 0 w 2616"/>
                <a:gd name="T41" fmla="*/ 0 h 678"/>
                <a:gd name="T42" fmla="*/ 0 w 2616"/>
                <a:gd name="T43" fmla="*/ 558 h 678"/>
                <a:gd name="T44" fmla="*/ 492 w 2616"/>
                <a:gd name="T45" fmla="*/ 580 h 678"/>
                <a:gd name="T46" fmla="*/ 492 w 2616"/>
                <a:gd name="T47" fmla="*/ 37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6" h="678">
                  <a:moveTo>
                    <a:pt x="492" y="370"/>
                  </a:moveTo>
                  <a:lnTo>
                    <a:pt x="840" y="370"/>
                  </a:lnTo>
                  <a:lnTo>
                    <a:pt x="840" y="596"/>
                  </a:lnTo>
                  <a:lnTo>
                    <a:pt x="1696" y="636"/>
                  </a:lnTo>
                  <a:lnTo>
                    <a:pt x="1696" y="636"/>
                  </a:lnTo>
                  <a:lnTo>
                    <a:pt x="1692" y="576"/>
                  </a:lnTo>
                  <a:lnTo>
                    <a:pt x="1690" y="502"/>
                  </a:lnTo>
                  <a:lnTo>
                    <a:pt x="1692" y="434"/>
                  </a:lnTo>
                  <a:lnTo>
                    <a:pt x="1692" y="412"/>
                  </a:lnTo>
                  <a:lnTo>
                    <a:pt x="1694" y="406"/>
                  </a:lnTo>
                  <a:lnTo>
                    <a:pt x="1696" y="402"/>
                  </a:lnTo>
                  <a:lnTo>
                    <a:pt x="1696" y="402"/>
                  </a:lnTo>
                  <a:lnTo>
                    <a:pt x="1702" y="400"/>
                  </a:lnTo>
                  <a:lnTo>
                    <a:pt x="1716" y="398"/>
                  </a:lnTo>
                  <a:lnTo>
                    <a:pt x="1760" y="398"/>
                  </a:lnTo>
                  <a:lnTo>
                    <a:pt x="1888" y="400"/>
                  </a:lnTo>
                  <a:lnTo>
                    <a:pt x="2072" y="406"/>
                  </a:lnTo>
                  <a:lnTo>
                    <a:pt x="2072" y="654"/>
                  </a:lnTo>
                  <a:lnTo>
                    <a:pt x="2616" y="678"/>
                  </a:lnTo>
                  <a:lnTo>
                    <a:pt x="2616" y="24"/>
                  </a:lnTo>
                  <a:lnTo>
                    <a:pt x="0" y="0"/>
                  </a:lnTo>
                  <a:lnTo>
                    <a:pt x="0" y="558"/>
                  </a:lnTo>
                  <a:lnTo>
                    <a:pt x="492" y="580"/>
                  </a:lnTo>
                  <a:lnTo>
                    <a:pt x="492" y="370"/>
                  </a:lnTo>
                  <a:close/>
                </a:path>
              </a:pathLst>
            </a:custGeom>
            <a:pattFill prst="ltHorz">
              <a:fgClr>
                <a:srgbClr val="435153">
                  <a:lumMod val="75000"/>
                </a:srgbClr>
              </a:fgClr>
              <a:bgClr>
                <a:srgbClr val="435153">
                  <a:lumMod val="50000"/>
                </a:srgbClr>
              </a:bgClr>
            </a:patt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3" name="Freeform 34"/>
            <p:cNvSpPr>
              <a:spLocks/>
            </p:cNvSpPr>
            <p:nvPr/>
          </p:nvSpPr>
          <p:spPr bwMode="auto">
            <a:xfrm>
              <a:off x="3969682" y="3372016"/>
              <a:ext cx="58532" cy="158455"/>
            </a:xfrm>
            <a:custGeom>
              <a:avLst/>
              <a:gdLst>
                <a:gd name="T0" fmla="*/ 0 w 380"/>
                <a:gd name="T1" fmla="*/ 1020 h 1020"/>
                <a:gd name="T2" fmla="*/ 380 w 380"/>
                <a:gd name="T3" fmla="*/ 644 h 1020"/>
                <a:gd name="T4" fmla="*/ 368 w 380"/>
                <a:gd name="T5" fmla="*/ 0 h 1020"/>
                <a:gd name="T6" fmla="*/ 0 w 380"/>
                <a:gd name="T7" fmla="*/ 190 h 1020"/>
                <a:gd name="T8" fmla="*/ 0 w 380"/>
                <a:gd name="T9" fmla="*/ 1020 h 1020"/>
              </a:gdLst>
              <a:ahLst/>
              <a:cxnLst>
                <a:cxn ang="0">
                  <a:pos x="T0" y="T1"/>
                </a:cxn>
                <a:cxn ang="0">
                  <a:pos x="T2" y="T3"/>
                </a:cxn>
                <a:cxn ang="0">
                  <a:pos x="T4" y="T5"/>
                </a:cxn>
                <a:cxn ang="0">
                  <a:pos x="T6" y="T7"/>
                </a:cxn>
                <a:cxn ang="0">
                  <a:pos x="T8" y="T9"/>
                </a:cxn>
              </a:cxnLst>
              <a:rect l="0" t="0" r="r" b="b"/>
              <a:pathLst>
                <a:path w="380" h="1020">
                  <a:moveTo>
                    <a:pt x="0" y="1020"/>
                  </a:moveTo>
                  <a:lnTo>
                    <a:pt x="380" y="644"/>
                  </a:lnTo>
                  <a:lnTo>
                    <a:pt x="368" y="0"/>
                  </a:lnTo>
                  <a:lnTo>
                    <a:pt x="0" y="190"/>
                  </a:lnTo>
                  <a:lnTo>
                    <a:pt x="0" y="1020"/>
                  </a:lnTo>
                  <a:close/>
                </a:path>
              </a:pathLst>
            </a:custGeom>
            <a:solidFill>
              <a:srgbClr val="435153">
                <a:lumMod val="75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4" name="Freeform 35"/>
            <p:cNvSpPr>
              <a:spLocks/>
            </p:cNvSpPr>
            <p:nvPr/>
          </p:nvSpPr>
          <p:spPr bwMode="auto">
            <a:xfrm>
              <a:off x="3553592" y="3364929"/>
              <a:ext cx="474622" cy="36668"/>
            </a:xfrm>
            <a:custGeom>
              <a:avLst/>
              <a:gdLst>
                <a:gd name="T0" fmla="*/ 0 w 2984"/>
                <a:gd name="T1" fmla="*/ 202 h 226"/>
                <a:gd name="T2" fmla="*/ 876 w 2984"/>
                <a:gd name="T3" fmla="*/ 0 h 226"/>
                <a:gd name="T4" fmla="*/ 2984 w 2984"/>
                <a:gd name="T5" fmla="*/ 36 h 226"/>
                <a:gd name="T6" fmla="*/ 2616 w 2984"/>
                <a:gd name="T7" fmla="*/ 226 h 226"/>
                <a:gd name="T8" fmla="*/ 0 w 2984"/>
                <a:gd name="T9" fmla="*/ 202 h 226"/>
              </a:gdLst>
              <a:ahLst/>
              <a:cxnLst>
                <a:cxn ang="0">
                  <a:pos x="T0" y="T1"/>
                </a:cxn>
                <a:cxn ang="0">
                  <a:pos x="T2" y="T3"/>
                </a:cxn>
                <a:cxn ang="0">
                  <a:pos x="T4" y="T5"/>
                </a:cxn>
                <a:cxn ang="0">
                  <a:pos x="T6" y="T7"/>
                </a:cxn>
                <a:cxn ang="0">
                  <a:pos x="T8" y="T9"/>
                </a:cxn>
              </a:cxnLst>
              <a:rect l="0" t="0" r="r" b="b"/>
              <a:pathLst>
                <a:path w="2984" h="226">
                  <a:moveTo>
                    <a:pt x="0" y="202"/>
                  </a:moveTo>
                  <a:lnTo>
                    <a:pt x="876" y="0"/>
                  </a:lnTo>
                  <a:lnTo>
                    <a:pt x="2984" y="36"/>
                  </a:lnTo>
                  <a:lnTo>
                    <a:pt x="2616" y="226"/>
                  </a:lnTo>
                  <a:lnTo>
                    <a:pt x="0" y="202"/>
                  </a:lnTo>
                  <a:close/>
                </a:path>
              </a:pathLst>
            </a:custGeom>
            <a:solidFill>
              <a:srgbClr val="A6A8AB">
                <a:lumMod val="50000"/>
              </a:srgbClr>
            </a:soli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35" name="Rectangle 734"/>
            <p:cNvSpPr/>
            <p:nvPr/>
          </p:nvSpPr>
          <p:spPr>
            <a:xfrm>
              <a:off x="3640212" y="3491456"/>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sp>
          <p:nvSpPr>
            <p:cNvPr id="736" name="Rectangle 735"/>
            <p:cNvSpPr/>
            <p:nvPr/>
          </p:nvSpPr>
          <p:spPr>
            <a:xfrm>
              <a:off x="3833169" y="3500111"/>
              <a:ext cx="37122" cy="17310"/>
            </a:xfrm>
            <a:prstGeom prst="rect">
              <a:avLst/>
            </a:prstGeom>
            <a:solidFill>
              <a:srgbClr val="232429"/>
            </a:solidFill>
            <a:ln w="25400" cap="flat" cmpd="sng" algn="ctr">
              <a:noFill/>
              <a:prstDash val="solid"/>
            </a:ln>
            <a:effectLst/>
          </p:spPr>
          <p:txBody>
            <a:bodyPr rtlCol="0" anchor="ctr"/>
            <a:lstStyle/>
            <a:p>
              <a:pPr algn="ctr" defTabSz="913653">
                <a:defRPr/>
              </a:pPr>
              <a:endParaRPr lang="en-US" kern="0">
                <a:solidFill>
                  <a:prstClr val="white"/>
                </a:solidFill>
                <a:latin typeface="+mj-lt"/>
                <a:ea typeface="+mn-ea"/>
                <a:cs typeface="+mn-cs"/>
              </a:endParaRPr>
            </a:p>
          </p:txBody>
        </p:sp>
      </p:grpSp>
      <p:sp>
        <p:nvSpPr>
          <p:cNvPr id="728" name="Rounded Rectangle 191"/>
          <p:cNvSpPr/>
          <p:nvPr/>
        </p:nvSpPr>
        <p:spPr>
          <a:xfrm>
            <a:off x="3972824" y="2972594"/>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ISR </a:t>
            </a:r>
            <a:r>
              <a:rPr lang="en-US" sz="600" kern="0" dirty="0" smtClean="0">
                <a:latin typeface="+mj-lt"/>
              </a:rPr>
              <a:t>G2</a:t>
            </a:r>
            <a:endParaRPr lang="en-US" sz="600" kern="0" dirty="0">
              <a:latin typeface="+mj-lt"/>
            </a:endParaRPr>
          </a:p>
        </p:txBody>
      </p:sp>
      <p:cxnSp>
        <p:nvCxnSpPr>
          <p:cNvPr id="746" name="Straight Connector 745"/>
          <p:cNvCxnSpPr/>
          <p:nvPr/>
        </p:nvCxnSpPr>
        <p:spPr>
          <a:xfrm>
            <a:off x="4695197" y="3338328"/>
            <a:ext cx="0" cy="262330"/>
          </a:xfrm>
          <a:prstGeom prst="line">
            <a:avLst/>
          </a:prstGeom>
          <a:noFill/>
          <a:ln w="9525" cap="flat" cmpd="sng" algn="ctr">
            <a:solidFill>
              <a:srgbClr val="435153"/>
            </a:solidFill>
            <a:prstDash val="solid"/>
          </a:ln>
          <a:effectLst/>
        </p:spPr>
      </p:cxnSp>
      <p:cxnSp>
        <p:nvCxnSpPr>
          <p:cNvPr id="760" name="Straight Connector 759"/>
          <p:cNvCxnSpPr/>
          <p:nvPr/>
        </p:nvCxnSpPr>
        <p:spPr>
          <a:xfrm>
            <a:off x="3829232" y="2984298"/>
            <a:ext cx="0" cy="262330"/>
          </a:xfrm>
          <a:prstGeom prst="line">
            <a:avLst/>
          </a:prstGeom>
          <a:noFill/>
          <a:ln w="9525" cap="flat" cmpd="sng" algn="ctr">
            <a:solidFill>
              <a:srgbClr val="435153"/>
            </a:solidFill>
            <a:prstDash val="solid"/>
          </a:ln>
          <a:effectLst/>
        </p:spPr>
      </p:cxnSp>
      <p:sp>
        <p:nvSpPr>
          <p:cNvPr id="762" name="Rounded Rectangle 191"/>
          <p:cNvSpPr/>
          <p:nvPr/>
        </p:nvSpPr>
        <p:spPr>
          <a:xfrm>
            <a:off x="3394534" y="3335221"/>
            <a:ext cx="54619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a:latin typeface="+mj-lt"/>
              </a:rPr>
              <a:t>Explicit/PAC</a:t>
            </a:r>
          </a:p>
        </p:txBody>
      </p:sp>
      <p:grpSp>
        <p:nvGrpSpPr>
          <p:cNvPr id="82" name="Group 762"/>
          <p:cNvGrpSpPr/>
          <p:nvPr/>
        </p:nvGrpSpPr>
        <p:grpSpPr>
          <a:xfrm>
            <a:off x="3378489" y="3079388"/>
            <a:ext cx="242947" cy="170398"/>
            <a:chOff x="2959121" y="3359566"/>
            <a:chExt cx="254051" cy="178186"/>
          </a:xfrm>
        </p:grpSpPr>
        <p:sp>
          <p:nvSpPr>
            <p:cNvPr id="769" name="Freeform 136"/>
            <p:cNvSpPr>
              <a:spLocks noEditPoints="1"/>
            </p:cNvSpPr>
            <p:nvPr/>
          </p:nvSpPr>
          <p:spPr bwMode="auto">
            <a:xfrm>
              <a:off x="2959121" y="3485550"/>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70" name="Freeform 136"/>
            <p:cNvSpPr>
              <a:spLocks noEditPoints="1"/>
            </p:cNvSpPr>
            <p:nvPr/>
          </p:nvSpPr>
          <p:spPr bwMode="auto">
            <a:xfrm>
              <a:off x="2959121" y="3422558"/>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sp>
          <p:nvSpPr>
            <p:cNvPr id="771" name="Freeform 136"/>
            <p:cNvSpPr>
              <a:spLocks noEditPoints="1"/>
            </p:cNvSpPr>
            <p:nvPr/>
          </p:nvSpPr>
          <p:spPr bwMode="auto">
            <a:xfrm>
              <a:off x="2959121" y="3359566"/>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grpSp>
      <p:sp>
        <p:nvSpPr>
          <p:cNvPr id="764" name="Rounded Rectangle 191"/>
          <p:cNvSpPr/>
          <p:nvPr/>
        </p:nvSpPr>
        <p:spPr>
          <a:xfrm>
            <a:off x="3284336" y="2972594"/>
            <a:ext cx="431246" cy="87443"/>
          </a:xfrm>
          <a:prstGeom prst="rect">
            <a:avLst/>
          </a:prstGeom>
          <a:noFill/>
          <a:ln w="25400" cap="flat" cmpd="sng" algn="ctr">
            <a:noFill/>
            <a:prstDash val="solid"/>
          </a:ln>
          <a:effectLst/>
        </p:spPr>
        <p:txBody>
          <a:bodyPr lIns="0" tIns="45718" rIns="0" bIns="45718" rtlCol="0" anchor="ctr"/>
          <a:lstStyle/>
          <a:p>
            <a:pPr algn="ctr" defTabSz="685282">
              <a:defRPr/>
            </a:pPr>
            <a:r>
              <a:rPr lang="en-US" sz="600" kern="0" dirty="0">
                <a:latin typeface="+mj-lt"/>
              </a:rPr>
              <a:t>Explicit/PAC</a:t>
            </a:r>
          </a:p>
        </p:txBody>
      </p:sp>
      <p:grpSp>
        <p:nvGrpSpPr>
          <p:cNvPr id="83" name="Group 764"/>
          <p:cNvGrpSpPr/>
          <p:nvPr/>
        </p:nvGrpSpPr>
        <p:grpSpPr>
          <a:xfrm>
            <a:off x="3546158" y="3439844"/>
            <a:ext cx="242947" cy="170398"/>
            <a:chOff x="2959121" y="3379886"/>
            <a:chExt cx="254051" cy="178186"/>
          </a:xfrm>
        </p:grpSpPr>
        <p:sp>
          <p:nvSpPr>
            <p:cNvPr id="766" name="Freeform 136"/>
            <p:cNvSpPr>
              <a:spLocks noEditPoints="1"/>
            </p:cNvSpPr>
            <p:nvPr/>
          </p:nvSpPr>
          <p:spPr bwMode="auto">
            <a:xfrm>
              <a:off x="2959121" y="3505870"/>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solidFill>
                  <a:srgbClr val="FFFFFF"/>
                </a:solidFill>
                <a:latin typeface="+mj-lt"/>
              </a:endParaRPr>
            </a:p>
          </p:txBody>
        </p:sp>
        <p:sp>
          <p:nvSpPr>
            <p:cNvPr id="767" name="Freeform 136"/>
            <p:cNvSpPr>
              <a:spLocks noEditPoints="1"/>
            </p:cNvSpPr>
            <p:nvPr/>
          </p:nvSpPr>
          <p:spPr bwMode="auto">
            <a:xfrm>
              <a:off x="2959121" y="3442878"/>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sp>
          <p:nvSpPr>
            <p:cNvPr id="768" name="Freeform 136"/>
            <p:cNvSpPr>
              <a:spLocks noEditPoints="1"/>
            </p:cNvSpPr>
            <p:nvPr/>
          </p:nvSpPr>
          <p:spPr bwMode="auto">
            <a:xfrm>
              <a:off x="2959121" y="3379886"/>
              <a:ext cx="254051" cy="52202"/>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dirty="0">
                <a:solidFill>
                  <a:srgbClr val="FFFFFF"/>
                </a:solidFill>
                <a:latin typeface="+mj-lt"/>
              </a:endParaRPr>
            </a:p>
          </p:txBody>
        </p:sp>
      </p:grpSp>
      <p:grpSp>
        <p:nvGrpSpPr>
          <p:cNvPr id="94" name="Group 771"/>
          <p:cNvGrpSpPr/>
          <p:nvPr/>
        </p:nvGrpSpPr>
        <p:grpSpPr>
          <a:xfrm>
            <a:off x="1849537" y="3730614"/>
            <a:ext cx="469484" cy="807887"/>
            <a:chOff x="2273348" y="3963321"/>
            <a:chExt cx="490943" cy="844813"/>
          </a:xfrm>
        </p:grpSpPr>
        <p:cxnSp>
          <p:nvCxnSpPr>
            <p:cNvPr id="773" name="Straight Connector 772"/>
            <p:cNvCxnSpPr/>
            <p:nvPr/>
          </p:nvCxnSpPr>
          <p:spPr>
            <a:xfrm flipV="1">
              <a:off x="2273348" y="4520380"/>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74" name="Straight Connector 773"/>
            <p:cNvCxnSpPr/>
            <p:nvPr/>
          </p:nvCxnSpPr>
          <p:spPr>
            <a:xfrm>
              <a:off x="2764291" y="3963321"/>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grpSp>
        <p:nvGrpSpPr>
          <p:cNvPr id="95" name="Group 774"/>
          <p:cNvGrpSpPr/>
          <p:nvPr/>
        </p:nvGrpSpPr>
        <p:grpSpPr>
          <a:xfrm>
            <a:off x="3006949" y="3731810"/>
            <a:ext cx="469484" cy="807886"/>
            <a:chOff x="3787922" y="3964575"/>
            <a:chExt cx="490943" cy="844812"/>
          </a:xfrm>
        </p:grpSpPr>
        <p:cxnSp>
          <p:nvCxnSpPr>
            <p:cNvPr id="776" name="Straight Connector 775"/>
            <p:cNvCxnSpPr/>
            <p:nvPr/>
          </p:nvCxnSpPr>
          <p:spPr>
            <a:xfrm flipV="1">
              <a:off x="3787922" y="4521633"/>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77" name="Straight Connector 776"/>
            <p:cNvCxnSpPr/>
            <p:nvPr/>
          </p:nvCxnSpPr>
          <p:spPr>
            <a:xfrm>
              <a:off x="4278864" y="3964575"/>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sp>
        <p:nvSpPr>
          <p:cNvPr id="778" name="Freeform 777"/>
          <p:cNvSpPr/>
          <p:nvPr/>
        </p:nvSpPr>
        <p:spPr>
          <a:xfrm>
            <a:off x="4764528" y="3654135"/>
            <a:ext cx="322365" cy="495282"/>
          </a:xfrm>
          <a:custGeom>
            <a:avLst/>
            <a:gdLst>
              <a:gd name="connsiteX0" fmla="*/ 259649 w 337099"/>
              <a:gd name="connsiteY0" fmla="*/ 0 h 517920"/>
              <a:gd name="connsiteX1" fmla="*/ 337099 w 337099"/>
              <a:gd name="connsiteY1" fmla="*/ 73586 h 517920"/>
              <a:gd name="connsiteX2" fmla="*/ 293967 w 337099"/>
              <a:gd name="connsiteY2" fmla="*/ 73586 h 517920"/>
              <a:gd name="connsiteX3" fmla="*/ 293967 w 337099"/>
              <a:gd name="connsiteY3" fmla="*/ 517920 h 517920"/>
              <a:gd name="connsiteX4" fmla="*/ 0 w 337099"/>
              <a:gd name="connsiteY4" fmla="*/ 517920 h 517920"/>
              <a:gd name="connsiteX5" fmla="*/ 0 w 337099"/>
              <a:gd name="connsiteY5" fmla="*/ 449285 h 517920"/>
              <a:gd name="connsiteX6" fmla="*/ 225332 w 337099"/>
              <a:gd name="connsiteY6" fmla="*/ 449285 h 517920"/>
              <a:gd name="connsiteX7" fmla="*/ 225332 w 337099"/>
              <a:gd name="connsiteY7" fmla="*/ 73586 h 517920"/>
              <a:gd name="connsiteX8" fmla="*/ 182199 w 337099"/>
              <a:gd name="connsiteY8" fmla="*/ 73586 h 5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099" h="517920">
                <a:moveTo>
                  <a:pt x="259649" y="0"/>
                </a:moveTo>
                <a:lnTo>
                  <a:pt x="337099" y="73586"/>
                </a:lnTo>
                <a:lnTo>
                  <a:pt x="293967" y="73586"/>
                </a:lnTo>
                <a:lnTo>
                  <a:pt x="293967" y="517920"/>
                </a:lnTo>
                <a:lnTo>
                  <a:pt x="0" y="517920"/>
                </a:lnTo>
                <a:lnTo>
                  <a:pt x="0" y="449285"/>
                </a:lnTo>
                <a:lnTo>
                  <a:pt x="225332" y="449285"/>
                </a:lnTo>
                <a:lnTo>
                  <a:pt x="225332" y="73586"/>
                </a:lnTo>
                <a:lnTo>
                  <a:pt x="182199"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79" name="Freeform 778"/>
          <p:cNvSpPr/>
          <p:nvPr/>
        </p:nvSpPr>
        <p:spPr>
          <a:xfrm>
            <a:off x="2913429" y="3639933"/>
            <a:ext cx="1062268" cy="496011"/>
          </a:xfrm>
          <a:custGeom>
            <a:avLst/>
            <a:gdLst>
              <a:gd name="connsiteX0" fmla="*/ 1033371 w 1110821"/>
              <a:gd name="connsiteY0" fmla="*/ 0 h 518682"/>
              <a:gd name="connsiteX1" fmla="*/ 1110821 w 1110821"/>
              <a:gd name="connsiteY1" fmla="*/ 73586 h 518682"/>
              <a:gd name="connsiteX2" fmla="*/ 1067689 w 1110821"/>
              <a:gd name="connsiteY2" fmla="*/ 73586 h 518682"/>
              <a:gd name="connsiteX3" fmla="*/ 1067689 w 1110821"/>
              <a:gd name="connsiteY3" fmla="*/ 517920 h 518682"/>
              <a:gd name="connsiteX4" fmla="*/ 926903 w 1110821"/>
              <a:gd name="connsiteY4" fmla="*/ 517920 h 518682"/>
              <a:gd name="connsiteX5" fmla="*/ 773722 w 1110821"/>
              <a:gd name="connsiteY5" fmla="*/ 517920 h 518682"/>
              <a:gd name="connsiteX6" fmla="*/ 602192 w 1110821"/>
              <a:gd name="connsiteY6" fmla="*/ 517920 h 518682"/>
              <a:gd name="connsiteX7" fmla="*/ 602192 w 1110821"/>
              <a:gd name="connsiteY7" fmla="*/ 518682 h 518682"/>
              <a:gd name="connsiteX8" fmla="*/ 90299 w 1110821"/>
              <a:gd name="connsiteY8" fmla="*/ 518682 h 518682"/>
              <a:gd name="connsiteX9" fmla="*/ 90299 w 1110821"/>
              <a:gd name="connsiteY9" fmla="*/ 517774 h 518682"/>
              <a:gd name="connsiteX10" fmla="*/ 0 w 1110821"/>
              <a:gd name="connsiteY10" fmla="*/ 517774 h 518682"/>
              <a:gd name="connsiteX11" fmla="*/ 0 w 1110821"/>
              <a:gd name="connsiteY11" fmla="*/ 450029 h 518682"/>
              <a:gd name="connsiteX12" fmla="*/ 90299 w 1110821"/>
              <a:gd name="connsiteY12" fmla="*/ 450029 h 518682"/>
              <a:gd name="connsiteX13" fmla="*/ 90299 w 1110821"/>
              <a:gd name="connsiteY13" fmla="*/ 446499 h 518682"/>
              <a:gd name="connsiteX14" fmla="*/ 602192 w 1110821"/>
              <a:gd name="connsiteY14" fmla="*/ 446499 h 518682"/>
              <a:gd name="connsiteX15" fmla="*/ 602192 w 1110821"/>
              <a:gd name="connsiteY15" fmla="*/ 448622 h 518682"/>
              <a:gd name="connsiteX16" fmla="*/ 926903 w 1110821"/>
              <a:gd name="connsiteY16" fmla="*/ 448622 h 518682"/>
              <a:gd name="connsiteX17" fmla="*/ 926903 w 1110821"/>
              <a:gd name="connsiteY17" fmla="*/ 449285 h 518682"/>
              <a:gd name="connsiteX18" fmla="*/ 999054 w 1110821"/>
              <a:gd name="connsiteY18" fmla="*/ 449285 h 518682"/>
              <a:gd name="connsiteX19" fmla="*/ 999054 w 1110821"/>
              <a:gd name="connsiteY19" fmla="*/ 73586 h 518682"/>
              <a:gd name="connsiteX20" fmla="*/ 955921 w 1110821"/>
              <a:gd name="connsiteY20" fmla="*/ 73586 h 51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0821" h="518682">
                <a:moveTo>
                  <a:pt x="1033371" y="0"/>
                </a:moveTo>
                <a:lnTo>
                  <a:pt x="1110821" y="73586"/>
                </a:lnTo>
                <a:lnTo>
                  <a:pt x="1067689" y="73586"/>
                </a:lnTo>
                <a:lnTo>
                  <a:pt x="1067689" y="517920"/>
                </a:lnTo>
                <a:lnTo>
                  <a:pt x="926903" y="517920"/>
                </a:lnTo>
                <a:lnTo>
                  <a:pt x="773722" y="517920"/>
                </a:lnTo>
                <a:lnTo>
                  <a:pt x="602192" y="517920"/>
                </a:lnTo>
                <a:lnTo>
                  <a:pt x="602192" y="518682"/>
                </a:lnTo>
                <a:lnTo>
                  <a:pt x="90299" y="518682"/>
                </a:lnTo>
                <a:lnTo>
                  <a:pt x="90299" y="517774"/>
                </a:lnTo>
                <a:lnTo>
                  <a:pt x="0" y="517774"/>
                </a:lnTo>
                <a:lnTo>
                  <a:pt x="0" y="450029"/>
                </a:lnTo>
                <a:lnTo>
                  <a:pt x="90299" y="450029"/>
                </a:lnTo>
                <a:lnTo>
                  <a:pt x="90299" y="446499"/>
                </a:lnTo>
                <a:lnTo>
                  <a:pt x="602192" y="446499"/>
                </a:lnTo>
                <a:lnTo>
                  <a:pt x="602192" y="448622"/>
                </a:lnTo>
                <a:lnTo>
                  <a:pt x="926903" y="448622"/>
                </a:lnTo>
                <a:lnTo>
                  <a:pt x="926903" y="449285"/>
                </a:lnTo>
                <a:lnTo>
                  <a:pt x="999054" y="449285"/>
                </a:lnTo>
                <a:lnTo>
                  <a:pt x="999054" y="73586"/>
                </a:lnTo>
                <a:lnTo>
                  <a:pt x="955921"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80" name="Freeform 779"/>
          <p:cNvSpPr/>
          <p:nvPr/>
        </p:nvSpPr>
        <p:spPr>
          <a:xfrm>
            <a:off x="1734714" y="3654135"/>
            <a:ext cx="322365" cy="495282"/>
          </a:xfrm>
          <a:custGeom>
            <a:avLst/>
            <a:gdLst>
              <a:gd name="connsiteX0" fmla="*/ 259649 w 337099"/>
              <a:gd name="connsiteY0" fmla="*/ 0 h 517920"/>
              <a:gd name="connsiteX1" fmla="*/ 337099 w 337099"/>
              <a:gd name="connsiteY1" fmla="*/ 73586 h 517920"/>
              <a:gd name="connsiteX2" fmla="*/ 293967 w 337099"/>
              <a:gd name="connsiteY2" fmla="*/ 73586 h 517920"/>
              <a:gd name="connsiteX3" fmla="*/ 293967 w 337099"/>
              <a:gd name="connsiteY3" fmla="*/ 517920 h 517920"/>
              <a:gd name="connsiteX4" fmla="*/ 0 w 337099"/>
              <a:gd name="connsiteY4" fmla="*/ 517920 h 517920"/>
              <a:gd name="connsiteX5" fmla="*/ 0 w 337099"/>
              <a:gd name="connsiteY5" fmla="*/ 449285 h 517920"/>
              <a:gd name="connsiteX6" fmla="*/ 225332 w 337099"/>
              <a:gd name="connsiteY6" fmla="*/ 449285 h 517920"/>
              <a:gd name="connsiteX7" fmla="*/ 225332 w 337099"/>
              <a:gd name="connsiteY7" fmla="*/ 73586 h 517920"/>
              <a:gd name="connsiteX8" fmla="*/ 182199 w 337099"/>
              <a:gd name="connsiteY8" fmla="*/ 73586 h 51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7099" h="517920">
                <a:moveTo>
                  <a:pt x="259649" y="0"/>
                </a:moveTo>
                <a:lnTo>
                  <a:pt x="337099" y="73586"/>
                </a:lnTo>
                <a:lnTo>
                  <a:pt x="293967" y="73586"/>
                </a:lnTo>
                <a:lnTo>
                  <a:pt x="293967" y="517920"/>
                </a:lnTo>
                <a:lnTo>
                  <a:pt x="0" y="517920"/>
                </a:lnTo>
                <a:lnTo>
                  <a:pt x="0" y="449285"/>
                </a:lnTo>
                <a:lnTo>
                  <a:pt x="225332" y="449285"/>
                </a:lnTo>
                <a:lnTo>
                  <a:pt x="225332" y="73586"/>
                </a:lnTo>
                <a:lnTo>
                  <a:pt x="182199" y="73586"/>
                </a:lnTo>
                <a:close/>
              </a:path>
            </a:pathLst>
          </a:custGeom>
          <a:solidFill>
            <a:schemeClr val="accent3"/>
          </a:solidFill>
          <a:ln w="25400" cap="flat" cmpd="sng" algn="ctr">
            <a:noFill/>
            <a:prstDash val="solid"/>
          </a:ln>
          <a:effectLst/>
        </p:spPr>
        <p:txBody>
          <a:bodyPr wrap="square" lIns="68577" tIns="34289" rIns="68577" bIns="34289" rtlCol="0" anchor="ctr">
            <a:noAutofit/>
          </a:bodyPr>
          <a:lstStyle/>
          <a:p>
            <a:pPr algn="r" defTabSz="913661">
              <a:defRPr/>
            </a:pPr>
            <a:endParaRPr lang="en-US" sz="1400" kern="0" dirty="0">
              <a:solidFill>
                <a:prstClr val="white"/>
              </a:solidFill>
              <a:latin typeface="+mj-lt"/>
              <a:ea typeface="+mn-ea"/>
              <a:cs typeface="+mn-cs"/>
            </a:endParaRPr>
          </a:p>
        </p:txBody>
      </p:sp>
      <p:sp>
        <p:nvSpPr>
          <p:cNvPr id="781" name="Rectangle 780"/>
          <p:cNvSpPr/>
          <p:nvPr/>
        </p:nvSpPr>
        <p:spPr>
          <a:xfrm>
            <a:off x="745971" y="2942415"/>
            <a:ext cx="559019" cy="694540"/>
          </a:xfrm>
          <a:prstGeom prst="rect">
            <a:avLst/>
          </a:prstGeom>
          <a:solidFill>
            <a:schemeClr val="accent3">
              <a:lumMod val="75000"/>
            </a:schemeClr>
          </a:solidFill>
          <a:ln w="6350" cap="flat" cmpd="sng" algn="ctr">
            <a:solidFill>
              <a:schemeClr val="bg1">
                <a:lumMod val="50000"/>
              </a:schemeClr>
            </a:solidFill>
            <a:prstDash val="solid"/>
          </a:ln>
          <a:effectLst/>
        </p:spPr>
        <p:txBody>
          <a:bodyPr lIns="45718" tIns="45718" rIns="0" bIns="45718" rtlCol="0" anchor="b"/>
          <a:lstStyle/>
          <a:p>
            <a:pPr defTabSz="913661">
              <a:defRPr/>
            </a:pPr>
            <a:r>
              <a:rPr lang="ja-JP" altLang="en-US" sz="700" kern="0" dirty="0" smtClean="0">
                <a:solidFill>
                  <a:schemeClr val="bg1"/>
                </a:solidFill>
                <a:latin typeface="+mj-lt"/>
                <a:ea typeface="+mn-ea"/>
                <a:cs typeface="+mn-cs"/>
              </a:rPr>
              <a:t>トラフィック</a:t>
            </a:r>
            <a:endParaRPr lang="en-US" altLang="ja-JP" sz="700" kern="0" dirty="0" smtClean="0">
              <a:solidFill>
                <a:schemeClr val="bg1"/>
              </a:solidFill>
              <a:latin typeface="+mj-lt"/>
              <a:ea typeface="+mn-ea"/>
              <a:cs typeface="+mn-cs"/>
            </a:endParaRPr>
          </a:p>
          <a:p>
            <a:pPr defTabSz="913661">
              <a:defRPr/>
            </a:pPr>
            <a:r>
              <a:rPr lang="ja-JP" altLang="en-US" sz="700" kern="0" dirty="0" smtClean="0">
                <a:solidFill>
                  <a:schemeClr val="bg1"/>
                </a:solidFill>
                <a:latin typeface="+mj-lt"/>
                <a:ea typeface="+mn-ea"/>
                <a:cs typeface="+mn-cs"/>
              </a:rPr>
              <a:t>リダイレクト</a:t>
            </a:r>
            <a:endParaRPr lang="en-US" altLang="ja-JP" sz="700" kern="0" dirty="0" smtClean="0">
              <a:solidFill>
                <a:schemeClr val="bg1"/>
              </a:solidFill>
              <a:latin typeface="+mj-lt"/>
              <a:ea typeface="+mn-ea"/>
              <a:cs typeface="+mn-cs"/>
            </a:endParaRPr>
          </a:p>
          <a:p>
            <a:pPr defTabSz="913661">
              <a:defRPr/>
            </a:pPr>
            <a:r>
              <a:rPr lang="ja-JP" altLang="en-US" sz="700" kern="0" dirty="0" smtClean="0">
                <a:solidFill>
                  <a:schemeClr val="bg1"/>
                </a:solidFill>
                <a:latin typeface="+mj-lt"/>
                <a:ea typeface="+mn-ea"/>
                <a:cs typeface="+mn-cs"/>
              </a:rPr>
              <a:t>方法</a:t>
            </a:r>
            <a:endParaRPr lang="en-US" sz="700" kern="0" dirty="0">
              <a:solidFill>
                <a:schemeClr val="bg1"/>
              </a:solidFill>
              <a:latin typeface="+mj-lt"/>
              <a:ea typeface="+mn-ea"/>
              <a:cs typeface="+mn-cs"/>
            </a:endParaRPr>
          </a:p>
        </p:txBody>
      </p:sp>
      <p:sp>
        <p:nvSpPr>
          <p:cNvPr id="782" name="Freeform 246"/>
          <p:cNvSpPr>
            <a:spLocks noEditPoints="1"/>
          </p:cNvSpPr>
          <p:nvPr/>
        </p:nvSpPr>
        <p:spPr bwMode="auto">
          <a:xfrm>
            <a:off x="844787" y="3011501"/>
            <a:ext cx="355066" cy="232720"/>
          </a:xfrm>
          <a:custGeom>
            <a:avLst/>
            <a:gdLst>
              <a:gd name="T0" fmla="*/ 947 w 1585"/>
              <a:gd name="T1" fmla="*/ 428 h 1236"/>
              <a:gd name="T2" fmla="*/ 482 w 1585"/>
              <a:gd name="T3" fmla="*/ 1085 h 1236"/>
              <a:gd name="T4" fmla="*/ 432 w 1585"/>
              <a:gd name="T5" fmla="*/ 1116 h 1236"/>
              <a:gd name="T6" fmla="*/ 92 w 1585"/>
              <a:gd name="T7" fmla="*/ 1118 h 1236"/>
              <a:gd name="T8" fmla="*/ 45 w 1585"/>
              <a:gd name="T9" fmla="*/ 1099 h 1236"/>
              <a:gd name="T10" fmla="*/ 12 w 1585"/>
              <a:gd name="T11" fmla="*/ 1058 h 1236"/>
              <a:gd name="T12" fmla="*/ 0 w 1585"/>
              <a:gd name="T13" fmla="*/ 1004 h 1236"/>
              <a:gd name="T14" fmla="*/ 8 w 1585"/>
              <a:gd name="T15" fmla="*/ 959 h 1236"/>
              <a:gd name="T16" fmla="*/ 38 w 1585"/>
              <a:gd name="T17" fmla="*/ 914 h 1236"/>
              <a:gd name="T18" fmla="*/ 82 w 1585"/>
              <a:gd name="T19" fmla="*/ 890 h 1236"/>
              <a:gd name="T20" fmla="*/ 225 w 1585"/>
              <a:gd name="T21" fmla="*/ 894 h 1236"/>
              <a:gd name="T22" fmla="*/ 357 w 1585"/>
              <a:gd name="T23" fmla="*/ 890 h 1236"/>
              <a:gd name="T24" fmla="*/ 424 w 1585"/>
              <a:gd name="T25" fmla="*/ 808 h 1236"/>
              <a:gd name="T26" fmla="*/ 881 w 1585"/>
              <a:gd name="T27" fmla="*/ 159 h 1236"/>
              <a:gd name="T28" fmla="*/ 927 w 1585"/>
              <a:gd name="T29" fmla="*/ 123 h 1236"/>
              <a:gd name="T30" fmla="*/ 1217 w 1585"/>
              <a:gd name="T31" fmla="*/ 117 h 1236"/>
              <a:gd name="T32" fmla="*/ 1231 w 1585"/>
              <a:gd name="T33" fmla="*/ 7 h 1236"/>
              <a:gd name="T34" fmla="*/ 1252 w 1585"/>
              <a:gd name="T35" fmla="*/ 2 h 1236"/>
              <a:gd name="T36" fmla="*/ 1427 w 1585"/>
              <a:gd name="T37" fmla="*/ 103 h 1236"/>
              <a:gd name="T38" fmla="*/ 1572 w 1585"/>
              <a:gd name="T39" fmla="*/ 213 h 1236"/>
              <a:gd name="T40" fmla="*/ 1585 w 1585"/>
              <a:gd name="T41" fmla="*/ 234 h 1236"/>
              <a:gd name="T42" fmla="*/ 1570 w 1585"/>
              <a:gd name="T43" fmla="*/ 260 h 1236"/>
              <a:gd name="T44" fmla="*/ 1400 w 1585"/>
              <a:gd name="T45" fmla="*/ 384 h 1236"/>
              <a:gd name="T46" fmla="*/ 1252 w 1585"/>
              <a:gd name="T47" fmla="*/ 465 h 1236"/>
              <a:gd name="T48" fmla="*/ 1232 w 1585"/>
              <a:gd name="T49" fmla="*/ 463 h 1236"/>
              <a:gd name="T50" fmla="*/ 1221 w 1585"/>
              <a:gd name="T51" fmla="*/ 431 h 1236"/>
              <a:gd name="T52" fmla="*/ 1150 w 1585"/>
              <a:gd name="T53" fmla="*/ 344 h 1236"/>
              <a:gd name="T54" fmla="*/ 1013 w 1585"/>
              <a:gd name="T55" fmla="*/ 345 h 1236"/>
              <a:gd name="T56" fmla="*/ 168 w 1585"/>
              <a:gd name="T57" fmla="*/ 346 h 1236"/>
              <a:gd name="T58" fmla="*/ 347 w 1585"/>
              <a:gd name="T59" fmla="*/ 345 h 1236"/>
              <a:gd name="T60" fmla="*/ 419 w 1585"/>
              <a:gd name="T61" fmla="*/ 423 h 1236"/>
              <a:gd name="T62" fmla="*/ 489 w 1585"/>
              <a:gd name="T63" fmla="*/ 159 h 1236"/>
              <a:gd name="T64" fmla="*/ 454 w 1585"/>
              <a:gd name="T65" fmla="*/ 128 h 1236"/>
              <a:gd name="T66" fmla="*/ 103 w 1585"/>
              <a:gd name="T67" fmla="*/ 117 h 1236"/>
              <a:gd name="T68" fmla="*/ 63 w 1585"/>
              <a:gd name="T69" fmla="*/ 125 h 1236"/>
              <a:gd name="T70" fmla="*/ 24 w 1585"/>
              <a:gd name="T71" fmla="*/ 158 h 1236"/>
              <a:gd name="T72" fmla="*/ 2 w 1585"/>
              <a:gd name="T73" fmla="*/ 209 h 1236"/>
              <a:gd name="T74" fmla="*/ 2 w 1585"/>
              <a:gd name="T75" fmla="*/ 255 h 1236"/>
              <a:gd name="T76" fmla="*/ 24 w 1585"/>
              <a:gd name="T77" fmla="*/ 306 h 1236"/>
              <a:gd name="T78" fmla="*/ 63 w 1585"/>
              <a:gd name="T79" fmla="*/ 339 h 1236"/>
              <a:gd name="T80" fmla="*/ 103 w 1585"/>
              <a:gd name="T81" fmla="*/ 347 h 1236"/>
              <a:gd name="T82" fmla="*/ 1577 w 1585"/>
              <a:gd name="T83" fmla="*/ 1022 h 1236"/>
              <a:gd name="T84" fmla="*/ 1501 w 1585"/>
              <a:gd name="T85" fmla="*/ 1085 h 1236"/>
              <a:gd name="T86" fmla="*/ 1283 w 1585"/>
              <a:gd name="T87" fmla="*/ 1222 h 1236"/>
              <a:gd name="T88" fmla="*/ 1234 w 1585"/>
              <a:gd name="T89" fmla="*/ 1235 h 1236"/>
              <a:gd name="T90" fmla="*/ 1225 w 1585"/>
              <a:gd name="T91" fmla="*/ 1221 h 1236"/>
              <a:gd name="T92" fmla="*/ 1215 w 1585"/>
              <a:gd name="T93" fmla="*/ 1118 h 1236"/>
              <a:gd name="T94" fmla="*/ 927 w 1585"/>
              <a:gd name="T95" fmla="*/ 1112 h 1236"/>
              <a:gd name="T96" fmla="*/ 881 w 1585"/>
              <a:gd name="T97" fmla="*/ 1076 h 1236"/>
              <a:gd name="T98" fmla="*/ 904 w 1585"/>
              <a:gd name="T99" fmla="*/ 744 h 1236"/>
              <a:gd name="T100" fmla="*/ 1006 w 1585"/>
              <a:gd name="T101" fmla="*/ 886 h 1236"/>
              <a:gd name="T102" fmla="*/ 1044 w 1585"/>
              <a:gd name="T103" fmla="*/ 892 h 1236"/>
              <a:gd name="T104" fmla="*/ 1217 w 1585"/>
              <a:gd name="T105" fmla="*/ 889 h 1236"/>
              <a:gd name="T106" fmla="*/ 1231 w 1585"/>
              <a:gd name="T107" fmla="*/ 777 h 1236"/>
              <a:gd name="T108" fmla="*/ 1252 w 1585"/>
              <a:gd name="T109" fmla="*/ 772 h 1236"/>
              <a:gd name="T110" fmla="*/ 1427 w 1585"/>
              <a:gd name="T111" fmla="*/ 873 h 1236"/>
              <a:gd name="T112" fmla="*/ 1572 w 1585"/>
              <a:gd name="T113" fmla="*/ 983 h 1236"/>
              <a:gd name="T114" fmla="*/ 1585 w 1585"/>
              <a:gd name="T115" fmla="*/ 1004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1236">
                <a:moveTo>
                  <a:pt x="1010" y="346"/>
                </a:moveTo>
                <a:lnTo>
                  <a:pt x="1010" y="346"/>
                </a:lnTo>
                <a:lnTo>
                  <a:pt x="1003" y="354"/>
                </a:lnTo>
                <a:lnTo>
                  <a:pt x="990" y="371"/>
                </a:lnTo>
                <a:lnTo>
                  <a:pt x="947" y="428"/>
                </a:lnTo>
                <a:lnTo>
                  <a:pt x="816" y="612"/>
                </a:lnTo>
                <a:lnTo>
                  <a:pt x="651" y="844"/>
                </a:lnTo>
                <a:lnTo>
                  <a:pt x="489" y="1076"/>
                </a:lnTo>
                <a:lnTo>
                  <a:pt x="489" y="1076"/>
                </a:lnTo>
                <a:lnTo>
                  <a:pt x="482" y="1085"/>
                </a:lnTo>
                <a:lnTo>
                  <a:pt x="473" y="1095"/>
                </a:lnTo>
                <a:lnTo>
                  <a:pt x="463" y="1102"/>
                </a:lnTo>
                <a:lnTo>
                  <a:pt x="454" y="1108"/>
                </a:lnTo>
                <a:lnTo>
                  <a:pt x="443" y="1112"/>
                </a:lnTo>
                <a:lnTo>
                  <a:pt x="432" y="1116"/>
                </a:lnTo>
                <a:lnTo>
                  <a:pt x="421" y="1118"/>
                </a:lnTo>
                <a:lnTo>
                  <a:pt x="409" y="1118"/>
                </a:lnTo>
                <a:lnTo>
                  <a:pt x="103" y="1118"/>
                </a:lnTo>
                <a:lnTo>
                  <a:pt x="103" y="1118"/>
                </a:lnTo>
                <a:lnTo>
                  <a:pt x="92" y="1118"/>
                </a:lnTo>
                <a:lnTo>
                  <a:pt x="82" y="1116"/>
                </a:lnTo>
                <a:lnTo>
                  <a:pt x="72" y="1114"/>
                </a:lnTo>
                <a:lnTo>
                  <a:pt x="63" y="1110"/>
                </a:lnTo>
                <a:lnTo>
                  <a:pt x="53" y="1105"/>
                </a:lnTo>
                <a:lnTo>
                  <a:pt x="45" y="1099"/>
                </a:lnTo>
                <a:lnTo>
                  <a:pt x="38" y="1092"/>
                </a:lnTo>
                <a:lnTo>
                  <a:pt x="30" y="1085"/>
                </a:lnTo>
                <a:lnTo>
                  <a:pt x="24" y="1077"/>
                </a:lnTo>
                <a:lnTo>
                  <a:pt x="18" y="1068"/>
                </a:lnTo>
                <a:lnTo>
                  <a:pt x="12" y="1058"/>
                </a:lnTo>
                <a:lnTo>
                  <a:pt x="8" y="1049"/>
                </a:lnTo>
                <a:lnTo>
                  <a:pt x="5" y="1038"/>
                </a:lnTo>
                <a:lnTo>
                  <a:pt x="2" y="1026"/>
                </a:lnTo>
                <a:lnTo>
                  <a:pt x="0" y="1016"/>
                </a:lnTo>
                <a:lnTo>
                  <a:pt x="0" y="1004"/>
                </a:lnTo>
                <a:lnTo>
                  <a:pt x="0" y="1004"/>
                </a:lnTo>
                <a:lnTo>
                  <a:pt x="0" y="992"/>
                </a:lnTo>
                <a:lnTo>
                  <a:pt x="2" y="980"/>
                </a:lnTo>
                <a:lnTo>
                  <a:pt x="5" y="970"/>
                </a:lnTo>
                <a:lnTo>
                  <a:pt x="8" y="959"/>
                </a:lnTo>
                <a:lnTo>
                  <a:pt x="12" y="948"/>
                </a:lnTo>
                <a:lnTo>
                  <a:pt x="18" y="939"/>
                </a:lnTo>
                <a:lnTo>
                  <a:pt x="24" y="929"/>
                </a:lnTo>
                <a:lnTo>
                  <a:pt x="30" y="921"/>
                </a:lnTo>
                <a:lnTo>
                  <a:pt x="38" y="914"/>
                </a:lnTo>
                <a:lnTo>
                  <a:pt x="45" y="907"/>
                </a:lnTo>
                <a:lnTo>
                  <a:pt x="53" y="902"/>
                </a:lnTo>
                <a:lnTo>
                  <a:pt x="63" y="896"/>
                </a:lnTo>
                <a:lnTo>
                  <a:pt x="72" y="893"/>
                </a:lnTo>
                <a:lnTo>
                  <a:pt x="82" y="890"/>
                </a:lnTo>
                <a:lnTo>
                  <a:pt x="92" y="888"/>
                </a:lnTo>
                <a:lnTo>
                  <a:pt x="103" y="888"/>
                </a:lnTo>
                <a:lnTo>
                  <a:pt x="103" y="888"/>
                </a:lnTo>
                <a:lnTo>
                  <a:pt x="167" y="892"/>
                </a:lnTo>
                <a:lnTo>
                  <a:pt x="225" y="894"/>
                </a:lnTo>
                <a:lnTo>
                  <a:pt x="286" y="894"/>
                </a:lnTo>
                <a:lnTo>
                  <a:pt x="286" y="894"/>
                </a:lnTo>
                <a:lnTo>
                  <a:pt x="324" y="894"/>
                </a:lnTo>
                <a:lnTo>
                  <a:pt x="346" y="892"/>
                </a:lnTo>
                <a:lnTo>
                  <a:pt x="357" y="890"/>
                </a:lnTo>
                <a:lnTo>
                  <a:pt x="360" y="889"/>
                </a:lnTo>
                <a:lnTo>
                  <a:pt x="360" y="889"/>
                </a:lnTo>
                <a:lnTo>
                  <a:pt x="367" y="881"/>
                </a:lnTo>
                <a:lnTo>
                  <a:pt x="382" y="864"/>
                </a:lnTo>
                <a:lnTo>
                  <a:pt x="424" y="808"/>
                </a:lnTo>
                <a:lnTo>
                  <a:pt x="483" y="725"/>
                </a:lnTo>
                <a:lnTo>
                  <a:pt x="556" y="624"/>
                </a:lnTo>
                <a:lnTo>
                  <a:pt x="721" y="391"/>
                </a:lnTo>
                <a:lnTo>
                  <a:pt x="881" y="159"/>
                </a:lnTo>
                <a:lnTo>
                  <a:pt x="881" y="159"/>
                </a:lnTo>
                <a:lnTo>
                  <a:pt x="889" y="150"/>
                </a:lnTo>
                <a:lnTo>
                  <a:pt x="898" y="141"/>
                </a:lnTo>
                <a:lnTo>
                  <a:pt x="907" y="133"/>
                </a:lnTo>
                <a:lnTo>
                  <a:pt x="917" y="128"/>
                </a:lnTo>
                <a:lnTo>
                  <a:pt x="927" y="123"/>
                </a:lnTo>
                <a:lnTo>
                  <a:pt x="938" y="119"/>
                </a:lnTo>
                <a:lnTo>
                  <a:pt x="950" y="117"/>
                </a:lnTo>
                <a:lnTo>
                  <a:pt x="962" y="117"/>
                </a:lnTo>
                <a:lnTo>
                  <a:pt x="1217" y="117"/>
                </a:lnTo>
                <a:lnTo>
                  <a:pt x="1217" y="117"/>
                </a:lnTo>
                <a:lnTo>
                  <a:pt x="1219" y="74"/>
                </a:lnTo>
                <a:lnTo>
                  <a:pt x="1223" y="39"/>
                </a:lnTo>
                <a:lnTo>
                  <a:pt x="1225" y="26"/>
                </a:lnTo>
                <a:lnTo>
                  <a:pt x="1227" y="15"/>
                </a:lnTo>
                <a:lnTo>
                  <a:pt x="1231" y="7"/>
                </a:lnTo>
                <a:lnTo>
                  <a:pt x="1233" y="4"/>
                </a:lnTo>
                <a:lnTo>
                  <a:pt x="1243" y="0"/>
                </a:lnTo>
                <a:lnTo>
                  <a:pt x="1243" y="0"/>
                </a:lnTo>
                <a:lnTo>
                  <a:pt x="1246" y="1"/>
                </a:lnTo>
                <a:lnTo>
                  <a:pt x="1252" y="2"/>
                </a:lnTo>
                <a:lnTo>
                  <a:pt x="1267" y="9"/>
                </a:lnTo>
                <a:lnTo>
                  <a:pt x="1288" y="19"/>
                </a:lnTo>
                <a:lnTo>
                  <a:pt x="1311" y="32"/>
                </a:lnTo>
                <a:lnTo>
                  <a:pt x="1367" y="64"/>
                </a:lnTo>
                <a:lnTo>
                  <a:pt x="1427" y="103"/>
                </a:lnTo>
                <a:lnTo>
                  <a:pt x="1486" y="143"/>
                </a:lnTo>
                <a:lnTo>
                  <a:pt x="1513" y="162"/>
                </a:lnTo>
                <a:lnTo>
                  <a:pt x="1537" y="181"/>
                </a:lnTo>
                <a:lnTo>
                  <a:pt x="1557" y="197"/>
                </a:lnTo>
                <a:lnTo>
                  <a:pt x="1572" y="213"/>
                </a:lnTo>
                <a:lnTo>
                  <a:pt x="1578" y="218"/>
                </a:lnTo>
                <a:lnTo>
                  <a:pt x="1582" y="224"/>
                </a:lnTo>
                <a:lnTo>
                  <a:pt x="1585" y="229"/>
                </a:lnTo>
                <a:lnTo>
                  <a:pt x="1585" y="234"/>
                </a:lnTo>
                <a:lnTo>
                  <a:pt x="1585" y="234"/>
                </a:lnTo>
                <a:lnTo>
                  <a:pt x="1585" y="239"/>
                </a:lnTo>
                <a:lnTo>
                  <a:pt x="1582" y="244"/>
                </a:lnTo>
                <a:lnTo>
                  <a:pt x="1577" y="252"/>
                </a:lnTo>
                <a:lnTo>
                  <a:pt x="1570" y="260"/>
                </a:lnTo>
                <a:lnTo>
                  <a:pt x="1570" y="260"/>
                </a:lnTo>
                <a:lnTo>
                  <a:pt x="1558" y="272"/>
                </a:lnTo>
                <a:lnTo>
                  <a:pt x="1541" y="285"/>
                </a:lnTo>
                <a:lnTo>
                  <a:pt x="1501" y="315"/>
                </a:lnTo>
                <a:lnTo>
                  <a:pt x="1453" y="350"/>
                </a:lnTo>
                <a:lnTo>
                  <a:pt x="1400" y="384"/>
                </a:lnTo>
                <a:lnTo>
                  <a:pt x="1349" y="416"/>
                </a:lnTo>
                <a:lnTo>
                  <a:pt x="1303" y="442"/>
                </a:lnTo>
                <a:lnTo>
                  <a:pt x="1283" y="452"/>
                </a:lnTo>
                <a:lnTo>
                  <a:pt x="1266" y="461"/>
                </a:lnTo>
                <a:lnTo>
                  <a:pt x="1252" y="465"/>
                </a:lnTo>
                <a:lnTo>
                  <a:pt x="1243" y="466"/>
                </a:lnTo>
                <a:lnTo>
                  <a:pt x="1243" y="466"/>
                </a:lnTo>
                <a:lnTo>
                  <a:pt x="1234" y="465"/>
                </a:lnTo>
                <a:lnTo>
                  <a:pt x="1234" y="465"/>
                </a:lnTo>
                <a:lnTo>
                  <a:pt x="1232" y="463"/>
                </a:lnTo>
                <a:lnTo>
                  <a:pt x="1230" y="461"/>
                </a:lnTo>
                <a:lnTo>
                  <a:pt x="1227" y="457"/>
                </a:lnTo>
                <a:lnTo>
                  <a:pt x="1225" y="451"/>
                </a:lnTo>
                <a:lnTo>
                  <a:pt x="1223" y="442"/>
                </a:lnTo>
                <a:lnTo>
                  <a:pt x="1221" y="431"/>
                </a:lnTo>
                <a:lnTo>
                  <a:pt x="1218" y="396"/>
                </a:lnTo>
                <a:lnTo>
                  <a:pt x="1218" y="396"/>
                </a:lnTo>
                <a:lnTo>
                  <a:pt x="1215" y="346"/>
                </a:lnTo>
                <a:lnTo>
                  <a:pt x="1215" y="346"/>
                </a:lnTo>
                <a:lnTo>
                  <a:pt x="1150" y="344"/>
                </a:lnTo>
                <a:lnTo>
                  <a:pt x="1080" y="342"/>
                </a:lnTo>
                <a:lnTo>
                  <a:pt x="1080" y="342"/>
                </a:lnTo>
                <a:lnTo>
                  <a:pt x="1044" y="342"/>
                </a:lnTo>
                <a:lnTo>
                  <a:pt x="1024" y="344"/>
                </a:lnTo>
                <a:lnTo>
                  <a:pt x="1013" y="345"/>
                </a:lnTo>
                <a:lnTo>
                  <a:pt x="1010" y="346"/>
                </a:lnTo>
                <a:lnTo>
                  <a:pt x="1010" y="346"/>
                </a:lnTo>
                <a:close/>
                <a:moveTo>
                  <a:pt x="103" y="347"/>
                </a:moveTo>
                <a:lnTo>
                  <a:pt x="103" y="347"/>
                </a:lnTo>
                <a:lnTo>
                  <a:pt x="168" y="346"/>
                </a:lnTo>
                <a:lnTo>
                  <a:pt x="228" y="345"/>
                </a:lnTo>
                <a:lnTo>
                  <a:pt x="289" y="344"/>
                </a:lnTo>
                <a:lnTo>
                  <a:pt x="289" y="344"/>
                </a:lnTo>
                <a:lnTo>
                  <a:pt x="326" y="345"/>
                </a:lnTo>
                <a:lnTo>
                  <a:pt x="347" y="345"/>
                </a:lnTo>
                <a:lnTo>
                  <a:pt x="362" y="346"/>
                </a:lnTo>
                <a:lnTo>
                  <a:pt x="362" y="346"/>
                </a:lnTo>
                <a:lnTo>
                  <a:pt x="369" y="354"/>
                </a:lnTo>
                <a:lnTo>
                  <a:pt x="382" y="371"/>
                </a:lnTo>
                <a:lnTo>
                  <a:pt x="419" y="423"/>
                </a:lnTo>
                <a:lnTo>
                  <a:pt x="468" y="492"/>
                </a:lnTo>
                <a:lnTo>
                  <a:pt x="517" y="568"/>
                </a:lnTo>
                <a:lnTo>
                  <a:pt x="527" y="581"/>
                </a:lnTo>
                <a:lnTo>
                  <a:pt x="659" y="396"/>
                </a:lnTo>
                <a:lnTo>
                  <a:pt x="489" y="159"/>
                </a:lnTo>
                <a:lnTo>
                  <a:pt x="489" y="159"/>
                </a:lnTo>
                <a:lnTo>
                  <a:pt x="482" y="150"/>
                </a:lnTo>
                <a:lnTo>
                  <a:pt x="473" y="141"/>
                </a:lnTo>
                <a:lnTo>
                  <a:pt x="463" y="133"/>
                </a:lnTo>
                <a:lnTo>
                  <a:pt x="454" y="128"/>
                </a:lnTo>
                <a:lnTo>
                  <a:pt x="443" y="123"/>
                </a:lnTo>
                <a:lnTo>
                  <a:pt x="432" y="119"/>
                </a:lnTo>
                <a:lnTo>
                  <a:pt x="421" y="117"/>
                </a:lnTo>
                <a:lnTo>
                  <a:pt x="410" y="117"/>
                </a:lnTo>
                <a:lnTo>
                  <a:pt x="103" y="117"/>
                </a:lnTo>
                <a:lnTo>
                  <a:pt x="103" y="117"/>
                </a:lnTo>
                <a:lnTo>
                  <a:pt x="92" y="117"/>
                </a:lnTo>
                <a:lnTo>
                  <a:pt x="82" y="119"/>
                </a:lnTo>
                <a:lnTo>
                  <a:pt x="72" y="122"/>
                </a:lnTo>
                <a:lnTo>
                  <a:pt x="63" y="125"/>
                </a:lnTo>
                <a:lnTo>
                  <a:pt x="53" y="130"/>
                </a:lnTo>
                <a:lnTo>
                  <a:pt x="45" y="136"/>
                </a:lnTo>
                <a:lnTo>
                  <a:pt x="38" y="143"/>
                </a:lnTo>
                <a:lnTo>
                  <a:pt x="30" y="150"/>
                </a:lnTo>
                <a:lnTo>
                  <a:pt x="24" y="158"/>
                </a:lnTo>
                <a:lnTo>
                  <a:pt x="18" y="168"/>
                </a:lnTo>
                <a:lnTo>
                  <a:pt x="12" y="177"/>
                </a:lnTo>
                <a:lnTo>
                  <a:pt x="8" y="187"/>
                </a:lnTo>
                <a:lnTo>
                  <a:pt x="5" y="197"/>
                </a:lnTo>
                <a:lnTo>
                  <a:pt x="2" y="209"/>
                </a:lnTo>
                <a:lnTo>
                  <a:pt x="0" y="220"/>
                </a:lnTo>
                <a:lnTo>
                  <a:pt x="0" y="231"/>
                </a:lnTo>
                <a:lnTo>
                  <a:pt x="0" y="231"/>
                </a:lnTo>
                <a:lnTo>
                  <a:pt x="0" y="243"/>
                </a:lnTo>
                <a:lnTo>
                  <a:pt x="2" y="255"/>
                </a:lnTo>
                <a:lnTo>
                  <a:pt x="5" y="267"/>
                </a:lnTo>
                <a:lnTo>
                  <a:pt x="8" y="278"/>
                </a:lnTo>
                <a:lnTo>
                  <a:pt x="12" y="287"/>
                </a:lnTo>
                <a:lnTo>
                  <a:pt x="18" y="296"/>
                </a:lnTo>
                <a:lnTo>
                  <a:pt x="24" y="306"/>
                </a:lnTo>
                <a:lnTo>
                  <a:pt x="30" y="314"/>
                </a:lnTo>
                <a:lnTo>
                  <a:pt x="38" y="321"/>
                </a:lnTo>
                <a:lnTo>
                  <a:pt x="45" y="328"/>
                </a:lnTo>
                <a:lnTo>
                  <a:pt x="54" y="334"/>
                </a:lnTo>
                <a:lnTo>
                  <a:pt x="63" y="339"/>
                </a:lnTo>
                <a:lnTo>
                  <a:pt x="72" y="342"/>
                </a:lnTo>
                <a:lnTo>
                  <a:pt x="83" y="345"/>
                </a:lnTo>
                <a:lnTo>
                  <a:pt x="92" y="347"/>
                </a:lnTo>
                <a:lnTo>
                  <a:pt x="103" y="347"/>
                </a:lnTo>
                <a:lnTo>
                  <a:pt x="103" y="347"/>
                </a:lnTo>
                <a:close/>
                <a:moveTo>
                  <a:pt x="1585" y="1004"/>
                </a:moveTo>
                <a:lnTo>
                  <a:pt x="1585" y="1004"/>
                </a:lnTo>
                <a:lnTo>
                  <a:pt x="1585" y="1009"/>
                </a:lnTo>
                <a:lnTo>
                  <a:pt x="1582" y="1016"/>
                </a:lnTo>
                <a:lnTo>
                  <a:pt x="1577" y="1022"/>
                </a:lnTo>
                <a:lnTo>
                  <a:pt x="1570" y="1030"/>
                </a:lnTo>
                <a:lnTo>
                  <a:pt x="1570" y="1030"/>
                </a:lnTo>
                <a:lnTo>
                  <a:pt x="1558" y="1042"/>
                </a:lnTo>
                <a:lnTo>
                  <a:pt x="1541" y="1055"/>
                </a:lnTo>
                <a:lnTo>
                  <a:pt x="1501" y="1085"/>
                </a:lnTo>
                <a:lnTo>
                  <a:pt x="1452" y="1120"/>
                </a:lnTo>
                <a:lnTo>
                  <a:pt x="1400" y="1155"/>
                </a:lnTo>
                <a:lnTo>
                  <a:pt x="1349" y="1186"/>
                </a:lnTo>
                <a:lnTo>
                  <a:pt x="1303" y="1213"/>
                </a:lnTo>
                <a:lnTo>
                  <a:pt x="1283" y="1222"/>
                </a:lnTo>
                <a:lnTo>
                  <a:pt x="1265" y="1231"/>
                </a:lnTo>
                <a:lnTo>
                  <a:pt x="1252" y="1235"/>
                </a:lnTo>
                <a:lnTo>
                  <a:pt x="1243" y="1236"/>
                </a:lnTo>
                <a:lnTo>
                  <a:pt x="1243" y="1236"/>
                </a:lnTo>
                <a:lnTo>
                  <a:pt x="1234" y="1235"/>
                </a:lnTo>
                <a:lnTo>
                  <a:pt x="1234" y="1235"/>
                </a:lnTo>
                <a:lnTo>
                  <a:pt x="1232" y="1234"/>
                </a:lnTo>
                <a:lnTo>
                  <a:pt x="1230" y="1231"/>
                </a:lnTo>
                <a:lnTo>
                  <a:pt x="1227" y="1227"/>
                </a:lnTo>
                <a:lnTo>
                  <a:pt x="1225" y="1221"/>
                </a:lnTo>
                <a:lnTo>
                  <a:pt x="1223" y="1213"/>
                </a:lnTo>
                <a:lnTo>
                  <a:pt x="1221" y="1201"/>
                </a:lnTo>
                <a:lnTo>
                  <a:pt x="1218" y="1166"/>
                </a:lnTo>
                <a:lnTo>
                  <a:pt x="1218" y="1166"/>
                </a:lnTo>
                <a:lnTo>
                  <a:pt x="1215" y="1118"/>
                </a:lnTo>
                <a:lnTo>
                  <a:pt x="962" y="1118"/>
                </a:lnTo>
                <a:lnTo>
                  <a:pt x="962" y="1118"/>
                </a:lnTo>
                <a:lnTo>
                  <a:pt x="950" y="1118"/>
                </a:lnTo>
                <a:lnTo>
                  <a:pt x="938" y="1116"/>
                </a:lnTo>
                <a:lnTo>
                  <a:pt x="927" y="1112"/>
                </a:lnTo>
                <a:lnTo>
                  <a:pt x="917" y="1108"/>
                </a:lnTo>
                <a:lnTo>
                  <a:pt x="907" y="1102"/>
                </a:lnTo>
                <a:lnTo>
                  <a:pt x="898" y="1095"/>
                </a:lnTo>
                <a:lnTo>
                  <a:pt x="889" y="1085"/>
                </a:lnTo>
                <a:lnTo>
                  <a:pt x="881" y="1076"/>
                </a:lnTo>
                <a:lnTo>
                  <a:pt x="712" y="840"/>
                </a:lnTo>
                <a:lnTo>
                  <a:pt x="845" y="654"/>
                </a:lnTo>
                <a:lnTo>
                  <a:pt x="853" y="667"/>
                </a:lnTo>
                <a:lnTo>
                  <a:pt x="853" y="667"/>
                </a:lnTo>
                <a:lnTo>
                  <a:pt x="904" y="744"/>
                </a:lnTo>
                <a:lnTo>
                  <a:pt x="951" y="814"/>
                </a:lnTo>
                <a:lnTo>
                  <a:pt x="971" y="842"/>
                </a:lnTo>
                <a:lnTo>
                  <a:pt x="989" y="866"/>
                </a:lnTo>
                <a:lnTo>
                  <a:pt x="1002" y="881"/>
                </a:lnTo>
                <a:lnTo>
                  <a:pt x="1006" y="886"/>
                </a:lnTo>
                <a:lnTo>
                  <a:pt x="1010" y="889"/>
                </a:lnTo>
                <a:lnTo>
                  <a:pt x="1010" y="889"/>
                </a:lnTo>
                <a:lnTo>
                  <a:pt x="1012" y="889"/>
                </a:lnTo>
                <a:lnTo>
                  <a:pt x="1023" y="890"/>
                </a:lnTo>
                <a:lnTo>
                  <a:pt x="1044" y="892"/>
                </a:lnTo>
                <a:lnTo>
                  <a:pt x="1078" y="893"/>
                </a:lnTo>
                <a:lnTo>
                  <a:pt x="1078" y="893"/>
                </a:lnTo>
                <a:lnTo>
                  <a:pt x="1152" y="892"/>
                </a:lnTo>
                <a:lnTo>
                  <a:pt x="1217" y="889"/>
                </a:lnTo>
                <a:lnTo>
                  <a:pt x="1217" y="889"/>
                </a:lnTo>
                <a:lnTo>
                  <a:pt x="1219" y="846"/>
                </a:lnTo>
                <a:lnTo>
                  <a:pt x="1223" y="810"/>
                </a:lnTo>
                <a:lnTo>
                  <a:pt x="1225" y="797"/>
                </a:lnTo>
                <a:lnTo>
                  <a:pt x="1227" y="785"/>
                </a:lnTo>
                <a:lnTo>
                  <a:pt x="1231" y="777"/>
                </a:lnTo>
                <a:lnTo>
                  <a:pt x="1233" y="774"/>
                </a:lnTo>
                <a:lnTo>
                  <a:pt x="1243" y="771"/>
                </a:lnTo>
                <a:lnTo>
                  <a:pt x="1243" y="771"/>
                </a:lnTo>
                <a:lnTo>
                  <a:pt x="1246" y="771"/>
                </a:lnTo>
                <a:lnTo>
                  <a:pt x="1252" y="772"/>
                </a:lnTo>
                <a:lnTo>
                  <a:pt x="1267" y="779"/>
                </a:lnTo>
                <a:lnTo>
                  <a:pt x="1288" y="789"/>
                </a:lnTo>
                <a:lnTo>
                  <a:pt x="1311" y="802"/>
                </a:lnTo>
                <a:lnTo>
                  <a:pt x="1367" y="834"/>
                </a:lnTo>
                <a:lnTo>
                  <a:pt x="1427" y="873"/>
                </a:lnTo>
                <a:lnTo>
                  <a:pt x="1486" y="913"/>
                </a:lnTo>
                <a:lnTo>
                  <a:pt x="1513" y="932"/>
                </a:lnTo>
                <a:lnTo>
                  <a:pt x="1537" y="951"/>
                </a:lnTo>
                <a:lnTo>
                  <a:pt x="1557" y="967"/>
                </a:lnTo>
                <a:lnTo>
                  <a:pt x="1572" y="983"/>
                </a:lnTo>
                <a:lnTo>
                  <a:pt x="1578" y="988"/>
                </a:lnTo>
                <a:lnTo>
                  <a:pt x="1582" y="994"/>
                </a:lnTo>
                <a:lnTo>
                  <a:pt x="1585" y="999"/>
                </a:lnTo>
                <a:lnTo>
                  <a:pt x="1585" y="1004"/>
                </a:lnTo>
                <a:lnTo>
                  <a:pt x="1585" y="1004"/>
                </a:lnTo>
                <a:close/>
              </a:path>
            </a:pathLst>
          </a:custGeom>
          <a:solidFill>
            <a:schemeClr val="bg1"/>
          </a:solidFill>
          <a:ln>
            <a:noFill/>
          </a:ln>
        </p:spPr>
        <p:txBody>
          <a:bodyPr vert="horz" wrap="square" lIns="91388" tIns="45694" rIns="91388" bIns="45694" numCol="1" anchor="t" anchorCtr="0" compatLnSpc="1">
            <a:prstTxWarp prst="textNoShape">
              <a:avLst/>
            </a:prstTxWarp>
          </a:bodyPr>
          <a:lstStyle/>
          <a:p>
            <a:pPr defTabSz="685600" fontAlgn="auto">
              <a:spcBef>
                <a:spcPts val="0"/>
              </a:spcBef>
              <a:spcAft>
                <a:spcPts val="0"/>
              </a:spcAft>
              <a:defRPr/>
            </a:pPr>
            <a:endParaRPr lang="en-US" sz="1300" kern="0">
              <a:solidFill>
                <a:srgbClr val="676767"/>
              </a:solidFill>
              <a:latin typeface="+mj-lt"/>
            </a:endParaRPr>
          </a:p>
        </p:txBody>
      </p:sp>
      <p:sp>
        <p:nvSpPr>
          <p:cNvPr id="783" name="Rounded Rectangle 191"/>
          <p:cNvSpPr/>
          <p:nvPr/>
        </p:nvSpPr>
        <p:spPr>
          <a:xfrm>
            <a:off x="1112478" y="4327057"/>
            <a:ext cx="829758" cy="185499"/>
          </a:xfrm>
          <a:prstGeom prst="rect">
            <a:avLst/>
          </a:prstGeom>
          <a:noFill/>
          <a:ln w="25400" cap="flat" cmpd="sng" algn="ctr">
            <a:noFill/>
            <a:prstDash val="solid"/>
          </a:ln>
          <a:effectLst/>
        </p:spPr>
        <p:txBody>
          <a:bodyPr lIns="0" tIns="34289" rIns="0" bIns="34289" rtlCol="0" anchor="ctr"/>
          <a:lstStyle/>
          <a:p>
            <a:pPr defTabSz="685288" fontAlgn="auto">
              <a:spcBef>
                <a:spcPts val="0"/>
              </a:spcBef>
              <a:spcAft>
                <a:spcPts val="0"/>
              </a:spcAft>
            </a:pPr>
            <a:r>
              <a:rPr lang="ja-JP" altLang="en-US" sz="900" kern="0" dirty="0" smtClean="0">
                <a:solidFill>
                  <a:srgbClr val="676767"/>
                </a:solidFill>
                <a:latin typeface="+mj-lt"/>
              </a:rPr>
              <a:t>本社</a:t>
            </a:r>
            <a:endParaRPr lang="en-US" sz="900" kern="0" dirty="0">
              <a:solidFill>
                <a:srgbClr val="676767"/>
              </a:solidFill>
              <a:latin typeface="+mj-lt"/>
            </a:endParaRPr>
          </a:p>
        </p:txBody>
      </p:sp>
      <p:sp>
        <p:nvSpPr>
          <p:cNvPr id="784" name="Freeform 113"/>
          <p:cNvSpPr>
            <a:spLocks noEditPoints="1"/>
          </p:cNvSpPr>
          <p:nvPr/>
        </p:nvSpPr>
        <p:spPr bwMode="auto">
          <a:xfrm>
            <a:off x="5289025" y="3868420"/>
            <a:ext cx="287340" cy="387661"/>
          </a:xfrm>
          <a:custGeom>
            <a:avLst/>
            <a:gdLst>
              <a:gd name="T0" fmla="*/ 424 w 464"/>
              <a:gd name="T1" fmla="*/ 0 h 626"/>
              <a:gd name="T2" fmla="*/ 39 w 464"/>
              <a:gd name="T3" fmla="*/ 0 h 626"/>
              <a:gd name="T4" fmla="*/ 39 w 464"/>
              <a:gd name="T5" fmla="*/ 0 h 626"/>
              <a:gd name="T6" fmla="*/ 31 w 464"/>
              <a:gd name="T7" fmla="*/ 2 h 626"/>
              <a:gd name="T8" fmla="*/ 23 w 464"/>
              <a:gd name="T9" fmla="*/ 3 h 626"/>
              <a:gd name="T10" fmla="*/ 16 w 464"/>
              <a:gd name="T11" fmla="*/ 7 h 626"/>
              <a:gd name="T12" fmla="*/ 10 w 464"/>
              <a:gd name="T13" fmla="*/ 13 h 626"/>
              <a:gd name="T14" fmla="*/ 6 w 464"/>
              <a:gd name="T15" fmla="*/ 18 h 626"/>
              <a:gd name="T16" fmla="*/ 2 w 464"/>
              <a:gd name="T17" fmla="*/ 25 h 626"/>
              <a:gd name="T18" fmla="*/ 0 w 464"/>
              <a:gd name="T19" fmla="*/ 31 h 626"/>
              <a:gd name="T20" fmla="*/ 0 w 464"/>
              <a:gd name="T21" fmla="*/ 40 h 626"/>
              <a:gd name="T22" fmla="*/ 0 w 464"/>
              <a:gd name="T23" fmla="*/ 587 h 626"/>
              <a:gd name="T24" fmla="*/ 0 w 464"/>
              <a:gd name="T25" fmla="*/ 587 h 626"/>
              <a:gd name="T26" fmla="*/ 0 w 464"/>
              <a:gd name="T27" fmla="*/ 595 h 626"/>
              <a:gd name="T28" fmla="*/ 2 w 464"/>
              <a:gd name="T29" fmla="*/ 602 h 626"/>
              <a:gd name="T30" fmla="*/ 6 w 464"/>
              <a:gd name="T31" fmla="*/ 609 h 626"/>
              <a:gd name="T32" fmla="*/ 10 w 464"/>
              <a:gd name="T33" fmla="*/ 615 h 626"/>
              <a:gd name="T34" fmla="*/ 16 w 464"/>
              <a:gd name="T35" fmla="*/ 619 h 626"/>
              <a:gd name="T36" fmla="*/ 23 w 464"/>
              <a:gd name="T37" fmla="*/ 623 h 626"/>
              <a:gd name="T38" fmla="*/ 31 w 464"/>
              <a:gd name="T39" fmla="*/ 626 h 626"/>
              <a:gd name="T40" fmla="*/ 39 w 464"/>
              <a:gd name="T41" fmla="*/ 626 h 626"/>
              <a:gd name="T42" fmla="*/ 424 w 464"/>
              <a:gd name="T43" fmla="*/ 626 h 626"/>
              <a:gd name="T44" fmla="*/ 424 w 464"/>
              <a:gd name="T45" fmla="*/ 626 h 626"/>
              <a:gd name="T46" fmla="*/ 433 w 464"/>
              <a:gd name="T47" fmla="*/ 626 h 626"/>
              <a:gd name="T48" fmla="*/ 439 w 464"/>
              <a:gd name="T49" fmla="*/ 623 h 626"/>
              <a:gd name="T50" fmla="*/ 446 w 464"/>
              <a:gd name="T51" fmla="*/ 619 h 626"/>
              <a:gd name="T52" fmla="*/ 453 w 464"/>
              <a:gd name="T53" fmla="*/ 615 h 626"/>
              <a:gd name="T54" fmla="*/ 457 w 464"/>
              <a:gd name="T55" fmla="*/ 609 h 626"/>
              <a:gd name="T56" fmla="*/ 461 w 464"/>
              <a:gd name="T57" fmla="*/ 602 h 626"/>
              <a:gd name="T58" fmla="*/ 464 w 464"/>
              <a:gd name="T59" fmla="*/ 595 h 626"/>
              <a:gd name="T60" fmla="*/ 464 w 464"/>
              <a:gd name="T61" fmla="*/ 587 h 626"/>
              <a:gd name="T62" fmla="*/ 464 w 464"/>
              <a:gd name="T63" fmla="*/ 40 h 626"/>
              <a:gd name="T64" fmla="*/ 464 w 464"/>
              <a:gd name="T65" fmla="*/ 40 h 626"/>
              <a:gd name="T66" fmla="*/ 464 w 464"/>
              <a:gd name="T67" fmla="*/ 31 h 626"/>
              <a:gd name="T68" fmla="*/ 461 w 464"/>
              <a:gd name="T69" fmla="*/ 25 h 626"/>
              <a:gd name="T70" fmla="*/ 457 w 464"/>
              <a:gd name="T71" fmla="*/ 18 h 626"/>
              <a:gd name="T72" fmla="*/ 453 w 464"/>
              <a:gd name="T73" fmla="*/ 13 h 626"/>
              <a:gd name="T74" fmla="*/ 446 w 464"/>
              <a:gd name="T75" fmla="*/ 7 h 626"/>
              <a:gd name="T76" fmla="*/ 439 w 464"/>
              <a:gd name="T77" fmla="*/ 3 h 626"/>
              <a:gd name="T78" fmla="*/ 433 w 464"/>
              <a:gd name="T79" fmla="*/ 2 h 626"/>
              <a:gd name="T80" fmla="*/ 424 w 464"/>
              <a:gd name="T81" fmla="*/ 0 h 626"/>
              <a:gd name="T82" fmla="*/ 424 w 464"/>
              <a:gd name="T83" fmla="*/ 0 h 626"/>
              <a:gd name="T84" fmla="*/ 135 w 464"/>
              <a:gd name="T85" fmla="*/ 587 h 626"/>
              <a:gd name="T86" fmla="*/ 86 w 464"/>
              <a:gd name="T87" fmla="*/ 587 h 626"/>
              <a:gd name="T88" fmla="*/ 86 w 464"/>
              <a:gd name="T89" fmla="*/ 571 h 626"/>
              <a:gd name="T90" fmla="*/ 135 w 464"/>
              <a:gd name="T91" fmla="*/ 571 h 626"/>
              <a:gd name="T92" fmla="*/ 135 w 464"/>
              <a:gd name="T93" fmla="*/ 587 h 626"/>
              <a:gd name="T94" fmla="*/ 271 w 464"/>
              <a:gd name="T95" fmla="*/ 591 h 626"/>
              <a:gd name="T96" fmla="*/ 192 w 464"/>
              <a:gd name="T97" fmla="*/ 591 h 626"/>
              <a:gd name="T98" fmla="*/ 192 w 464"/>
              <a:gd name="T99" fmla="*/ 567 h 626"/>
              <a:gd name="T100" fmla="*/ 271 w 464"/>
              <a:gd name="T101" fmla="*/ 567 h 626"/>
              <a:gd name="T102" fmla="*/ 271 w 464"/>
              <a:gd name="T103" fmla="*/ 591 h 626"/>
              <a:gd name="T104" fmla="*/ 377 w 464"/>
              <a:gd name="T105" fmla="*/ 587 h 626"/>
              <a:gd name="T106" fmla="*/ 329 w 464"/>
              <a:gd name="T107" fmla="*/ 587 h 626"/>
              <a:gd name="T108" fmla="*/ 329 w 464"/>
              <a:gd name="T109" fmla="*/ 571 h 626"/>
              <a:gd name="T110" fmla="*/ 377 w 464"/>
              <a:gd name="T111" fmla="*/ 571 h 626"/>
              <a:gd name="T112" fmla="*/ 377 w 464"/>
              <a:gd name="T113" fmla="*/ 587 h 626"/>
              <a:gd name="T114" fmla="*/ 412 w 464"/>
              <a:gd name="T115" fmla="*/ 534 h 626"/>
              <a:gd name="T116" fmla="*/ 51 w 464"/>
              <a:gd name="T117" fmla="*/ 534 h 626"/>
              <a:gd name="T118" fmla="*/ 51 w 464"/>
              <a:gd name="T119" fmla="*/ 56 h 626"/>
              <a:gd name="T120" fmla="*/ 412 w 464"/>
              <a:gd name="T121" fmla="*/ 56 h 626"/>
              <a:gd name="T122" fmla="*/ 412 w 464"/>
              <a:gd name="T123" fmla="*/ 53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4" h="626">
                <a:moveTo>
                  <a:pt x="424" y="0"/>
                </a:moveTo>
                <a:lnTo>
                  <a:pt x="39" y="0"/>
                </a:lnTo>
                <a:lnTo>
                  <a:pt x="39" y="0"/>
                </a:lnTo>
                <a:lnTo>
                  <a:pt x="31" y="2"/>
                </a:lnTo>
                <a:lnTo>
                  <a:pt x="23" y="3"/>
                </a:lnTo>
                <a:lnTo>
                  <a:pt x="16" y="7"/>
                </a:lnTo>
                <a:lnTo>
                  <a:pt x="10" y="13"/>
                </a:lnTo>
                <a:lnTo>
                  <a:pt x="6" y="18"/>
                </a:lnTo>
                <a:lnTo>
                  <a:pt x="2" y="25"/>
                </a:lnTo>
                <a:lnTo>
                  <a:pt x="0" y="31"/>
                </a:lnTo>
                <a:lnTo>
                  <a:pt x="0" y="40"/>
                </a:lnTo>
                <a:lnTo>
                  <a:pt x="0" y="587"/>
                </a:lnTo>
                <a:lnTo>
                  <a:pt x="0" y="587"/>
                </a:lnTo>
                <a:lnTo>
                  <a:pt x="0" y="595"/>
                </a:lnTo>
                <a:lnTo>
                  <a:pt x="2" y="602"/>
                </a:lnTo>
                <a:lnTo>
                  <a:pt x="6" y="609"/>
                </a:lnTo>
                <a:lnTo>
                  <a:pt x="10" y="615"/>
                </a:lnTo>
                <a:lnTo>
                  <a:pt x="16" y="619"/>
                </a:lnTo>
                <a:lnTo>
                  <a:pt x="23" y="623"/>
                </a:lnTo>
                <a:lnTo>
                  <a:pt x="31" y="626"/>
                </a:lnTo>
                <a:lnTo>
                  <a:pt x="39" y="626"/>
                </a:lnTo>
                <a:lnTo>
                  <a:pt x="424" y="626"/>
                </a:lnTo>
                <a:lnTo>
                  <a:pt x="424" y="626"/>
                </a:lnTo>
                <a:lnTo>
                  <a:pt x="433" y="626"/>
                </a:lnTo>
                <a:lnTo>
                  <a:pt x="439" y="623"/>
                </a:lnTo>
                <a:lnTo>
                  <a:pt x="446" y="619"/>
                </a:lnTo>
                <a:lnTo>
                  <a:pt x="453" y="615"/>
                </a:lnTo>
                <a:lnTo>
                  <a:pt x="457" y="609"/>
                </a:lnTo>
                <a:lnTo>
                  <a:pt x="461" y="602"/>
                </a:lnTo>
                <a:lnTo>
                  <a:pt x="464" y="595"/>
                </a:lnTo>
                <a:lnTo>
                  <a:pt x="464" y="587"/>
                </a:lnTo>
                <a:lnTo>
                  <a:pt x="464" y="40"/>
                </a:lnTo>
                <a:lnTo>
                  <a:pt x="464" y="40"/>
                </a:lnTo>
                <a:lnTo>
                  <a:pt x="464" y="31"/>
                </a:lnTo>
                <a:lnTo>
                  <a:pt x="461" y="25"/>
                </a:lnTo>
                <a:lnTo>
                  <a:pt x="457" y="18"/>
                </a:lnTo>
                <a:lnTo>
                  <a:pt x="453" y="13"/>
                </a:lnTo>
                <a:lnTo>
                  <a:pt x="446" y="7"/>
                </a:lnTo>
                <a:lnTo>
                  <a:pt x="439" y="3"/>
                </a:lnTo>
                <a:lnTo>
                  <a:pt x="433" y="2"/>
                </a:lnTo>
                <a:lnTo>
                  <a:pt x="424" y="0"/>
                </a:lnTo>
                <a:lnTo>
                  <a:pt x="424" y="0"/>
                </a:lnTo>
                <a:close/>
                <a:moveTo>
                  <a:pt x="135" y="587"/>
                </a:moveTo>
                <a:lnTo>
                  <a:pt x="86" y="587"/>
                </a:lnTo>
                <a:lnTo>
                  <a:pt x="86" y="571"/>
                </a:lnTo>
                <a:lnTo>
                  <a:pt x="135" y="571"/>
                </a:lnTo>
                <a:lnTo>
                  <a:pt x="135" y="587"/>
                </a:lnTo>
                <a:close/>
                <a:moveTo>
                  <a:pt x="271" y="591"/>
                </a:moveTo>
                <a:lnTo>
                  <a:pt x="192" y="591"/>
                </a:lnTo>
                <a:lnTo>
                  <a:pt x="192" y="567"/>
                </a:lnTo>
                <a:lnTo>
                  <a:pt x="271" y="567"/>
                </a:lnTo>
                <a:lnTo>
                  <a:pt x="271" y="591"/>
                </a:lnTo>
                <a:close/>
                <a:moveTo>
                  <a:pt x="377" y="587"/>
                </a:moveTo>
                <a:lnTo>
                  <a:pt x="329" y="587"/>
                </a:lnTo>
                <a:lnTo>
                  <a:pt x="329" y="571"/>
                </a:lnTo>
                <a:lnTo>
                  <a:pt x="377" y="571"/>
                </a:lnTo>
                <a:lnTo>
                  <a:pt x="377" y="587"/>
                </a:lnTo>
                <a:close/>
                <a:moveTo>
                  <a:pt x="412" y="534"/>
                </a:moveTo>
                <a:lnTo>
                  <a:pt x="51" y="534"/>
                </a:lnTo>
                <a:lnTo>
                  <a:pt x="51" y="56"/>
                </a:lnTo>
                <a:lnTo>
                  <a:pt x="412" y="56"/>
                </a:lnTo>
                <a:lnTo>
                  <a:pt x="412" y="534"/>
                </a:lnTo>
                <a:close/>
              </a:path>
            </a:pathLst>
          </a:custGeom>
          <a:solidFill>
            <a:srgbClr val="585858"/>
          </a:solidFill>
          <a:ln>
            <a:noFill/>
          </a:ln>
          <a:extLst/>
        </p:spPr>
        <p:txBody>
          <a:bodyPr vert="horz" wrap="square" lIns="91436" tIns="45718" rIns="91436" bIns="45718" numCol="1" anchor="t" anchorCtr="0" compatLnSpc="1">
            <a:prstTxWarp prst="textNoShape">
              <a:avLst/>
            </a:prstTxWarp>
          </a:bodyPr>
          <a:lstStyle/>
          <a:p>
            <a:endParaRPr lang="en-US">
              <a:latin typeface="+mj-lt"/>
            </a:endParaRPr>
          </a:p>
        </p:txBody>
      </p:sp>
      <p:grpSp>
        <p:nvGrpSpPr>
          <p:cNvPr id="801" name="Group 784"/>
          <p:cNvGrpSpPr/>
          <p:nvPr/>
        </p:nvGrpSpPr>
        <p:grpSpPr>
          <a:xfrm>
            <a:off x="4695752" y="3731810"/>
            <a:ext cx="469484" cy="807886"/>
            <a:chOff x="3787922" y="3964575"/>
            <a:chExt cx="490943" cy="844812"/>
          </a:xfrm>
        </p:grpSpPr>
        <p:cxnSp>
          <p:nvCxnSpPr>
            <p:cNvPr id="786" name="Straight Connector 785"/>
            <p:cNvCxnSpPr/>
            <p:nvPr/>
          </p:nvCxnSpPr>
          <p:spPr>
            <a:xfrm flipV="1">
              <a:off x="3787922" y="4521633"/>
              <a:ext cx="490943" cy="287754"/>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cxnSp>
          <p:nvCxnSpPr>
            <p:cNvPr id="787" name="Straight Connector 786"/>
            <p:cNvCxnSpPr/>
            <p:nvPr/>
          </p:nvCxnSpPr>
          <p:spPr>
            <a:xfrm>
              <a:off x="4278864" y="3964575"/>
              <a:ext cx="0" cy="562171"/>
            </a:xfrm>
            <a:prstGeom prst="line">
              <a:avLst/>
            </a:prstGeom>
            <a:noFill/>
            <a:ln w="12700" cap="flat" cmpd="sng" algn="ctr">
              <a:gradFill>
                <a:gsLst>
                  <a:gs pos="0">
                    <a:srgbClr val="A6A8AB">
                      <a:lumMod val="50000"/>
                      <a:alpha val="0"/>
                    </a:srgbClr>
                  </a:gs>
                  <a:gs pos="100000">
                    <a:srgbClr val="A6A8AB">
                      <a:lumMod val="75000"/>
                    </a:srgbClr>
                  </a:gs>
                </a:gsLst>
                <a:lin ang="5400000" scaled="1"/>
              </a:gradFill>
              <a:prstDash val="solid"/>
            </a:ln>
            <a:effectLst/>
          </p:spPr>
        </p:cxnSp>
      </p:grpSp>
      <p:sp>
        <p:nvSpPr>
          <p:cNvPr id="790" name="Rectangle 789"/>
          <p:cNvSpPr/>
          <p:nvPr/>
        </p:nvSpPr>
        <p:spPr>
          <a:xfrm>
            <a:off x="5637089" y="3125017"/>
            <a:ext cx="75488" cy="961876"/>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791" name="Rectangle 790"/>
          <p:cNvSpPr/>
          <p:nvPr/>
        </p:nvSpPr>
        <p:spPr>
          <a:xfrm rot="16200000">
            <a:off x="5616759" y="3994413"/>
            <a:ext cx="73475" cy="118163"/>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792" name="Rounded Rectangle 191"/>
          <p:cNvSpPr/>
          <p:nvPr/>
        </p:nvSpPr>
        <p:spPr>
          <a:xfrm>
            <a:off x="5054965" y="4327057"/>
            <a:ext cx="786948" cy="185499"/>
          </a:xfrm>
          <a:prstGeom prst="rect">
            <a:avLst/>
          </a:prstGeom>
          <a:noFill/>
          <a:ln w="25400" cap="flat" cmpd="sng" algn="ctr">
            <a:noFill/>
            <a:prstDash val="solid"/>
          </a:ln>
          <a:effectLst/>
        </p:spPr>
        <p:txBody>
          <a:bodyPr lIns="0" tIns="34289" rIns="0" bIns="34289" rtlCol="0" anchor="ctr"/>
          <a:lstStyle/>
          <a:p>
            <a:pPr algn="ctr" defTabSz="685288" fontAlgn="auto">
              <a:spcBef>
                <a:spcPts val="0"/>
              </a:spcBef>
              <a:spcAft>
                <a:spcPts val="0"/>
              </a:spcAft>
              <a:defRPr/>
            </a:pPr>
            <a:r>
              <a:rPr lang="en-US" sz="900" kern="0" dirty="0" smtClean="0">
                <a:solidFill>
                  <a:srgbClr val="676767"/>
                </a:solidFill>
                <a:latin typeface="+mj-lt"/>
              </a:rPr>
              <a:t>BYOD</a:t>
            </a:r>
            <a:endParaRPr lang="en-US" sz="900" kern="0" dirty="0">
              <a:solidFill>
                <a:srgbClr val="676767"/>
              </a:solidFill>
              <a:latin typeface="+mj-lt"/>
            </a:endParaRPr>
          </a:p>
        </p:txBody>
      </p:sp>
      <p:grpSp>
        <p:nvGrpSpPr>
          <p:cNvPr id="802" name="Group 792"/>
          <p:cNvGrpSpPr/>
          <p:nvPr/>
        </p:nvGrpSpPr>
        <p:grpSpPr>
          <a:xfrm>
            <a:off x="6523824" y="3018217"/>
            <a:ext cx="840435" cy="847835"/>
            <a:chOff x="8996814" y="3218366"/>
            <a:chExt cx="878848" cy="886587"/>
          </a:xfrm>
        </p:grpSpPr>
        <p:sp>
          <p:nvSpPr>
            <p:cNvPr id="794" name="Rounded Rectangle 191"/>
            <p:cNvSpPr/>
            <p:nvPr/>
          </p:nvSpPr>
          <p:spPr>
            <a:xfrm>
              <a:off x="9185814" y="3960737"/>
              <a:ext cx="689848" cy="144216"/>
            </a:xfrm>
            <a:prstGeom prst="rect">
              <a:avLst/>
            </a:prstGeom>
            <a:noFill/>
            <a:ln w="25400" cap="flat" cmpd="sng" algn="ctr">
              <a:noFill/>
              <a:prstDash val="solid"/>
            </a:ln>
            <a:effectLst/>
          </p:spPr>
          <p:txBody>
            <a:bodyPr rtlCol="0" anchor="ctr"/>
            <a:lstStyle/>
            <a:p>
              <a:pPr algn="ctr" defTabSz="913710">
                <a:defRPr/>
              </a:pPr>
              <a:r>
                <a:rPr lang="en-US" sz="1000" kern="0" dirty="0">
                  <a:solidFill>
                    <a:srgbClr val="676767"/>
                  </a:solidFill>
                  <a:latin typeface="+mj-lt"/>
                </a:rPr>
                <a:t>Admin</a:t>
              </a:r>
            </a:p>
          </p:txBody>
        </p:sp>
        <p:grpSp>
          <p:nvGrpSpPr>
            <p:cNvPr id="803" name="Group 794"/>
            <p:cNvGrpSpPr/>
            <p:nvPr/>
          </p:nvGrpSpPr>
          <p:grpSpPr>
            <a:xfrm>
              <a:off x="8996814" y="3218366"/>
              <a:ext cx="771032" cy="702649"/>
              <a:chOff x="6430918" y="3787229"/>
              <a:chExt cx="771032" cy="702649"/>
            </a:xfrm>
          </p:grpSpPr>
          <p:sp>
            <p:nvSpPr>
              <p:cNvPr id="796" name="Freeform 795"/>
              <p:cNvSpPr/>
              <p:nvPr/>
            </p:nvSpPr>
            <p:spPr>
              <a:xfrm>
                <a:off x="6430918" y="3932956"/>
                <a:ext cx="387297" cy="351293"/>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7" name="Oval 23"/>
              <p:cNvSpPr/>
              <p:nvPr/>
            </p:nvSpPr>
            <p:spPr bwMode="auto">
              <a:xfrm>
                <a:off x="6480253" y="4253309"/>
                <a:ext cx="280781" cy="167082"/>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8" name="Rounded Rectangle 13"/>
              <p:cNvSpPr/>
              <p:nvPr/>
            </p:nvSpPr>
            <p:spPr bwMode="auto">
              <a:xfrm>
                <a:off x="6701329" y="4087371"/>
                <a:ext cx="464423" cy="402507"/>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799" name="Oval 798"/>
              <p:cNvSpPr/>
              <p:nvPr/>
            </p:nvSpPr>
            <p:spPr bwMode="auto">
              <a:xfrm>
                <a:off x="6835328" y="3787229"/>
                <a:ext cx="281935" cy="270741"/>
              </a:xfrm>
              <a:prstGeom prst="ellipse">
                <a:avLst/>
              </a:pr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sp>
            <p:nvSpPr>
              <p:cNvPr id="800" name="Rounded Rectangle 14"/>
              <p:cNvSpPr/>
              <p:nvPr/>
            </p:nvSpPr>
            <p:spPr bwMode="auto">
              <a:xfrm>
                <a:off x="6908223" y="4127518"/>
                <a:ext cx="293727" cy="283609"/>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solidFill>
                <a:schemeClr val="tx1"/>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61">
                  <a:defRPr/>
                </a:pPr>
                <a:endParaRPr lang="en-US" sz="2200" kern="0" dirty="0">
                  <a:gradFill>
                    <a:gsLst>
                      <a:gs pos="0">
                        <a:srgbClr val="FFFFFF"/>
                      </a:gs>
                      <a:gs pos="100000">
                        <a:srgbClr val="FFFFFF"/>
                      </a:gs>
                    </a:gsLst>
                    <a:lin ang="5400000" scaled="0"/>
                  </a:gradFill>
                  <a:latin typeface="+mj-lt"/>
                  <a:cs typeface="+mn-cs"/>
                </a:endParaRPr>
              </a:p>
            </p:txBody>
          </p:sp>
        </p:grpSp>
      </p:grpSp>
      <p:sp>
        <p:nvSpPr>
          <p:cNvPr id="437" name="Rectangle 436"/>
          <p:cNvSpPr/>
          <p:nvPr/>
        </p:nvSpPr>
        <p:spPr>
          <a:xfrm rot="5400000">
            <a:off x="610507" y="3397310"/>
            <a:ext cx="104932" cy="137411"/>
          </a:xfrm>
          <a:prstGeom prst="rect">
            <a:avLst/>
          </a:prstGeom>
          <a:solidFill>
            <a:srgbClr val="EEEEF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433" name="Rectangle 846"/>
          <p:cNvSpPr/>
          <p:nvPr/>
        </p:nvSpPr>
        <p:spPr>
          <a:xfrm>
            <a:off x="7144606" y="1230890"/>
            <a:ext cx="89390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sp>
        <p:nvSpPr>
          <p:cNvPr id="92" name="Oval 91"/>
          <p:cNvSpPr/>
          <p:nvPr/>
        </p:nvSpPr>
        <p:spPr>
          <a:xfrm>
            <a:off x="7012664" y="1600449"/>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93" name="Freeform 92"/>
          <p:cNvSpPr>
            <a:spLocks noEditPoints="1"/>
          </p:cNvSpPr>
          <p:nvPr/>
        </p:nvSpPr>
        <p:spPr bwMode="auto">
          <a:xfrm>
            <a:off x="7048760" y="1642974"/>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1" name="Oval 100"/>
          <p:cNvSpPr/>
          <p:nvPr/>
        </p:nvSpPr>
        <p:spPr>
          <a:xfrm>
            <a:off x="7012664" y="1866213"/>
            <a:ext cx="199447" cy="191528"/>
          </a:xfrm>
          <a:prstGeom prst="ellipse">
            <a:avLst/>
          </a:prstGeom>
          <a:solidFill>
            <a:srgbClr val="C00000"/>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02" name="Rectangle 49"/>
          <p:cNvSpPr>
            <a:spLocks noChangeArrowheads="1"/>
          </p:cNvSpPr>
          <p:nvPr/>
        </p:nvSpPr>
        <p:spPr bwMode="auto">
          <a:xfrm>
            <a:off x="7048949" y="1980746"/>
            <a:ext cx="82259" cy="27375"/>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3" name="Rectangle 50"/>
          <p:cNvSpPr>
            <a:spLocks noChangeArrowheads="1"/>
          </p:cNvSpPr>
          <p:nvPr/>
        </p:nvSpPr>
        <p:spPr bwMode="auto">
          <a:xfrm>
            <a:off x="7090082" y="1950633"/>
            <a:ext cx="82259" cy="27375"/>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4" name="Rectangle 51"/>
          <p:cNvSpPr>
            <a:spLocks noChangeArrowheads="1"/>
          </p:cNvSpPr>
          <p:nvPr/>
        </p:nvSpPr>
        <p:spPr bwMode="auto">
          <a:xfrm>
            <a:off x="7134877" y="1980746"/>
            <a:ext cx="37465" cy="27375"/>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5" name="Rectangle 52"/>
          <p:cNvSpPr>
            <a:spLocks noChangeArrowheads="1"/>
          </p:cNvSpPr>
          <p:nvPr/>
        </p:nvSpPr>
        <p:spPr bwMode="auto">
          <a:xfrm>
            <a:off x="7134877" y="1920914"/>
            <a:ext cx="37465" cy="26983"/>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6" name="Rectangle 53"/>
          <p:cNvSpPr>
            <a:spLocks noChangeArrowheads="1"/>
          </p:cNvSpPr>
          <p:nvPr/>
        </p:nvSpPr>
        <p:spPr bwMode="auto">
          <a:xfrm>
            <a:off x="7048952" y="1950633"/>
            <a:ext cx="37057" cy="27375"/>
          </a:xfrm>
          <a:prstGeom prst="rect">
            <a:avLst/>
          </a:prstGeom>
          <a:solidFill>
            <a:srgbClr val="FFFFFF"/>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07" name="Rectangle 54"/>
          <p:cNvSpPr>
            <a:spLocks noChangeArrowheads="1"/>
          </p:cNvSpPr>
          <p:nvPr/>
        </p:nvSpPr>
        <p:spPr bwMode="auto">
          <a:xfrm>
            <a:off x="7048949" y="1920914"/>
            <a:ext cx="82259" cy="26983"/>
          </a:xfrm>
          <a:prstGeom prst="rect">
            <a:avLst/>
          </a:prstGeom>
          <a:solidFill>
            <a:srgbClr val="D81F28">
              <a:lumMod val="40000"/>
              <a:lumOff val="60000"/>
            </a:srgbClr>
          </a:solidFill>
          <a:ln>
            <a:noFill/>
          </a:ln>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sp>
        <p:nvSpPr>
          <p:cNvPr id="113" name="Oval 112"/>
          <p:cNvSpPr/>
          <p:nvPr/>
        </p:nvSpPr>
        <p:spPr>
          <a:xfrm>
            <a:off x="7012664" y="1334687"/>
            <a:ext cx="199447" cy="191528"/>
          </a:xfrm>
          <a:prstGeom prst="ellipse">
            <a:avLst/>
          </a:prstGeom>
          <a:solidFill>
            <a:schemeClr val="accent4"/>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14" name="Freeform 8"/>
          <p:cNvSpPr>
            <a:spLocks/>
          </p:cNvSpPr>
          <p:nvPr/>
        </p:nvSpPr>
        <p:spPr bwMode="auto">
          <a:xfrm>
            <a:off x="7064525" y="1394143"/>
            <a:ext cx="99219" cy="73755"/>
          </a:xfrm>
          <a:custGeom>
            <a:avLst/>
            <a:gdLst>
              <a:gd name="T0" fmla="*/ 721 w 1670"/>
              <a:gd name="T1" fmla="*/ 942 h 1422"/>
              <a:gd name="T2" fmla="*/ 324 w 1670"/>
              <a:gd name="T3" fmla="*/ 545 h 1422"/>
              <a:gd name="T4" fmla="*/ 295 w 1670"/>
              <a:gd name="T5" fmla="*/ 521 h 1422"/>
              <a:gd name="T6" fmla="*/ 261 w 1670"/>
              <a:gd name="T7" fmla="*/ 504 h 1422"/>
              <a:gd name="T8" fmla="*/ 227 w 1670"/>
              <a:gd name="T9" fmla="*/ 493 h 1422"/>
              <a:gd name="T10" fmla="*/ 191 w 1670"/>
              <a:gd name="T11" fmla="*/ 489 h 1422"/>
              <a:gd name="T12" fmla="*/ 154 w 1670"/>
              <a:gd name="T13" fmla="*/ 493 h 1422"/>
              <a:gd name="T14" fmla="*/ 118 w 1670"/>
              <a:gd name="T15" fmla="*/ 504 h 1422"/>
              <a:gd name="T16" fmla="*/ 85 w 1670"/>
              <a:gd name="T17" fmla="*/ 521 h 1422"/>
              <a:gd name="T18" fmla="*/ 55 w 1670"/>
              <a:gd name="T19" fmla="*/ 545 h 1422"/>
              <a:gd name="T20" fmla="*/ 43 w 1670"/>
              <a:gd name="T21" fmla="*/ 559 h 1422"/>
              <a:gd name="T22" fmla="*/ 22 w 1670"/>
              <a:gd name="T23" fmla="*/ 590 h 1422"/>
              <a:gd name="T24" fmla="*/ 8 w 1670"/>
              <a:gd name="T25" fmla="*/ 625 h 1422"/>
              <a:gd name="T26" fmla="*/ 2 w 1670"/>
              <a:gd name="T27" fmla="*/ 661 h 1422"/>
              <a:gd name="T28" fmla="*/ 2 w 1670"/>
              <a:gd name="T29" fmla="*/ 697 h 1422"/>
              <a:gd name="T30" fmla="*/ 8 w 1670"/>
              <a:gd name="T31" fmla="*/ 734 h 1422"/>
              <a:gd name="T32" fmla="*/ 22 w 1670"/>
              <a:gd name="T33" fmla="*/ 768 h 1422"/>
              <a:gd name="T34" fmla="*/ 43 w 1670"/>
              <a:gd name="T35" fmla="*/ 800 h 1422"/>
              <a:gd name="T36" fmla="*/ 611 w 1670"/>
              <a:gd name="T37" fmla="*/ 1370 h 1422"/>
              <a:gd name="T38" fmla="*/ 638 w 1670"/>
              <a:gd name="T39" fmla="*/ 1391 h 1422"/>
              <a:gd name="T40" fmla="*/ 652 w 1670"/>
              <a:gd name="T41" fmla="*/ 1397 h 1422"/>
              <a:gd name="T42" fmla="*/ 695 w 1670"/>
              <a:gd name="T43" fmla="*/ 1416 h 1422"/>
              <a:gd name="T44" fmla="*/ 725 w 1670"/>
              <a:gd name="T45" fmla="*/ 1421 h 1422"/>
              <a:gd name="T46" fmla="*/ 764 w 1670"/>
              <a:gd name="T47" fmla="*/ 1422 h 1422"/>
              <a:gd name="T48" fmla="*/ 830 w 1670"/>
              <a:gd name="T49" fmla="*/ 1403 h 1422"/>
              <a:gd name="T50" fmla="*/ 849 w 1670"/>
              <a:gd name="T51" fmla="*/ 1392 h 1422"/>
              <a:gd name="T52" fmla="*/ 881 w 1670"/>
              <a:gd name="T53" fmla="*/ 1370 h 1422"/>
              <a:gd name="T54" fmla="*/ 903 w 1670"/>
              <a:gd name="T55" fmla="*/ 1345 h 1422"/>
              <a:gd name="T56" fmla="*/ 1635 w 1670"/>
              <a:gd name="T57" fmla="*/ 299 h 1422"/>
              <a:gd name="T58" fmla="*/ 1654 w 1670"/>
              <a:gd name="T59" fmla="*/ 264 h 1422"/>
              <a:gd name="T60" fmla="*/ 1667 w 1670"/>
              <a:gd name="T61" fmla="*/ 230 h 1422"/>
              <a:gd name="T62" fmla="*/ 1670 w 1670"/>
              <a:gd name="T63" fmla="*/ 192 h 1422"/>
              <a:gd name="T64" fmla="*/ 1667 w 1670"/>
              <a:gd name="T65" fmla="*/ 155 h 1422"/>
              <a:gd name="T66" fmla="*/ 1657 w 1670"/>
              <a:gd name="T67" fmla="*/ 121 h 1422"/>
              <a:gd name="T68" fmla="*/ 1641 w 1670"/>
              <a:gd name="T69" fmla="*/ 88 h 1422"/>
              <a:gd name="T70" fmla="*/ 1618 w 1670"/>
              <a:gd name="T71" fmla="*/ 58 h 1422"/>
              <a:gd name="T72" fmla="*/ 1588 w 1670"/>
              <a:gd name="T73" fmla="*/ 33 h 1422"/>
              <a:gd name="T74" fmla="*/ 1572 w 1670"/>
              <a:gd name="T75" fmla="*/ 23 h 1422"/>
              <a:gd name="T76" fmla="*/ 1537 w 1670"/>
              <a:gd name="T77" fmla="*/ 7 h 1422"/>
              <a:gd name="T78" fmla="*/ 1501 w 1670"/>
              <a:gd name="T79" fmla="*/ 0 h 1422"/>
              <a:gd name="T80" fmla="*/ 1465 w 1670"/>
              <a:gd name="T81" fmla="*/ 0 h 1422"/>
              <a:gd name="T82" fmla="*/ 1429 w 1670"/>
              <a:gd name="T83" fmla="*/ 6 h 1422"/>
              <a:gd name="T84" fmla="*/ 1396 w 1670"/>
              <a:gd name="T85" fmla="*/ 18 h 1422"/>
              <a:gd name="T86" fmla="*/ 1364 w 1670"/>
              <a:gd name="T87" fmla="*/ 39 h 1422"/>
              <a:gd name="T88" fmla="*/ 1336 w 1670"/>
              <a:gd name="T89" fmla="*/ 64 h 1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70" h="1422">
                <a:moveTo>
                  <a:pt x="1325" y="80"/>
                </a:moveTo>
                <a:lnTo>
                  <a:pt x="721" y="942"/>
                </a:lnTo>
                <a:lnTo>
                  <a:pt x="324" y="545"/>
                </a:lnTo>
                <a:lnTo>
                  <a:pt x="324" y="545"/>
                </a:lnTo>
                <a:lnTo>
                  <a:pt x="310" y="532"/>
                </a:lnTo>
                <a:lnTo>
                  <a:pt x="295" y="521"/>
                </a:lnTo>
                <a:lnTo>
                  <a:pt x="279" y="512"/>
                </a:lnTo>
                <a:lnTo>
                  <a:pt x="261" y="504"/>
                </a:lnTo>
                <a:lnTo>
                  <a:pt x="244" y="497"/>
                </a:lnTo>
                <a:lnTo>
                  <a:pt x="227" y="493"/>
                </a:lnTo>
                <a:lnTo>
                  <a:pt x="208" y="491"/>
                </a:lnTo>
                <a:lnTo>
                  <a:pt x="191" y="489"/>
                </a:lnTo>
                <a:lnTo>
                  <a:pt x="172" y="491"/>
                </a:lnTo>
                <a:lnTo>
                  <a:pt x="154" y="493"/>
                </a:lnTo>
                <a:lnTo>
                  <a:pt x="135" y="497"/>
                </a:lnTo>
                <a:lnTo>
                  <a:pt x="118" y="504"/>
                </a:lnTo>
                <a:lnTo>
                  <a:pt x="102" y="512"/>
                </a:lnTo>
                <a:lnTo>
                  <a:pt x="85" y="521"/>
                </a:lnTo>
                <a:lnTo>
                  <a:pt x="71" y="532"/>
                </a:lnTo>
                <a:lnTo>
                  <a:pt x="55" y="545"/>
                </a:lnTo>
                <a:lnTo>
                  <a:pt x="55" y="545"/>
                </a:lnTo>
                <a:lnTo>
                  <a:pt x="43" y="559"/>
                </a:lnTo>
                <a:lnTo>
                  <a:pt x="31" y="575"/>
                </a:lnTo>
                <a:lnTo>
                  <a:pt x="22" y="590"/>
                </a:lnTo>
                <a:lnTo>
                  <a:pt x="14" y="608"/>
                </a:lnTo>
                <a:lnTo>
                  <a:pt x="8" y="625"/>
                </a:lnTo>
                <a:lnTo>
                  <a:pt x="3" y="642"/>
                </a:lnTo>
                <a:lnTo>
                  <a:pt x="2" y="661"/>
                </a:lnTo>
                <a:lnTo>
                  <a:pt x="0" y="679"/>
                </a:lnTo>
                <a:lnTo>
                  <a:pt x="2" y="697"/>
                </a:lnTo>
                <a:lnTo>
                  <a:pt x="3" y="716"/>
                </a:lnTo>
                <a:lnTo>
                  <a:pt x="8" y="734"/>
                </a:lnTo>
                <a:lnTo>
                  <a:pt x="14" y="751"/>
                </a:lnTo>
                <a:lnTo>
                  <a:pt x="22" y="768"/>
                </a:lnTo>
                <a:lnTo>
                  <a:pt x="31" y="784"/>
                </a:lnTo>
                <a:lnTo>
                  <a:pt x="43" y="800"/>
                </a:lnTo>
                <a:lnTo>
                  <a:pt x="55" y="814"/>
                </a:lnTo>
                <a:lnTo>
                  <a:pt x="611" y="1370"/>
                </a:lnTo>
                <a:lnTo>
                  <a:pt x="630" y="1383"/>
                </a:lnTo>
                <a:lnTo>
                  <a:pt x="638" y="1391"/>
                </a:lnTo>
                <a:lnTo>
                  <a:pt x="652" y="1397"/>
                </a:lnTo>
                <a:lnTo>
                  <a:pt x="652" y="1397"/>
                </a:lnTo>
                <a:lnTo>
                  <a:pt x="674" y="1408"/>
                </a:lnTo>
                <a:lnTo>
                  <a:pt x="695" y="1416"/>
                </a:lnTo>
                <a:lnTo>
                  <a:pt x="725" y="1421"/>
                </a:lnTo>
                <a:lnTo>
                  <a:pt x="725" y="1421"/>
                </a:lnTo>
                <a:lnTo>
                  <a:pt x="745" y="1422"/>
                </a:lnTo>
                <a:lnTo>
                  <a:pt x="764" y="1422"/>
                </a:lnTo>
                <a:lnTo>
                  <a:pt x="800" y="1416"/>
                </a:lnTo>
                <a:lnTo>
                  <a:pt x="830" y="1403"/>
                </a:lnTo>
                <a:lnTo>
                  <a:pt x="830" y="1403"/>
                </a:lnTo>
                <a:lnTo>
                  <a:pt x="849" y="1392"/>
                </a:lnTo>
                <a:lnTo>
                  <a:pt x="866" y="1378"/>
                </a:lnTo>
                <a:lnTo>
                  <a:pt x="881" y="1370"/>
                </a:lnTo>
                <a:lnTo>
                  <a:pt x="887" y="1359"/>
                </a:lnTo>
                <a:lnTo>
                  <a:pt x="903" y="1345"/>
                </a:lnTo>
                <a:lnTo>
                  <a:pt x="1635" y="299"/>
                </a:lnTo>
                <a:lnTo>
                  <a:pt x="1635" y="299"/>
                </a:lnTo>
                <a:lnTo>
                  <a:pt x="1646" y="282"/>
                </a:lnTo>
                <a:lnTo>
                  <a:pt x="1654" y="264"/>
                </a:lnTo>
                <a:lnTo>
                  <a:pt x="1660" y="247"/>
                </a:lnTo>
                <a:lnTo>
                  <a:pt x="1667" y="230"/>
                </a:lnTo>
                <a:lnTo>
                  <a:pt x="1668" y="211"/>
                </a:lnTo>
                <a:lnTo>
                  <a:pt x="1670" y="192"/>
                </a:lnTo>
                <a:lnTo>
                  <a:pt x="1670" y="174"/>
                </a:lnTo>
                <a:lnTo>
                  <a:pt x="1667" y="155"/>
                </a:lnTo>
                <a:lnTo>
                  <a:pt x="1664" y="138"/>
                </a:lnTo>
                <a:lnTo>
                  <a:pt x="1657" y="121"/>
                </a:lnTo>
                <a:lnTo>
                  <a:pt x="1649" y="104"/>
                </a:lnTo>
                <a:lnTo>
                  <a:pt x="1641" y="88"/>
                </a:lnTo>
                <a:lnTo>
                  <a:pt x="1630" y="72"/>
                </a:lnTo>
                <a:lnTo>
                  <a:pt x="1618" y="58"/>
                </a:lnTo>
                <a:lnTo>
                  <a:pt x="1604" y="45"/>
                </a:lnTo>
                <a:lnTo>
                  <a:pt x="1588" y="33"/>
                </a:lnTo>
                <a:lnTo>
                  <a:pt x="1588" y="33"/>
                </a:lnTo>
                <a:lnTo>
                  <a:pt x="1572" y="23"/>
                </a:lnTo>
                <a:lnTo>
                  <a:pt x="1555" y="14"/>
                </a:lnTo>
                <a:lnTo>
                  <a:pt x="1537" y="7"/>
                </a:lnTo>
                <a:lnTo>
                  <a:pt x="1520" y="3"/>
                </a:lnTo>
                <a:lnTo>
                  <a:pt x="1501" y="0"/>
                </a:lnTo>
                <a:lnTo>
                  <a:pt x="1484" y="0"/>
                </a:lnTo>
                <a:lnTo>
                  <a:pt x="1465" y="0"/>
                </a:lnTo>
                <a:lnTo>
                  <a:pt x="1448" y="3"/>
                </a:lnTo>
                <a:lnTo>
                  <a:pt x="1429" y="6"/>
                </a:lnTo>
                <a:lnTo>
                  <a:pt x="1411" y="12"/>
                </a:lnTo>
                <a:lnTo>
                  <a:pt x="1396" y="18"/>
                </a:lnTo>
                <a:lnTo>
                  <a:pt x="1378" y="28"/>
                </a:lnTo>
                <a:lnTo>
                  <a:pt x="1364" y="39"/>
                </a:lnTo>
                <a:lnTo>
                  <a:pt x="1350" y="52"/>
                </a:lnTo>
                <a:lnTo>
                  <a:pt x="1336" y="64"/>
                </a:lnTo>
                <a:lnTo>
                  <a:pt x="1325" y="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6" rIns="91412" bIns="45706" numCol="1" anchor="t" anchorCtr="0" compatLnSpc="1">
            <a:prstTxWarp prst="textNoShape">
              <a:avLst/>
            </a:prstTxWarp>
          </a:bodyPr>
          <a:lstStyle/>
          <a:p>
            <a:pPr defTabSz="914103">
              <a:defRPr/>
            </a:pPr>
            <a:endParaRPr lang="en-US" kern="0">
              <a:solidFill>
                <a:srgbClr val="000000"/>
              </a:solidFill>
              <a:latin typeface="+mj-lt"/>
            </a:endParaRPr>
          </a:p>
        </p:txBody>
      </p:sp>
      <p:sp>
        <p:nvSpPr>
          <p:cNvPr id="535" name="Oval 534"/>
          <p:cNvSpPr/>
          <p:nvPr/>
        </p:nvSpPr>
        <p:spPr>
          <a:xfrm>
            <a:off x="1339893"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3" name="Oval 542"/>
          <p:cNvSpPr/>
          <p:nvPr/>
        </p:nvSpPr>
        <p:spPr>
          <a:xfrm>
            <a:off x="2338286"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5" name="Oval 544"/>
          <p:cNvSpPr/>
          <p:nvPr/>
        </p:nvSpPr>
        <p:spPr>
          <a:xfrm>
            <a:off x="3323221"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7" name="Oval 546"/>
          <p:cNvSpPr/>
          <p:nvPr/>
        </p:nvSpPr>
        <p:spPr>
          <a:xfrm>
            <a:off x="5124147"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49" name="Oval 548"/>
          <p:cNvSpPr/>
          <p:nvPr/>
        </p:nvSpPr>
        <p:spPr>
          <a:xfrm>
            <a:off x="5916689"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533" name="Oval 532"/>
          <p:cNvSpPr/>
          <p:nvPr/>
        </p:nvSpPr>
        <p:spPr>
          <a:xfrm>
            <a:off x="6644966" y="2707476"/>
            <a:ext cx="162735" cy="156275"/>
          </a:xfrm>
          <a:prstGeom prst="ellipse">
            <a:avLst/>
          </a:prstGeom>
          <a:solidFill>
            <a:srgbClr val="184BA2"/>
          </a:solidFill>
          <a:ln w="25400" cap="flat" cmpd="sng" algn="ctr">
            <a:noFill/>
            <a:prstDash val="solid"/>
          </a:ln>
          <a:effectLst/>
        </p:spPr>
        <p:txBody>
          <a:bodyPr lIns="91436" tIns="45718" rIns="91436" bIns="45718" rtlCol="0" anchor="ctr"/>
          <a:lstStyle/>
          <a:p>
            <a:pPr algn="ctr" defTabSz="1218539"/>
            <a:r>
              <a:rPr lang="en-US" sz="800" b="1" kern="0" dirty="0">
                <a:solidFill>
                  <a:prstClr val="white"/>
                </a:solidFill>
                <a:latin typeface="+mj-lt"/>
              </a:rPr>
              <a:t>X</a:t>
            </a:r>
          </a:p>
        </p:txBody>
      </p:sp>
      <p:sp>
        <p:nvSpPr>
          <p:cNvPr id="434" name="Right Arrow 433"/>
          <p:cNvSpPr/>
          <p:nvPr/>
        </p:nvSpPr>
        <p:spPr>
          <a:xfrm flipH="1">
            <a:off x="5294738" y="3429931"/>
            <a:ext cx="417838" cy="132390"/>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sp>
        <p:nvSpPr>
          <p:cNvPr id="435" name="Right Arrow 434"/>
          <p:cNvSpPr/>
          <p:nvPr/>
        </p:nvSpPr>
        <p:spPr>
          <a:xfrm flipH="1">
            <a:off x="5294738" y="3067366"/>
            <a:ext cx="417838" cy="132390"/>
          </a:xfrm>
          <a:prstGeom prst="rightArrow">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a:endParaRPr lang="en-US" dirty="0" smtClean="0">
              <a:latin typeface="+mj-lt"/>
            </a:endParaRPr>
          </a:p>
        </p:txBody>
      </p:sp>
      <p:grpSp>
        <p:nvGrpSpPr>
          <p:cNvPr id="805" name="Group 431"/>
          <p:cNvGrpSpPr/>
          <p:nvPr/>
        </p:nvGrpSpPr>
        <p:grpSpPr>
          <a:xfrm>
            <a:off x="7709858" y="1840828"/>
            <a:ext cx="288218" cy="151566"/>
            <a:chOff x="7234599" y="1342765"/>
            <a:chExt cx="307449" cy="161680"/>
          </a:xfrm>
        </p:grpSpPr>
        <p:sp>
          <p:nvSpPr>
            <p:cNvPr id="436" name="Rectangle 435"/>
            <p:cNvSpPr/>
            <p:nvPr/>
          </p:nvSpPr>
          <p:spPr>
            <a:xfrm>
              <a:off x="7234599" y="1342765"/>
              <a:ext cx="307449" cy="161680"/>
            </a:xfrm>
            <a:prstGeom prst="rect">
              <a:avLst/>
            </a:prstGeom>
            <a:solidFill>
              <a:schemeClr val="accent6"/>
            </a:solidFill>
            <a:ln w="6350" cap="flat" cmpd="sng" algn="ctr">
              <a:solidFill>
                <a:schemeClr val="bg1"/>
              </a:solidFill>
              <a:prstDash val="solid"/>
            </a:ln>
            <a:effectLst/>
          </p:spPr>
          <p:txBody>
            <a:bodyPr rtlCol="0" anchor="ctr"/>
            <a:lstStyle/>
            <a:p>
              <a:pPr algn="ctr" defTabSz="1218539">
                <a:defRPr/>
              </a:pPr>
              <a:endParaRPr lang="en-US" sz="2400" kern="0">
                <a:solidFill>
                  <a:prstClr val="white"/>
                </a:solidFill>
                <a:latin typeface="+mj-lt"/>
              </a:endParaRPr>
            </a:p>
          </p:txBody>
        </p:sp>
        <p:sp>
          <p:nvSpPr>
            <p:cNvPr id="438" name="Freeform 65"/>
            <p:cNvSpPr>
              <a:spLocks noEditPoints="1"/>
            </p:cNvSpPr>
            <p:nvPr/>
          </p:nvSpPr>
          <p:spPr bwMode="auto">
            <a:xfrm>
              <a:off x="7268757" y="1379552"/>
              <a:ext cx="82997" cy="85404"/>
            </a:xfrm>
            <a:custGeom>
              <a:avLst/>
              <a:gdLst>
                <a:gd name="T0" fmla="*/ 2436 w 2436"/>
                <a:gd name="T1" fmla="*/ 2427 h 2427"/>
                <a:gd name="T2" fmla="*/ 1902 w 2436"/>
                <a:gd name="T3" fmla="*/ 2427 h 2427"/>
                <a:gd name="T4" fmla="*/ 1691 w 2436"/>
                <a:gd name="T5" fmla="*/ 1876 h 2427"/>
                <a:gd name="T6" fmla="*/ 719 w 2436"/>
                <a:gd name="T7" fmla="*/ 1876 h 2427"/>
                <a:gd name="T8" fmla="*/ 520 w 2436"/>
                <a:gd name="T9" fmla="*/ 2427 h 2427"/>
                <a:gd name="T10" fmla="*/ 0 w 2436"/>
                <a:gd name="T11" fmla="*/ 2427 h 2427"/>
                <a:gd name="T12" fmla="*/ 946 w 2436"/>
                <a:gd name="T13" fmla="*/ 0 h 2427"/>
                <a:gd name="T14" fmla="*/ 1464 w 2436"/>
                <a:gd name="T15" fmla="*/ 0 h 2427"/>
                <a:gd name="T16" fmla="*/ 2436 w 2436"/>
                <a:gd name="T17" fmla="*/ 2427 h 2427"/>
                <a:gd name="T18" fmla="*/ 1532 w 2436"/>
                <a:gd name="T19" fmla="*/ 1466 h 2427"/>
                <a:gd name="T20" fmla="*/ 1199 w 2436"/>
                <a:gd name="T21" fmla="*/ 565 h 2427"/>
                <a:gd name="T22" fmla="*/ 870 w 2436"/>
                <a:gd name="T23" fmla="*/ 1466 h 2427"/>
                <a:gd name="T24" fmla="*/ 1532 w 2436"/>
                <a:gd name="T25" fmla="*/ 1466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6" h="2427">
                  <a:moveTo>
                    <a:pt x="2436" y="2427"/>
                  </a:moveTo>
                  <a:lnTo>
                    <a:pt x="1902" y="2427"/>
                  </a:lnTo>
                  <a:lnTo>
                    <a:pt x="1691" y="1876"/>
                  </a:lnTo>
                  <a:lnTo>
                    <a:pt x="719" y="1876"/>
                  </a:lnTo>
                  <a:lnTo>
                    <a:pt x="520" y="2427"/>
                  </a:lnTo>
                  <a:lnTo>
                    <a:pt x="0" y="2427"/>
                  </a:lnTo>
                  <a:lnTo>
                    <a:pt x="946" y="0"/>
                  </a:lnTo>
                  <a:lnTo>
                    <a:pt x="1464" y="0"/>
                  </a:lnTo>
                  <a:lnTo>
                    <a:pt x="2436" y="2427"/>
                  </a:lnTo>
                  <a:close/>
                  <a:moveTo>
                    <a:pt x="1532" y="1466"/>
                  </a:moveTo>
                  <a:lnTo>
                    <a:pt x="1199" y="565"/>
                  </a:lnTo>
                  <a:lnTo>
                    <a:pt x="870" y="1466"/>
                  </a:lnTo>
                  <a:lnTo>
                    <a:pt x="1532" y="1466"/>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439" name="Freeform 66"/>
            <p:cNvSpPr>
              <a:spLocks/>
            </p:cNvSpPr>
            <p:nvPr/>
          </p:nvSpPr>
          <p:spPr bwMode="auto">
            <a:xfrm>
              <a:off x="7350188" y="1379552"/>
              <a:ext cx="79863" cy="85404"/>
            </a:xfrm>
            <a:custGeom>
              <a:avLst/>
              <a:gdLst>
                <a:gd name="T0" fmla="*/ 0 w 2344"/>
                <a:gd name="T1" fmla="*/ 2427 h 2427"/>
                <a:gd name="T2" fmla="*/ 0 w 2344"/>
                <a:gd name="T3" fmla="*/ 0 h 2427"/>
                <a:gd name="T4" fmla="*/ 733 w 2344"/>
                <a:gd name="T5" fmla="*/ 0 h 2427"/>
                <a:gd name="T6" fmla="*/ 1173 w 2344"/>
                <a:gd name="T7" fmla="*/ 1656 h 2427"/>
                <a:gd name="T8" fmla="*/ 1609 w 2344"/>
                <a:gd name="T9" fmla="*/ 0 h 2427"/>
                <a:gd name="T10" fmla="*/ 2344 w 2344"/>
                <a:gd name="T11" fmla="*/ 0 h 2427"/>
                <a:gd name="T12" fmla="*/ 2344 w 2344"/>
                <a:gd name="T13" fmla="*/ 2427 h 2427"/>
                <a:gd name="T14" fmla="*/ 1888 w 2344"/>
                <a:gd name="T15" fmla="*/ 2427 h 2427"/>
                <a:gd name="T16" fmla="*/ 1888 w 2344"/>
                <a:gd name="T17" fmla="*/ 516 h 2427"/>
                <a:gd name="T18" fmla="*/ 1407 w 2344"/>
                <a:gd name="T19" fmla="*/ 2427 h 2427"/>
                <a:gd name="T20" fmla="*/ 936 w 2344"/>
                <a:gd name="T21" fmla="*/ 2427 h 2427"/>
                <a:gd name="T22" fmla="*/ 454 w 2344"/>
                <a:gd name="T23" fmla="*/ 516 h 2427"/>
                <a:gd name="T24" fmla="*/ 454 w 2344"/>
                <a:gd name="T25" fmla="*/ 2427 h 2427"/>
                <a:gd name="T26" fmla="*/ 0 w 2344"/>
                <a:gd name="T27" fmla="*/ 2427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4" h="2427">
                  <a:moveTo>
                    <a:pt x="0" y="2427"/>
                  </a:moveTo>
                  <a:lnTo>
                    <a:pt x="0" y="0"/>
                  </a:lnTo>
                  <a:lnTo>
                    <a:pt x="733" y="0"/>
                  </a:lnTo>
                  <a:lnTo>
                    <a:pt x="1173" y="1656"/>
                  </a:lnTo>
                  <a:lnTo>
                    <a:pt x="1609" y="0"/>
                  </a:lnTo>
                  <a:lnTo>
                    <a:pt x="2344" y="0"/>
                  </a:lnTo>
                  <a:lnTo>
                    <a:pt x="2344" y="2427"/>
                  </a:lnTo>
                  <a:lnTo>
                    <a:pt x="1888" y="2427"/>
                  </a:lnTo>
                  <a:lnTo>
                    <a:pt x="1888" y="516"/>
                  </a:lnTo>
                  <a:lnTo>
                    <a:pt x="1407" y="2427"/>
                  </a:lnTo>
                  <a:lnTo>
                    <a:pt x="936" y="2427"/>
                  </a:lnTo>
                  <a:lnTo>
                    <a:pt x="454" y="516"/>
                  </a:lnTo>
                  <a:lnTo>
                    <a:pt x="454" y="2427"/>
                  </a:lnTo>
                  <a:lnTo>
                    <a:pt x="0" y="2427"/>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0" name="Freeform 67"/>
            <p:cNvSpPr>
              <a:spLocks noEditPoints="1"/>
            </p:cNvSpPr>
            <p:nvPr/>
          </p:nvSpPr>
          <p:spPr bwMode="auto">
            <a:xfrm>
              <a:off x="7436388" y="1379552"/>
              <a:ext cx="63304" cy="85404"/>
            </a:xfrm>
            <a:custGeom>
              <a:avLst/>
              <a:gdLst>
                <a:gd name="T0" fmla="*/ 787 w 1858"/>
                <a:gd name="T1" fmla="*/ 0 h 2427"/>
                <a:gd name="T2" fmla="*/ 991 w 1858"/>
                <a:gd name="T3" fmla="*/ 2 h 2427"/>
                <a:gd name="T4" fmla="*/ 1223 w 1858"/>
                <a:gd name="T5" fmla="*/ 14 h 2427"/>
                <a:gd name="T6" fmla="*/ 1369 w 1858"/>
                <a:gd name="T7" fmla="*/ 37 h 2427"/>
                <a:gd name="T8" fmla="*/ 1420 w 1858"/>
                <a:gd name="T9" fmla="*/ 52 h 2427"/>
                <a:gd name="T10" fmla="*/ 1493 w 1858"/>
                <a:gd name="T11" fmla="*/ 82 h 2427"/>
                <a:gd name="T12" fmla="*/ 1560 w 1858"/>
                <a:gd name="T13" fmla="*/ 122 h 2427"/>
                <a:gd name="T14" fmla="*/ 1624 w 1858"/>
                <a:gd name="T15" fmla="*/ 171 h 2427"/>
                <a:gd name="T16" fmla="*/ 1682 w 1858"/>
                <a:gd name="T17" fmla="*/ 230 h 2427"/>
                <a:gd name="T18" fmla="*/ 1718 w 1858"/>
                <a:gd name="T19" fmla="*/ 274 h 2427"/>
                <a:gd name="T20" fmla="*/ 1765 w 1858"/>
                <a:gd name="T21" fmla="*/ 345 h 2427"/>
                <a:gd name="T22" fmla="*/ 1804 w 1858"/>
                <a:gd name="T23" fmla="*/ 426 h 2427"/>
                <a:gd name="T24" fmla="*/ 1832 w 1858"/>
                <a:gd name="T25" fmla="*/ 513 h 2427"/>
                <a:gd name="T26" fmla="*/ 1849 w 1858"/>
                <a:gd name="T27" fmla="*/ 607 h 2427"/>
                <a:gd name="T28" fmla="*/ 1858 w 1858"/>
                <a:gd name="T29" fmla="*/ 710 h 2427"/>
                <a:gd name="T30" fmla="*/ 1858 w 1858"/>
                <a:gd name="T31" fmla="*/ 801 h 2427"/>
                <a:gd name="T32" fmla="*/ 1839 w 1858"/>
                <a:gd name="T33" fmla="*/ 953 h 2427"/>
                <a:gd name="T34" fmla="*/ 1797 w 1858"/>
                <a:gd name="T35" fmla="*/ 1084 h 2427"/>
                <a:gd name="T36" fmla="*/ 1757 w 1858"/>
                <a:gd name="T37" fmla="*/ 1159 h 2427"/>
                <a:gd name="T38" fmla="*/ 1685 w 1858"/>
                <a:gd name="T39" fmla="*/ 1258 h 2427"/>
                <a:gd name="T40" fmla="*/ 1601 w 1858"/>
                <a:gd name="T41" fmla="*/ 1338 h 2427"/>
                <a:gd name="T42" fmla="*/ 1540 w 1858"/>
                <a:gd name="T43" fmla="*/ 1382 h 2427"/>
                <a:gd name="T44" fmla="*/ 1446 w 1858"/>
                <a:gd name="T45" fmla="*/ 1434 h 2427"/>
                <a:gd name="T46" fmla="*/ 1350 w 1858"/>
                <a:gd name="T47" fmla="*/ 1469 h 2427"/>
                <a:gd name="T48" fmla="*/ 1272 w 1858"/>
                <a:gd name="T49" fmla="*/ 1485 h 2427"/>
                <a:gd name="T50" fmla="*/ 1102 w 1858"/>
                <a:gd name="T51" fmla="*/ 1502 h 2427"/>
                <a:gd name="T52" fmla="*/ 890 w 1858"/>
                <a:gd name="T53" fmla="*/ 1511 h 2427"/>
                <a:gd name="T54" fmla="*/ 490 w 1858"/>
                <a:gd name="T55" fmla="*/ 2427 h 2427"/>
                <a:gd name="T56" fmla="*/ 490 w 1858"/>
                <a:gd name="T57" fmla="*/ 1099 h 2427"/>
                <a:gd name="T58" fmla="*/ 827 w 1858"/>
                <a:gd name="T59" fmla="*/ 1098 h 2427"/>
                <a:gd name="T60" fmla="*/ 999 w 1858"/>
                <a:gd name="T61" fmla="*/ 1089 h 2427"/>
                <a:gd name="T62" fmla="*/ 1118 w 1858"/>
                <a:gd name="T63" fmla="*/ 1070 h 2427"/>
                <a:gd name="T64" fmla="*/ 1169 w 1858"/>
                <a:gd name="T65" fmla="*/ 1050 h 2427"/>
                <a:gd name="T66" fmla="*/ 1232 w 1858"/>
                <a:gd name="T67" fmla="*/ 1012 h 2427"/>
                <a:gd name="T68" fmla="*/ 1284 w 1858"/>
                <a:gd name="T69" fmla="*/ 961 h 2427"/>
                <a:gd name="T70" fmla="*/ 1312 w 1858"/>
                <a:gd name="T71" fmla="*/ 921 h 2427"/>
                <a:gd name="T72" fmla="*/ 1340 w 1858"/>
                <a:gd name="T73" fmla="*/ 853 h 2427"/>
                <a:gd name="T74" fmla="*/ 1354 w 1858"/>
                <a:gd name="T75" fmla="*/ 780 h 2427"/>
                <a:gd name="T76" fmla="*/ 1352 w 1858"/>
                <a:gd name="T77" fmla="*/ 721 h 2427"/>
                <a:gd name="T78" fmla="*/ 1334 w 1858"/>
                <a:gd name="T79" fmla="*/ 632 h 2427"/>
                <a:gd name="T80" fmla="*/ 1294 w 1858"/>
                <a:gd name="T81" fmla="*/ 557 h 2427"/>
                <a:gd name="T82" fmla="*/ 1256 w 1858"/>
                <a:gd name="T83" fmla="*/ 513 h 2427"/>
                <a:gd name="T84" fmla="*/ 1188 w 1858"/>
                <a:gd name="T85" fmla="*/ 464 h 2427"/>
                <a:gd name="T86" fmla="*/ 1108 w 1858"/>
                <a:gd name="T87" fmla="*/ 433 h 2427"/>
                <a:gd name="T88" fmla="*/ 1054 w 1858"/>
                <a:gd name="T89" fmla="*/ 422 h 2427"/>
                <a:gd name="T90" fmla="*/ 848 w 1858"/>
                <a:gd name="T91" fmla="*/ 412 h 2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2427">
                  <a:moveTo>
                    <a:pt x="0" y="2427"/>
                  </a:moveTo>
                  <a:lnTo>
                    <a:pt x="0" y="0"/>
                  </a:lnTo>
                  <a:lnTo>
                    <a:pt x="787" y="0"/>
                  </a:lnTo>
                  <a:lnTo>
                    <a:pt x="787" y="0"/>
                  </a:lnTo>
                  <a:lnTo>
                    <a:pt x="893" y="0"/>
                  </a:lnTo>
                  <a:lnTo>
                    <a:pt x="991" y="2"/>
                  </a:lnTo>
                  <a:lnTo>
                    <a:pt x="1078" y="5"/>
                  </a:lnTo>
                  <a:lnTo>
                    <a:pt x="1155" y="9"/>
                  </a:lnTo>
                  <a:lnTo>
                    <a:pt x="1223" y="14"/>
                  </a:lnTo>
                  <a:lnTo>
                    <a:pt x="1282" y="19"/>
                  </a:lnTo>
                  <a:lnTo>
                    <a:pt x="1329" y="28"/>
                  </a:lnTo>
                  <a:lnTo>
                    <a:pt x="1369" y="37"/>
                  </a:lnTo>
                  <a:lnTo>
                    <a:pt x="1369" y="37"/>
                  </a:lnTo>
                  <a:lnTo>
                    <a:pt x="1394" y="44"/>
                  </a:lnTo>
                  <a:lnTo>
                    <a:pt x="1420" y="52"/>
                  </a:lnTo>
                  <a:lnTo>
                    <a:pt x="1444" y="61"/>
                  </a:lnTo>
                  <a:lnTo>
                    <a:pt x="1469" y="72"/>
                  </a:lnTo>
                  <a:lnTo>
                    <a:pt x="1493" y="82"/>
                  </a:lnTo>
                  <a:lnTo>
                    <a:pt x="1516" y="94"/>
                  </a:lnTo>
                  <a:lnTo>
                    <a:pt x="1539" y="108"/>
                  </a:lnTo>
                  <a:lnTo>
                    <a:pt x="1560" y="122"/>
                  </a:lnTo>
                  <a:lnTo>
                    <a:pt x="1582" y="138"/>
                  </a:lnTo>
                  <a:lnTo>
                    <a:pt x="1603" y="154"/>
                  </a:lnTo>
                  <a:lnTo>
                    <a:pt x="1624" y="171"/>
                  </a:lnTo>
                  <a:lnTo>
                    <a:pt x="1643" y="190"/>
                  </a:lnTo>
                  <a:lnTo>
                    <a:pt x="1663" y="209"/>
                  </a:lnTo>
                  <a:lnTo>
                    <a:pt x="1682" y="230"/>
                  </a:lnTo>
                  <a:lnTo>
                    <a:pt x="1701" y="251"/>
                  </a:lnTo>
                  <a:lnTo>
                    <a:pt x="1718" y="274"/>
                  </a:lnTo>
                  <a:lnTo>
                    <a:pt x="1718" y="274"/>
                  </a:lnTo>
                  <a:lnTo>
                    <a:pt x="1736" y="297"/>
                  </a:lnTo>
                  <a:lnTo>
                    <a:pt x="1752" y="321"/>
                  </a:lnTo>
                  <a:lnTo>
                    <a:pt x="1765" y="345"/>
                  </a:lnTo>
                  <a:lnTo>
                    <a:pt x="1779" y="372"/>
                  </a:lnTo>
                  <a:lnTo>
                    <a:pt x="1792" y="398"/>
                  </a:lnTo>
                  <a:lnTo>
                    <a:pt x="1804" y="426"/>
                  </a:lnTo>
                  <a:lnTo>
                    <a:pt x="1814" y="454"/>
                  </a:lnTo>
                  <a:lnTo>
                    <a:pt x="1823" y="483"/>
                  </a:lnTo>
                  <a:lnTo>
                    <a:pt x="1832" y="513"/>
                  </a:lnTo>
                  <a:lnTo>
                    <a:pt x="1839" y="544"/>
                  </a:lnTo>
                  <a:lnTo>
                    <a:pt x="1846" y="576"/>
                  </a:lnTo>
                  <a:lnTo>
                    <a:pt x="1849" y="607"/>
                  </a:lnTo>
                  <a:lnTo>
                    <a:pt x="1854" y="642"/>
                  </a:lnTo>
                  <a:lnTo>
                    <a:pt x="1856" y="675"/>
                  </a:lnTo>
                  <a:lnTo>
                    <a:pt x="1858" y="710"/>
                  </a:lnTo>
                  <a:lnTo>
                    <a:pt x="1858" y="747"/>
                  </a:lnTo>
                  <a:lnTo>
                    <a:pt x="1858" y="747"/>
                  </a:lnTo>
                  <a:lnTo>
                    <a:pt x="1858" y="801"/>
                  </a:lnTo>
                  <a:lnTo>
                    <a:pt x="1854" y="853"/>
                  </a:lnTo>
                  <a:lnTo>
                    <a:pt x="1847" y="904"/>
                  </a:lnTo>
                  <a:lnTo>
                    <a:pt x="1839" y="953"/>
                  </a:lnTo>
                  <a:lnTo>
                    <a:pt x="1827" y="998"/>
                  </a:lnTo>
                  <a:lnTo>
                    <a:pt x="1813" y="1042"/>
                  </a:lnTo>
                  <a:lnTo>
                    <a:pt x="1797" y="1084"/>
                  </a:lnTo>
                  <a:lnTo>
                    <a:pt x="1778" y="1122"/>
                  </a:lnTo>
                  <a:lnTo>
                    <a:pt x="1778" y="1122"/>
                  </a:lnTo>
                  <a:lnTo>
                    <a:pt x="1757" y="1159"/>
                  </a:lnTo>
                  <a:lnTo>
                    <a:pt x="1734" y="1194"/>
                  </a:lnTo>
                  <a:lnTo>
                    <a:pt x="1711" y="1227"/>
                  </a:lnTo>
                  <a:lnTo>
                    <a:pt x="1685" y="1258"/>
                  </a:lnTo>
                  <a:lnTo>
                    <a:pt x="1659" y="1288"/>
                  </a:lnTo>
                  <a:lnTo>
                    <a:pt x="1631" y="1314"/>
                  </a:lnTo>
                  <a:lnTo>
                    <a:pt x="1601" y="1338"/>
                  </a:lnTo>
                  <a:lnTo>
                    <a:pt x="1572" y="1361"/>
                  </a:lnTo>
                  <a:lnTo>
                    <a:pt x="1572" y="1361"/>
                  </a:lnTo>
                  <a:lnTo>
                    <a:pt x="1540" y="1382"/>
                  </a:lnTo>
                  <a:lnTo>
                    <a:pt x="1509" y="1401"/>
                  </a:lnTo>
                  <a:lnTo>
                    <a:pt x="1478" y="1419"/>
                  </a:lnTo>
                  <a:lnTo>
                    <a:pt x="1446" y="1434"/>
                  </a:lnTo>
                  <a:lnTo>
                    <a:pt x="1413" y="1447"/>
                  </a:lnTo>
                  <a:lnTo>
                    <a:pt x="1382" y="1459"/>
                  </a:lnTo>
                  <a:lnTo>
                    <a:pt x="1350" y="1469"/>
                  </a:lnTo>
                  <a:lnTo>
                    <a:pt x="1317" y="1476"/>
                  </a:lnTo>
                  <a:lnTo>
                    <a:pt x="1317" y="1476"/>
                  </a:lnTo>
                  <a:lnTo>
                    <a:pt x="1272" y="1485"/>
                  </a:lnTo>
                  <a:lnTo>
                    <a:pt x="1219" y="1492"/>
                  </a:lnTo>
                  <a:lnTo>
                    <a:pt x="1163" y="1497"/>
                  </a:lnTo>
                  <a:lnTo>
                    <a:pt x="1102" y="1502"/>
                  </a:lnTo>
                  <a:lnTo>
                    <a:pt x="1036" y="1506"/>
                  </a:lnTo>
                  <a:lnTo>
                    <a:pt x="966" y="1509"/>
                  </a:lnTo>
                  <a:lnTo>
                    <a:pt x="890" y="1511"/>
                  </a:lnTo>
                  <a:lnTo>
                    <a:pt x="809" y="1511"/>
                  </a:lnTo>
                  <a:lnTo>
                    <a:pt x="490" y="1511"/>
                  </a:lnTo>
                  <a:lnTo>
                    <a:pt x="490" y="2427"/>
                  </a:lnTo>
                  <a:lnTo>
                    <a:pt x="0" y="2427"/>
                  </a:lnTo>
                  <a:close/>
                  <a:moveTo>
                    <a:pt x="490" y="410"/>
                  </a:moveTo>
                  <a:lnTo>
                    <a:pt x="490" y="1099"/>
                  </a:lnTo>
                  <a:lnTo>
                    <a:pt x="757" y="1099"/>
                  </a:lnTo>
                  <a:lnTo>
                    <a:pt x="757" y="1099"/>
                  </a:lnTo>
                  <a:lnTo>
                    <a:pt x="827" y="1098"/>
                  </a:lnTo>
                  <a:lnTo>
                    <a:pt x="891" y="1096"/>
                  </a:lnTo>
                  <a:lnTo>
                    <a:pt x="947" y="1094"/>
                  </a:lnTo>
                  <a:lnTo>
                    <a:pt x="999" y="1089"/>
                  </a:lnTo>
                  <a:lnTo>
                    <a:pt x="1045" y="1084"/>
                  </a:lnTo>
                  <a:lnTo>
                    <a:pt x="1085" y="1078"/>
                  </a:lnTo>
                  <a:lnTo>
                    <a:pt x="1118" y="1070"/>
                  </a:lnTo>
                  <a:lnTo>
                    <a:pt x="1144" y="1061"/>
                  </a:lnTo>
                  <a:lnTo>
                    <a:pt x="1144" y="1061"/>
                  </a:lnTo>
                  <a:lnTo>
                    <a:pt x="1169" y="1050"/>
                  </a:lnTo>
                  <a:lnTo>
                    <a:pt x="1191" y="1040"/>
                  </a:lnTo>
                  <a:lnTo>
                    <a:pt x="1212" y="1026"/>
                  </a:lnTo>
                  <a:lnTo>
                    <a:pt x="1232" y="1012"/>
                  </a:lnTo>
                  <a:lnTo>
                    <a:pt x="1251" y="996"/>
                  </a:lnTo>
                  <a:lnTo>
                    <a:pt x="1268" y="979"/>
                  </a:lnTo>
                  <a:lnTo>
                    <a:pt x="1284" y="961"/>
                  </a:lnTo>
                  <a:lnTo>
                    <a:pt x="1298" y="942"/>
                  </a:lnTo>
                  <a:lnTo>
                    <a:pt x="1298" y="942"/>
                  </a:lnTo>
                  <a:lnTo>
                    <a:pt x="1312" y="921"/>
                  </a:lnTo>
                  <a:lnTo>
                    <a:pt x="1322" y="899"/>
                  </a:lnTo>
                  <a:lnTo>
                    <a:pt x="1333" y="878"/>
                  </a:lnTo>
                  <a:lnTo>
                    <a:pt x="1340" y="853"/>
                  </a:lnTo>
                  <a:lnTo>
                    <a:pt x="1347" y="831"/>
                  </a:lnTo>
                  <a:lnTo>
                    <a:pt x="1350" y="804"/>
                  </a:lnTo>
                  <a:lnTo>
                    <a:pt x="1354" y="780"/>
                  </a:lnTo>
                  <a:lnTo>
                    <a:pt x="1354" y="752"/>
                  </a:lnTo>
                  <a:lnTo>
                    <a:pt x="1354" y="752"/>
                  </a:lnTo>
                  <a:lnTo>
                    <a:pt x="1352" y="721"/>
                  </a:lnTo>
                  <a:lnTo>
                    <a:pt x="1348" y="689"/>
                  </a:lnTo>
                  <a:lnTo>
                    <a:pt x="1343" y="660"/>
                  </a:lnTo>
                  <a:lnTo>
                    <a:pt x="1334" y="632"/>
                  </a:lnTo>
                  <a:lnTo>
                    <a:pt x="1324" y="605"/>
                  </a:lnTo>
                  <a:lnTo>
                    <a:pt x="1310" y="581"/>
                  </a:lnTo>
                  <a:lnTo>
                    <a:pt x="1294" y="557"/>
                  </a:lnTo>
                  <a:lnTo>
                    <a:pt x="1275" y="534"/>
                  </a:lnTo>
                  <a:lnTo>
                    <a:pt x="1275" y="534"/>
                  </a:lnTo>
                  <a:lnTo>
                    <a:pt x="1256" y="513"/>
                  </a:lnTo>
                  <a:lnTo>
                    <a:pt x="1235" y="496"/>
                  </a:lnTo>
                  <a:lnTo>
                    <a:pt x="1212" y="478"/>
                  </a:lnTo>
                  <a:lnTo>
                    <a:pt x="1188" y="464"/>
                  </a:lnTo>
                  <a:lnTo>
                    <a:pt x="1162" y="452"/>
                  </a:lnTo>
                  <a:lnTo>
                    <a:pt x="1136" y="441"/>
                  </a:lnTo>
                  <a:lnTo>
                    <a:pt x="1108" y="433"/>
                  </a:lnTo>
                  <a:lnTo>
                    <a:pt x="1080" y="428"/>
                  </a:lnTo>
                  <a:lnTo>
                    <a:pt x="1080" y="428"/>
                  </a:lnTo>
                  <a:lnTo>
                    <a:pt x="1054" y="422"/>
                  </a:lnTo>
                  <a:lnTo>
                    <a:pt x="1024" y="419"/>
                  </a:lnTo>
                  <a:lnTo>
                    <a:pt x="947" y="414"/>
                  </a:lnTo>
                  <a:lnTo>
                    <a:pt x="848" y="412"/>
                  </a:lnTo>
                  <a:lnTo>
                    <a:pt x="725" y="410"/>
                  </a:lnTo>
                  <a:lnTo>
                    <a:pt x="490" y="410"/>
                  </a:lnTo>
                  <a:close/>
                </a:path>
              </a:pathLst>
            </a:custGeom>
            <a:solidFill>
              <a:srgbClr val="FFFFFF"/>
            </a:solidFill>
            <a:ln w="6350">
              <a:noFill/>
            </a:ln>
          </p:spPr>
          <p:txBody>
            <a:bodyPr vert="horz" wrap="square" lIns="91392" tIns="45696" rIns="91392" bIns="45696" numCol="1" anchor="t" anchorCtr="0" compatLnSpc="1">
              <a:prstTxWarp prst="textNoShape">
                <a:avLst/>
              </a:prstTxWarp>
            </a:bodyPr>
            <a:lstStyle/>
            <a:p>
              <a:pPr defTabSz="914103">
                <a:defRPr/>
              </a:pPr>
              <a:endParaRPr lang="en-US" kern="0">
                <a:solidFill>
                  <a:srgbClr val="FFFFFF"/>
                </a:solidFill>
                <a:latin typeface="+mj-lt"/>
              </a:endParaRPr>
            </a:p>
          </p:txBody>
        </p:sp>
      </p:grpSp>
      <p:grpSp>
        <p:nvGrpSpPr>
          <p:cNvPr id="806" name="Group 10"/>
          <p:cNvGrpSpPr/>
          <p:nvPr/>
        </p:nvGrpSpPr>
        <p:grpSpPr>
          <a:xfrm>
            <a:off x="7012664" y="2113459"/>
            <a:ext cx="199447" cy="191528"/>
            <a:chOff x="7106606" y="2272255"/>
            <a:chExt cx="208563" cy="200282"/>
          </a:xfrm>
        </p:grpSpPr>
        <p:sp>
          <p:nvSpPr>
            <p:cNvPr id="441" name="Oval 440"/>
            <p:cNvSpPr/>
            <p:nvPr/>
          </p:nvSpPr>
          <p:spPr>
            <a:xfrm>
              <a:off x="7106606" y="2272255"/>
              <a:ext cx="208563" cy="200282"/>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rtlCol="0" anchor="ctr"/>
            <a:lstStyle/>
            <a:p>
              <a:pPr algn="ctr" defTabSz="1218539">
                <a:defRPr/>
              </a:pPr>
              <a:endParaRPr lang="en-US" sz="2400" kern="0">
                <a:solidFill>
                  <a:prstClr val="white"/>
                </a:solidFill>
                <a:latin typeface="+mj-lt"/>
              </a:endParaRPr>
            </a:p>
          </p:txBody>
        </p:sp>
        <p:grpSp>
          <p:nvGrpSpPr>
            <p:cNvPr id="807" name="Group 441"/>
            <p:cNvGrpSpPr/>
            <p:nvPr/>
          </p:nvGrpSpPr>
          <p:grpSpPr>
            <a:xfrm>
              <a:off x="7144603" y="2327545"/>
              <a:ext cx="130936" cy="95002"/>
              <a:chOff x="11664752" y="2672824"/>
              <a:chExt cx="166844" cy="126062"/>
            </a:xfrm>
          </p:grpSpPr>
          <p:sp>
            <p:nvSpPr>
              <p:cNvPr id="443"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4"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5"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6"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7"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48"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grpSp>
        <p:nvGrpSpPr>
          <p:cNvPr id="808" name="Group 448"/>
          <p:cNvGrpSpPr/>
          <p:nvPr/>
        </p:nvGrpSpPr>
        <p:grpSpPr>
          <a:xfrm>
            <a:off x="3777373" y="1973641"/>
            <a:ext cx="199447" cy="191528"/>
            <a:chOff x="7106606" y="2272255"/>
            <a:chExt cx="208563" cy="200282"/>
          </a:xfrm>
        </p:grpSpPr>
        <p:sp>
          <p:nvSpPr>
            <p:cNvPr id="450" name="Oval 449"/>
            <p:cNvSpPr/>
            <p:nvPr/>
          </p:nvSpPr>
          <p:spPr>
            <a:xfrm>
              <a:off x="7106606" y="2272255"/>
              <a:ext cx="208563" cy="200282"/>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rtlCol="0" anchor="ctr"/>
            <a:lstStyle/>
            <a:p>
              <a:pPr algn="ctr" defTabSz="1218539">
                <a:defRPr/>
              </a:pPr>
              <a:endParaRPr lang="en-US" sz="2400" kern="0">
                <a:solidFill>
                  <a:prstClr val="white"/>
                </a:solidFill>
                <a:latin typeface="+mj-lt"/>
              </a:endParaRPr>
            </a:p>
          </p:txBody>
        </p:sp>
        <p:grpSp>
          <p:nvGrpSpPr>
            <p:cNvPr id="809" name="Group 450"/>
            <p:cNvGrpSpPr/>
            <p:nvPr/>
          </p:nvGrpSpPr>
          <p:grpSpPr>
            <a:xfrm>
              <a:off x="7144603" y="2327545"/>
              <a:ext cx="130936" cy="95002"/>
              <a:chOff x="11664752" y="2672824"/>
              <a:chExt cx="166844" cy="126062"/>
            </a:xfrm>
          </p:grpSpPr>
          <p:sp>
            <p:nvSpPr>
              <p:cNvPr id="452"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7"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8"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59"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60"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461"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grpSp>
      <p:sp>
        <p:nvSpPr>
          <p:cNvPr id="462" name="Rectangle 846"/>
          <p:cNvSpPr/>
          <p:nvPr/>
        </p:nvSpPr>
        <p:spPr>
          <a:xfrm>
            <a:off x="8065748" y="1228147"/>
            <a:ext cx="67338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sp>
        <p:nvSpPr>
          <p:cNvPr id="159" name="Oval 158"/>
          <p:cNvSpPr/>
          <p:nvPr/>
        </p:nvSpPr>
        <p:spPr>
          <a:xfrm>
            <a:off x="8650373" y="1853244"/>
            <a:ext cx="199447" cy="191528"/>
          </a:xfrm>
          <a:prstGeom prst="ellipse">
            <a:avLst/>
          </a:prstGeom>
          <a:gradFill>
            <a:gsLst>
              <a:gs pos="0">
                <a:srgbClr val="D81F28">
                  <a:lumMod val="75000"/>
                </a:srgbClr>
              </a:gs>
              <a:gs pos="100000">
                <a:srgbClr val="D81F28"/>
              </a:gs>
            </a:gsLst>
            <a:lin ang="13500000" scaled="1"/>
          </a:gra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grpSp>
        <p:nvGrpSpPr>
          <p:cNvPr id="810" name="Group 159"/>
          <p:cNvGrpSpPr/>
          <p:nvPr/>
        </p:nvGrpSpPr>
        <p:grpSpPr>
          <a:xfrm>
            <a:off x="8686709" y="1906116"/>
            <a:ext cx="125213" cy="90850"/>
            <a:chOff x="11664752" y="2672824"/>
            <a:chExt cx="166844" cy="126062"/>
          </a:xfrm>
        </p:grpSpPr>
        <p:sp>
          <p:nvSpPr>
            <p:cNvPr id="161" name="Rectangle 49"/>
            <p:cNvSpPr>
              <a:spLocks noChangeArrowheads="1"/>
            </p:cNvSpPr>
            <p:nvPr/>
          </p:nvSpPr>
          <p:spPr bwMode="auto">
            <a:xfrm>
              <a:off x="11664752" y="2760902"/>
              <a:ext cx="109610"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2" name="Rectangle 50"/>
            <p:cNvSpPr>
              <a:spLocks noChangeArrowheads="1"/>
            </p:cNvSpPr>
            <p:nvPr/>
          </p:nvSpPr>
          <p:spPr bwMode="auto">
            <a:xfrm>
              <a:off x="11721985" y="2716590"/>
              <a:ext cx="10961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3" name="Rectangle 51"/>
            <p:cNvSpPr>
              <a:spLocks noChangeArrowheads="1"/>
            </p:cNvSpPr>
            <p:nvPr/>
          </p:nvSpPr>
          <p:spPr bwMode="auto">
            <a:xfrm>
              <a:off x="11781674" y="2760902"/>
              <a:ext cx="49921"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4" name="Rectangle 52"/>
            <p:cNvSpPr>
              <a:spLocks noChangeArrowheads="1"/>
            </p:cNvSpPr>
            <p:nvPr/>
          </p:nvSpPr>
          <p:spPr bwMode="auto">
            <a:xfrm>
              <a:off x="11781673" y="2672824"/>
              <a:ext cx="49921"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5" name="Rectangle 53"/>
            <p:cNvSpPr>
              <a:spLocks noChangeArrowheads="1"/>
            </p:cNvSpPr>
            <p:nvPr/>
          </p:nvSpPr>
          <p:spPr bwMode="auto">
            <a:xfrm>
              <a:off x="11664752" y="2716591"/>
              <a:ext cx="49379" cy="37984"/>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sp>
          <p:nvSpPr>
            <p:cNvPr id="166" name="Rectangle 54"/>
            <p:cNvSpPr>
              <a:spLocks noChangeArrowheads="1"/>
            </p:cNvSpPr>
            <p:nvPr/>
          </p:nvSpPr>
          <p:spPr bwMode="auto">
            <a:xfrm>
              <a:off x="11664752" y="2672824"/>
              <a:ext cx="109610" cy="37441"/>
            </a:xfrm>
            <a:prstGeom prst="rect">
              <a:avLst/>
            </a:prstGeom>
            <a:solidFill>
              <a:srgbClr val="FFFFFF"/>
            </a:solidFill>
            <a:ln>
              <a:noFill/>
            </a:ln>
            <a:extLst/>
          </p:spPr>
          <p:txBody>
            <a:bodyPr vert="horz" wrap="square" lIns="91416" tIns="45708" rIns="91416" bIns="45708" numCol="1" anchor="t" anchorCtr="0" compatLnSpc="1">
              <a:prstTxWarp prst="textNoShape">
                <a:avLst/>
              </a:prstTxWarp>
            </a:bodyPr>
            <a:lstStyle/>
            <a:p>
              <a:pPr defTabSz="914103">
                <a:defRPr/>
              </a:pPr>
              <a:endParaRPr lang="en-US" kern="0">
                <a:solidFill>
                  <a:srgbClr val="FFFFFF"/>
                </a:solidFill>
                <a:latin typeface="+mj-lt"/>
              </a:endParaRPr>
            </a:p>
          </p:txBody>
        </p:sp>
      </p:grpSp>
      <p:sp>
        <p:nvSpPr>
          <p:cNvPr id="169" name="Oval 168"/>
          <p:cNvSpPr/>
          <p:nvPr/>
        </p:nvSpPr>
        <p:spPr>
          <a:xfrm>
            <a:off x="8650373" y="1591034"/>
            <a:ext cx="199447" cy="191528"/>
          </a:xfrm>
          <a:prstGeom prst="ellipse">
            <a:avLst/>
          </a:prstGeom>
          <a:solidFill>
            <a:schemeClr val="accent5"/>
          </a:solidFill>
          <a:ln w="19050" cap="flat" cmpd="sng" algn="ctr">
            <a:solidFill>
              <a:schemeClr val="bg1">
                <a:lumMod val="95000"/>
              </a:schemeClr>
            </a:solidFill>
            <a:prstDash val="solid"/>
          </a:ln>
          <a:effectLst/>
        </p:spPr>
        <p:txBody>
          <a:bodyPr lIns="91436" tIns="45718" rIns="91436" bIns="45718" rtlCol="0" anchor="ctr"/>
          <a:lstStyle/>
          <a:p>
            <a:pPr algn="ctr" defTabSz="1218539">
              <a:defRPr/>
            </a:pPr>
            <a:endParaRPr lang="en-US" sz="2400" kern="0">
              <a:solidFill>
                <a:prstClr val="white"/>
              </a:solidFill>
              <a:latin typeface="+mj-lt"/>
            </a:endParaRPr>
          </a:p>
        </p:txBody>
      </p:sp>
      <p:sp>
        <p:nvSpPr>
          <p:cNvPr id="170" name="Freeform 169"/>
          <p:cNvSpPr>
            <a:spLocks noEditPoints="1"/>
          </p:cNvSpPr>
          <p:nvPr/>
        </p:nvSpPr>
        <p:spPr bwMode="auto">
          <a:xfrm>
            <a:off x="8686469" y="1633560"/>
            <a:ext cx="127255" cy="106478"/>
          </a:xfrm>
          <a:custGeom>
            <a:avLst/>
            <a:gdLst>
              <a:gd name="T0" fmla="*/ 2707 w 4958"/>
              <a:gd name="T1" fmla="*/ 2593 h 4320"/>
              <a:gd name="T2" fmla="*/ 2672 w 4958"/>
              <a:gd name="T3" fmla="*/ 2675 h 4320"/>
              <a:gd name="T4" fmla="*/ 2609 w 4958"/>
              <a:gd name="T5" fmla="*/ 2738 h 4320"/>
              <a:gd name="T6" fmla="*/ 2526 w 4958"/>
              <a:gd name="T7" fmla="*/ 2773 h 4320"/>
              <a:gd name="T8" fmla="*/ 2455 w 4958"/>
              <a:gd name="T9" fmla="*/ 2776 h 4320"/>
              <a:gd name="T10" fmla="*/ 2368 w 4958"/>
              <a:gd name="T11" fmla="*/ 2749 h 4320"/>
              <a:gd name="T12" fmla="*/ 2299 w 4958"/>
              <a:gd name="T13" fmla="*/ 2692 h 4320"/>
              <a:gd name="T14" fmla="*/ 2256 w 4958"/>
              <a:gd name="T15" fmla="*/ 2615 h 4320"/>
              <a:gd name="T16" fmla="*/ 2247 w 4958"/>
              <a:gd name="T17" fmla="*/ 1620 h 4320"/>
              <a:gd name="T18" fmla="*/ 2256 w 4958"/>
              <a:gd name="T19" fmla="*/ 1552 h 4320"/>
              <a:gd name="T20" fmla="*/ 2299 w 4958"/>
              <a:gd name="T21" fmla="*/ 1473 h 4320"/>
              <a:gd name="T22" fmla="*/ 2368 w 4958"/>
              <a:gd name="T23" fmla="*/ 1417 h 4320"/>
              <a:gd name="T24" fmla="*/ 2455 w 4958"/>
              <a:gd name="T25" fmla="*/ 1390 h 4320"/>
              <a:gd name="T26" fmla="*/ 2526 w 4958"/>
              <a:gd name="T27" fmla="*/ 1394 h 4320"/>
              <a:gd name="T28" fmla="*/ 2609 w 4958"/>
              <a:gd name="T29" fmla="*/ 1428 h 4320"/>
              <a:gd name="T30" fmla="*/ 2672 w 4958"/>
              <a:gd name="T31" fmla="*/ 1492 h 4320"/>
              <a:gd name="T32" fmla="*/ 2707 w 4958"/>
              <a:gd name="T33" fmla="*/ 1574 h 4320"/>
              <a:gd name="T34" fmla="*/ 2479 w 4958"/>
              <a:gd name="T35" fmla="*/ 3780 h 4320"/>
              <a:gd name="T36" fmla="*/ 2387 w 4958"/>
              <a:gd name="T37" fmla="*/ 3767 h 4320"/>
              <a:gd name="T38" fmla="*/ 2282 w 4958"/>
              <a:gd name="T39" fmla="*/ 3710 h 4320"/>
              <a:gd name="T40" fmla="*/ 2206 w 4958"/>
              <a:gd name="T41" fmla="*/ 3618 h 4320"/>
              <a:gd name="T42" fmla="*/ 2171 w 4958"/>
              <a:gd name="T43" fmla="*/ 3503 h 4320"/>
              <a:gd name="T44" fmla="*/ 2176 w 4958"/>
              <a:gd name="T45" fmla="*/ 3410 h 4320"/>
              <a:gd name="T46" fmla="*/ 2221 w 4958"/>
              <a:gd name="T47" fmla="*/ 3299 h 4320"/>
              <a:gd name="T48" fmla="*/ 2305 w 4958"/>
              <a:gd name="T49" fmla="*/ 3216 h 4320"/>
              <a:gd name="T50" fmla="*/ 2416 w 4958"/>
              <a:gd name="T51" fmla="*/ 3170 h 4320"/>
              <a:gd name="T52" fmla="*/ 2511 w 4958"/>
              <a:gd name="T53" fmla="*/ 3165 h 4320"/>
              <a:gd name="T54" fmla="*/ 2626 w 4958"/>
              <a:gd name="T55" fmla="*/ 3200 h 4320"/>
              <a:gd name="T56" fmla="*/ 2718 w 4958"/>
              <a:gd name="T57" fmla="*/ 3276 h 4320"/>
              <a:gd name="T58" fmla="*/ 2774 w 4958"/>
              <a:gd name="T59" fmla="*/ 3380 h 4320"/>
              <a:gd name="T60" fmla="*/ 2789 w 4958"/>
              <a:gd name="T61" fmla="*/ 3471 h 4320"/>
              <a:gd name="T62" fmla="*/ 2765 w 4958"/>
              <a:gd name="T63" fmla="*/ 3592 h 4320"/>
              <a:gd name="T64" fmla="*/ 2699 w 4958"/>
              <a:gd name="T65" fmla="*/ 3690 h 4320"/>
              <a:gd name="T66" fmla="*/ 2599 w 4958"/>
              <a:gd name="T67" fmla="*/ 3756 h 4320"/>
              <a:gd name="T68" fmla="*/ 2479 w 4958"/>
              <a:gd name="T69" fmla="*/ 3780 h 4320"/>
              <a:gd name="T70" fmla="*/ 4901 w 4958"/>
              <a:gd name="T71" fmla="*/ 3776 h 4320"/>
              <a:gd name="T72" fmla="*/ 2786 w 4958"/>
              <a:gd name="T73" fmla="*/ 180 h 4320"/>
              <a:gd name="T74" fmla="*/ 2730 w 4958"/>
              <a:gd name="T75" fmla="*/ 106 h 4320"/>
              <a:gd name="T76" fmla="*/ 2659 w 4958"/>
              <a:gd name="T77" fmla="*/ 51 h 4320"/>
              <a:gd name="T78" fmla="*/ 2574 w 4958"/>
              <a:gd name="T79" fmla="*/ 13 h 4320"/>
              <a:gd name="T80" fmla="*/ 2479 w 4958"/>
              <a:gd name="T81" fmla="*/ 0 h 4320"/>
              <a:gd name="T82" fmla="*/ 2398 w 4958"/>
              <a:gd name="T83" fmla="*/ 9 h 4320"/>
              <a:gd name="T84" fmla="*/ 2300 w 4958"/>
              <a:gd name="T85" fmla="*/ 47 h 4320"/>
              <a:gd name="T86" fmla="*/ 2221 w 4958"/>
              <a:gd name="T87" fmla="*/ 112 h 4320"/>
              <a:gd name="T88" fmla="*/ 2161 w 4958"/>
              <a:gd name="T89" fmla="*/ 196 h 4320"/>
              <a:gd name="T90" fmla="*/ 58 w 4958"/>
              <a:gd name="T91" fmla="*/ 3775 h 4320"/>
              <a:gd name="T92" fmla="*/ 11 w 4958"/>
              <a:gd name="T93" fmla="*/ 3879 h 4320"/>
              <a:gd name="T94" fmla="*/ 0 w 4958"/>
              <a:gd name="T95" fmla="*/ 3968 h 4320"/>
              <a:gd name="T96" fmla="*/ 27 w 4958"/>
              <a:gd name="T97" fmla="*/ 4105 h 4320"/>
              <a:gd name="T98" fmla="*/ 103 w 4958"/>
              <a:gd name="T99" fmla="*/ 4217 h 4320"/>
              <a:gd name="T100" fmla="*/ 216 w 4958"/>
              <a:gd name="T101" fmla="*/ 4293 h 4320"/>
              <a:gd name="T102" fmla="*/ 354 w 4958"/>
              <a:gd name="T103" fmla="*/ 4320 h 4320"/>
              <a:gd name="T104" fmla="*/ 4675 w 4958"/>
              <a:gd name="T105" fmla="*/ 4314 h 4320"/>
              <a:gd name="T106" fmla="*/ 4802 w 4958"/>
              <a:gd name="T107" fmla="*/ 4260 h 4320"/>
              <a:gd name="T108" fmla="*/ 4898 w 4958"/>
              <a:gd name="T109" fmla="*/ 4165 h 4320"/>
              <a:gd name="T110" fmla="*/ 4952 w 4958"/>
              <a:gd name="T111" fmla="*/ 4039 h 4320"/>
              <a:gd name="T112" fmla="*/ 4958 w 4958"/>
              <a:gd name="T113" fmla="*/ 3946 h 4320"/>
              <a:gd name="T114" fmla="*/ 4941 w 4958"/>
              <a:gd name="T115" fmla="*/ 3862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958" h="4320">
                <a:moveTo>
                  <a:pt x="2711" y="2546"/>
                </a:moveTo>
                <a:lnTo>
                  <a:pt x="2711" y="2546"/>
                </a:lnTo>
                <a:lnTo>
                  <a:pt x="2710" y="2569"/>
                </a:lnTo>
                <a:lnTo>
                  <a:pt x="2707" y="2593"/>
                </a:lnTo>
                <a:lnTo>
                  <a:pt x="2700" y="2615"/>
                </a:lnTo>
                <a:lnTo>
                  <a:pt x="2692" y="2636"/>
                </a:lnTo>
                <a:lnTo>
                  <a:pt x="2683" y="2656"/>
                </a:lnTo>
                <a:lnTo>
                  <a:pt x="2672" y="2675"/>
                </a:lnTo>
                <a:lnTo>
                  <a:pt x="2658" y="2692"/>
                </a:lnTo>
                <a:lnTo>
                  <a:pt x="2643" y="2710"/>
                </a:lnTo>
                <a:lnTo>
                  <a:pt x="2626" y="2724"/>
                </a:lnTo>
                <a:lnTo>
                  <a:pt x="2609" y="2738"/>
                </a:lnTo>
                <a:lnTo>
                  <a:pt x="2590" y="2749"/>
                </a:lnTo>
                <a:lnTo>
                  <a:pt x="2569" y="2759"/>
                </a:lnTo>
                <a:lnTo>
                  <a:pt x="2549" y="2767"/>
                </a:lnTo>
                <a:lnTo>
                  <a:pt x="2526" y="2773"/>
                </a:lnTo>
                <a:lnTo>
                  <a:pt x="2503" y="2776"/>
                </a:lnTo>
                <a:lnTo>
                  <a:pt x="2479" y="2778"/>
                </a:lnTo>
                <a:lnTo>
                  <a:pt x="2479" y="2778"/>
                </a:lnTo>
                <a:lnTo>
                  <a:pt x="2455" y="2776"/>
                </a:lnTo>
                <a:lnTo>
                  <a:pt x="2432" y="2773"/>
                </a:lnTo>
                <a:lnTo>
                  <a:pt x="2409" y="2767"/>
                </a:lnTo>
                <a:lnTo>
                  <a:pt x="2389" y="2759"/>
                </a:lnTo>
                <a:lnTo>
                  <a:pt x="2368" y="2749"/>
                </a:lnTo>
                <a:lnTo>
                  <a:pt x="2349" y="2738"/>
                </a:lnTo>
                <a:lnTo>
                  <a:pt x="2330" y="2724"/>
                </a:lnTo>
                <a:lnTo>
                  <a:pt x="2315" y="2710"/>
                </a:lnTo>
                <a:lnTo>
                  <a:pt x="2299" y="2692"/>
                </a:lnTo>
                <a:lnTo>
                  <a:pt x="2286" y="2675"/>
                </a:lnTo>
                <a:lnTo>
                  <a:pt x="2275" y="2656"/>
                </a:lnTo>
                <a:lnTo>
                  <a:pt x="2264" y="2636"/>
                </a:lnTo>
                <a:lnTo>
                  <a:pt x="2256" y="2615"/>
                </a:lnTo>
                <a:lnTo>
                  <a:pt x="2251" y="2593"/>
                </a:lnTo>
                <a:lnTo>
                  <a:pt x="2248" y="2569"/>
                </a:lnTo>
                <a:lnTo>
                  <a:pt x="2247" y="2546"/>
                </a:lnTo>
                <a:lnTo>
                  <a:pt x="2247" y="1620"/>
                </a:lnTo>
                <a:lnTo>
                  <a:pt x="2247" y="1620"/>
                </a:lnTo>
                <a:lnTo>
                  <a:pt x="2248" y="1596"/>
                </a:lnTo>
                <a:lnTo>
                  <a:pt x="2251" y="1574"/>
                </a:lnTo>
                <a:lnTo>
                  <a:pt x="2256" y="1552"/>
                </a:lnTo>
                <a:lnTo>
                  <a:pt x="2264" y="1530"/>
                </a:lnTo>
                <a:lnTo>
                  <a:pt x="2275" y="1511"/>
                </a:lnTo>
                <a:lnTo>
                  <a:pt x="2286" y="1492"/>
                </a:lnTo>
                <a:lnTo>
                  <a:pt x="2299" y="1473"/>
                </a:lnTo>
                <a:lnTo>
                  <a:pt x="2315" y="1457"/>
                </a:lnTo>
                <a:lnTo>
                  <a:pt x="2330" y="1441"/>
                </a:lnTo>
                <a:lnTo>
                  <a:pt x="2349" y="1428"/>
                </a:lnTo>
                <a:lnTo>
                  <a:pt x="2368" y="1417"/>
                </a:lnTo>
                <a:lnTo>
                  <a:pt x="2389" y="1406"/>
                </a:lnTo>
                <a:lnTo>
                  <a:pt x="2409" y="1400"/>
                </a:lnTo>
                <a:lnTo>
                  <a:pt x="2432" y="1394"/>
                </a:lnTo>
                <a:lnTo>
                  <a:pt x="2455" y="1390"/>
                </a:lnTo>
                <a:lnTo>
                  <a:pt x="2479" y="1389"/>
                </a:lnTo>
                <a:lnTo>
                  <a:pt x="2479" y="1389"/>
                </a:lnTo>
                <a:lnTo>
                  <a:pt x="2503" y="1390"/>
                </a:lnTo>
                <a:lnTo>
                  <a:pt x="2526" y="1394"/>
                </a:lnTo>
                <a:lnTo>
                  <a:pt x="2549" y="1400"/>
                </a:lnTo>
                <a:lnTo>
                  <a:pt x="2569" y="1406"/>
                </a:lnTo>
                <a:lnTo>
                  <a:pt x="2590" y="1417"/>
                </a:lnTo>
                <a:lnTo>
                  <a:pt x="2609" y="1428"/>
                </a:lnTo>
                <a:lnTo>
                  <a:pt x="2626" y="1441"/>
                </a:lnTo>
                <a:lnTo>
                  <a:pt x="2643" y="1457"/>
                </a:lnTo>
                <a:lnTo>
                  <a:pt x="2658" y="1473"/>
                </a:lnTo>
                <a:lnTo>
                  <a:pt x="2672" y="1492"/>
                </a:lnTo>
                <a:lnTo>
                  <a:pt x="2683" y="1511"/>
                </a:lnTo>
                <a:lnTo>
                  <a:pt x="2692" y="1530"/>
                </a:lnTo>
                <a:lnTo>
                  <a:pt x="2700" y="1552"/>
                </a:lnTo>
                <a:lnTo>
                  <a:pt x="2707" y="1574"/>
                </a:lnTo>
                <a:lnTo>
                  <a:pt x="2710" y="1596"/>
                </a:lnTo>
                <a:lnTo>
                  <a:pt x="2711" y="1620"/>
                </a:lnTo>
                <a:lnTo>
                  <a:pt x="2711" y="2546"/>
                </a:lnTo>
                <a:close/>
                <a:moveTo>
                  <a:pt x="2479" y="3780"/>
                </a:moveTo>
                <a:lnTo>
                  <a:pt x="2479" y="3780"/>
                </a:lnTo>
                <a:lnTo>
                  <a:pt x="2447" y="3778"/>
                </a:lnTo>
                <a:lnTo>
                  <a:pt x="2416" y="3773"/>
                </a:lnTo>
                <a:lnTo>
                  <a:pt x="2387" y="3767"/>
                </a:lnTo>
                <a:lnTo>
                  <a:pt x="2359" y="3756"/>
                </a:lnTo>
                <a:lnTo>
                  <a:pt x="2330" y="3743"/>
                </a:lnTo>
                <a:lnTo>
                  <a:pt x="2305" y="3727"/>
                </a:lnTo>
                <a:lnTo>
                  <a:pt x="2282" y="3710"/>
                </a:lnTo>
                <a:lnTo>
                  <a:pt x="2259" y="3690"/>
                </a:lnTo>
                <a:lnTo>
                  <a:pt x="2240" y="3667"/>
                </a:lnTo>
                <a:lnTo>
                  <a:pt x="2221" y="3644"/>
                </a:lnTo>
                <a:lnTo>
                  <a:pt x="2206" y="3618"/>
                </a:lnTo>
                <a:lnTo>
                  <a:pt x="2193" y="3592"/>
                </a:lnTo>
                <a:lnTo>
                  <a:pt x="2184" y="3563"/>
                </a:lnTo>
                <a:lnTo>
                  <a:pt x="2176" y="3533"/>
                </a:lnTo>
                <a:lnTo>
                  <a:pt x="2171" y="3503"/>
                </a:lnTo>
                <a:lnTo>
                  <a:pt x="2169" y="3471"/>
                </a:lnTo>
                <a:lnTo>
                  <a:pt x="2169" y="3471"/>
                </a:lnTo>
                <a:lnTo>
                  <a:pt x="2171" y="3440"/>
                </a:lnTo>
                <a:lnTo>
                  <a:pt x="2176" y="3410"/>
                </a:lnTo>
                <a:lnTo>
                  <a:pt x="2184" y="3380"/>
                </a:lnTo>
                <a:lnTo>
                  <a:pt x="2193" y="3351"/>
                </a:lnTo>
                <a:lnTo>
                  <a:pt x="2206" y="3325"/>
                </a:lnTo>
                <a:lnTo>
                  <a:pt x="2221" y="3299"/>
                </a:lnTo>
                <a:lnTo>
                  <a:pt x="2240" y="3276"/>
                </a:lnTo>
                <a:lnTo>
                  <a:pt x="2259" y="3253"/>
                </a:lnTo>
                <a:lnTo>
                  <a:pt x="2282" y="3233"/>
                </a:lnTo>
                <a:lnTo>
                  <a:pt x="2305" y="3216"/>
                </a:lnTo>
                <a:lnTo>
                  <a:pt x="2330" y="3200"/>
                </a:lnTo>
                <a:lnTo>
                  <a:pt x="2359" y="3187"/>
                </a:lnTo>
                <a:lnTo>
                  <a:pt x="2387" y="3178"/>
                </a:lnTo>
                <a:lnTo>
                  <a:pt x="2416" y="3170"/>
                </a:lnTo>
                <a:lnTo>
                  <a:pt x="2447" y="3165"/>
                </a:lnTo>
                <a:lnTo>
                  <a:pt x="2479" y="3163"/>
                </a:lnTo>
                <a:lnTo>
                  <a:pt x="2479" y="3163"/>
                </a:lnTo>
                <a:lnTo>
                  <a:pt x="2511" y="3165"/>
                </a:lnTo>
                <a:lnTo>
                  <a:pt x="2541" y="3170"/>
                </a:lnTo>
                <a:lnTo>
                  <a:pt x="2571" y="3178"/>
                </a:lnTo>
                <a:lnTo>
                  <a:pt x="2599" y="3187"/>
                </a:lnTo>
                <a:lnTo>
                  <a:pt x="2626" y="3200"/>
                </a:lnTo>
                <a:lnTo>
                  <a:pt x="2653" y="3216"/>
                </a:lnTo>
                <a:lnTo>
                  <a:pt x="2676" y="3233"/>
                </a:lnTo>
                <a:lnTo>
                  <a:pt x="2699" y="3253"/>
                </a:lnTo>
                <a:lnTo>
                  <a:pt x="2718" y="3276"/>
                </a:lnTo>
                <a:lnTo>
                  <a:pt x="2737" y="3299"/>
                </a:lnTo>
                <a:lnTo>
                  <a:pt x="2751" y="3325"/>
                </a:lnTo>
                <a:lnTo>
                  <a:pt x="2765" y="3351"/>
                </a:lnTo>
                <a:lnTo>
                  <a:pt x="2774" y="3380"/>
                </a:lnTo>
                <a:lnTo>
                  <a:pt x="2782" y="3410"/>
                </a:lnTo>
                <a:lnTo>
                  <a:pt x="2787" y="3440"/>
                </a:lnTo>
                <a:lnTo>
                  <a:pt x="2789" y="3471"/>
                </a:lnTo>
                <a:lnTo>
                  <a:pt x="2789" y="3471"/>
                </a:lnTo>
                <a:lnTo>
                  <a:pt x="2787" y="3503"/>
                </a:lnTo>
                <a:lnTo>
                  <a:pt x="2782" y="3533"/>
                </a:lnTo>
                <a:lnTo>
                  <a:pt x="2774" y="3563"/>
                </a:lnTo>
                <a:lnTo>
                  <a:pt x="2765" y="3592"/>
                </a:lnTo>
                <a:lnTo>
                  <a:pt x="2751" y="3618"/>
                </a:lnTo>
                <a:lnTo>
                  <a:pt x="2737" y="3644"/>
                </a:lnTo>
                <a:lnTo>
                  <a:pt x="2718" y="3667"/>
                </a:lnTo>
                <a:lnTo>
                  <a:pt x="2699" y="3690"/>
                </a:lnTo>
                <a:lnTo>
                  <a:pt x="2676" y="3710"/>
                </a:lnTo>
                <a:lnTo>
                  <a:pt x="2653" y="3727"/>
                </a:lnTo>
                <a:lnTo>
                  <a:pt x="2626" y="3743"/>
                </a:lnTo>
                <a:lnTo>
                  <a:pt x="2599" y="3756"/>
                </a:lnTo>
                <a:lnTo>
                  <a:pt x="2571" y="3767"/>
                </a:lnTo>
                <a:lnTo>
                  <a:pt x="2541" y="3773"/>
                </a:lnTo>
                <a:lnTo>
                  <a:pt x="2511" y="3778"/>
                </a:lnTo>
                <a:lnTo>
                  <a:pt x="2479" y="3780"/>
                </a:lnTo>
                <a:close/>
                <a:moveTo>
                  <a:pt x="4917" y="3805"/>
                </a:moveTo>
                <a:lnTo>
                  <a:pt x="4917" y="3805"/>
                </a:lnTo>
                <a:lnTo>
                  <a:pt x="4901" y="3776"/>
                </a:lnTo>
                <a:lnTo>
                  <a:pt x="4901" y="3776"/>
                </a:lnTo>
                <a:lnTo>
                  <a:pt x="4896" y="3769"/>
                </a:lnTo>
                <a:lnTo>
                  <a:pt x="2786" y="180"/>
                </a:lnTo>
                <a:lnTo>
                  <a:pt x="2786" y="180"/>
                </a:lnTo>
                <a:lnTo>
                  <a:pt x="2786" y="180"/>
                </a:lnTo>
                <a:lnTo>
                  <a:pt x="2773" y="160"/>
                </a:lnTo>
                <a:lnTo>
                  <a:pt x="2760" y="141"/>
                </a:lnTo>
                <a:lnTo>
                  <a:pt x="2746" y="123"/>
                </a:lnTo>
                <a:lnTo>
                  <a:pt x="2730" y="106"/>
                </a:lnTo>
                <a:lnTo>
                  <a:pt x="2714" y="90"/>
                </a:lnTo>
                <a:lnTo>
                  <a:pt x="2697" y="76"/>
                </a:lnTo>
                <a:lnTo>
                  <a:pt x="2678" y="62"/>
                </a:lnTo>
                <a:lnTo>
                  <a:pt x="2659" y="51"/>
                </a:lnTo>
                <a:lnTo>
                  <a:pt x="2639" y="40"/>
                </a:lnTo>
                <a:lnTo>
                  <a:pt x="2618" y="28"/>
                </a:lnTo>
                <a:lnTo>
                  <a:pt x="2596" y="21"/>
                </a:lnTo>
                <a:lnTo>
                  <a:pt x="2574" y="13"/>
                </a:lnTo>
                <a:lnTo>
                  <a:pt x="2552" y="8"/>
                </a:lnTo>
                <a:lnTo>
                  <a:pt x="2528" y="3"/>
                </a:lnTo>
                <a:lnTo>
                  <a:pt x="2503" y="2"/>
                </a:lnTo>
                <a:lnTo>
                  <a:pt x="2479" y="0"/>
                </a:lnTo>
                <a:lnTo>
                  <a:pt x="2479" y="0"/>
                </a:lnTo>
                <a:lnTo>
                  <a:pt x="2452" y="2"/>
                </a:lnTo>
                <a:lnTo>
                  <a:pt x="2424" y="5"/>
                </a:lnTo>
                <a:lnTo>
                  <a:pt x="2398" y="9"/>
                </a:lnTo>
                <a:lnTo>
                  <a:pt x="2373" y="16"/>
                </a:lnTo>
                <a:lnTo>
                  <a:pt x="2348" y="25"/>
                </a:lnTo>
                <a:lnTo>
                  <a:pt x="2324" y="36"/>
                </a:lnTo>
                <a:lnTo>
                  <a:pt x="2300" y="47"/>
                </a:lnTo>
                <a:lnTo>
                  <a:pt x="2280" y="62"/>
                </a:lnTo>
                <a:lnTo>
                  <a:pt x="2258" y="77"/>
                </a:lnTo>
                <a:lnTo>
                  <a:pt x="2239" y="93"/>
                </a:lnTo>
                <a:lnTo>
                  <a:pt x="2221" y="112"/>
                </a:lnTo>
                <a:lnTo>
                  <a:pt x="2204" y="131"/>
                </a:lnTo>
                <a:lnTo>
                  <a:pt x="2188" y="152"/>
                </a:lnTo>
                <a:lnTo>
                  <a:pt x="2174" y="174"/>
                </a:lnTo>
                <a:lnTo>
                  <a:pt x="2161" y="196"/>
                </a:lnTo>
                <a:lnTo>
                  <a:pt x="2150" y="220"/>
                </a:lnTo>
                <a:lnTo>
                  <a:pt x="76" y="3751"/>
                </a:lnTo>
                <a:lnTo>
                  <a:pt x="76" y="3751"/>
                </a:lnTo>
                <a:lnTo>
                  <a:pt x="58" y="3775"/>
                </a:lnTo>
                <a:lnTo>
                  <a:pt x="44" y="3799"/>
                </a:lnTo>
                <a:lnTo>
                  <a:pt x="30" y="3824"/>
                </a:lnTo>
                <a:lnTo>
                  <a:pt x="21" y="3851"/>
                </a:lnTo>
                <a:lnTo>
                  <a:pt x="11" y="3879"/>
                </a:lnTo>
                <a:lnTo>
                  <a:pt x="5" y="3908"/>
                </a:lnTo>
                <a:lnTo>
                  <a:pt x="2" y="3938"/>
                </a:lnTo>
                <a:lnTo>
                  <a:pt x="0" y="3968"/>
                </a:lnTo>
                <a:lnTo>
                  <a:pt x="0" y="3968"/>
                </a:lnTo>
                <a:lnTo>
                  <a:pt x="2" y="4004"/>
                </a:lnTo>
                <a:lnTo>
                  <a:pt x="6" y="4039"/>
                </a:lnTo>
                <a:lnTo>
                  <a:pt x="16" y="4072"/>
                </a:lnTo>
                <a:lnTo>
                  <a:pt x="27" y="4105"/>
                </a:lnTo>
                <a:lnTo>
                  <a:pt x="43" y="4135"/>
                </a:lnTo>
                <a:lnTo>
                  <a:pt x="60" y="4165"/>
                </a:lnTo>
                <a:lnTo>
                  <a:pt x="81" y="4192"/>
                </a:lnTo>
                <a:lnTo>
                  <a:pt x="103" y="4217"/>
                </a:lnTo>
                <a:lnTo>
                  <a:pt x="128" y="4239"/>
                </a:lnTo>
                <a:lnTo>
                  <a:pt x="156" y="4260"/>
                </a:lnTo>
                <a:lnTo>
                  <a:pt x="185" y="4277"/>
                </a:lnTo>
                <a:lnTo>
                  <a:pt x="216" y="4293"/>
                </a:lnTo>
                <a:lnTo>
                  <a:pt x="248" y="4304"/>
                </a:lnTo>
                <a:lnTo>
                  <a:pt x="283" y="4314"/>
                </a:lnTo>
                <a:lnTo>
                  <a:pt x="318" y="4318"/>
                </a:lnTo>
                <a:lnTo>
                  <a:pt x="354" y="4320"/>
                </a:lnTo>
                <a:lnTo>
                  <a:pt x="4604" y="4320"/>
                </a:lnTo>
                <a:lnTo>
                  <a:pt x="4604" y="4320"/>
                </a:lnTo>
                <a:lnTo>
                  <a:pt x="4640" y="4318"/>
                </a:lnTo>
                <a:lnTo>
                  <a:pt x="4675" y="4314"/>
                </a:lnTo>
                <a:lnTo>
                  <a:pt x="4710" y="4304"/>
                </a:lnTo>
                <a:lnTo>
                  <a:pt x="4742" y="4293"/>
                </a:lnTo>
                <a:lnTo>
                  <a:pt x="4773" y="4277"/>
                </a:lnTo>
                <a:lnTo>
                  <a:pt x="4802" y="4260"/>
                </a:lnTo>
                <a:lnTo>
                  <a:pt x="4828" y="4239"/>
                </a:lnTo>
                <a:lnTo>
                  <a:pt x="4854" y="4217"/>
                </a:lnTo>
                <a:lnTo>
                  <a:pt x="4877" y="4192"/>
                </a:lnTo>
                <a:lnTo>
                  <a:pt x="4898" y="4165"/>
                </a:lnTo>
                <a:lnTo>
                  <a:pt x="4915" y="4135"/>
                </a:lnTo>
                <a:lnTo>
                  <a:pt x="4931" y="4105"/>
                </a:lnTo>
                <a:lnTo>
                  <a:pt x="4942" y="4072"/>
                </a:lnTo>
                <a:lnTo>
                  <a:pt x="4952" y="4039"/>
                </a:lnTo>
                <a:lnTo>
                  <a:pt x="4956" y="4004"/>
                </a:lnTo>
                <a:lnTo>
                  <a:pt x="4958" y="3968"/>
                </a:lnTo>
                <a:lnTo>
                  <a:pt x="4958" y="3968"/>
                </a:lnTo>
                <a:lnTo>
                  <a:pt x="4958" y="3946"/>
                </a:lnTo>
                <a:lnTo>
                  <a:pt x="4955" y="3923"/>
                </a:lnTo>
                <a:lnTo>
                  <a:pt x="4952" y="3903"/>
                </a:lnTo>
                <a:lnTo>
                  <a:pt x="4947" y="3882"/>
                </a:lnTo>
                <a:lnTo>
                  <a:pt x="4941" y="3862"/>
                </a:lnTo>
                <a:lnTo>
                  <a:pt x="4934" y="3843"/>
                </a:lnTo>
                <a:lnTo>
                  <a:pt x="4926" y="3824"/>
                </a:lnTo>
                <a:lnTo>
                  <a:pt x="4917" y="3805"/>
                </a:lnTo>
                <a:close/>
              </a:path>
            </a:pathLst>
          </a:custGeom>
          <a:solidFill>
            <a:srgbClr val="FFFFFF"/>
          </a:solidFill>
          <a:ln>
            <a:noFill/>
          </a:ln>
        </p:spPr>
        <p:txBody>
          <a:bodyPr vert="horz" wrap="square" lIns="91412" tIns="45706" rIns="91412" bIns="45706" numCol="1" anchor="t" anchorCtr="0" compatLnSpc="1">
            <a:prstTxWarp prst="textNoShape">
              <a:avLst/>
            </a:prstTxWarp>
          </a:bodyPr>
          <a:lstStyle/>
          <a:p>
            <a:pPr defTabSz="914103">
              <a:defRPr/>
            </a:pPr>
            <a:endParaRPr lang="en-US" kern="0">
              <a:solidFill>
                <a:srgbClr val="FFFFFF"/>
              </a:solidFill>
              <a:latin typeface="+mj-lt"/>
            </a:endParaRPr>
          </a:p>
        </p:txBody>
      </p:sp>
      <p:pic>
        <p:nvPicPr>
          <p:cNvPr id="472" name="Picture 10" descr="C:\Users\ecoffey\AppData\Local\Temp\Rar$DRa0.220\30074_Device_service_module_default_256.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4795" y="3277124"/>
            <a:ext cx="233876" cy="331243"/>
          </a:xfrm>
          <a:prstGeom prst="rect">
            <a:avLst/>
          </a:prstGeom>
          <a:noFill/>
          <a:extLst>
            <a:ext uri="{909E8E84-426E-40dd-AFC4-6F175D3DCCD1}">
              <a14:hiddenFill xmlns:a14="http://schemas.microsoft.com/office/drawing/2010/main">
                <a:solidFill>
                  <a:srgbClr val="FFFFFF"/>
                </a:solidFill>
              </a14:hiddenFill>
            </a:ext>
          </a:extLst>
        </p:spPr>
      </p:pic>
      <p:sp>
        <p:nvSpPr>
          <p:cNvPr id="429" name="Rounded Rectangle 191"/>
          <p:cNvSpPr/>
          <p:nvPr/>
        </p:nvSpPr>
        <p:spPr>
          <a:xfrm>
            <a:off x="4307116" y="2972594"/>
            <a:ext cx="262330" cy="87443"/>
          </a:xfrm>
          <a:prstGeom prst="rect">
            <a:avLst/>
          </a:prstGeom>
          <a:noFill/>
          <a:ln w="25400" cap="flat" cmpd="sng" algn="ctr">
            <a:noFill/>
            <a:prstDash val="solid"/>
          </a:ln>
          <a:effectLst/>
        </p:spPr>
        <p:txBody>
          <a:bodyPr lIns="0" tIns="45718" rIns="0" bIns="45718" rtlCol="0" anchor="ctr"/>
          <a:lstStyle/>
          <a:p>
            <a:pPr algn="ctr" defTabSz="685282"/>
            <a:r>
              <a:rPr lang="en-US" sz="600" kern="0" dirty="0" err="1">
                <a:latin typeface="+mj-lt"/>
              </a:rPr>
              <a:t>ISR</a:t>
            </a:r>
            <a:r>
              <a:rPr lang="en-US" sz="600" kern="0" dirty="0">
                <a:latin typeface="+mj-lt"/>
              </a:rPr>
              <a:t> </a:t>
            </a:r>
            <a:r>
              <a:rPr lang="en-US" sz="600" kern="0" dirty="0" smtClean="0">
                <a:latin typeface="+mj-lt"/>
              </a:rPr>
              <a:t>4K</a:t>
            </a:r>
            <a:endParaRPr lang="en-US" sz="600" kern="0" dirty="0">
              <a:latin typeface="+mj-lt"/>
            </a:endParaRPr>
          </a:p>
        </p:txBody>
      </p:sp>
      <p:sp>
        <p:nvSpPr>
          <p:cNvPr id="490" name="Rectangle 846"/>
          <p:cNvSpPr/>
          <p:nvPr/>
        </p:nvSpPr>
        <p:spPr>
          <a:xfrm>
            <a:off x="5656627" y="1232114"/>
            <a:ext cx="673382" cy="1200542"/>
          </a:xfrm>
          <a:custGeom>
            <a:avLst/>
            <a:gdLst>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65854 h 1665854"/>
              <a:gd name="connsiteX4" fmla="*/ 0 w 1191121"/>
              <a:gd name="connsiteY4" fmla="*/ 0 h 1665854"/>
              <a:gd name="connsiteX0" fmla="*/ 0 w 1191121"/>
              <a:gd name="connsiteY0" fmla="*/ 0 h 1665854"/>
              <a:gd name="connsiteX1" fmla="*/ 1191121 w 1191121"/>
              <a:gd name="connsiteY1" fmla="*/ 0 h 1665854"/>
              <a:gd name="connsiteX2" fmla="*/ 1191121 w 1191121"/>
              <a:gd name="connsiteY2" fmla="*/ 1665854 h 1665854"/>
              <a:gd name="connsiteX3" fmla="*/ 0 w 1191121"/>
              <a:gd name="connsiteY3" fmla="*/ 1658234 h 1665854"/>
              <a:gd name="connsiteX4" fmla="*/ 0 w 1191121"/>
              <a:gd name="connsiteY4" fmla="*/ 0 h 1665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1121" h="1665854">
                <a:moveTo>
                  <a:pt x="0" y="0"/>
                </a:moveTo>
                <a:lnTo>
                  <a:pt x="1191121" y="0"/>
                </a:lnTo>
                <a:lnTo>
                  <a:pt x="1191121" y="1665854"/>
                </a:lnTo>
                <a:lnTo>
                  <a:pt x="0" y="1658234"/>
                </a:lnTo>
                <a:lnTo>
                  <a:pt x="0" y="0"/>
                </a:lnTo>
                <a:close/>
              </a:path>
            </a:pathLst>
          </a:custGeom>
          <a:noFill/>
          <a:ln w="12700">
            <a:solidFill>
              <a:srgbClr val="C00000"/>
            </a:solidFill>
            <a:prstDash val="sysDash"/>
          </a:ln>
        </p:spPr>
        <p:txBody>
          <a:bodyPr vert="horz" wrap="square" lIns="91412" tIns="365650" rIns="91412" bIns="45706" numCol="1" anchor="t" anchorCtr="0" compatLnSpc="1">
            <a:prstTxWarp prst="textNoShape">
              <a:avLst/>
            </a:prstTxWarp>
          </a:bodyPr>
          <a:lstStyle/>
          <a:p>
            <a:pPr algn="ctr" defTabSz="914125" fontAlgn="auto">
              <a:spcBef>
                <a:spcPts val="0"/>
              </a:spcBef>
              <a:spcAft>
                <a:spcPts val="0"/>
              </a:spcAft>
              <a:defRPr/>
            </a:pPr>
            <a:endParaRPr lang="en-US" sz="1000" kern="0">
              <a:solidFill>
                <a:srgbClr val="FFFFFF"/>
              </a:solidFill>
              <a:latin typeface="+mj-lt"/>
            </a:endParaRPr>
          </a:p>
        </p:txBody>
      </p:sp>
      <p:grpSp>
        <p:nvGrpSpPr>
          <p:cNvPr id="491" name="Group 746"/>
          <p:cNvGrpSpPr/>
          <p:nvPr/>
        </p:nvGrpSpPr>
        <p:grpSpPr>
          <a:xfrm>
            <a:off x="4793779" y="2958146"/>
            <a:ext cx="437216" cy="301701"/>
            <a:chOff x="4913891" y="3155554"/>
            <a:chExt cx="457200" cy="315491"/>
          </a:xfrm>
        </p:grpSpPr>
        <p:grpSp>
          <p:nvGrpSpPr>
            <p:cNvPr id="492" name="Group 747"/>
            <p:cNvGrpSpPr/>
            <p:nvPr/>
          </p:nvGrpSpPr>
          <p:grpSpPr>
            <a:xfrm>
              <a:off x="5020557" y="3263552"/>
              <a:ext cx="243869" cy="207493"/>
              <a:chOff x="4372034" y="3328885"/>
              <a:chExt cx="281541" cy="239546"/>
            </a:xfrm>
          </p:grpSpPr>
          <p:sp>
            <p:nvSpPr>
              <p:cNvPr id="494" name="Freeform 38"/>
              <p:cNvSpPr>
                <a:spLocks/>
              </p:cNvSpPr>
              <p:nvPr/>
            </p:nvSpPr>
            <p:spPr bwMode="auto">
              <a:xfrm>
                <a:off x="4453260" y="3406329"/>
                <a:ext cx="123541" cy="124192"/>
              </a:xfrm>
              <a:custGeom>
                <a:avLst/>
                <a:gdLst>
                  <a:gd name="T0" fmla="*/ 1626 w 1628"/>
                  <a:gd name="T1" fmla="*/ 856 h 1628"/>
                  <a:gd name="T2" fmla="*/ 1612 w 1628"/>
                  <a:gd name="T3" fmla="*/ 978 h 1628"/>
                  <a:gd name="T4" fmla="*/ 1578 w 1628"/>
                  <a:gd name="T5" fmla="*/ 1094 h 1628"/>
                  <a:gd name="T6" fmla="*/ 1530 w 1628"/>
                  <a:gd name="T7" fmla="*/ 1202 h 1628"/>
                  <a:gd name="T8" fmla="*/ 1466 w 1628"/>
                  <a:gd name="T9" fmla="*/ 1302 h 1628"/>
                  <a:gd name="T10" fmla="*/ 1390 w 1628"/>
                  <a:gd name="T11" fmla="*/ 1390 h 1628"/>
                  <a:gd name="T12" fmla="*/ 1302 w 1628"/>
                  <a:gd name="T13" fmla="*/ 1466 h 1628"/>
                  <a:gd name="T14" fmla="*/ 1202 w 1628"/>
                  <a:gd name="T15" fmla="*/ 1530 h 1628"/>
                  <a:gd name="T16" fmla="*/ 1094 w 1628"/>
                  <a:gd name="T17" fmla="*/ 1578 h 1628"/>
                  <a:gd name="T18" fmla="*/ 978 w 1628"/>
                  <a:gd name="T19" fmla="*/ 1612 h 1628"/>
                  <a:gd name="T20" fmla="*/ 856 w 1628"/>
                  <a:gd name="T21" fmla="*/ 1626 h 1628"/>
                  <a:gd name="T22" fmla="*/ 772 w 1628"/>
                  <a:gd name="T23" fmla="*/ 1626 h 1628"/>
                  <a:gd name="T24" fmla="*/ 650 w 1628"/>
                  <a:gd name="T25" fmla="*/ 1612 h 1628"/>
                  <a:gd name="T26" fmla="*/ 534 w 1628"/>
                  <a:gd name="T27" fmla="*/ 1578 h 1628"/>
                  <a:gd name="T28" fmla="*/ 426 w 1628"/>
                  <a:gd name="T29" fmla="*/ 1530 h 1628"/>
                  <a:gd name="T30" fmla="*/ 326 w 1628"/>
                  <a:gd name="T31" fmla="*/ 1466 h 1628"/>
                  <a:gd name="T32" fmla="*/ 238 w 1628"/>
                  <a:gd name="T33" fmla="*/ 1390 h 1628"/>
                  <a:gd name="T34" fmla="*/ 162 w 1628"/>
                  <a:gd name="T35" fmla="*/ 1302 h 1628"/>
                  <a:gd name="T36" fmla="*/ 98 w 1628"/>
                  <a:gd name="T37" fmla="*/ 1202 h 1628"/>
                  <a:gd name="T38" fmla="*/ 50 w 1628"/>
                  <a:gd name="T39" fmla="*/ 1094 h 1628"/>
                  <a:gd name="T40" fmla="*/ 16 w 1628"/>
                  <a:gd name="T41" fmla="*/ 978 h 1628"/>
                  <a:gd name="T42" fmla="*/ 2 w 1628"/>
                  <a:gd name="T43" fmla="*/ 856 h 1628"/>
                  <a:gd name="T44" fmla="*/ 2 w 1628"/>
                  <a:gd name="T45" fmla="*/ 772 h 1628"/>
                  <a:gd name="T46" fmla="*/ 16 w 1628"/>
                  <a:gd name="T47" fmla="*/ 650 h 1628"/>
                  <a:gd name="T48" fmla="*/ 50 w 1628"/>
                  <a:gd name="T49" fmla="*/ 534 h 1628"/>
                  <a:gd name="T50" fmla="*/ 98 w 1628"/>
                  <a:gd name="T51" fmla="*/ 426 h 1628"/>
                  <a:gd name="T52" fmla="*/ 162 w 1628"/>
                  <a:gd name="T53" fmla="*/ 326 h 1628"/>
                  <a:gd name="T54" fmla="*/ 238 w 1628"/>
                  <a:gd name="T55" fmla="*/ 238 h 1628"/>
                  <a:gd name="T56" fmla="*/ 326 w 1628"/>
                  <a:gd name="T57" fmla="*/ 162 h 1628"/>
                  <a:gd name="T58" fmla="*/ 426 w 1628"/>
                  <a:gd name="T59" fmla="*/ 98 h 1628"/>
                  <a:gd name="T60" fmla="*/ 534 w 1628"/>
                  <a:gd name="T61" fmla="*/ 50 h 1628"/>
                  <a:gd name="T62" fmla="*/ 650 w 1628"/>
                  <a:gd name="T63" fmla="*/ 16 h 1628"/>
                  <a:gd name="T64" fmla="*/ 772 w 1628"/>
                  <a:gd name="T65" fmla="*/ 2 h 1628"/>
                  <a:gd name="T66" fmla="*/ 856 w 1628"/>
                  <a:gd name="T67" fmla="*/ 2 h 1628"/>
                  <a:gd name="T68" fmla="*/ 978 w 1628"/>
                  <a:gd name="T69" fmla="*/ 16 h 1628"/>
                  <a:gd name="T70" fmla="*/ 1094 w 1628"/>
                  <a:gd name="T71" fmla="*/ 50 h 1628"/>
                  <a:gd name="T72" fmla="*/ 1202 w 1628"/>
                  <a:gd name="T73" fmla="*/ 98 h 1628"/>
                  <a:gd name="T74" fmla="*/ 1302 w 1628"/>
                  <a:gd name="T75" fmla="*/ 162 h 1628"/>
                  <a:gd name="T76" fmla="*/ 1390 w 1628"/>
                  <a:gd name="T77" fmla="*/ 238 h 1628"/>
                  <a:gd name="T78" fmla="*/ 1466 w 1628"/>
                  <a:gd name="T79" fmla="*/ 326 h 1628"/>
                  <a:gd name="T80" fmla="*/ 1530 w 1628"/>
                  <a:gd name="T81" fmla="*/ 426 h 1628"/>
                  <a:gd name="T82" fmla="*/ 1578 w 1628"/>
                  <a:gd name="T83" fmla="*/ 534 h 1628"/>
                  <a:gd name="T84" fmla="*/ 1612 w 1628"/>
                  <a:gd name="T85" fmla="*/ 650 h 1628"/>
                  <a:gd name="T86" fmla="*/ 1626 w 1628"/>
                  <a:gd name="T87" fmla="*/ 772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28" h="1628">
                    <a:moveTo>
                      <a:pt x="1628" y="814"/>
                    </a:moveTo>
                    <a:lnTo>
                      <a:pt x="1628" y="814"/>
                    </a:lnTo>
                    <a:lnTo>
                      <a:pt x="1626" y="856"/>
                    </a:lnTo>
                    <a:lnTo>
                      <a:pt x="1624" y="898"/>
                    </a:lnTo>
                    <a:lnTo>
                      <a:pt x="1618" y="938"/>
                    </a:lnTo>
                    <a:lnTo>
                      <a:pt x="1612" y="978"/>
                    </a:lnTo>
                    <a:lnTo>
                      <a:pt x="1602" y="1018"/>
                    </a:lnTo>
                    <a:lnTo>
                      <a:pt x="1592" y="1056"/>
                    </a:lnTo>
                    <a:lnTo>
                      <a:pt x="1578" y="1094"/>
                    </a:lnTo>
                    <a:lnTo>
                      <a:pt x="1564" y="1130"/>
                    </a:lnTo>
                    <a:lnTo>
                      <a:pt x="1548" y="1166"/>
                    </a:lnTo>
                    <a:lnTo>
                      <a:pt x="1530" y="1202"/>
                    </a:lnTo>
                    <a:lnTo>
                      <a:pt x="1510" y="1236"/>
                    </a:lnTo>
                    <a:lnTo>
                      <a:pt x="1488" y="1270"/>
                    </a:lnTo>
                    <a:lnTo>
                      <a:pt x="1466" y="1302"/>
                    </a:lnTo>
                    <a:lnTo>
                      <a:pt x="1442" y="1332"/>
                    </a:lnTo>
                    <a:lnTo>
                      <a:pt x="1416" y="1362"/>
                    </a:lnTo>
                    <a:lnTo>
                      <a:pt x="1390" y="1390"/>
                    </a:lnTo>
                    <a:lnTo>
                      <a:pt x="1362" y="1416"/>
                    </a:lnTo>
                    <a:lnTo>
                      <a:pt x="1332" y="1442"/>
                    </a:lnTo>
                    <a:lnTo>
                      <a:pt x="1302" y="1466"/>
                    </a:lnTo>
                    <a:lnTo>
                      <a:pt x="1270" y="1488"/>
                    </a:lnTo>
                    <a:lnTo>
                      <a:pt x="1236" y="1510"/>
                    </a:lnTo>
                    <a:lnTo>
                      <a:pt x="1202" y="1530"/>
                    </a:lnTo>
                    <a:lnTo>
                      <a:pt x="1166" y="1548"/>
                    </a:lnTo>
                    <a:lnTo>
                      <a:pt x="1130" y="1564"/>
                    </a:lnTo>
                    <a:lnTo>
                      <a:pt x="1094" y="1578"/>
                    </a:lnTo>
                    <a:lnTo>
                      <a:pt x="1056" y="1592"/>
                    </a:lnTo>
                    <a:lnTo>
                      <a:pt x="1018" y="1602"/>
                    </a:lnTo>
                    <a:lnTo>
                      <a:pt x="978" y="1612"/>
                    </a:lnTo>
                    <a:lnTo>
                      <a:pt x="938" y="1618"/>
                    </a:lnTo>
                    <a:lnTo>
                      <a:pt x="898" y="1624"/>
                    </a:lnTo>
                    <a:lnTo>
                      <a:pt x="856" y="1626"/>
                    </a:lnTo>
                    <a:lnTo>
                      <a:pt x="814" y="1628"/>
                    </a:lnTo>
                    <a:lnTo>
                      <a:pt x="814" y="1628"/>
                    </a:lnTo>
                    <a:lnTo>
                      <a:pt x="772" y="1626"/>
                    </a:lnTo>
                    <a:lnTo>
                      <a:pt x="730" y="1624"/>
                    </a:lnTo>
                    <a:lnTo>
                      <a:pt x="690" y="1618"/>
                    </a:lnTo>
                    <a:lnTo>
                      <a:pt x="650" y="1612"/>
                    </a:lnTo>
                    <a:lnTo>
                      <a:pt x="610" y="1602"/>
                    </a:lnTo>
                    <a:lnTo>
                      <a:pt x="572" y="1592"/>
                    </a:lnTo>
                    <a:lnTo>
                      <a:pt x="534" y="1578"/>
                    </a:lnTo>
                    <a:lnTo>
                      <a:pt x="498" y="1564"/>
                    </a:lnTo>
                    <a:lnTo>
                      <a:pt x="462" y="1548"/>
                    </a:lnTo>
                    <a:lnTo>
                      <a:pt x="426" y="1530"/>
                    </a:lnTo>
                    <a:lnTo>
                      <a:pt x="392" y="1510"/>
                    </a:lnTo>
                    <a:lnTo>
                      <a:pt x="358" y="1488"/>
                    </a:lnTo>
                    <a:lnTo>
                      <a:pt x="326" y="1466"/>
                    </a:lnTo>
                    <a:lnTo>
                      <a:pt x="296" y="1442"/>
                    </a:lnTo>
                    <a:lnTo>
                      <a:pt x="266" y="1416"/>
                    </a:lnTo>
                    <a:lnTo>
                      <a:pt x="238" y="1390"/>
                    </a:lnTo>
                    <a:lnTo>
                      <a:pt x="212" y="1362"/>
                    </a:lnTo>
                    <a:lnTo>
                      <a:pt x="186" y="1332"/>
                    </a:lnTo>
                    <a:lnTo>
                      <a:pt x="162" y="1302"/>
                    </a:lnTo>
                    <a:lnTo>
                      <a:pt x="140" y="1270"/>
                    </a:lnTo>
                    <a:lnTo>
                      <a:pt x="118" y="1236"/>
                    </a:lnTo>
                    <a:lnTo>
                      <a:pt x="98" y="1202"/>
                    </a:lnTo>
                    <a:lnTo>
                      <a:pt x="80" y="1166"/>
                    </a:lnTo>
                    <a:lnTo>
                      <a:pt x="64" y="1130"/>
                    </a:lnTo>
                    <a:lnTo>
                      <a:pt x="50" y="1094"/>
                    </a:lnTo>
                    <a:lnTo>
                      <a:pt x="36" y="1056"/>
                    </a:lnTo>
                    <a:lnTo>
                      <a:pt x="26" y="1018"/>
                    </a:lnTo>
                    <a:lnTo>
                      <a:pt x="16" y="978"/>
                    </a:lnTo>
                    <a:lnTo>
                      <a:pt x="10" y="938"/>
                    </a:lnTo>
                    <a:lnTo>
                      <a:pt x="4" y="898"/>
                    </a:lnTo>
                    <a:lnTo>
                      <a:pt x="2" y="856"/>
                    </a:lnTo>
                    <a:lnTo>
                      <a:pt x="0" y="814"/>
                    </a:lnTo>
                    <a:lnTo>
                      <a:pt x="0" y="814"/>
                    </a:lnTo>
                    <a:lnTo>
                      <a:pt x="2" y="772"/>
                    </a:lnTo>
                    <a:lnTo>
                      <a:pt x="4" y="730"/>
                    </a:lnTo>
                    <a:lnTo>
                      <a:pt x="10" y="690"/>
                    </a:lnTo>
                    <a:lnTo>
                      <a:pt x="16" y="650"/>
                    </a:lnTo>
                    <a:lnTo>
                      <a:pt x="26" y="610"/>
                    </a:lnTo>
                    <a:lnTo>
                      <a:pt x="36" y="572"/>
                    </a:lnTo>
                    <a:lnTo>
                      <a:pt x="50" y="534"/>
                    </a:lnTo>
                    <a:lnTo>
                      <a:pt x="64" y="498"/>
                    </a:lnTo>
                    <a:lnTo>
                      <a:pt x="80" y="462"/>
                    </a:lnTo>
                    <a:lnTo>
                      <a:pt x="98" y="426"/>
                    </a:lnTo>
                    <a:lnTo>
                      <a:pt x="118" y="392"/>
                    </a:lnTo>
                    <a:lnTo>
                      <a:pt x="140" y="358"/>
                    </a:lnTo>
                    <a:lnTo>
                      <a:pt x="162" y="326"/>
                    </a:lnTo>
                    <a:lnTo>
                      <a:pt x="186" y="296"/>
                    </a:lnTo>
                    <a:lnTo>
                      <a:pt x="212" y="266"/>
                    </a:lnTo>
                    <a:lnTo>
                      <a:pt x="238" y="238"/>
                    </a:lnTo>
                    <a:lnTo>
                      <a:pt x="266" y="212"/>
                    </a:lnTo>
                    <a:lnTo>
                      <a:pt x="296" y="186"/>
                    </a:lnTo>
                    <a:lnTo>
                      <a:pt x="326" y="162"/>
                    </a:lnTo>
                    <a:lnTo>
                      <a:pt x="358" y="140"/>
                    </a:lnTo>
                    <a:lnTo>
                      <a:pt x="392" y="118"/>
                    </a:lnTo>
                    <a:lnTo>
                      <a:pt x="426" y="98"/>
                    </a:lnTo>
                    <a:lnTo>
                      <a:pt x="462" y="80"/>
                    </a:lnTo>
                    <a:lnTo>
                      <a:pt x="498" y="64"/>
                    </a:lnTo>
                    <a:lnTo>
                      <a:pt x="534" y="50"/>
                    </a:lnTo>
                    <a:lnTo>
                      <a:pt x="572" y="36"/>
                    </a:lnTo>
                    <a:lnTo>
                      <a:pt x="610" y="26"/>
                    </a:lnTo>
                    <a:lnTo>
                      <a:pt x="650" y="16"/>
                    </a:lnTo>
                    <a:lnTo>
                      <a:pt x="690" y="10"/>
                    </a:lnTo>
                    <a:lnTo>
                      <a:pt x="730" y="4"/>
                    </a:lnTo>
                    <a:lnTo>
                      <a:pt x="772" y="2"/>
                    </a:lnTo>
                    <a:lnTo>
                      <a:pt x="814" y="0"/>
                    </a:lnTo>
                    <a:lnTo>
                      <a:pt x="814" y="0"/>
                    </a:lnTo>
                    <a:lnTo>
                      <a:pt x="856" y="2"/>
                    </a:lnTo>
                    <a:lnTo>
                      <a:pt x="898" y="4"/>
                    </a:lnTo>
                    <a:lnTo>
                      <a:pt x="938" y="10"/>
                    </a:lnTo>
                    <a:lnTo>
                      <a:pt x="978" y="16"/>
                    </a:lnTo>
                    <a:lnTo>
                      <a:pt x="1018" y="26"/>
                    </a:lnTo>
                    <a:lnTo>
                      <a:pt x="1056" y="36"/>
                    </a:lnTo>
                    <a:lnTo>
                      <a:pt x="1094" y="50"/>
                    </a:lnTo>
                    <a:lnTo>
                      <a:pt x="1130" y="64"/>
                    </a:lnTo>
                    <a:lnTo>
                      <a:pt x="1166" y="80"/>
                    </a:lnTo>
                    <a:lnTo>
                      <a:pt x="1202" y="98"/>
                    </a:lnTo>
                    <a:lnTo>
                      <a:pt x="1236" y="118"/>
                    </a:lnTo>
                    <a:lnTo>
                      <a:pt x="1270" y="140"/>
                    </a:lnTo>
                    <a:lnTo>
                      <a:pt x="1302" y="162"/>
                    </a:lnTo>
                    <a:lnTo>
                      <a:pt x="1332" y="186"/>
                    </a:lnTo>
                    <a:lnTo>
                      <a:pt x="1362" y="212"/>
                    </a:lnTo>
                    <a:lnTo>
                      <a:pt x="1390" y="238"/>
                    </a:lnTo>
                    <a:lnTo>
                      <a:pt x="1416" y="266"/>
                    </a:lnTo>
                    <a:lnTo>
                      <a:pt x="1442" y="296"/>
                    </a:lnTo>
                    <a:lnTo>
                      <a:pt x="1466" y="326"/>
                    </a:lnTo>
                    <a:lnTo>
                      <a:pt x="1488" y="358"/>
                    </a:lnTo>
                    <a:lnTo>
                      <a:pt x="1510" y="392"/>
                    </a:lnTo>
                    <a:lnTo>
                      <a:pt x="1530" y="426"/>
                    </a:lnTo>
                    <a:lnTo>
                      <a:pt x="1548" y="462"/>
                    </a:lnTo>
                    <a:lnTo>
                      <a:pt x="1564" y="498"/>
                    </a:lnTo>
                    <a:lnTo>
                      <a:pt x="1578" y="534"/>
                    </a:lnTo>
                    <a:lnTo>
                      <a:pt x="1592" y="572"/>
                    </a:lnTo>
                    <a:lnTo>
                      <a:pt x="1602" y="610"/>
                    </a:lnTo>
                    <a:lnTo>
                      <a:pt x="1612" y="650"/>
                    </a:lnTo>
                    <a:lnTo>
                      <a:pt x="1618" y="690"/>
                    </a:lnTo>
                    <a:lnTo>
                      <a:pt x="1624" y="730"/>
                    </a:lnTo>
                    <a:lnTo>
                      <a:pt x="1626" y="772"/>
                    </a:lnTo>
                    <a:lnTo>
                      <a:pt x="1628" y="814"/>
                    </a:lnTo>
                    <a:lnTo>
                      <a:pt x="1628" y="814"/>
                    </a:lnTo>
                    <a:close/>
                  </a:path>
                </a:pathLst>
              </a:custGeom>
              <a:solidFill>
                <a:srgbClr val="FFFFFF"/>
              </a:solidFill>
              <a:ln w="12700">
                <a:noFill/>
                <a:prstDash val="solid"/>
                <a:round/>
                <a:headEnd/>
                <a:tailEnd/>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495" name="Freeform 36"/>
              <p:cNvSpPr>
                <a:spLocks/>
              </p:cNvSpPr>
              <p:nvPr/>
            </p:nvSpPr>
            <p:spPr bwMode="auto">
              <a:xfrm>
                <a:off x="4454777" y="3429824"/>
                <a:ext cx="103659" cy="98408"/>
              </a:xfrm>
              <a:custGeom>
                <a:avLst/>
                <a:gdLst>
                  <a:gd name="T0" fmla="*/ 64 w 1366"/>
                  <a:gd name="T1" fmla="*/ 248 h 1290"/>
                  <a:gd name="T2" fmla="*/ 200 w 1366"/>
                  <a:gd name="T3" fmla="*/ 154 h 1290"/>
                  <a:gd name="T4" fmla="*/ 338 w 1366"/>
                  <a:gd name="T5" fmla="*/ 82 h 1290"/>
                  <a:gd name="T6" fmla="*/ 462 w 1366"/>
                  <a:gd name="T7" fmla="*/ 36 h 1290"/>
                  <a:gd name="T8" fmla="*/ 598 w 1366"/>
                  <a:gd name="T9" fmla="*/ 6 h 1290"/>
                  <a:gd name="T10" fmla="*/ 744 w 1366"/>
                  <a:gd name="T11" fmla="*/ 2 h 1290"/>
                  <a:gd name="T12" fmla="*/ 894 w 1366"/>
                  <a:gd name="T13" fmla="*/ 32 h 1290"/>
                  <a:gd name="T14" fmla="*/ 1020 w 1366"/>
                  <a:gd name="T15" fmla="*/ 88 h 1290"/>
                  <a:gd name="T16" fmla="*/ 1096 w 1366"/>
                  <a:gd name="T17" fmla="*/ 136 h 1290"/>
                  <a:gd name="T18" fmla="*/ 1172 w 1366"/>
                  <a:gd name="T19" fmla="*/ 198 h 1290"/>
                  <a:gd name="T20" fmla="*/ 1210 w 1366"/>
                  <a:gd name="T21" fmla="*/ 238 h 1290"/>
                  <a:gd name="T22" fmla="*/ 1264 w 1366"/>
                  <a:gd name="T23" fmla="*/ 320 h 1290"/>
                  <a:gd name="T24" fmla="*/ 1328 w 1366"/>
                  <a:gd name="T25" fmla="*/ 466 h 1290"/>
                  <a:gd name="T26" fmla="*/ 1352 w 1366"/>
                  <a:gd name="T27" fmla="*/ 564 h 1290"/>
                  <a:gd name="T28" fmla="*/ 1364 w 1366"/>
                  <a:gd name="T29" fmla="*/ 674 h 1290"/>
                  <a:gd name="T30" fmla="*/ 1362 w 1366"/>
                  <a:gd name="T31" fmla="*/ 798 h 1290"/>
                  <a:gd name="T32" fmla="*/ 1340 w 1366"/>
                  <a:gd name="T33" fmla="*/ 936 h 1290"/>
                  <a:gd name="T34" fmla="*/ 1294 w 1366"/>
                  <a:gd name="T35" fmla="*/ 1084 h 1290"/>
                  <a:gd name="T36" fmla="*/ 1248 w 1366"/>
                  <a:gd name="T37" fmla="*/ 1158 h 1290"/>
                  <a:gd name="T38" fmla="*/ 1152 w 1366"/>
                  <a:gd name="T39" fmla="*/ 1218 h 1290"/>
                  <a:gd name="T40" fmla="*/ 1066 w 1366"/>
                  <a:gd name="T41" fmla="*/ 1256 h 1290"/>
                  <a:gd name="T42" fmla="*/ 960 w 1366"/>
                  <a:gd name="T43" fmla="*/ 1284 h 1290"/>
                  <a:gd name="T44" fmla="*/ 938 w 1366"/>
                  <a:gd name="T45" fmla="*/ 1264 h 1290"/>
                  <a:gd name="T46" fmla="*/ 1008 w 1366"/>
                  <a:gd name="T47" fmla="*/ 1146 h 1290"/>
                  <a:gd name="T48" fmla="*/ 1076 w 1366"/>
                  <a:gd name="T49" fmla="*/ 992 h 1290"/>
                  <a:gd name="T50" fmla="*/ 1108 w 1366"/>
                  <a:gd name="T51" fmla="*/ 884 h 1290"/>
                  <a:gd name="T52" fmla="*/ 1128 w 1366"/>
                  <a:gd name="T53" fmla="*/ 770 h 1290"/>
                  <a:gd name="T54" fmla="*/ 1128 w 1366"/>
                  <a:gd name="T55" fmla="*/ 654 h 1290"/>
                  <a:gd name="T56" fmla="*/ 1102 w 1366"/>
                  <a:gd name="T57" fmla="*/ 538 h 1290"/>
                  <a:gd name="T58" fmla="*/ 1046 w 1366"/>
                  <a:gd name="T59" fmla="*/ 428 h 1290"/>
                  <a:gd name="T60" fmla="*/ 988 w 1366"/>
                  <a:gd name="T61" fmla="*/ 358 h 1290"/>
                  <a:gd name="T62" fmla="*/ 916 w 1366"/>
                  <a:gd name="T63" fmla="*/ 302 h 1290"/>
                  <a:gd name="T64" fmla="*/ 830 w 1366"/>
                  <a:gd name="T65" fmla="*/ 262 h 1290"/>
                  <a:gd name="T66" fmla="*/ 746 w 1366"/>
                  <a:gd name="T67" fmla="*/ 240 h 1290"/>
                  <a:gd name="T68" fmla="*/ 646 w 1366"/>
                  <a:gd name="T69" fmla="*/ 236 h 1290"/>
                  <a:gd name="T70" fmla="*/ 532 w 1366"/>
                  <a:gd name="T71" fmla="*/ 256 h 1290"/>
                  <a:gd name="T72" fmla="*/ 406 w 1366"/>
                  <a:gd name="T73" fmla="*/ 310 h 1290"/>
                  <a:gd name="T74" fmla="*/ 266 w 1366"/>
                  <a:gd name="T75" fmla="*/ 404 h 1290"/>
                  <a:gd name="T76" fmla="*/ 118 w 1366"/>
                  <a:gd name="T77" fmla="*/ 546 h 1290"/>
                  <a:gd name="T78" fmla="*/ 12 w 1366"/>
                  <a:gd name="T79" fmla="*/ 672 h 1290"/>
                  <a:gd name="T80" fmla="*/ 0 w 1366"/>
                  <a:gd name="T81" fmla="*/ 520 h 1290"/>
                  <a:gd name="T82" fmla="*/ 6 w 1366"/>
                  <a:gd name="T83" fmla="*/ 390 h 1290"/>
                  <a:gd name="T84" fmla="*/ 26 w 1366"/>
                  <a:gd name="T85" fmla="*/ 298 h 1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6" h="1290">
                    <a:moveTo>
                      <a:pt x="36" y="272"/>
                    </a:moveTo>
                    <a:lnTo>
                      <a:pt x="36" y="272"/>
                    </a:lnTo>
                    <a:lnTo>
                      <a:pt x="64" y="248"/>
                    </a:lnTo>
                    <a:lnTo>
                      <a:pt x="98" y="222"/>
                    </a:lnTo>
                    <a:lnTo>
                      <a:pt x="144" y="190"/>
                    </a:lnTo>
                    <a:lnTo>
                      <a:pt x="200" y="154"/>
                    </a:lnTo>
                    <a:lnTo>
                      <a:pt x="264" y="118"/>
                    </a:lnTo>
                    <a:lnTo>
                      <a:pt x="300" y="100"/>
                    </a:lnTo>
                    <a:lnTo>
                      <a:pt x="338" y="82"/>
                    </a:lnTo>
                    <a:lnTo>
                      <a:pt x="378" y="66"/>
                    </a:lnTo>
                    <a:lnTo>
                      <a:pt x="420" y="50"/>
                    </a:lnTo>
                    <a:lnTo>
                      <a:pt x="462" y="36"/>
                    </a:lnTo>
                    <a:lnTo>
                      <a:pt x="506" y="24"/>
                    </a:lnTo>
                    <a:lnTo>
                      <a:pt x="552" y="14"/>
                    </a:lnTo>
                    <a:lnTo>
                      <a:pt x="598" y="6"/>
                    </a:lnTo>
                    <a:lnTo>
                      <a:pt x="646" y="2"/>
                    </a:lnTo>
                    <a:lnTo>
                      <a:pt x="694" y="0"/>
                    </a:lnTo>
                    <a:lnTo>
                      <a:pt x="744" y="2"/>
                    </a:lnTo>
                    <a:lnTo>
                      <a:pt x="794" y="8"/>
                    </a:lnTo>
                    <a:lnTo>
                      <a:pt x="844" y="18"/>
                    </a:lnTo>
                    <a:lnTo>
                      <a:pt x="894" y="32"/>
                    </a:lnTo>
                    <a:lnTo>
                      <a:pt x="944" y="50"/>
                    </a:lnTo>
                    <a:lnTo>
                      <a:pt x="996" y="74"/>
                    </a:lnTo>
                    <a:lnTo>
                      <a:pt x="1020" y="88"/>
                    </a:lnTo>
                    <a:lnTo>
                      <a:pt x="1046" y="102"/>
                    </a:lnTo>
                    <a:lnTo>
                      <a:pt x="1072" y="118"/>
                    </a:lnTo>
                    <a:lnTo>
                      <a:pt x="1096" y="136"/>
                    </a:lnTo>
                    <a:lnTo>
                      <a:pt x="1122" y="156"/>
                    </a:lnTo>
                    <a:lnTo>
                      <a:pt x="1146" y="176"/>
                    </a:lnTo>
                    <a:lnTo>
                      <a:pt x="1172" y="198"/>
                    </a:lnTo>
                    <a:lnTo>
                      <a:pt x="1196" y="222"/>
                    </a:lnTo>
                    <a:lnTo>
                      <a:pt x="1196" y="222"/>
                    </a:lnTo>
                    <a:lnTo>
                      <a:pt x="1210" y="238"/>
                    </a:lnTo>
                    <a:lnTo>
                      <a:pt x="1224" y="258"/>
                    </a:lnTo>
                    <a:lnTo>
                      <a:pt x="1242" y="286"/>
                    </a:lnTo>
                    <a:lnTo>
                      <a:pt x="1264" y="320"/>
                    </a:lnTo>
                    <a:lnTo>
                      <a:pt x="1286" y="362"/>
                    </a:lnTo>
                    <a:lnTo>
                      <a:pt x="1308" y="412"/>
                    </a:lnTo>
                    <a:lnTo>
                      <a:pt x="1328" y="466"/>
                    </a:lnTo>
                    <a:lnTo>
                      <a:pt x="1336" y="498"/>
                    </a:lnTo>
                    <a:lnTo>
                      <a:pt x="1344" y="530"/>
                    </a:lnTo>
                    <a:lnTo>
                      <a:pt x="1352" y="564"/>
                    </a:lnTo>
                    <a:lnTo>
                      <a:pt x="1356" y="598"/>
                    </a:lnTo>
                    <a:lnTo>
                      <a:pt x="1362" y="636"/>
                    </a:lnTo>
                    <a:lnTo>
                      <a:pt x="1364" y="674"/>
                    </a:lnTo>
                    <a:lnTo>
                      <a:pt x="1366" y="714"/>
                    </a:lnTo>
                    <a:lnTo>
                      <a:pt x="1364" y="754"/>
                    </a:lnTo>
                    <a:lnTo>
                      <a:pt x="1362" y="798"/>
                    </a:lnTo>
                    <a:lnTo>
                      <a:pt x="1358" y="842"/>
                    </a:lnTo>
                    <a:lnTo>
                      <a:pt x="1350" y="888"/>
                    </a:lnTo>
                    <a:lnTo>
                      <a:pt x="1340" y="936"/>
                    </a:lnTo>
                    <a:lnTo>
                      <a:pt x="1328" y="984"/>
                    </a:lnTo>
                    <a:lnTo>
                      <a:pt x="1312" y="1034"/>
                    </a:lnTo>
                    <a:lnTo>
                      <a:pt x="1294" y="1084"/>
                    </a:lnTo>
                    <a:lnTo>
                      <a:pt x="1272" y="1138"/>
                    </a:lnTo>
                    <a:lnTo>
                      <a:pt x="1272" y="1138"/>
                    </a:lnTo>
                    <a:lnTo>
                      <a:pt x="1248" y="1158"/>
                    </a:lnTo>
                    <a:lnTo>
                      <a:pt x="1218" y="1178"/>
                    </a:lnTo>
                    <a:lnTo>
                      <a:pt x="1178" y="1204"/>
                    </a:lnTo>
                    <a:lnTo>
                      <a:pt x="1152" y="1218"/>
                    </a:lnTo>
                    <a:lnTo>
                      <a:pt x="1126" y="1230"/>
                    </a:lnTo>
                    <a:lnTo>
                      <a:pt x="1098" y="1244"/>
                    </a:lnTo>
                    <a:lnTo>
                      <a:pt x="1066" y="1256"/>
                    </a:lnTo>
                    <a:lnTo>
                      <a:pt x="1032" y="1266"/>
                    </a:lnTo>
                    <a:lnTo>
                      <a:pt x="998" y="1276"/>
                    </a:lnTo>
                    <a:lnTo>
                      <a:pt x="960" y="1284"/>
                    </a:lnTo>
                    <a:lnTo>
                      <a:pt x="920" y="1290"/>
                    </a:lnTo>
                    <a:lnTo>
                      <a:pt x="920" y="1290"/>
                    </a:lnTo>
                    <a:lnTo>
                      <a:pt x="938" y="1264"/>
                    </a:lnTo>
                    <a:lnTo>
                      <a:pt x="956" y="1234"/>
                    </a:lnTo>
                    <a:lnTo>
                      <a:pt x="980" y="1194"/>
                    </a:lnTo>
                    <a:lnTo>
                      <a:pt x="1008" y="1146"/>
                    </a:lnTo>
                    <a:lnTo>
                      <a:pt x="1036" y="1090"/>
                    </a:lnTo>
                    <a:lnTo>
                      <a:pt x="1062" y="1026"/>
                    </a:lnTo>
                    <a:lnTo>
                      <a:pt x="1076" y="992"/>
                    </a:lnTo>
                    <a:lnTo>
                      <a:pt x="1088" y="958"/>
                    </a:lnTo>
                    <a:lnTo>
                      <a:pt x="1098" y="922"/>
                    </a:lnTo>
                    <a:lnTo>
                      <a:pt x="1108" y="884"/>
                    </a:lnTo>
                    <a:lnTo>
                      <a:pt x="1116" y="848"/>
                    </a:lnTo>
                    <a:lnTo>
                      <a:pt x="1122" y="810"/>
                    </a:lnTo>
                    <a:lnTo>
                      <a:pt x="1128" y="770"/>
                    </a:lnTo>
                    <a:lnTo>
                      <a:pt x="1130" y="732"/>
                    </a:lnTo>
                    <a:lnTo>
                      <a:pt x="1130" y="692"/>
                    </a:lnTo>
                    <a:lnTo>
                      <a:pt x="1128" y="654"/>
                    </a:lnTo>
                    <a:lnTo>
                      <a:pt x="1122" y="614"/>
                    </a:lnTo>
                    <a:lnTo>
                      <a:pt x="1114" y="576"/>
                    </a:lnTo>
                    <a:lnTo>
                      <a:pt x="1102" y="538"/>
                    </a:lnTo>
                    <a:lnTo>
                      <a:pt x="1088" y="500"/>
                    </a:lnTo>
                    <a:lnTo>
                      <a:pt x="1068" y="464"/>
                    </a:lnTo>
                    <a:lnTo>
                      <a:pt x="1046" y="428"/>
                    </a:lnTo>
                    <a:lnTo>
                      <a:pt x="1020" y="392"/>
                    </a:lnTo>
                    <a:lnTo>
                      <a:pt x="988" y="358"/>
                    </a:lnTo>
                    <a:lnTo>
                      <a:pt x="988" y="358"/>
                    </a:lnTo>
                    <a:lnTo>
                      <a:pt x="970" y="342"/>
                    </a:lnTo>
                    <a:lnTo>
                      <a:pt x="946" y="324"/>
                    </a:lnTo>
                    <a:lnTo>
                      <a:pt x="916" y="302"/>
                    </a:lnTo>
                    <a:lnTo>
                      <a:pt x="876" y="282"/>
                    </a:lnTo>
                    <a:lnTo>
                      <a:pt x="854" y="272"/>
                    </a:lnTo>
                    <a:lnTo>
                      <a:pt x="830" y="262"/>
                    </a:lnTo>
                    <a:lnTo>
                      <a:pt x="804" y="252"/>
                    </a:lnTo>
                    <a:lnTo>
                      <a:pt x="776" y="246"/>
                    </a:lnTo>
                    <a:lnTo>
                      <a:pt x="746" y="240"/>
                    </a:lnTo>
                    <a:lnTo>
                      <a:pt x="714" y="236"/>
                    </a:lnTo>
                    <a:lnTo>
                      <a:pt x="682" y="234"/>
                    </a:lnTo>
                    <a:lnTo>
                      <a:pt x="646" y="236"/>
                    </a:lnTo>
                    <a:lnTo>
                      <a:pt x="610" y="240"/>
                    </a:lnTo>
                    <a:lnTo>
                      <a:pt x="572" y="246"/>
                    </a:lnTo>
                    <a:lnTo>
                      <a:pt x="532" y="256"/>
                    </a:lnTo>
                    <a:lnTo>
                      <a:pt x="492" y="270"/>
                    </a:lnTo>
                    <a:lnTo>
                      <a:pt x="450" y="288"/>
                    </a:lnTo>
                    <a:lnTo>
                      <a:pt x="406" y="310"/>
                    </a:lnTo>
                    <a:lnTo>
                      <a:pt x="360" y="336"/>
                    </a:lnTo>
                    <a:lnTo>
                      <a:pt x="314" y="366"/>
                    </a:lnTo>
                    <a:lnTo>
                      <a:pt x="266" y="404"/>
                    </a:lnTo>
                    <a:lnTo>
                      <a:pt x="218" y="444"/>
                    </a:lnTo>
                    <a:lnTo>
                      <a:pt x="168" y="492"/>
                    </a:lnTo>
                    <a:lnTo>
                      <a:pt x="118" y="546"/>
                    </a:lnTo>
                    <a:lnTo>
                      <a:pt x="66" y="606"/>
                    </a:lnTo>
                    <a:lnTo>
                      <a:pt x="12" y="672"/>
                    </a:lnTo>
                    <a:lnTo>
                      <a:pt x="12" y="672"/>
                    </a:lnTo>
                    <a:lnTo>
                      <a:pt x="6" y="628"/>
                    </a:lnTo>
                    <a:lnTo>
                      <a:pt x="2" y="580"/>
                    </a:lnTo>
                    <a:lnTo>
                      <a:pt x="0" y="520"/>
                    </a:lnTo>
                    <a:lnTo>
                      <a:pt x="0" y="456"/>
                    </a:lnTo>
                    <a:lnTo>
                      <a:pt x="2" y="422"/>
                    </a:lnTo>
                    <a:lnTo>
                      <a:pt x="6" y="390"/>
                    </a:lnTo>
                    <a:lnTo>
                      <a:pt x="10" y="356"/>
                    </a:lnTo>
                    <a:lnTo>
                      <a:pt x="16" y="326"/>
                    </a:lnTo>
                    <a:lnTo>
                      <a:pt x="26" y="298"/>
                    </a:lnTo>
                    <a:lnTo>
                      <a:pt x="36" y="272"/>
                    </a:lnTo>
                    <a:lnTo>
                      <a:pt x="36" y="272"/>
                    </a:lnTo>
                    <a:close/>
                  </a:path>
                </a:pathLst>
              </a:custGeom>
              <a:gradFill>
                <a:gsLst>
                  <a:gs pos="100000">
                    <a:srgbClr val="00B0F0">
                      <a:lumMod val="50000"/>
                    </a:srgbClr>
                  </a:gs>
                  <a:gs pos="0">
                    <a:srgbClr val="00B050"/>
                  </a:gs>
                </a:gsLst>
                <a:lin ang="2700000" scaled="1"/>
              </a:gra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496" name="Freeform 37"/>
              <p:cNvSpPr>
                <a:spLocks/>
              </p:cNvSpPr>
              <p:nvPr/>
            </p:nvSpPr>
            <p:spPr bwMode="auto">
              <a:xfrm>
                <a:off x="4501826" y="3409380"/>
                <a:ext cx="72850" cy="81473"/>
              </a:xfrm>
              <a:custGeom>
                <a:avLst/>
                <a:gdLst>
                  <a:gd name="T0" fmla="*/ 316 w 960"/>
                  <a:gd name="T1" fmla="*/ 0 h 1068"/>
                  <a:gd name="T2" fmla="*/ 288 w 960"/>
                  <a:gd name="T3" fmla="*/ 14 h 1068"/>
                  <a:gd name="T4" fmla="*/ 224 w 960"/>
                  <a:gd name="T5" fmla="*/ 58 h 1068"/>
                  <a:gd name="T6" fmla="*/ 146 w 960"/>
                  <a:gd name="T7" fmla="*/ 130 h 1068"/>
                  <a:gd name="T8" fmla="*/ 108 w 960"/>
                  <a:gd name="T9" fmla="*/ 176 h 1068"/>
                  <a:gd name="T10" fmla="*/ 72 w 960"/>
                  <a:gd name="T11" fmla="*/ 228 h 1068"/>
                  <a:gd name="T12" fmla="*/ 40 w 960"/>
                  <a:gd name="T13" fmla="*/ 286 h 1068"/>
                  <a:gd name="T14" fmla="*/ 16 w 960"/>
                  <a:gd name="T15" fmla="*/ 352 h 1068"/>
                  <a:gd name="T16" fmla="*/ 2 w 960"/>
                  <a:gd name="T17" fmla="*/ 424 h 1068"/>
                  <a:gd name="T18" fmla="*/ 0 w 960"/>
                  <a:gd name="T19" fmla="*/ 500 h 1068"/>
                  <a:gd name="T20" fmla="*/ 12 w 960"/>
                  <a:gd name="T21" fmla="*/ 584 h 1068"/>
                  <a:gd name="T22" fmla="*/ 38 w 960"/>
                  <a:gd name="T23" fmla="*/ 674 h 1068"/>
                  <a:gd name="T24" fmla="*/ 86 w 960"/>
                  <a:gd name="T25" fmla="*/ 770 h 1068"/>
                  <a:gd name="T26" fmla="*/ 152 w 960"/>
                  <a:gd name="T27" fmla="*/ 870 h 1068"/>
                  <a:gd name="T28" fmla="*/ 162 w 960"/>
                  <a:gd name="T29" fmla="*/ 880 h 1068"/>
                  <a:gd name="T30" fmla="*/ 192 w 960"/>
                  <a:gd name="T31" fmla="*/ 908 h 1068"/>
                  <a:gd name="T32" fmla="*/ 244 w 960"/>
                  <a:gd name="T33" fmla="*/ 944 h 1068"/>
                  <a:gd name="T34" fmla="*/ 320 w 960"/>
                  <a:gd name="T35" fmla="*/ 984 h 1068"/>
                  <a:gd name="T36" fmla="*/ 424 w 960"/>
                  <a:gd name="T37" fmla="*/ 1022 h 1068"/>
                  <a:gd name="T38" fmla="*/ 520 w 960"/>
                  <a:gd name="T39" fmla="*/ 1046 h 1068"/>
                  <a:gd name="T40" fmla="*/ 596 w 960"/>
                  <a:gd name="T41" fmla="*/ 1058 h 1068"/>
                  <a:gd name="T42" fmla="*/ 678 w 960"/>
                  <a:gd name="T43" fmla="*/ 1064 h 1068"/>
                  <a:gd name="T44" fmla="*/ 768 w 960"/>
                  <a:gd name="T45" fmla="*/ 1068 h 1068"/>
                  <a:gd name="T46" fmla="*/ 868 w 960"/>
                  <a:gd name="T47" fmla="*/ 1064 h 1068"/>
                  <a:gd name="T48" fmla="*/ 920 w 960"/>
                  <a:gd name="T49" fmla="*/ 1060 h 1068"/>
                  <a:gd name="T50" fmla="*/ 952 w 960"/>
                  <a:gd name="T51" fmla="*/ 916 h 1068"/>
                  <a:gd name="T52" fmla="*/ 960 w 960"/>
                  <a:gd name="T53" fmla="*/ 870 h 1068"/>
                  <a:gd name="T54" fmla="*/ 876 w 960"/>
                  <a:gd name="T55" fmla="*/ 878 h 1068"/>
                  <a:gd name="T56" fmla="*/ 784 w 960"/>
                  <a:gd name="T57" fmla="*/ 882 h 1068"/>
                  <a:gd name="T58" fmla="*/ 676 w 960"/>
                  <a:gd name="T59" fmla="*/ 878 h 1068"/>
                  <a:gd name="T60" fmla="*/ 556 w 960"/>
                  <a:gd name="T61" fmla="*/ 864 h 1068"/>
                  <a:gd name="T62" fmla="*/ 468 w 960"/>
                  <a:gd name="T63" fmla="*/ 842 h 1068"/>
                  <a:gd name="T64" fmla="*/ 412 w 960"/>
                  <a:gd name="T65" fmla="*/ 824 h 1068"/>
                  <a:gd name="T66" fmla="*/ 360 w 960"/>
                  <a:gd name="T67" fmla="*/ 798 h 1068"/>
                  <a:gd name="T68" fmla="*/ 312 w 960"/>
                  <a:gd name="T69" fmla="*/ 766 h 1068"/>
                  <a:gd name="T70" fmla="*/ 270 w 960"/>
                  <a:gd name="T71" fmla="*/ 728 h 1068"/>
                  <a:gd name="T72" fmla="*/ 252 w 960"/>
                  <a:gd name="T73" fmla="*/ 708 h 1068"/>
                  <a:gd name="T74" fmla="*/ 226 w 960"/>
                  <a:gd name="T75" fmla="*/ 668 h 1068"/>
                  <a:gd name="T76" fmla="*/ 198 w 960"/>
                  <a:gd name="T77" fmla="*/ 606 h 1068"/>
                  <a:gd name="T78" fmla="*/ 180 w 960"/>
                  <a:gd name="T79" fmla="*/ 546 h 1068"/>
                  <a:gd name="T80" fmla="*/ 172 w 960"/>
                  <a:gd name="T81" fmla="*/ 502 h 1068"/>
                  <a:gd name="T82" fmla="*/ 172 w 960"/>
                  <a:gd name="T83" fmla="*/ 454 h 1068"/>
                  <a:gd name="T84" fmla="*/ 180 w 960"/>
                  <a:gd name="T85" fmla="*/ 402 h 1068"/>
                  <a:gd name="T86" fmla="*/ 198 w 960"/>
                  <a:gd name="T87" fmla="*/ 350 h 1068"/>
                  <a:gd name="T88" fmla="*/ 228 w 960"/>
                  <a:gd name="T89" fmla="*/ 298 h 1068"/>
                  <a:gd name="T90" fmla="*/ 270 w 960"/>
                  <a:gd name="T91" fmla="*/ 246 h 1068"/>
                  <a:gd name="T92" fmla="*/ 330 w 960"/>
                  <a:gd name="T93" fmla="*/ 196 h 1068"/>
                  <a:gd name="T94" fmla="*/ 406 w 960"/>
                  <a:gd name="T95" fmla="*/ 148 h 1068"/>
                  <a:gd name="T96" fmla="*/ 500 w 960"/>
                  <a:gd name="T97" fmla="*/ 102 h 1068"/>
                  <a:gd name="T98" fmla="*/ 556 w 960"/>
                  <a:gd name="T99" fmla="*/ 80 h 1068"/>
                  <a:gd name="T100" fmla="*/ 512 w 960"/>
                  <a:gd name="T101" fmla="*/ 52 h 1068"/>
                  <a:gd name="T102" fmla="*/ 444 w 960"/>
                  <a:gd name="T103" fmla="*/ 22 h 1068"/>
                  <a:gd name="T104" fmla="*/ 382 w 960"/>
                  <a:gd name="T105" fmla="*/ 4 h 1068"/>
                  <a:gd name="T106" fmla="*/ 338 w 960"/>
                  <a:gd name="T107" fmla="*/ 0 h 1068"/>
                  <a:gd name="T108" fmla="*/ 316 w 960"/>
                  <a:gd name="T109" fmla="*/ 0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0" h="1068">
                    <a:moveTo>
                      <a:pt x="316" y="0"/>
                    </a:moveTo>
                    <a:lnTo>
                      <a:pt x="316" y="0"/>
                    </a:lnTo>
                    <a:lnTo>
                      <a:pt x="306" y="4"/>
                    </a:lnTo>
                    <a:lnTo>
                      <a:pt x="288" y="14"/>
                    </a:lnTo>
                    <a:lnTo>
                      <a:pt x="258" y="34"/>
                    </a:lnTo>
                    <a:lnTo>
                      <a:pt x="224" y="58"/>
                    </a:lnTo>
                    <a:lnTo>
                      <a:pt x="186" y="90"/>
                    </a:lnTo>
                    <a:lnTo>
                      <a:pt x="146" y="130"/>
                    </a:lnTo>
                    <a:lnTo>
                      <a:pt x="128" y="152"/>
                    </a:lnTo>
                    <a:lnTo>
                      <a:pt x="108" y="176"/>
                    </a:lnTo>
                    <a:lnTo>
                      <a:pt x="90" y="200"/>
                    </a:lnTo>
                    <a:lnTo>
                      <a:pt x="72" y="228"/>
                    </a:lnTo>
                    <a:lnTo>
                      <a:pt x="56" y="256"/>
                    </a:lnTo>
                    <a:lnTo>
                      <a:pt x="40" y="286"/>
                    </a:lnTo>
                    <a:lnTo>
                      <a:pt x="28" y="318"/>
                    </a:lnTo>
                    <a:lnTo>
                      <a:pt x="16" y="352"/>
                    </a:lnTo>
                    <a:lnTo>
                      <a:pt x="8" y="386"/>
                    </a:lnTo>
                    <a:lnTo>
                      <a:pt x="2" y="424"/>
                    </a:lnTo>
                    <a:lnTo>
                      <a:pt x="0" y="462"/>
                    </a:lnTo>
                    <a:lnTo>
                      <a:pt x="0" y="500"/>
                    </a:lnTo>
                    <a:lnTo>
                      <a:pt x="4" y="542"/>
                    </a:lnTo>
                    <a:lnTo>
                      <a:pt x="12" y="584"/>
                    </a:lnTo>
                    <a:lnTo>
                      <a:pt x="22" y="628"/>
                    </a:lnTo>
                    <a:lnTo>
                      <a:pt x="38" y="674"/>
                    </a:lnTo>
                    <a:lnTo>
                      <a:pt x="60" y="720"/>
                    </a:lnTo>
                    <a:lnTo>
                      <a:pt x="86" y="770"/>
                    </a:lnTo>
                    <a:lnTo>
                      <a:pt x="116" y="818"/>
                    </a:lnTo>
                    <a:lnTo>
                      <a:pt x="152" y="870"/>
                    </a:lnTo>
                    <a:lnTo>
                      <a:pt x="152" y="870"/>
                    </a:lnTo>
                    <a:lnTo>
                      <a:pt x="162" y="880"/>
                    </a:lnTo>
                    <a:lnTo>
                      <a:pt x="174" y="892"/>
                    </a:lnTo>
                    <a:lnTo>
                      <a:pt x="192" y="908"/>
                    </a:lnTo>
                    <a:lnTo>
                      <a:pt x="214" y="924"/>
                    </a:lnTo>
                    <a:lnTo>
                      <a:pt x="244" y="944"/>
                    </a:lnTo>
                    <a:lnTo>
                      <a:pt x="278" y="964"/>
                    </a:lnTo>
                    <a:lnTo>
                      <a:pt x="320" y="984"/>
                    </a:lnTo>
                    <a:lnTo>
                      <a:pt x="368" y="1004"/>
                    </a:lnTo>
                    <a:lnTo>
                      <a:pt x="424" y="1022"/>
                    </a:lnTo>
                    <a:lnTo>
                      <a:pt x="486" y="1040"/>
                    </a:lnTo>
                    <a:lnTo>
                      <a:pt x="520" y="1046"/>
                    </a:lnTo>
                    <a:lnTo>
                      <a:pt x="558" y="1052"/>
                    </a:lnTo>
                    <a:lnTo>
                      <a:pt x="596" y="1058"/>
                    </a:lnTo>
                    <a:lnTo>
                      <a:pt x="636" y="1062"/>
                    </a:lnTo>
                    <a:lnTo>
                      <a:pt x="678" y="1064"/>
                    </a:lnTo>
                    <a:lnTo>
                      <a:pt x="722" y="1066"/>
                    </a:lnTo>
                    <a:lnTo>
                      <a:pt x="768" y="1068"/>
                    </a:lnTo>
                    <a:lnTo>
                      <a:pt x="816" y="1066"/>
                    </a:lnTo>
                    <a:lnTo>
                      <a:pt x="868" y="1064"/>
                    </a:lnTo>
                    <a:lnTo>
                      <a:pt x="920" y="1060"/>
                    </a:lnTo>
                    <a:lnTo>
                      <a:pt x="920" y="1060"/>
                    </a:lnTo>
                    <a:lnTo>
                      <a:pt x="938" y="980"/>
                    </a:lnTo>
                    <a:lnTo>
                      <a:pt x="952" y="916"/>
                    </a:lnTo>
                    <a:lnTo>
                      <a:pt x="960" y="870"/>
                    </a:lnTo>
                    <a:lnTo>
                      <a:pt x="960" y="870"/>
                    </a:lnTo>
                    <a:lnTo>
                      <a:pt x="938" y="874"/>
                    </a:lnTo>
                    <a:lnTo>
                      <a:pt x="876" y="878"/>
                    </a:lnTo>
                    <a:lnTo>
                      <a:pt x="832" y="880"/>
                    </a:lnTo>
                    <a:lnTo>
                      <a:pt x="784" y="882"/>
                    </a:lnTo>
                    <a:lnTo>
                      <a:pt x="732" y="882"/>
                    </a:lnTo>
                    <a:lnTo>
                      <a:pt x="676" y="878"/>
                    </a:lnTo>
                    <a:lnTo>
                      <a:pt x="616" y="872"/>
                    </a:lnTo>
                    <a:lnTo>
                      <a:pt x="556" y="864"/>
                    </a:lnTo>
                    <a:lnTo>
                      <a:pt x="498" y="852"/>
                    </a:lnTo>
                    <a:lnTo>
                      <a:pt x="468" y="842"/>
                    </a:lnTo>
                    <a:lnTo>
                      <a:pt x="440" y="834"/>
                    </a:lnTo>
                    <a:lnTo>
                      <a:pt x="412" y="824"/>
                    </a:lnTo>
                    <a:lnTo>
                      <a:pt x="386" y="812"/>
                    </a:lnTo>
                    <a:lnTo>
                      <a:pt x="360" y="798"/>
                    </a:lnTo>
                    <a:lnTo>
                      <a:pt x="336" y="782"/>
                    </a:lnTo>
                    <a:lnTo>
                      <a:pt x="312" y="766"/>
                    </a:lnTo>
                    <a:lnTo>
                      <a:pt x="290" y="748"/>
                    </a:lnTo>
                    <a:lnTo>
                      <a:pt x="270" y="728"/>
                    </a:lnTo>
                    <a:lnTo>
                      <a:pt x="252" y="708"/>
                    </a:lnTo>
                    <a:lnTo>
                      <a:pt x="252" y="708"/>
                    </a:lnTo>
                    <a:lnTo>
                      <a:pt x="240" y="690"/>
                    </a:lnTo>
                    <a:lnTo>
                      <a:pt x="226" y="668"/>
                    </a:lnTo>
                    <a:lnTo>
                      <a:pt x="212" y="640"/>
                    </a:lnTo>
                    <a:lnTo>
                      <a:pt x="198" y="606"/>
                    </a:lnTo>
                    <a:lnTo>
                      <a:pt x="184" y="568"/>
                    </a:lnTo>
                    <a:lnTo>
                      <a:pt x="180" y="546"/>
                    </a:lnTo>
                    <a:lnTo>
                      <a:pt x="176" y="524"/>
                    </a:lnTo>
                    <a:lnTo>
                      <a:pt x="172" y="502"/>
                    </a:lnTo>
                    <a:lnTo>
                      <a:pt x="172" y="478"/>
                    </a:lnTo>
                    <a:lnTo>
                      <a:pt x="172" y="454"/>
                    </a:lnTo>
                    <a:lnTo>
                      <a:pt x="174" y="428"/>
                    </a:lnTo>
                    <a:lnTo>
                      <a:pt x="180" y="402"/>
                    </a:lnTo>
                    <a:lnTo>
                      <a:pt x="188" y="376"/>
                    </a:lnTo>
                    <a:lnTo>
                      <a:pt x="198" y="350"/>
                    </a:lnTo>
                    <a:lnTo>
                      <a:pt x="210" y="324"/>
                    </a:lnTo>
                    <a:lnTo>
                      <a:pt x="228" y="298"/>
                    </a:lnTo>
                    <a:lnTo>
                      <a:pt x="246" y="272"/>
                    </a:lnTo>
                    <a:lnTo>
                      <a:pt x="270" y="246"/>
                    </a:lnTo>
                    <a:lnTo>
                      <a:pt x="298" y="222"/>
                    </a:lnTo>
                    <a:lnTo>
                      <a:pt x="330" y="196"/>
                    </a:lnTo>
                    <a:lnTo>
                      <a:pt x="364" y="172"/>
                    </a:lnTo>
                    <a:lnTo>
                      <a:pt x="406" y="148"/>
                    </a:lnTo>
                    <a:lnTo>
                      <a:pt x="450" y="124"/>
                    </a:lnTo>
                    <a:lnTo>
                      <a:pt x="500" y="102"/>
                    </a:lnTo>
                    <a:lnTo>
                      <a:pt x="556" y="80"/>
                    </a:lnTo>
                    <a:lnTo>
                      <a:pt x="556" y="80"/>
                    </a:lnTo>
                    <a:lnTo>
                      <a:pt x="536" y="66"/>
                    </a:lnTo>
                    <a:lnTo>
                      <a:pt x="512" y="52"/>
                    </a:lnTo>
                    <a:lnTo>
                      <a:pt x="482" y="38"/>
                    </a:lnTo>
                    <a:lnTo>
                      <a:pt x="444" y="22"/>
                    </a:lnTo>
                    <a:lnTo>
                      <a:pt x="404" y="10"/>
                    </a:lnTo>
                    <a:lnTo>
                      <a:pt x="382" y="4"/>
                    </a:lnTo>
                    <a:lnTo>
                      <a:pt x="360" y="2"/>
                    </a:lnTo>
                    <a:lnTo>
                      <a:pt x="338" y="0"/>
                    </a:lnTo>
                    <a:lnTo>
                      <a:pt x="316" y="0"/>
                    </a:lnTo>
                    <a:lnTo>
                      <a:pt x="316" y="0"/>
                    </a:lnTo>
                    <a:close/>
                  </a:path>
                </a:pathLst>
              </a:custGeom>
              <a:gradFill>
                <a:gsLst>
                  <a:gs pos="89000">
                    <a:srgbClr val="00B0F0">
                      <a:lumMod val="75000"/>
                    </a:srgbClr>
                  </a:gs>
                  <a:gs pos="0">
                    <a:srgbClr val="00B050"/>
                  </a:gs>
                </a:gsLst>
                <a:lin ang="2700000" scaled="1"/>
              </a:gradFill>
              <a:ln>
                <a:noFill/>
              </a:ln>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sp>
            <p:nvSpPr>
              <p:cNvPr id="497" name="Freeform 167"/>
              <p:cNvSpPr>
                <a:spLocks noEditPoints="1"/>
              </p:cNvSpPr>
              <p:nvPr/>
            </p:nvSpPr>
            <p:spPr bwMode="auto">
              <a:xfrm>
                <a:off x="4372034" y="3328885"/>
                <a:ext cx="281541" cy="239546"/>
              </a:xfrm>
              <a:custGeom>
                <a:avLst/>
                <a:gdLst>
                  <a:gd name="T0" fmla="*/ 26 w 689"/>
                  <a:gd name="T1" fmla="*/ 0 h 582"/>
                  <a:gd name="T2" fmla="*/ 5 w 689"/>
                  <a:gd name="T3" fmla="*/ 15 h 582"/>
                  <a:gd name="T4" fmla="*/ 0 w 689"/>
                  <a:gd name="T5" fmla="*/ 550 h 582"/>
                  <a:gd name="T6" fmla="*/ 5 w 689"/>
                  <a:gd name="T7" fmla="*/ 567 h 582"/>
                  <a:gd name="T8" fmla="*/ 26 w 689"/>
                  <a:gd name="T9" fmla="*/ 582 h 582"/>
                  <a:gd name="T10" fmla="*/ 663 w 689"/>
                  <a:gd name="T11" fmla="*/ 582 h 582"/>
                  <a:gd name="T12" fmla="*/ 684 w 689"/>
                  <a:gd name="T13" fmla="*/ 567 h 582"/>
                  <a:gd name="T14" fmla="*/ 689 w 689"/>
                  <a:gd name="T15" fmla="*/ 32 h 582"/>
                  <a:gd name="T16" fmla="*/ 684 w 689"/>
                  <a:gd name="T17" fmla="*/ 15 h 582"/>
                  <a:gd name="T18" fmla="*/ 663 w 689"/>
                  <a:gd name="T19" fmla="*/ 0 h 582"/>
                  <a:gd name="T20" fmla="*/ 231 w 689"/>
                  <a:gd name="T21" fmla="*/ 40 h 582"/>
                  <a:gd name="T22" fmla="*/ 248 w 689"/>
                  <a:gd name="T23" fmla="*/ 48 h 582"/>
                  <a:gd name="T24" fmla="*/ 255 w 689"/>
                  <a:gd name="T25" fmla="*/ 66 h 582"/>
                  <a:gd name="T26" fmla="*/ 251 w 689"/>
                  <a:gd name="T27" fmla="*/ 79 h 582"/>
                  <a:gd name="T28" fmla="*/ 236 w 689"/>
                  <a:gd name="T29" fmla="*/ 89 h 582"/>
                  <a:gd name="T30" fmla="*/ 221 w 689"/>
                  <a:gd name="T31" fmla="*/ 87 h 582"/>
                  <a:gd name="T32" fmla="*/ 209 w 689"/>
                  <a:gd name="T33" fmla="*/ 75 h 582"/>
                  <a:gd name="T34" fmla="*/ 208 w 689"/>
                  <a:gd name="T35" fmla="*/ 60 h 582"/>
                  <a:gd name="T36" fmla="*/ 217 w 689"/>
                  <a:gd name="T37" fmla="*/ 46 h 582"/>
                  <a:gd name="T38" fmla="*/ 231 w 689"/>
                  <a:gd name="T39" fmla="*/ 40 h 582"/>
                  <a:gd name="T40" fmla="*/ 159 w 689"/>
                  <a:gd name="T41" fmla="*/ 43 h 582"/>
                  <a:gd name="T42" fmla="*/ 173 w 689"/>
                  <a:gd name="T43" fmla="*/ 55 h 582"/>
                  <a:gd name="T44" fmla="*/ 174 w 689"/>
                  <a:gd name="T45" fmla="*/ 70 h 582"/>
                  <a:gd name="T46" fmla="*/ 163 w 689"/>
                  <a:gd name="T47" fmla="*/ 86 h 582"/>
                  <a:gd name="T48" fmla="*/ 150 w 689"/>
                  <a:gd name="T49" fmla="*/ 90 h 582"/>
                  <a:gd name="T50" fmla="*/ 132 w 689"/>
                  <a:gd name="T51" fmla="*/ 82 h 582"/>
                  <a:gd name="T52" fmla="*/ 125 w 689"/>
                  <a:gd name="T53" fmla="*/ 66 h 582"/>
                  <a:gd name="T54" fmla="*/ 129 w 689"/>
                  <a:gd name="T55" fmla="*/ 51 h 582"/>
                  <a:gd name="T56" fmla="*/ 144 w 689"/>
                  <a:gd name="T57" fmla="*/ 42 h 582"/>
                  <a:gd name="T58" fmla="*/ 67 w 689"/>
                  <a:gd name="T59" fmla="*/ 40 h 582"/>
                  <a:gd name="T60" fmla="*/ 85 w 689"/>
                  <a:gd name="T61" fmla="*/ 48 h 582"/>
                  <a:gd name="T62" fmla="*/ 92 w 689"/>
                  <a:gd name="T63" fmla="*/ 66 h 582"/>
                  <a:gd name="T64" fmla="*/ 88 w 689"/>
                  <a:gd name="T65" fmla="*/ 79 h 582"/>
                  <a:gd name="T66" fmla="*/ 73 w 689"/>
                  <a:gd name="T67" fmla="*/ 89 h 582"/>
                  <a:gd name="T68" fmla="*/ 58 w 689"/>
                  <a:gd name="T69" fmla="*/ 87 h 582"/>
                  <a:gd name="T70" fmla="*/ 46 w 689"/>
                  <a:gd name="T71" fmla="*/ 75 h 582"/>
                  <a:gd name="T72" fmla="*/ 44 w 689"/>
                  <a:gd name="T73" fmla="*/ 60 h 582"/>
                  <a:gd name="T74" fmla="*/ 54 w 689"/>
                  <a:gd name="T75" fmla="*/ 46 h 582"/>
                  <a:gd name="T76" fmla="*/ 67 w 689"/>
                  <a:gd name="T77" fmla="*/ 40 h 582"/>
                  <a:gd name="T78" fmla="*/ 646 w 689"/>
                  <a:gd name="T79" fmla="*/ 518 h 582"/>
                  <a:gd name="T80" fmla="*/ 628 w 689"/>
                  <a:gd name="T81" fmla="*/ 535 h 582"/>
                  <a:gd name="T82" fmla="*/ 73 w 689"/>
                  <a:gd name="T83" fmla="*/ 538 h 582"/>
                  <a:gd name="T84" fmla="*/ 50 w 689"/>
                  <a:gd name="T85" fmla="*/ 528 h 582"/>
                  <a:gd name="T86" fmla="*/ 40 w 689"/>
                  <a:gd name="T87" fmla="*/ 505 h 582"/>
                  <a:gd name="T88" fmla="*/ 43 w 689"/>
                  <a:gd name="T89" fmla="*/ 172 h 582"/>
                  <a:gd name="T90" fmla="*/ 61 w 689"/>
                  <a:gd name="T91" fmla="*/ 155 h 582"/>
                  <a:gd name="T92" fmla="*/ 616 w 689"/>
                  <a:gd name="T93" fmla="*/ 152 h 582"/>
                  <a:gd name="T94" fmla="*/ 639 w 689"/>
                  <a:gd name="T95" fmla="*/ 162 h 582"/>
                  <a:gd name="T96" fmla="*/ 649 w 689"/>
                  <a:gd name="T97" fmla="*/ 185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9" h="582">
                    <a:moveTo>
                      <a:pt x="657" y="0"/>
                    </a:moveTo>
                    <a:lnTo>
                      <a:pt x="32" y="0"/>
                    </a:lnTo>
                    <a:lnTo>
                      <a:pt x="32" y="0"/>
                    </a:lnTo>
                    <a:lnTo>
                      <a:pt x="26" y="0"/>
                    </a:lnTo>
                    <a:lnTo>
                      <a:pt x="19" y="3"/>
                    </a:lnTo>
                    <a:lnTo>
                      <a:pt x="13" y="5"/>
                    </a:lnTo>
                    <a:lnTo>
                      <a:pt x="9" y="9"/>
                    </a:lnTo>
                    <a:lnTo>
                      <a:pt x="5" y="15"/>
                    </a:lnTo>
                    <a:lnTo>
                      <a:pt x="3" y="20"/>
                    </a:lnTo>
                    <a:lnTo>
                      <a:pt x="0" y="25"/>
                    </a:lnTo>
                    <a:lnTo>
                      <a:pt x="0" y="32"/>
                    </a:lnTo>
                    <a:lnTo>
                      <a:pt x="0" y="550"/>
                    </a:lnTo>
                    <a:lnTo>
                      <a:pt x="0" y="550"/>
                    </a:lnTo>
                    <a:lnTo>
                      <a:pt x="0" y="557"/>
                    </a:lnTo>
                    <a:lnTo>
                      <a:pt x="3" y="562"/>
                    </a:lnTo>
                    <a:lnTo>
                      <a:pt x="5" y="567"/>
                    </a:lnTo>
                    <a:lnTo>
                      <a:pt x="9" y="573"/>
                    </a:lnTo>
                    <a:lnTo>
                      <a:pt x="13" y="577"/>
                    </a:lnTo>
                    <a:lnTo>
                      <a:pt x="19" y="580"/>
                    </a:lnTo>
                    <a:lnTo>
                      <a:pt x="26" y="582"/>
                    </a:lnTo>
                    <a:lnTo>
                      <a:pt x="32" y="582"/>
                    </a:lnTo>
                    <a:lnTo>
                      <a:pt x="657" y="582"/>
                    </a:lnTo>
                    <a:lnTo>
                      <a:pt x="657" y="582"/>
                    </a:lnTo>
                    <a:lnTo>
                      <a:pt x="663" y="582"/>
                    </a:lnTo>
                    <a:lnTo>
                      <a:pt x="669" y="580"/>
                    </a:lnTo>
                    <a:lnTo>
                      <a:pt x="674" y="577"/>
                    </a:lnTo>
                    <a:lnTo>
                      <a:pt x="680" y="573"/>
                    </a:lnTo>
                    <a:lnTo>
                      <a:pt x="684" y="567"/>
                    </a:lnTo>
                    <a:lnTo>
                      <a:pt x="686" y="562"/>
                    </a:lnTo>
                    <a:lnTo>
                      <a:pt x="689" y="557"/>
                    </a:lnTo>
                    <a:lnTo>
                      <a:pt x="689" y="550"/>
                    </a:lnTo>
                    <a:lnTo>
                      <a:pt x="689" y="32"/>
                    </a:lnTo>
                    <a:lnTo>
                      <a:pt x="689" y="32"/>
                    </a:lnTo>
                    <a:lnTo>
                      <a:pt x="689" y="25"/>
                    </a:lnTo>
                    <a:lnTo>
                      <a:pt x="686" y="20"/>
                    </a:lnTo>
                    <a:lnTo>
                      <a:pt x="684" y="15"/>
                    </a:lnTo>
                    <a:lnTo>
                      <a:pt x="680" y="9"/>
                    </a:lnTo>
                    <a:lnTo>
                      <a:pt x="674" y="5"/>
                    </a:lnTo>
                    <a:lnTo>
                      <a:pt x="669" y="3"/>
                    </a:lnTo>
                    <a:lnTo>
                      <a:pt x="663" y="0"/>
                    </a:lnTo>
                    <a:lnTo>
                      <a:pt x="657" y="0"/>
                    </a:lnTo>
                    <a:lnTo>
                      <a:pt x="657" y="0"/>
                    </a:lnTo>
                    <a:close/>
                    <a:moveTo>
                      <a:pt x="231" y="40"/>
                    </a:moveTo>
                    <a:lnTo>
                      <a:pt x="231" y="40"/>
                    </a:lnTo>
                    <a:lnTo>
                      <a:pt x="236" y="42"/>
                    </a:lnTo>
                    <a:lnTo>
                      <a:pt x="240" y="43"/>
                    </a:lnTo>
                    <a:lnTo>
                      <a:pt x="244" y="46"/>
                    </a:lnTo>
                    <a:lnTo>
                      <a:pt x="248" y="48"/>
                    </a:lnTo>
                    <a:lnTo>
                      <a:pt x="251" y="51"/>
                    </a:lnTo>
                    <a:lnTo>
                      <a:pt x="253" y="55"/>
                    </a:lnTo>
                    <a:lnTo>
                      <a:pt x="255" y="60"/>
                    </a:lnTo>
                    <a:lnTo>
                      <a:pt x="255" y="66"/>
                    </a:lnTo>
                    <a:lnTo>
                      <a:pt x="255" y="66"/>
                    </a:lnTo>
                    <a:lnTo>
                      <a:pt x="255" y="70"/>
                    </a:lnTo>
                    <a:lnTo>
                      <a:pt x="253" y="75"/>
                    </a:lnTo>
                    <a:lnTo>
                      <a:pt x="251" y="79"/>
                    </a:lnTo>
                    <a:lnTo>
                      <a:pt x="248" y="82"/>
                    </a:lnTo>
                    <a:lnTo>
                      <a:pt x="244" y="86"/>
                    </a:lnTo>
                    <a:lnTo>
                      <a:pt x="240" y="87"/>
                    </a:lnTo>
                    <a:lnTo>
                      <a:pt x="236" y="89"/>
                    </a:lnTo>
                    <a:lnTo>
                      <a:pt x="231" y="90"/>
                    </a:lnTo>
                    <a:lnTo>
                      <a:pt x="231" y="90"/>
                    </a:lnTo>
                    <a:lnTo>
                      <a:pt x="226" y="89"/>
                    </a:lnTo>
                    <a:lnTo>
                      <a:pt x="221" y="87"/>
                    </a:lnTo>
                    <a:lnTo>
                      <a:pt x="217" y="86"/>
                    </a:lnTo>
                    <a:lnTo>
                      <a:pt x="213" y="82"/>
                    </a:lnTo>
                    <a:lnTo>
                      <a:pt x="210" y="79"/>
                    </a:lnTo>
                    <a:lnTo>
                      <a:pt x="209" y="75"/>
                    </a:lnTo>
                    <a:lnTo>
                      <a:pt x="208" y="70"/>
                    </a:lnTo>
                    <a:lnTo>
                      <a:pt x="206" y="66"/>
                    </a:lnTo>
                    <a:lnTo>
                      <a:pt x="206" y="66"/>
                    </a:lnTo>
                    <a:lnTo>
                      <a:pt x="208" y="60"/>
                    </a:lnTo>
                    <a:lnTo>
                      <a:pt x="209" y="55"/>
                    </a:lnTo>
                    <a:lnTo>
                      <a:pt x="210" y="51"/>
                    </a:lnTo>
                    <a:lnTo>
                      <a:pt x="213" y="48"/>
                    </a:lnTo>
                    <a:lnTo>
                      <a:pt x="217" y="46"/>
                    </a:lnTo>
                    <a:lnTo>
                      <a:pt x="221" y="43"/>
                    </a:lnTo>
                    <a:lnTo>
                      <a:pt x="226" y="42"/>
                    </a:lnTo>
                    <a:lnTo>
                      <a:pt x="231" y="40"/>
                    </a:lnTo>
                    <a:lnTo>
                      <a:pt x="231" y="40"/>
                    </a:lnTo>
                    <a:close/>
                    <a:moveTo>
                      <a:pt x="150" y="40"/>
                    </a:moveTo>
                    <a:lnTo>
                      <a:pt x="150" y="40"/>
                    </a:lnTo>
                    <a:lnTo>
                      <a:pt x="154" y="42"/>
                    </a:lnTo>
                    <a:lnTo>
                      <a:pt x="159" y="43"/>
                    </a:lnTo>
                    <a:lnTo>
                      <a:pt x="163" y="46"/>
                    </a:lnTo>
                    <a:lnTo>
                      <a:pt x="167" y="48"/>
                    </a:lnTo>
                    <a:lnTo>
                      <a:pt x="170" y="51"/>
                    </a:lnTo>
                    <a:lnTo>
                      <a:pt x="173" y="55"/>
                    </a:lnTo>
                    <a:lnTo>
                      <a:pt x="174" y="60"/>
                    </a:lnTo>
                    <a:lnTo>
                      <a:pt x="174" y="66"/>
                    </a:lnTo>
                    <a:lnTo>
                      <a:pt x="174" y="66"/>
                    </a:lnTo>
                    <a:lnTo>
                      <a:pt x="174" y="70"/>
                    </a:lnTo>
                    <a:lnTo>
                      <a:pt x="173" y="75"/>
                    </a:lnTo>
                    <a:lnTo>
                      <a:pt x="170" y="79"/>
                    </a:lnTo>
                    <a:lnTo>
                      <a:pt x="167" y="82"/>
                    </a:lnTo>
                    <a:lnTo>
                      <a:pt x="163" y="86"/>
                    </a:lnTo>
                    <a:lnTo>
                      <a:pt x="159" y="87"/>
                    </a:lnTo>
                    <a:lnTo>
                      <a:pt x="154" y="89"/>
                    </a:lnTo>
                    <a:lnTo>
                      <a:pt x="150" y="90"/>
                    </a:lnTo>
                    <a:lnTo>
                      <a:pt x="150" y="90"/>
                    </a:lnTo>
                    <a:lnTo>
                      <a:pt x="144" y="89"/>
                    </a:lnTo>
                    <a:lnTo>
                      <a:pt x="140" y="87"/>
                    </a:lnTo>
                    <a:lnTo>
                      <a:pt x="136" y="86"/>
                    </a:lnTo>
                    <a:lnTo>
                      <a:pt x="132" y="82"/>
                    </a:lnTo>
                    <a:lnTo>
                      <a:pt x="129" y="79"/>
                    </a:lnTo>
                    <a:lnTo>
                      <a:pt x="127" y="75"/>
                    </a:lnTo>
                    <a:lnTo>
                      <a:pt x="125" y="70"/>
                    </a:lnTo>
                    <a:lnTo>
                      <a:pt x="125" y="66"/>
                    </a:lnTo>
                    <a:lnTo>
                      <a:pt x="125" y="66"/>
                    </a:lnTo>
                    <a:lnTo>
                      <a:pt x="125" y="60"/>
                    </a:lnTo>
                    <a:lnTo>
                      <a:pt x="127" y="55"/>
                    </a:lnTo>
                    <a:lnTo>
                      <a:pt x="129" y="51"/>
                    </a:lnTo>
                    <a:lnTo>
                      <a:pt x="132" y="48"/>
                    </a:lnTo>
                    <a:lnTo>
                      <a:pt x="136" y="46"/>
                    </a:lnTo>
                    <a:lnTo>
                      <a:pt x="140" y="43"/>
                    </a:lnTo>
                    <a:lnTo>
                      <a:pt x="144" y="42"/>
                    </a:lnTo>
                    <a:lnTo>
                      <a:pt x="150" y="40"/>
                    </a:lnTo>
                    <a:lnTo>
                      <a:pt x="150" y="40"/>
                    </a:lnTo>
                    <a:close/>
                    <a:moveTo>
                      <a:pt x="67" y="40"/>
                    </a:moveTo>
                    <a:lnTo>
                      <a:pt x="67" y="40"/>
                    </a:lnTo>
                    <a:lnTo>
                      <a:pt x="73" y="42"/>
                    </a:lnTo>
                    <a:lnTo>
                      <a:pt x="77" y="43"/>
                    </a:lnTo>
                    <a:lnTo>
                      <a:pt x="81" y="46"/>
                    </a:lnTo>
                    <a:lnTo>
                      <a:pt x="85" y="48"/>
                    </a:lnTo>
                    <a:lnTo>
                      <a:pt x="88" y="51"/>
                    </a:lnTo>
                    <a:lnTo>
                      <a:pt x="90" y="55"/>
                    </a:lnTo>
                    <a:lnTo>
                      <a:pt x="92" y="60"/>
                    </a:lnTo>
                    <a:lnTo>
                      <a:pt x="92" y="66"/>
                    </a:lnTo>
                    <a:lnTo>
                      <a:pt x="92" y="66"/>
                    </a:lnTo>
                    <a:lnTo>
                      <a:pt x="92" y="70"/>
                    </a:lnTo>
                    <a:lnTo>
                      <a:pt x="90" y="75"/>
                    </a:lnTo>
                    <a:lnTo>
                      <a:pt x="88" y="79"/>
                    </a:lnTo>
                    <a:lnTo>
                      <a:pt x="85" y="82"/>
                    </a:lnTo>
                    <a:lnTo>
                      <a:pt x="81" y="86"/>
                    </a:lnTo>
                    <a:lnTo>
                      <a:pt x="77" y="87"/>
                    </a:lnTo>
                    <a:lnTo>
                      <a:pt x="73" y="89"/>
                    </a:lnTo>
                    <a:lnTo>
                      <a:pt x="67" y="90"/>
                    </a:lnTo>
                    <a:lnTo>
                      <a:pt x="67" y="90"/>
                    </a:lnTo>
                    <a:lnTo>
                      <a:pt x="63" y="89"/>
                    </a:lnTo>
                    <a:lnTo>
                      <a:pt x="58" y="87"/>
                    </a:lnTo>
                    <a:lnTo>
                      <a:pt x="54" y="86"/>
                    </a:lnTo>
                    <a:lnTo>
                      <a:pt x="51" y="82"/>
                    </a:lnTo>
                    <a:lnTo>
                      <a:pt x="47" y="79"/>
                    </a:lnTo>
                    <a:lnTo>
                      <a:pt x="46" y="75"/>
                    </a:lnTo>
                    <a:lnTo>
                      <a:pt x="44" y="70"/>
                    </a:lnTo>
                    <a:lnTo>
                      <a:pt x="43" y="66"/>
                    </a:lnTo>
                    <a:lnTo>
                      <a:pt x="43" y="66"/>
                    </a:lnTo>
                    <a:lnTo>
                      <a:pt x="44" y="60"/>
                    </a:lnTo>
                    <a:lnTo>
                      <a:pt x="46" y="55"/>
                    </a:lnTo>
                    <a:lnTo>
                      <a:pt x="47" y="51"/>
                    </a:lnTo>
                    <a:lnTo>
                      <a:pt x="51" y="48"/>
                    </a:lnTo>
                    <a:lnTo>
                      <a:pt x="54" y="46"/>
                    </a:lnTo>
                    <a:lnTo>
                      <a:pt x="58" y="43"/>
                    </a:lnTo>
                    <a:lnTo>
                      <a:pt x="63" y="42"/>
                    </a:lnTo>
                    <a:lnTo>
                      <a:pt x="67" y="40"/>
                    </a:lnTo>
                    <a:lnTo>
                      <a:pt x="67" y="40"/>
                    </a:lnTo>
                    <a:close/>
                    <a:moveTo>
                      <a:pt x="649" y="505"/>
                    </a:moveTo>
                    <a:lnTo>
                      <a:pt x="649" y="505"/>
                    </a:lnTo>
                    <a:lnTo>
                      <a:pt x="647" y="511"/>
                    </a:lnTo>
                    <a:lnTo>
                      <a:pt x="646" y="518"/>
                    </a:lnTo>
                    <a:lnTo>
                      <a:pt x="643" y="523"/>
                    </a:lnTo>
                    <a:lnTo>
                      <a:pt x="639" y="528"/>
                    </a:lnTo>
                    <a:lnTo>
                      <a:pt x="634" y="532"/>
                    </a:lnTo>
                    <a:lnTo>
                      <a:pt x="628" y="535"/>
                    </a:lnTo>
                    <a:lnTo>
                      <a:pt x="623" y="536"/>
                    </a:lnTo>
                    <a:lnTo>
                      <a:pt x="616" y="538"/>
                    </a:lnTo>
                    <a:lnTo>
                      <a:pt x="73" y="538"/>
                    </a:lnTo>
                    <a:lnTo>
                      <a:pt x="73" y="538"/>
                    </a:lnTo>
                    <a:lnTo>
                      <a:pt x="66" y="536"/>
                    </a:lnTo>
                    <a:lnTo>
                      <a:pt x="61" y="535"/>
                    </a:lnTo>
                    <a:lnTo>
                      <a:pt x="55" y="532"/>
                    </a:lnTo>
                    <a:lnTo>
                      <a:pt x="50" y="528"/>
                    </a:lnTo>
                    <a:lnTo>
                      <a:pt x="46" y="523"/>
                    </a:lnTo>
                    <a:lnTo>
                      <a:pt x="43" y="518"/>
                    </a:lnTo>
                    <a:lnTo>
                      <a:pt x="40" y="511"/>
                    </a:lnTo>
                    <a:lnTo>
                      <a:pt x="40" y="505"/>
                    </a:lnTo>
                    <a:lnTo>
                      <a:pt x="40" y="185"/>
                    </a:lnTo>
                    <a:lnTo>
                      <a:pt x="40" y="185"/>
                    </a:lnTo>
                    <a:lnTo>
                      <a:pt x="40" y="179"/>
                    </a:lnTo>
                    <a:lnTo>
                      <a:pt x="43" y="172"/>
                    </a:lnTo>
                    <a:lnTo>
                      <a:pt x="46" y="167"/>
                    </a:lnTo>
                    <a:lnTo>
                      <a:pt x="50" y="162"/>
                    </a:lnTo>
                    <a:lnTo>
                      <a:pt x="55" y="158"/>
                    </a:lnTo>
                    <a:lnTo>
                      <a:pt x="61" y="155"/>
                    </a:lnTo>
                    <a:lnTo>
                      <a:pt x="66" y="154"/>
                    </a:lnTo>
                    <a:lnTo>
                      <a:pt x="73" y="152"/>
                    </a:lnTo>
                    <a:lnTo>
                      <a:pt x="616" y="152"/>
                    </a:lnTo>
                    <a:lnTo>
                      <a:pt x="616" y="152"/>
                    </a:lnTo>
                    <a:lnTo>
                      <a:pt x="623" y="154"/>
                    </a:lnTo>
                    <a:lnTo>
                      <a:pt x="628" y="155"/>
                    </a:lnTo>
                    <a:lnTo>
                      <a:pt x="634" y="158"/>
                    </a:lnTo>
                    <a:lnTo>
                      <a:pt x="639" y="162"/>
                    </a:lnTo>
                    <a:lnTo>
                      <a:pt x="643" y="167"/>
                    </a:lnTo>
                    <a:lnTo>
                      <a:pt x="646" y="172"/>
                    </a:lnTo>
                    <a:lnTo>
                      <a:pt x="647" y="179"/>
                    </a:lnTo>
                    <a:lnTo>
                      <a:pt x="649" y="185"/>
                    </a:lnTo>
                    <a:lnTo>
                      <a:pt x="649" y="505"/>
                    </a:lnTo>
                    <a:close/>
                  </a:path>
                </a:pathLst>
              </a:custGeom>
              <a:solidFill>
                <a:srgbClr val="435153">
                  <a:lumMod val="75000"/>
                </a:srgbClr>
              </a:solidFill>
              <a:ln>
                <a:noFill/>
              </a:ln>
              <a:extLst/>
            </p:spPr>
            <p:txBody>
              <a:bodyPr vert="horz" wrap="square" lIns="68544" tIns="34272" rIns="68544" bIns="34272" numCol="1" anchor="t" anchorCtr="0" compatLnSpc="1">
                <a:prstTxWarp prst="textNoShape">
                  <a:avLst/>
                </a:prstTxWarp>
              </a:bodyPr>
              <a:lstStyle/>
              <a:p>
                <a:pPr defTabSz="685594" fontAlgn="auto">
                  <a:spcBef>
                    <a:spcPts val="0"/>
                  </a:spcBef>
                  <a:spcAft>
                    <a:spcPts val="0"/>
                  </a:spcAft>
                  <a:defRPr/>
                </a:pPr>
                <a:endParaRPr lang="en-US" kern="0">
                  <a:latin typeface="+mj-lt"/>
                </a:endParaRPr>
              </a:p>
            </p:txBody>
          </p:sp>
        </p:grpSp>
        <p:sp>
          <p:nvSpPr>
            <p:cNvPr id="493" name="Rounded Rectangle 191"/>
            <p:cNvSpPr/>
            <p:nvPr/>
          </p:nvSpPr>
          <p:spPr>
            <a:xfrm>
              <a:off x="4913891" y="3155554"/>
              <a:ext cx="457200" cy="91440"/>
            </a:xfrm>
            <a:prstGeom prst="rect">
              <a:avLst/>
            </a:prstGeom>
            <a:noFill/>
            <a:ln w="25400" cap="flat" cmpd="sng" algn="ctr">
              <a:noFill/>
              <a:prstDash val="solid"/>
            </a:ln>
            <a:effectLst/>
          </p:spPr>
          <p:txBody>
            <a:bodyPr lIns="0" rIns="0" rtlCol="0" anchor="ctr"/>
            <a:lstStyle/>
            <a:p>
              <a:pPr algn="ctr" defTabSz="685282">
                <a:defRPr/>
              </a:pPr>
              <a:r>
                <a:rPr lang="en-US" sz="600" kern="0" dirty="0">
                  <a:latin typeface="+mj-lt"/>
                </a:rPr>
                <a:t>AnyConnect</a:t>
              </a:r>
            </a:p>
          </p:txBody>
        </p:sp>
      </p:grpSp>
      <p:sp>
        <p:nvSpPr>
          <p:cNvPr id="499" name="TextBox 498"/>
          <p:cNvSpPr txBox="1"/>
          <p:nvPr/>
        </p:nvSpPr>
        <p:spPr>
          <a:xfrm>
            <a:off x="8380248" y="1221828"/>
            <a:ext cx="409406" cy="230832"/>
          </a:xfrm>
          <a:prstGeom prst="rect">
            <a:avLst/>
          </a:prstGeom>
          <a:noFill/>
        </p:spPr>
        <p:txBody>
          <a:bodyPr wrap="square" rtlCol="0">
            <a:spAutoFit/>
          </a:bodyPr>
          <a:lstStyle/>
          <a:p>
            <a:r>
              <a:rPr lang="en-US" sz="900" dirty="0" smtClean="0">
                <a:solidFill>
                  <a:schemeClr val="bg1"/>
                </a:solidFill>
              </a:rPr>
              <a:t>CTA</a:t>
            </a:r>
            <a:endParaRPr lang="en-US" sz="900" dirty="0">
              <a:solidFill>
                <a:schemeClr val="bg1"/>
              </a:solidFill>
            </a:endParaRPr>
          </a:p>
        </p:txBody>
      </p:sp>
      <p:sp>
        <p:nvSpPr>
          <p:cNvPr id="500" name="Rectangle 499"/>
          <p:cNvSpPr/>
          <p:nvPr/>
        </p:nvSpPr>
        <p:spPr>
          <a:xfrm>
            <a:off x="8130086" y="1315521"/>
            <a:ext cx="537103" cy="462262"/>
          </a:xfrm>
          <a:prstGeom prst="rect">
            <a:avLst/>
          </a:prstGeom>
          <a:noFill/>
          <a:effectLst/>
        </p:spPr>
        <p:txBody>
          <a:bodyPr lIns="0" tIns="0" rIns="0" bIns="0" anchor="ctr">
            <a:noAutofit/>
          </a:bodyPr>
          <a:lstStyle/>
          <a:p>
            <a:pPr algn="ctr" defTabSz="685891" fontAlgn="auto">
              <a:spcBef>
                <a:spcPts val="0"/>
              </a:spcBef>
              <a:spcAft>
                <a:spcPts val="0"/>
              </a:spcAft>
            </a:pPr>
            <a:r>
              <a:rPr lang="ja-JP" altLang="en-US" sz="600" dirty="0">
                <a:solidFill>
                  <a:srgbClr val="FFFFFF"/>
                </a:solidFill>
                <a:latin typeface="Arial"/>
              </a:rPr>
              <a:t>振る舞い分析型の脅威</a:t>
            </a:r>
            <a:r>
              <a:rPr lang="ja-JP" altLang="en-US" sz="600" dirty="0" smtClean="0">
                <a:solidFill>
                  <a:srgbClr val="FFFFFF"/>
                </a:solidFill>
                <a:latin typeface="Arial"/>
              </a:rPr>
              <a:t>検知</a:t>
            </a:r>
            <a:endParaRPr lang="en-US" altLang="ja-JP" sz="600" dirty="0" smtClean="0">
              <a:solidFill>
                <a:srgbClr val="FFFFFF"/>
              </a:solidFill>
              <a:latin typeface="Arial"/>
            </a:endParaRPr>
          </a:p>
        </p:txBody>
      </p:sp>
      <p:grpSp>
        <p:nvGrpSpPr>
          <p:cNvPr id="430" name="Expand"/>
          <p:cNvGrpSpPr/>
          <p:nvPr/>
        </p:nvGrpSpPr>
        <p:grpSpPr>
          <a:xfrm>
            <a:off x="652270" y="678632"/>
            <a:ext cx="8283018" cy="2294616"/>
            <a:chOff x="576477" y="934429"/>
            <a:chExt cx="11044024" cy="3059488"/>
          </a:xfrm>
        </p:grpSpPr>
        <p:sp>
          <p:nvSpPr>
            <p:cNvPr id="431" name="Rectangle 8"/>
            <p:cNvSpPr/>
            <p:nvPr/>
          </p:nvSpPr>
          <p:spPr>
            <a:xfrm>
              <a:off x="576477" y="991244"/>
              <a:ext cx="11044024" cy="3002673"/>
            </a:xfrm>
            <a:prstGeom prst="rect">
              <a:avLst/>
            </a:prstGeom>
            <a:solidFill>
              <a:schemeClr val="bg1"/>
            </a:solidFill>
            <a:ln w="19050" cap="flat" cmpd="sng" algn="ctr">
              <a:solidFill>
                <a:schemeClr val="accent2"/>
              </a:solidFill>
              <a:prstDash val="solid"/>
            </a:ln>
            <a:effectLst/>
          </p:spPr>
          <p:txBody>
            <a:bodyPr rtlCol="0" anchor="ctr"/>
            <a:lstStyle/>
            <a:p>
              <a:pPr algn="ctr" defTabSz="913646">
                <a:defRPr/>
              </a:pPr>
              <a:endParaRPr lang="en-US" kern="0">
                <a:solidFill>
                  <a:prstClr val="white"/>
                </a:solidFill>
              </a:endParaRPr>
            </a:p>
          </p:txBody>
        </p:sp>
        <p:sp>
          <p:nvSpPr>
            <p:cNvPr id="432" name="Freeform 9"/>
            <p:cNvSpPr>
              <a:spLocks/>
            </p:cNvSpPr>
            <p:nvPr/>
          </p:nvSpPr>
          <p:spPr bwMode="auto">
            <a:xfrm>
              <a:off x="1906233" y="1549400"/>
              <a:ext cx="1175898" cy="2085975"/>
            </a:xfrm>
            <a:custGeom>
              <a:avLst/>
              <a:gdLst>
                <a:gd name="connsiteX0" fmla="*/ 0 w 1176097"/>
                <a:gd name="connsiteY0" fmla="*/ 0 h 2163591"/>
                <a:gd name="connsiteX1" fmla="*/ 102039 w 1176097"/>
                <a:gd name="connsiteY1" fmla="*/ 7446 h 2163591"/>
                <a:gd name="connsiteX2" fmla="*/ 962796 w 1176097"/>
                <a:gd name="connsiteY2" fmla="*/ 64117 h 2163591"/>
                <a:gd name="connsiteX3" fmla="*/ 1176097 w 1176097"/>
                <a:gd name="connsiteY3" fmla="*/ 76558 h 2163591"/>
                <a:gd name="connsiteX4" fmla="*/ 1176097 w 1176097"/>
                <a:gd name="connsiteY4" fmla="*/ 2089555 h 2163591"/>
                <a:gd name="connsiteX5" fmla="*/ 593730 w 1176097"/>
                <a:gd name="connsiteY5" fmla="*/ 2124889 h 2163591"/>
                <a:gd name="connsiteX6" fmla="*/ 0 w 1176097"/>
                <a:gd name="connsiteY6" fmla="*/ 2163591 h 2163591"/>
                <a:gd name="connsiteX0" fmla="*/ 0 w 1176097"/>
                <a:gd name="connsiteY0" fmla="*/ 0 h 2163591"/>
                <a:gd name="connsiteX1" fmla="*/ 962796 w 1176097"/>
                <a:gd name="connsiteY1" fmla="*/ 64117 h 2163591"/>
                <a:gd name="connsiteX2" fmla="*/ 1176097 w 1176097"/>
                <a:gd name="connsiteY2" fmla="*/ 76558 h 2163591"/>
                <a:gd name="connsiteX3" fmla="*/ 1176097 w 1176097"/>
                <a:gd name="connsiteY3" fmla="*/ 2089555 h 2163591"/>
                <a:gd name="connsiteX4" fmla="*/ 593730 w 1176097"/>
                <a:gd name="connsiteY4" fmla="*/ 2124889 h 2163591"/>
                <a:gd name="connsiteX5" fmla="*/ 0 w 1176097"/>
                <a:gd name="connsiteY5" fmla="*/ 2163591 h 2163591"/>
                <a:gd name="connsiteX6" fmla="*/ 0 w 1176097"/>
                <a:gd name="connsiteY6" fmla="*/ 0 h 2163591"/>
                <a:gd name="connsiteX0" fmla="*/ 0 w 1176097"/>
                <a:gd name="connsiteY0" fmla="*/ 0 h 2163591"/>
                <a:gd name="connsiteX1" fmla="*/ 1176097 w 1176097"/>
                <a:gd name="connsiteY1" fmla="*/ 76558 h 2163591"/>
                <a:gd name="connsiteX2" fmla="*/ 1176097 w 1176097"/>
                <a:gd name="connsiteY2" fmla="*/ 2089555 h 2163591"/>
                <a:gd name="connsiteX3" fmla="*/ 593730 w 1176097"/>
                <a:gd name="connsiteY3" fmla="*/ 2124889 h 2163591"/>
                <a:gd name="connsiteX4" fmla="*/ 0 w 1176097"/>
                <a:gd name="connsiteY4" fmla="*/ 2163591 h 2163591"/>
                <a:gd name="connsiteX5" fmla="*/ 0 w 1176097"/>
                <a:gd name="connsiteY5" fmla="*/ 0 h 2163591"/>
                <a:gd name="connsiteX0" fmla="*/ 0 w 1176097"/>
                <a:gd name="connsiteY0" fmla="*/ 0 h 2241240"/>
                <a:gd name="connsiteX1" fmla="*/ 1176097 w 1176097"/>
                <a:gd name="connsiteY1" fmla="*/ 154207 h 2241240"/>
                <a:gd name="connsiteX2" fmla="*/ 1176097 w 1176097"/>
                <a:gd name="connsiteY2" fmla="*/ 2167204 h 2241240"/>
                <a:gd name="connsiteX3" fmla="*/ 593730 w 1176097"/>
                <a:gd name="connsiteY3" fmla="*/ 2202538 h 2241240"/>
                <a:gd name="connsiteX4" fmla="*/ 0 w 1176097"/>
                <a:gd name="connsiteY4" fmla="*/ 2241240 h 2241240"/>
                <a:gd name="connsiteX5" fmla="*/ 0 w 1176097"/>
                <a:gd name="connsiteY5" fmla="*/ 0 h 2241240"/>
                <a:gd name="connsiteX0" fmla="*/ 0 w 1176097"/>
                <a:gd name="connsiteY0" fmla="*/ 0 h 2241240"/>
                <a:gd name="connsiteX1" fmla="*/ 1176097 w 1176097"/>
                <a:gd name="connsiteY1" fmla="*/ 154207 h 2241240"/>
                <a:gd name="connsiteX2" fmla="*/ 1176097 w 1176097"/>
                <a:gd name="connsiteY2" fmla="*/ 2167204 h 2241240"/>
                <a:gd name="connsiteX3" fmla="*/ 593730 w 1176097"/>
                <a:gd name="connsiteY3" fmla="*/ 2202538 h 2241240"/>
                <a:gd name="connsiteX4" fmla="*/ 0 w 1176097"/>
                <a:gd name="connsiteY4" fmla="*/ 2241240 h 2241240"/>
                <a:gd name="connsiteX5" fmla="*/ 0 w 1176097"/>
                <a:gd name="connsiteY5" fmla="*/ 0 h 2241240"/>
                <a:gd name="connsiteX0" fmla="*/ 0 w 1176097"/>
                <a:gd name="connsiteY0" fmla="*/ 0 h 2241240"/>
                <a:gd name="connsiteX1" fmla="*/ 1176097 w 1176097"/>
                <a:gd name="connsiteY1" fmla="*/ 154207 h 2241240"/>
                <a:gd name="connsiteX2" fmla="*/ 1176097 w 1176097"/>
                <a:gd name="connsiteY2" fmla="*/ 2167204 h 2241240"/>
                <a:gd name="connsiteX3" fmla="*/ 0 w 1176097"/>
                <a:gd name="connsiteY3" fmla="*/ 2241240 h 2241240"/>
                <a:gd name="connsiteX4" fmla="*/ 0 w 1176097"/>
                <a:gd name="connsiteY4" fmla="*/ 0 h 2241240"/>
                <a:gd name="connsiteX0" fmla="*/ 0 w 1176097"/>
                <a:gd name="connsiteY0" fmla="*/ 0 h 2318889"/>
                <a:gd name="connsiteX1" fmla="*/ 1176097 w 1176097"/>
                <a:gd name="connsiteY1" fmla="*/ 154207 h 2318889"/>
                <a:gd name="connsiteX2" fmla="*/ 1176097 w 1176097"/>
                <a:gd name="connsiteY2" fmla="*/ 2167204 h 2318889"/>
                <a:gd name="connsiteX3" fmla="*/ 3204 w 1176097"/>
                <a:gd name="connsiteY3" fmla="*/ 2318889 h 2318889"/>
                <a:gd name="connsiteX4" fmla="*/ 0 w 1176097"/>
                <a:gd name="connsiteY4" fmla="*/ 0 h 231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097" h="2318889">
                  <a:moveTo>
                    <a:pt x="0" y="0"/>
                  </a:moveTo>
                  <a:lnTo>
                    <a:pt x="1176097" y="154207"/>
                  </a:lnTo>
                  <a:lnTo>
                    <a:pt x="1176097" y="2167204"/>
                  </a:lnTo>
                  <a:lnTo>
                    <a:pt x="3204" y="2318889"/>
                  </a:lnTo>
                  <a:lnTo>
                    <a:pt x="0" y="0"/>
                  </a:lnTo>
                  <a:close/>
                </a:path>
              </a:pathLst>
            </a:custGeom>
            <a:solidFill>
              <a:schemeClr val="accent2"/>
            </a:solidFill>
            <a:ln>
              <a:noFill/>
            </a:ln>
          </p:spPr>
          <p:txBody>
            <a:bodyPr vert="horz" wrap="square" lIns="91416" tIns="365760" rIns="91416" bIns="45708" numCol="1" anchor="t" anchorCtr="0" compatLnSpc="1">
              <a:prstTxWarp prst="textNoShape">
                <a:avLst/>
              </a:prstTxWarp>
              <a:noAutofit/>
            </a:bodyPr>
            <a:lstStyle/>
            <a:p>
              <a:pPr algn="ctr" defTabSz="685588">
                <a:defRPr/>
              </a:pPr>
              <a:endParaRPr lang="en-US" sz="800" kern="0" dirty="0">
                <a:solidFill>
                  <a:srgbClr val="FFFFFF"/>
                </a:solidFill>
              </a:endParaRPr>
            </a:p>
          </p:txBody>
        </p:sp>
        <p:sp>
          <p:nvSpPr>
            <p:cNvPr id="442" name="Freeform 10"/>
            <p:cNvSpPr>
              <a:spLocks/>
            </p:cNvSpPr>
            <p:nvPr/>
          </p:nvSpPr>
          <p:spPr bwMode="auto">
            <a:xfrm>
              <a:off x="684494" y="1397794"/>
              <a:ext cx="1176231" cy="2402681"/>
            </a:xfrm>
            <a:custGeom>
              <a:avLst/>
              <a:gdLst>
                <a:gd name="connsiteX0" fmla="*/ 1082 w 1176097"/>
                <a:gd name="connsiteY0" fmla="*/ 0 h 2348139"/>
                <a:gd name="connsiteX1" fmla="*/ 897765 w 1176097"/>
                <a:gd name="connsiteY1" fmla="*/ 70453 h 2348139"/>
                <a:gd name="connsiteX2" fmla="*/ 1176097 w 1176097"/>
                <a:gd name="connsiteY2" fmla="*/ 90765 h 2348139"/>
                <a:gd name="connsiteX3" fmla="*/ 1176097 w 1176097"/>
                <a:gd name="connsiteY3" fmla="*/ 2260974 h 2348139"/>
                <a:gd name="connsiteX4" fmla="*/ 910080 w 1176097"/>
                <a:gd name="connsiteY4" fmla="*/ 2278314 h 2348139"/>
                <a:gd name="connsiteX5" fmla="*/ 0 w 1176097"/>
                <a:gd name="connsiteY5" fmla="*/ 2348139 h 2348139"/>
                <a:gd name="connsiteX6" fmla="*/ 1082 w 1176097"/>
                <a:gd name="connsiteY6" fmla="*/ 0 h 2348139"/>
                <a:gd name="connsiteX0" fmla="*/ 1082 w 1176097"/>
                <a:gd name="connsiteY0" fmla="*/ 0 h 2348139"/>
                <a:gd name="connsiteX1" fmla="*/ 1176097 w 1176097"/>
                <a:gd name="connsiteY1" fmla="*/ 90765 h 2348139"/>
                <a:gd name="connsiteX2" fmla="*/ 1176097 w 1176097"/>
                <a:gd name="connsiteY2" fmla="*/ 2260974 h 2348139"/>
                <a:gd name="connsiteX3" fmla="*/ 910080 w 1176097"/>
                <a:gd name="connsiteY3" fmla="*/ 2278314 h 2348139"/>
                <a:gd name="connsiteX4" fmla="*/ 0 w 1176097"/>
                <a:gd name="connsiteY4" fmla="*/ 2348139 h 2348139"/>
                <a:gd name="connsiteX5" fmla="*/ 1082 w 1176097"/>
                <a:gd name="connsiteY5" fmla="*/ 0 h 2348139"/>
                <a:gd name="connsiteX0" fmla="*/ 5846 w 1176097"/>
                <a:gd name="connsiteY0" fmla="*/ 0 h 2399612"/>
                <a:gd name="connsiteX1" fmla="*/ 1176097 w 1176097"/>
                <a:gd name="connsiteY1" fmla="*/ 142238 h 2399612"/>
                <a:gd name="connsiteX2" fmla="*/ 1176097 w 1176097"/>
                <a:gd name="connsiteY2" fmla="*/ 2312447 h 2399612"/>
                <a:gd name="connsiteX3" fmla="*/ 910080 w 1176097"/>
                <a:gd name="connsiteY3" fmla="*/ 2329787 h 2399612"/>
                <a:gd name="connsiteX4" fmla="*/ 0 w 1176097"/>
                <a:gd name="connsiteY4" fmla="*/ 2399612 h 2399612"/>
                <a:gd name="connsiteX5" fmla="*/ 5846 w 1176097"/>
                <a:gd name="connsiteY5" fmla="*/ 0 h 2399612"/>
                <a:gd name="connsiteX0" fmla="*/ 5846 w 1176097"/>
                <a:gd name="connsiteY0" fmla="*/ 0 h 2399612"/>
                <a:gd name="connsiteX1" fmla="*/ 1176097 w 1176097"/>
                <a:gd name="connsiteY1" fmla="*/ 142238 h 2399612"/>
                <a:gd name="connsiteX2" fmla="*/ 1176097 w 1176097"/>
                <a:gd name="connsiteY2" fmla="*/ 2312447 h 2399612"/>
                <a:gd name="connsiteX3" fmla="*/ 910080 w 1176097"/>
                <a:gd name="connsiteY3" fmla="*/ 2329787 h 2399612"/>
                <a:gd name="connsiteX4" fmla="*/ 0 w 1176097"/>
                <a:gd name="connsiteY4" fmla="*/ 2399612 h 2399612"/>
                <a:gd name="connsiteX5" fmla="*/ 5846 w 1176097"/>
                <a:gd name="connsiteY5" fmla="*/ 0 h 2399612"/>
                <a:gd name="connsiteX0" fmla="*/ 5846 w 1176097"/>
                <a:gd name="connsiteY0" fmla="*/ 0 h 2399612"/>
                <a:gd name="connsiteX1" fmla="*/ 1176097 w 1176097"/>
                <a:gd name="connsiteY1" fmla="*/ 142238 h 2399612"/>
                <a:gd name="connsiteX2" fmla="*/ 1176097 w 1176097"/>
                <a:gd name="connsiteY2" fmla="*/ 2312447 h 2399612"/>
                <a:gd name="connsiteX3" fmla="*/ 0 w 1176097"/>
                <a:gd name="connsiteY3" fmla="*/ 2399612 h 2399612"/>
                <a:gd name="connsiteX4" fmla="*/ 5846 w 1176097"/>
                <a:gd name="connsiteY4" fmla="*/ 0 h 2399612"/>
                <a:gd name="connsiteX0" fmla="*/ 3799 w 1174050"/>
                <a:gd name="connsiteY0" fmla="*/ 0 h 2478047"/>
                <a:gd name="connsiteX1" fmla="*/ 1174050 w 1174050"/>
                <a:gd name="connsiteY1" fmla="*/ 142238 h 2478047"/>
                <a:gd name="connsiteX2" fmla="*/ 1174050 w 1174050"/>
                <a:gd name="connsiteY2" fmla="*/ 2312447 h 2478047"/>
                <a:gd name="connsiteX3" fmla="*/ 334 w 1174050"/>
                <a:gd name="connsiteY3" fmla="*/ 2478047 h 2478047"/>
                <a:gd name="connsiteX4" fmla="*/ 3799 w 1174050"/>
                <a:gd name="connsiteY4" fmla="*/ 0 h 2478047"/>
                <a:gd name="connsiteX0" fmla="*/ 3134 w 1173385"/>
                <a:gd name="connsiteY0" fmla="*/ 0 h 2475595"/>
                <a:gd name="connsiteX1" fmla="*/ 1173385 w 1173385"/>
                <a:gd name="connsiteY1" fmla="*/ 142238 h 2475595"/>
                <a:gd name="connsiteX2" fmla="*/ 1173385 w 1173385"/>
                <a:gd name="connsiteY2" fmla="*/ 2312447 h 2475595"/>
                <a:gd name="connsiteX3" fmla="*/ 2050 w 1173385"/>
                <a:gd name="connsiteY3" fmla="*/ 2475595 h 2475595"/>
                <a:gd name="connsiteX4" fmla="*/ 3134 w 1173385"/>
                <a:gd name="connsiteY4" fmla="*/ 0 h 2475595"/>
                <a:gd name="connsiteX0" fmla="*/ 3798 w 1174049"/>
                <a:gd name="connsiteY0" fmla="*/ 0 h 2473144"/>
                <a:gd name="connsiteX1" fmla="*/ 1174049 w 1174049"/>
                <a:gd name="connsiteY1" fmla="*/ 142238 h 2473144"/>
                <a:gd name="connsiteX2" fmla="*/ 1174049 w 1174049"/>
                <a:gd name="connsiteY2" fmla="*/ 2312447 h 2473144"/>
                <a:gd name="connsiteX3" fmla="*/ 333 w 1174049"/>
                <a:gd name="connsiteY3" fmla="*/ 2473144 h 2473144"/>
                <a:gd name="connsiteX4" fmla="*/ 3798 w 1174049"/>
                <a:gd name="connsiteY4" fmla="*/ 0 h 2473144"/>
                <a:gd name="connsiteX0" fmla="*/ 3798 w 1176430"/>
                <a:gd name="connsiteY0" fmla="*/ 0 h 2473144"/>
                <a:gd name="connsiteX1" fmla="*/ 1176430 w 1176430"/>
                <a:gd name="connsiteY1" fmla="*/ 152042 h 2473144"/>
                <a:gd name="connsiteX2" fmla="*/ 1174049 w 1176430"/>
                <a:gd name="connsiteY2" fmla="*/ 2312447 h 2473144"/>
                <a:gd name="connsiteX3" fmla="*/ 333 w 1176430"/>
                <a:gd name="connsiteY3" fmla="*/ 2473144 h 2473144"/>
                <a:gd name="connsiteX4" fmla="*/ 3798 w 1176430"/>
                <a:gd name="connsiteY4" fmla="*/ 0 h 2473144"/>
                <a:gd name="connsiteX0" fmla="*/ 3798 w 1176430"/>
                <a:gd name="connsiteY0" fmla="*/ 0 h 2473144"/>
                <a:gd name="connsiteX1" fmla="*/ 1176430 w 1176430"/>
                <a:gd name="connsiteY1" fmla="*/ 152042 h 2473144"/>
                <a:gd name="connsiteX2" fmla="*/ 1174049 w 1176430"/>
                <a:gd name="connsiteY2" fmla="*/ 2312447 h 2473144"/>
                <a:gd name="connsiteX3" fmla="*/ 333 w 1176430"/>
                <a:gd name="connsiteY3" fmla="*/ 2473144 h 2473144"/>
                <a:gd name="connsiteX4" fmla="*/ 3798 w 1176430"/>
                <a:gd name="connsiteY4" fmla="*/ 0 h 247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430" h="2473144">
                  <a:moveTo>
                    <a:pt x="3798" y="0"/>
                  </a:moveTo>
                  <a:lnTo>
                    <a:pt x="1176430" y="152042"/>
                  </a:lnTo>
                  <a:cubicBezTo>
                    <a:pt x="1172460" y="989829"/>
                    <a:pt x="1174843" y="1592312"/>
                    <a:pt x="1174049" y="2312447"/>
                  </a:cubicBezTo>
                  <a:lnTo>
                    <a:pt x="333" y="2473144"/>
                  </a:lnTo>
                  <a:cubicBezTo>
                    <a:pt x="2858" y="119666"/>
                    <a:pt x="-3854" y="2349318"/>
                    <a:pt x="3798" y="0"/>
                  </a:cubicBezTo>
                  <a:close/>
                </a:path>
              </a:pathLst>
            </a:custGeom>
            <a:solidFill>
              <a:schemeClr val="accent1"/>
            </a:solidFill>
            <a:ln>
              <a:noFill/>
            </a:ln>
          </p:spPr>
          <p:txBody>
            <a:bodyPr vert="horz" wrap="square" lIns="91440" tIns="457200" rIns="91416" bIns="45708" numCol="1" anchor="t" anchorCtr="0" compatLnSpc="1">
              <a:prstTxWarp prst="textNoShape">
                <a:avLst/>
              </a:prstTxWarp>
              <a:noAutofit/>
            </a:bodyPr>
            <a:lstStyle/>
            <a:p>
              <a:pPr algn="ctr" defTabSz="685588">
                <a:defRPr/>
              </a:pPr>
              <a:endParaRPr lang="en-US" sz="800" kern="0" dirty="0">
                <a:solidFill>
                  <a:srgbClr val="FFFFFF"/>
                </a:solidFill>
              </a:endParaRPr>
            </a:p>
          </p:txBody>
        </p:sp>
        <p:sp>
          <p:nvSpPr>
            <p:cNvPr id="449" name="Freeform 11"/>
            <p:cNvSpPr/>
            <p:nvPr/>
          </p:nvSpPr>
          <p:spPr>
            <a:xfrm>
              <a:off x="3132641" y="1692560"/>
              <a:ext cx="3000473" cy="1807469"/>
            </a:xfrm>
            <a:custGeom>
              <a:avLst/>
              <a:gdLst>
                <a:gd name="connsiteX0" fmla="*/ 0 w 1176097"/>
                <a:gd name="connsiteY0" fmla="*/ 0 h 2007297"/>
                <a:gd name="connsiteX1" fmla="*/ 189033 w 1176097"/>
                <a:gd name="connsiteY1" fmla="*/ 11026 h 2007297"/>
                <a:gd name="connsiteX2" fmla="*/ 1173572 w 1176097"/>
                <a:gd name="connsiteY2" fmla="*/ 61504 h 2007297"/>
                <a:gd name="connsiteX3" fmla="*/ 1176097 w 1176097"/>
                <a:gd name="connsiteY3" fmla="*/ 1933609 h 2007297"/>
                <a:gd name="connsiteX4" fmla="*/ 274539 w 1176097"/>
                <a:gd name="connsiteY4" fmla="*/ 1990640 h 2007297"/>
                <a:gd name="connsiteX5" fmla="*/ 0 w 1176097"/>
                <a:gd name="connsiteY5" fmla="*/ 2007297 h 2007297"/>
                <a:gd name="connsiteX0" fmla="*/ 0 w 1176097"/>
                <a:gd name="connsiteY0" fmla="*/ 0 h 2007297"/>
                <a:gd name="connsiteX1" fmla="*/ 1173572 w 1176097"/>
                <a:gd name="connsiteY1" fmla="*/ 61504 h 2007297"/>
                <a:gd name="connsiteX2" fmla="*/ 1176097 w 1176097"/>
                <a:gd name="connsiteY2" fmla="*/ 1933609 h 2007297"/>
                <a:gd name="connsiteX3" fmla="*/ 274539 w 1176097"/>
                <a:gd name="connsiteY3" fmla="*/ 1990640 h 2007297"/>
                <a:gd name="connsiteX4" fmla="*/ 0 w 1176097"/>
                <a:gd name="connsiteY4" fmla="*/ 2007297 h 2007297"/>
                <a:gd name="connsiteX5" fmla="*/ 0 w 1176097"/>
                <a:gd name="connsiteY5" fmla="*/ 0 h 2007297"/>
                <a:gd name="connsiteX0" fmla="*/ 0 w 1176097"/>
                <a:gd name="connsiteY0" fmla="*/ 0 h 2007297"/>
                <a:gd name="connsiteX1" fmla="*/ 1171705 w 1176097"/>
                <a:gd name="connsiteY1" fmla="*/ 137704 h 2007297"/>
                <a:gd name="connsiteX2" fmla="*/ 1176097 w 1176097"/>
                <a:gd name="connsiteY2" fmla="*/ 1933609 h 2007297"/>
                <a:gd name="connsiteX3" fmla="*/ 274539 w 1176097"/>
                <a:gd name="connsiteY3" fmla="*/ 1990640 h 2007297"/>
                <a:gd name="connsiteX4" fmla="*/ 0 w 1176097"/>
                <a:gd name="connsiteY4" fmla="*/ 2007297 h 2007297"/>
                <a:gd name="connsiteX5" fmla="*/ 0 w 1176097"/>
                <a:gd name="connsiteY5" fmla="*/ 0 h 2007297"/>
                <a:gd name="connsiteX0" fmla="*/ 0 w 1176097"/>
                <a:gd name="connsiteY0" fmla="*/ 0 h 2007297"/>
                <a:gd name="connsiteX1" fmla="*/ 1171705 w 1176097"/>
                <a:gd name="connsiteY1" fmla="*/ 137704 h 2007297"/>
                <a:gd name="connsiteX2" fmla="*/ 1176097 w 1176097"/>
                <a:gd name="connsiteY2" fmla="*/ 1933609 h 2007297"/>
                <a:gd name="connsiteX3" fmla="*/ 0 w 1176097"/>
                <a:gd name="connsiteY3" fmla="*/ 2007297 h 2007297"/>
                <a:gd name="connsiteX4" fmla="*/ 0 w 1176097"/>
                <a:gd name="connsiteY4" fmla="*/ 0 h 2007297"/>
                <a:gd name="connsiteX0" fmla="*/ 0 w 1174230"/>
                <a:gd name="connsiteY0" fmla="*/ 0 h 2007297"/>
                <a:gd name="connsiteX1" fmla="*/ 1171705 w 1174230"/>
                <a:gd name="connsiteY1" fmla="*/ 137704 h 2007297"/>
                <a:gd name="connsiteX2" fmla="*/ 1174230 w 1174230"/>
                <a:gd name="connsiteY2" fmla="*/ 1871697 h 2007297"/>
                <a:gd name="connsiteX3" fmla="*/ 0 w 1174230"/>
                <a:gd name="connsiteY3" fmla="*/ 2007297 h 2007297"/>
                <a:gd name="connsiteX4" fmla="*/ 0 w 1174230"/>
                <a:gd name="connsiteY4" fmla="*/ 0 h 2007297"/>
                <a:gd name="connsiteX0" fmla="*/ 0 w 1174230"/>
                <a:gd name="connsiteY0" fmla="*/ 0 h 2007297"/>
                <a:gd name="connsiteX1" fmla="*/ 1171705 w 1174230"/>
                <a:gd name="connsiteY1" fmla="*/ 289322 h 2007297"/>
                <a:gd name="connsiteX2" fmla="*/ 1174230 w 1174230"/>
                <a:gd name="connsiteY2" fmla="*/ 1871697 h 2007297"/>
                <a:gd name="connsiteX3" fmla="*/ 0 w 1174230"/>
                <a:gd name="connsiteY3" fmla="*/ 2007297 h 2007297"/>
                <a:gd name="connsiteX4" fmla="*/ 0 w 1174230"/>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89" h="2007297">
                  <a:moveTo>
                    <a:pt x="0" y="0"/>
                  </a:moveTo>
                  <a:cubicBezTo>
                    <a:pt x="399257" y="142279"/>
                    <a:pt x="786102" y="224616"/>
                    <a:pt x="1171705" y="289322"/>
                  </a:cubicBezTo>
                  <a:cubicBezTo>
                    <a:pt x="1172427" y="961711"/>
                    <a:pt x="1172268" y="1019481"/>
                    <a:pt x="1172989" y="1691870"/>
                  </a:cubicBezTo>
                  <a:cubicBezTo>
                    <a:pt x="711244" y="1782908"/>
                    <a:pt x="379825" y="1870421"/>
                    <a:pt x="0" y="2007297"/>
                  </a:cubicBezTo>
                  <a:lnTo>
                    <a:pt x="0" y="0"/>
                  </a:lnTo>
                  <a:close/>
                </a:path>
              </a:pathLst>
            </a:custGeom>
            <a:solidFill>
              <a:schemeClr val="accent2"/>
            </a:solidFill>
            <a:ln>
              <a:noFill/>
            </a:ln>
          </p:spPr>
          <p:txBody>
            <a:bodyPr vert="horz" wrap="square" lIns="457200" tIns="137160" rIns="91440" bIns="45708" numCol="1" anchor="t" anchorCtr="0" compatLnSpc="1">
              <a:prstTxWarp prst="textNoShape">
                <a:avLst/>
              </a:prstTxWarp>
              <a:noAutofit/>
            </a:bodyPr>
            <a:lstStyle/>
            <a:p>
              <a:pPr defTabSz="685588"/>
              <a:r>
                <a:rPr lang="ja-JP" altLang="en-US" sz="800" dirty="0">
                  <a:solidFill>
                    <a:srgbClr val="FFFFFF"/>
                  </a:solidFill>
                </a:rPr>
                <a:t>レイヤ</a:t>
              </a:r>
              <a:r>
                <a:rPr lang="en-US" sz="800" dirty="0">
                  <a:solidFill>
                    <a:srgbClr val="FFFFFF"/>
                  </a:solidFill>
                </a:rPr>
                <a:t>1</a:t>
              </a:r>
            </a:p>
          </p:txBody>
        </p:sp>
        <p:sp>
          <p:nvSpPr>
            <p:cNvPr id="451" name="Rectangle 12"/>
            <p:cNvSpPr/>
            <p:nvPr/>
          </p:nvSpPr>
          <p:spPr>
            <a:xfrm>
              <a:off x="769574" y="934429"/>
              <a:ext cx="10732884" cy="3002673"/>
            </a:xfrm>
            <a:prstGeom prst="rect">
              <a:avLst/>
            </a:prstGeom>
            <a:noFill/>
            <a:ln w="3175" cap="flat" cmpd="sng" algn="ctr">
              <a:noFill/>
              <a:prstDash val="solid"/>
            </a:ln>
            <a:effectLst/>
          </p:spPr>
          <p:txBody>
            <a:bodyPr rtlCol="0" anchor="ctr"/>
            <a:lstStyle/>
            <a:p>
              <a:pPr algn="ctr" defTabSz="913646">
                <a:defRPr/>
              </a:pPr>
              <a:endParaRPr lang="en-US" kern="0">
                <a:solidFill>
                  <a:prstClr val="white"/>
                </a:solidFill>
              </a:endParaRPr>
            </a:p>
          </p:txBody>
        </p:sp>
        <p:sp>
          <p:nvSpPr>
            <p:cNvPr id="453" name="Rectangle 13"/>
            <p:cNvSpPr/>
            <p:nvPr/>
          </p:nvSpPr>
          <p:spPr>
            <a:xfrm rot="204779">
              <a:off x="734174" y="1169135"/>
              <a:ext cx="3459559" cy="246221"/>
            </a:xfrm>
            <a:prstGeom prst="rect">
              <a:avLst/>
            </a:prstGeom>
            <a:noFill/>
            <a:ln w="25400" cap="flat" cmpd="sng" algn="ctr">
              <a:noFill/>
              <a:prstDash val="solid"/>
            </a:ln>
            <a:effectLst/>
          </p:spPr>
          <p:txBody>
            <a:bodyPr wrap="square" lIns="0" tIns="0" rIns="0" bIns="0" rtlCol="0" anchor="ctr">
              <a:spAutoFit/>
            </a:bodyPr>
            <a:lstStyle/>
            <a:p>
              <a:pPr defTabSz="913920">
                <a:defRPr/>
              </a:pPr>
              <a:r>
                <a:rPr lang="en-US" sz="1200" kern="0" dirty="0">
                  <a:solidFill>
                    <a:srgbClr val="1A315D"/>
                  </a:solidFill>
                </a:rPr>
                <a:t>During</a:t>
              </a:r>
            </a:p>
          </p:txBody>
        </p:sp>
        <p:sp>
          <p:nvSpPr>
            <p:cNvPr id="463" name="Rectangle 14"/>
            <p:cNvSpPr/>
            <p:nvPr/>
          </p:nvSpPr>
          <p:spPr>
            <a:xfrm rot="60000">
              <a:off x="1944373" y="1194962"/>
              <a:ext cx="4200827" cy="246221"/>
            </a:xfrm>
            <a:prstGeom prst="rect">
              <a:avLst/>
            </a:prstGeom>
            <a:noFill/>
            <a:ln w="25400" cap="flat" cmpd="sng" algn="ctr">
              <a:noFill/>
              <a:prstDash val="solid"/>
            </a:ln>
            <a:effectLst/>
          </p:spPr>
          <p:txBody>
            <a:bodyPr wrap="square" lIns="0" tIns="0" rIns="0" bIns="0" rtlCol="0" anchor="ctr">
              <a:spAutoFit/>
            </a:bodyPr>
            <a:lstStyle/>
            <a:p>
              <a:pPr defTabSz="913920">
                <a:defRPr/>
              </a:pPr>
              <a:r>
                <a:rPr lang="en-US" sz="1200" kern="0" dirty="0">
                  <a:solidFill>
                    <a:srgbClr val="36A4D7"/>
                  </a:solidFill>
                </a:rPr>
                <a:t>After</a:t>
              </a:r>
            </a:p>
          </p:txBody>
        </p:sp>
        <p:sp>
          <p:nvSpPr>
            <p:cNvPr id="465" name="Freeform 15"/>
            <p:cNvSpPr/>
            <p:nvPr/>
          </p:nvSpPr>
          <p:spPr>
            <a:xfrm>
              <a:off x="6163732" y="1954751"/>
              <a:ext cx="2689271" cy="1264155"/>
            </a:xfrm>
            <a:custGeom>
              <a:avLst/>
              <a:gdLst>
                <a:gd name="connsiteX0" fmla="*/ 0 w 872969"/>
                <a:gd name="connsiteY0" fmla="*/ 0 h 1741045"/>
                <a:gd name="connsiteX1" fmla="*/ 146719 w 872969"/>
                <a:gd name="connsiteY1" fmla="*/ 4051 h 1741045"/>
                <a:gd name="connsiteX2" fmla="*/ 821075 w 872969"/>
                <a:gd name="connsiteY2" fmla="*/ 19904 h 1741045"/>
                <a:gd name="connsiteX3" fmla="*/ 872969 w 872969"/>
                <a:gd name="connsiteY3" fmla="*/ 21081 h 1741045"/>
                <a:gd name="connsiteX4" fmla="*/ 872969 w 872969"/>
                <a:gd name="connsiteY4" fmla="*/ 1714540 h 1741045"/>
                <a:gd name="connsiteX5" fmla="*/ 0 w 872969"/>
                <a:gd name="connsiteY5" fmla="*/ 1741045 h 1741045"/>
                <a:gd name="connsiteX0" fmla="*/ 0 w 872969"/>
                <a:gd name="connsiteY0" fmla="*/ 0 h 1741045"/>
                <a:gd name="connsiteX1" fmla="*/ 146719 w 872969"/>
                <a:gd name="connsiteY1" fmla="*/ 4051 h 1741045"/>
                <a:gd name="connsiteX2" fmla="*/ 821075 w 872969"/>
                <a:gd name="connsiteY2" fmla="*/ 19904 h 1741045"/>
                <a:gd name="connsiteX3" fmla="*/ 872969 w 872969"/>
                <a:gd name="connsiteY3" fmla="*/ 1714540 h 1741045"/>
                <a:gd name="connsiteX4" fmla="*/ 0 w 872969"/>
                <a:gd name="connsiteY4" fmla="*/ 1741045 h 1741045"/>
                <a:gd name="connsiteX5" fmla="*/ 0 w 872969"/>
                <a:gd name="connsiteY5" fmla="*/ 0 h 1741045"/>
                <a:gd name="connsiteX0" fmla="*/ 0 w 2560547"/>
                <a:gd name="connsiteY0" fmla="*/ 0 h 1741045"/>
                <a:gd name="connsiteX1" fmla="*/ 146719 w 2560547"/>
                <a:gd name="connsiteY1" fmla="*/ 4051 h 1741045"/>
                <a:gd name="connsiteX2" fmla="*/ 2560547 w 2560547"/>
                <a:gd name="connsiteY2" fmla="*/ 58004 h 1741045"/>
                <a:gd name="connsiteX3" fmla="*/ 872969 w 2560547"/>
                <a:gd name="connsiteY3" fmla="*/ 1714540 h 1741045"/>
                <a:gd name="connsiteX4" fmla="*/ 0 w 2560547"/>
                <a:gd name="connsiteY4" fmla="*/ 1741045 h 1741045"/>
                <a:gd name="connsiteX5" fmla="*/ 0 w 2560547"/>
                <a:gd name="connsiteY5" fmla="*/ 0 h 1741045"/>
                <a:gd name="connsiteX0" fmla="*/ 0 w 2684795"/>
                <a:gd name="connsiteY0" fmla="*/ 0 h 1741045"/>
                <a:gd name="connsiteX1" fmla="*/ 146719 w 2684795"/>
                <a:gd name="connsiteY1" fmla="*/ 4051 h 1741045"/>
                <a:gd name="connsiteX2" fmla="*/ 2684795 w 2684795"/>
                <a:gd name="connsiteY2" fmla="*/ 67529 h 1741045"/>
                <a:gd name="connsiteX3" fmla="*/ 872969 w 2684795"/>
                <a:gd name="connsiteY3" fmla="*/ 1714540 h 1741045"/>
                <a:gd name="connsiteX4" fmla="*/ 0 w 2684795"/>
                <a:gd name="connsiteY4" fmla="*/ 1741045 h 1741045"/>
                <a:gd name="connsiteX5" fmla="*/ 0 w 2684795"/>
                <a:gd name="connsiteY5" fmla="*/ 0 h 1741045"/>
                <a:gd name="connsiteX0" fmla="*/ 0 w 2698459"/>
                <a:gd name="connsiteY0" fmla="*/ 0 h 1741045"/>
                <a:gd name="connsiteX1" fmla="*/ 146719 w 2698459"/>
                <a:gd name="connsiteY1" fmla="*/ 4051 h 1741045"/>
                <a:gd name="connsiteX2" fmla="*/ 2684795 w 2698459"/>
                <a:gd name="connsiteY2" fmla="*/ 67529 h 1741045"/>
                <a:gd name="connsiteX3" fmla="*/ 2698459 w 2698459"/>
                <a:gd name="connsiteY3" fmla="*/ 1685965 h 1741045"/>
                <a:gd name="connsiteX4" fmla="*/ 0 w 2698459"/>
                <a:gd name="connsiteY4" fmla="*/ 1741045 h 1741045"/>
                <a:gd name="connsiteX5" fmla="*/ 0 w 2698459"/>
                <a:gd name="connsiteY5" fmla="*/ 0 h 1741045"/>
                <a:gd name="connsiteX0" fmla="*/ 0 w 2698459"/>
                <a:gd name="connsiteY0" fmla="*/ 0 h 1741045"/>
                <a:gd name="connsiteX1" fmla="*/ 146719 w 2698459"/>
                <a:gd name="connsiteY1" fmla="*/ 4051 h 1741045"/>
                <a:gd name="connsiteX2" fmla="*/ 2694353 w 2698459"/>
                <a:gd name="connsiteY2" fmla="*/ 67529 h 1741045"/>
                <a:gd name="connsiteX3" fmla="*/ 2698459 w 2698459"/>
                <a:gd name="connsiteY3" fmla="*/ 1685965 h 1741045"/>
                <a:gd name="connsiteX4" fmla="*/ 0 w 2698459"/>
                <a:gd name="connsiteY4" fmla="*/ 1741045 h 1741045"/>
                <a:gd name="connsiteX5" fmla="*/ 0 w 2698459"/>
                <a:gd name="connsiteY5" fmla="*/ 0 h 1741045"/>
                <a:gd name="connsiteX0" fmla="*/ 0 w 2698459"/>
                <a:gd name="connsiteY0" fmla="*/ 712 h 1736994"/>
                <a:gd name="connsiteX1" fmla="*/ 146719 w 2698459"/>
                <a:gd name="connsiteY1" fmla="*/ 0 h 1736994"/>
                <a:gd name="connsiteX2" fmla="*/ 2694353 w 2698459"/>
                <a:gd name="connsiteY2" fmla="*/ 63478 h 1736994"/>
                <a:gd name="connsiteX3" fmla="*/ 2698459 w 2698459"/>
                <a:gd name="connsiteY3" fmla="*/ 1681914 h 1736994"/>
                <a:gd name="connsiteX4" fmla="*/ 0 w 2698459"/>
                <a:gd name="connsiteY4" fmla="*/ 1736994 h 1736994"/>
                <a:gd name="connsiteX5" fmla="*/ 0 w 2698459"/>
                <a:gd name="connsiteY5" fmla="*/ 712 h 1736994"/>
                <a:gd name="connsiteX0" fmla="*/ 0 w 2698459"/>
                <a:gd name="connsiteY0" fmla="*/ 0 h 1736282"/>
                <a:gd name="connsiteX1" fmla="*/ 2694353 w 2698459"/>
                <a:gd name="connsiteY1" fmla="*/ 62766 h 1736282"/>
                <a:gd name="connsiteX2" fmla="*/ 2698459 w 2698459"/>
                <a:gd name="connsiteY2" fmla="*/ 1681202 h 1736282"/>
                <a:gd name="connsiteX3" fmla="*/ 0 w 2698459"/>
                <a:gd name="connsiteY3" fmla="*/ 1736282 h 1736282"/>
                <a:gd name="connsiteX4" fmla="*/ 0 w 2698459"/>
                <a:gd name="connsiteY4" fmla="*/ 0 h 1736282"/>
                <a:gd name="connsiteX0" fmla="*/ 0 w 2698459"/>
                <a:gd name="connsiteY0" fmla="*/ 0 h 1736282"/>
                <a:gd name="connsiteX1" fmla="*/ 2691964 w 2698459"/>
                <a:gd name="connsiteY1" fmla="*/ 137989 h 1736282"/>
                <a:gd name="connsiteX2" fmla="*/ 2698459 w 2698459"/>
                <a:gd name="connsiteY2" fmla="*/ 1681202 h 1736282"/>
                <a:gd name="connsiteX3" fmla="*/ 0 w 2698459"/>
                <a:gd name="connsiteY3" fmla="*/ 1736282 h 1736282"/>
                <a:gd name="connsiteX4" fmla="*/ 0 w 2698459"/>
                <a:gd name="connsiteY4" fmla="*/ 0 h 1736282"/>
                <a:gd name="connsiteX0" fmla="*/ 0 w 2696069"/>
                <a:gd name="connsiteY0" fmla="*/ 0 h 1736282"/>
                <a:gd name="connsiteX1" fmla="*/ 2691964 w 2696069"/>
                <a:gd name="connsiteY1" fmla="*/ 137989 h 1736282"/>
                <a:gd name="connsiteX2" fmla="*/ 2696069 w 2696069"/>
                <a:gd name="connsiteY2" fmla="*/ 1632143 h 1736282"/>
                <a:gd name="connsiteX3" fmla="*/ 0 w 2696069"/>
                <a:gd name="connsiteY3" fmla="*/ 1736282 h 1736282"/>
                <a:gd name="connsiteX4" fmla="*/ 0 w 2696069"/>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58" h="1736282">
                  <a:moveTo>
                    <a:pt x="0" y="0"/>
                  </a:moveTo>
                  <a:cubicBezTo>
                    <a:pt x="890950" y="60169"/>
                    <a:pt x="1705438" y="126877"/>
                    <a:pt x="2691964" y="137989"/>
                  </a:cubicBezTo>
                  <a:cubicBezTo>
                    <a:pt x="2693333" y="677468"/>
                    <a:pt x="2697089" y="1092664"/>
                    <a:pt x="2698458" y="1632143"/>
                  </a:cubicBezTo>
                  <a:cubicBezTo>
                    <a:pt x="1567202" y="1643961"/>
                    <a:pt x="1150372" y="1632886"/>
                    <a:pt x="0" y="1736282"/>
                  </a:cubicBezTo>
                  <a:lnTo>
                    <a:pt x="0" y="0"/>
                  </a:lnTo>
                  <a:close/>
                </a:path>
              </a:pathLst>
            </a:custGeom>
            <a:solidFill>
              <a:schemeClr val="accent2"/>
            </a:solidFill>
            <a:ln>
              <a:noFill/>
            </a:ln>
          </p:spPr>
          <p:txBody>
            <a:bodyPr vert="horz" wrap="square" lIns="457200" tIns="91440" rIns="91440" bIns="45708" numCol="1" anchor="t" anchorCtr="0" compatLnSpc="1">
              <a:prstTxWarp prst="textNoShape">
                <a:avLst/>
              </a:prstTxWarp>
              <a:noAutofit/>
            </a:bodyPr>
            <a:lstStyle/>
            <a:p>
              <a:pPr defTabSz="685588"/>
              <a:r>
                <a:rPr lang="en-US" sz="800" dirty="0">
                  <a:solidFill>
                    <a:srgbClr val="FFFFFF"/>
                  </a:solidFill>
                </a:rPr>
                <a:t> </a:t>
              </a:r>
              <a:r>
                <a:rPr lang="ja-JP" altLang="en-US" sz="800" dirty="0">
                  <a:solidFill>
                    <a:srgbClr val="FFFFFF"/>
                  </a:solidFill>
                </a:rPr>
                <a:t>レイヤ</a:t>
              </a:r>
              <a:r>
                <a:rPr lang="en-US" sz="800" dirty="0">
                  <a:solidFill>
                    <a:srgbClr val="FFFFFF"/>
                  </a:solidFill>
                </a:rPr>
                <a:t>2</a:t>
              </a:r>
            </a:p>
          </p:txBody>
        </p:sp>
        <p:sp>
          <p:nvSpPr>
            <p:cNvPr id="466" name="Freeform 10"/>
            <p:cNvSpPr>
              <a:spLocks/>
            </p:cNvSpPr>
            <p:nvPr/>
          </p:nvSpPr>
          <p:spPr bwMode="auto">
            <a:xfrm>
              <a:off x="684493" y="1399243"/>
              <a:ext cx="409099" cy="237744"/>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3656 w 342349"/>
                <a:gd name="connsiteY0" fmla="*/ 0 h 205919"/>
                <a:gd name="connsiteX1" fmla="*/ 342349 w 342349"/>
                <a:gd name="connsiteY1" fmla="*/ 26691 h 205919"/>
                <a:gd name="connsiteX2" fmla="*/ 340676 w 342349"/>
                <a:gd name="connsiteY2" fmla="*/ 205919 h 205919"/>
                <a:gd name="connsiteX3" fmla="*/ 0 w 342349"/>
                <a:gd name="connsiteY3" fmla="*/ 205919 h 205919"/>
                <a:gd name="connsiteX4" fmla="*/ 3656 w 342349"/>
                <a:gd name="connsiteY4" fmla="*/ 0 h 205919"/>
                <a:gd name="connsiteX0" fmla="*/ 3656 w 347833"/>
                <a:gd name="connsiteY0" fmla="*/ 0 h 205919"/>
                <a:gd name="connsiteX1" fmla="*/ 347833 w 347833"/>
                <a:gd name="connsiteY1" fmla="*/ 16975 h 205919"/>
                <a:gd name="connsiteX2" fmla="*/ 340676 w 347833"/>
                <a:gd name="connsiteY2" fmla="*/ 205919 h 205919"/>
                <a:gd name="connsiteX3" fmla="*/ 0 w 347833"/>
                <a:gd name="connsiteY3" fmla="*/ 205919 h 205919"/>
                <a:gd name="connsiteX4" fmla="*/ 3656 w 347833"/>
                <a:gd name="connsiteY4" fmla="*/ 0 h 205919"/>
                <a:gd name="connsiteX0" fmla="*/ 351 w 348184"/>
                <a:gd name="connsiteY0" fmla="*/ 0 h 213744"/>
                <a:gd name="connsiteX1" fmla="*/ 348184 w 348184"/>
                <a:gd name="connsiteY1" fmla="*/ 24800 h 213744"/>
                <a:gd name="connsiteX2" fmla="*/ 341027 w 348184"/>
                <a:gd name="connsiteY2" fmla="*/ 213744 h 213744"/>
                <a:gd name="connsiteX3" fmla="*/ 351 w 348184"/>
                <a:gd name="connsiteY3" fmla="*/ 213744 h 213744"/>
                <a:gd name="connsiteX4" fmla="*/ 351 w 348184"/>
                <a:gd name="connsiteY4" fmla="*/ 0 h 213744"/>
                <a:gd name="connsiteX0" fmla="*/ 351 w 348184"/>
                <a:gd name="connsiteY0" fmla="*/ 0 h 213744"/>
                <a:gd name="connsiteX1" fmla="*/ 348184 w 348184"/>
                <a:gd name="connsiteY1" fmla="*/ 24800 h 213744"/>
                <a:gd name="connsiteX2" fmla="*/ 341027 w 348184"/>
                <a:gd name="connsiteY2" fmla="*/ 213744 h 213744"/>
                <a:gd name="connsiteX3" fmla="*/ 351 w 348184"/>
                <a:gd name="connsiteY3" fmla="*/ 213744 h 213744"/>
                <a:gd name="connsiteX4" fmla="*/ 351 w 348184"/>
                <a:gd name="connsiteY4" fmla="*/ 0 h 213744"/>
                <a:gd name="connsiteX0" fmla="*/ 351 w 344528"/>
                <a:gd name="connsiteY0" fmla="*/ 0 h 213744"/>
                <a:gd name="connsiteX1" fmla="*/ 344528 w 344528"/>
                <a:gd name="connsiteY1" fmla="*/ 30668 h 213744"/>
                <a:gd name="connsiteX2" fmla="*/ 341027 w 344528"/>
                <a:gd name="connsiteY2" fmla="*/ 213744 h 213744"/>
                <a:gd name="connsiteX3" fmla="*/ 351 w 344528"/>
                <a:gd name="connsiteY3" fmla="*/ 213744 h 213744"/>
                <a:gd name="connsiteX4" fmla="*/ 351 w 344528"/>
                <a:gd name="connsiteY4" fmla="*/ 0 h 213744"/>
                <a:gd name="connsiteX0" fmla="*/ 351 w 342534"/>
                <a:gd name="connsiteY0" fmla="*/ 0 h 213744"/>
                <a:gd name="connsiteX1" fmla="*/ 342534 w 342534"/>
                <a:gd name="connsiteY1" fmla="*/ 43514 h 213744"/>
                <a:gd name="connsiteX2" fmla="*/ 341027 w 342534"/>
                <a:gd name="connsiteY2" fmla="*/ 213744 h 213744"/>
                <a:gd name="connsiteX3" fmla="*/ 351 w 342534"/>
                <a:gd name="connsiteY3" fmla="*/ 213744 h 213744"/>
                <a:gd name="connsiteX4" fmla="*/ 351 w 342534"/>
                <a:gd name="connsiteY4" fmla="*/ 0 h 213744"/>
                <a:gd name="connsiteX0" fmla="*/ 351 w 342534"/>
                <a:gd name="connsiteY0" fmla="*/ 0 h 213744"/>
                <a:gd name="connsiteX1" fmla="*/ 342534 w 342534"/>
                <a:gd name="connsiteY1" fmla="*/ 43514 h 213744"/>
                <a:gd name="connsiteX2" fmla="*/ 341027 w 342534"/>
                <a:gd name="connsiteY2" fmla="*/ 213744 h 213744"/>
                <a:gd name="connsiteX3" fmla="*/ 351 w 342534"/>
                <a:gd name="connsiteY3" fmla="*/ 213744 h 213744"/>
                <a:gd name="connsiteX4" fmla="*/ 351 w 342534"/>
                <a:gd name="connsiteY4" fmla="*/ 0 h 213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534" h="213744">
                  <a:moveTo>
                    <a:pt x="351" y="0"/>
                  </a:moveTo>
                  <a:cubicBezTo>
                    <a:pt x="121779" y="10676"/>
                    <a:pt x="226424" y="34239"/>
                    <a:pt x="342534" y="43514"/>
                  </a:cubicBezTo>
                  <a:cubicBezTo>
                    <a:pt x="341976" y="103814"/>
                    <a:pt x="341585" y="153444"/>
                    <a:pt x="341027" y="213744"/>
                  </a:cubicBezTo>
                  <a:lnTo>
                    <a:pt x="351" y="213744"/>
                  </a:lnTo>
                  <a:cubicBezTo>
                    <a:pt x="1570" y="145104"/>
                    <a:pt x="-868" y="68640"/>
                    <a:pt x="351" y="0"/>
                  </a:cubicBezTo>
                  <a:close/>
                </a:path>
              </a:pathLst>
            </a:custGeom>
            <a:solidFill>
              <a:srgbClr val="4D4D4D"/>
            </a:solidFill>
            <a:ln w="25400" cap="flat" cmpd="sng" algn="ctr">
              <a:noFill/>
              <a:prstDash val="solid"/>
            </a:ln>
            <a:effectLst/>
          </p:spPr>
          <p:txBody>
            <a:bodyPr lIns="0" tIns="0" rIns="0" bIns="0" rtlCol="0" anchor="ctr"/>
            <a:lstStyle/>
            <a:p>
              <a:pPr algn="ctr" defTabSz="913920"/>
              <a:r>
                <a:rPr lang="en-US" sz="900" b="1" kern="0" dirty="0">
                  <a:solidFill>
                    <a:prstClr val="white"/>
                  </a:solidFill>
                </a:rPr>
                <a:t>AMP</a:t>
              </a:r>
            </a:p>
          </p:txBody>
        </p:sp>
        <p:sp>
          <p:nvSpPr>
            <p:cNvPr id="467" name="Freeform 10"/>
            <p:cNvSpPr>
              <a:spLocks/>
            </p:cNvSpPr>
            <p:nvPr/>
          </p:nvSpPr>
          <p:spPr bwMode="auto">
            <a:xfrm>
              <a:off x="3132641" y="1694351"/>
              <a:ext cx="411480" cy="237744"/>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36768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36768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36768 h 187783"/>
                <a:gd name="connsiteX2" fmla="*/ 340676 w 342349"/>
                <a:gd name="connsiteY2" fmla="*/ 187783 h 187783"/>
                <a:gd name="connsiteX3" fmla="*/ 0 w 342349"/>
                <a:gd name="connsiteY3" fmla="*/ 187783 h 187783"/>
                <a:gd name="connsiteX4" fmla="*/ 0 w 342349"/>
                <a:gd name="connsiteY4" fmla="*/ 0 h 187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87783">
                  <a:moveTo>
                    <a:pt x="0" y="0"/>
                  </a:moveTo>
                  <a:cubicBezTo>
                    <a:pt x="120060" y="10376"/>
                    <a:pt x="222289" y="26393"/>
                    <a:pt x="342349" y="36768"/>
                  </a:cubicBezTo>
                  <a:cubicBezTo>
                    <a:pt x="341791" y="97068"/>
                    <a:pt x="341234" y="127483"/>
                    <a:pt x="340676" y="187783"/>
                  </a:cubicBezTo>
                  <a:lnTo>
                    <a:pt x="0" y="187783"/>
                  </a:lnTo>
                  <a:lnTo>
                    <a:pt x="0" y="0"/>
                  </a:lnTo>
                  <a:close/>
                </a:path>
              </a:pathLst>
            </a:custGeom>
            <a:solidFill>
              <a:schemeClr val="accent2">
                <a:lumMod val="75000"/>
              </a:schemeClr>
            </a:solidFill>
            <a:ln w="25400" cap="flat" cmpd="sng" algn="ctr">
              <a:noFill/>
              <a:prstDash val="solid"/>
            </a:ln>
            <a:effectLst/>
          </p:spPr>
          <p:txBody>
            <a:bodyPr lIns="0" tIns="0" rIns="0" bIns="0" rtlCol="0" anchor="ctr"/>
            <a:lstStyle/>
            <a:p>
              <a:pPr algn="ctr" defTabSz="914043"/>
              <a:r>
                <a:rPr lang="en-US" sz="900" b="1" dirty="0">
                  <a:solidFill>
                    <a:prstClr val="white"/>
                  </a:solidFill>
                </a:rPr>
                <a:t>CTA</a:t>
              </a:r>
            </a:p>
          </p:txBody>
        </p:sp>
        <p:sp>
          <p:nvSpPr>
            <p:cNvPr id="470" name="TextBox 18"/>
            <p:cNvSpPr txBox="1"/>
            <p:nvPr/>
          </p:nvSpPr>
          <p:spPr>
            <a:xfrm>
              <a:off x="4849812" y="1087014"/>
              <a:ext cx="3056463" cy="492443"/>
            </a:xfrm>
            <a:prstGeom prst="rect">
              <a:avLst/>
            </a:prstGeom>
            <a:noFill/>
          </p:spPr>
          <p:txBody>
            <a:bodyPr wrap="square" rtlCol="0">
              <a:spAutoFit/>
            </a:bodyPr>
            <a:lstStyle/>
            <a:p>
              <a:pPr algn="ctr" defTabSz="685783"/>
              <a:r>
                <a:rPr lang="en-US" dirty="0" smtClean="0">
                  <a:solidFill>
                    <a:srgbClr val="676767"/>
                  </a:solidFill>
                </a:rPr>
                <a:t>AMP + CTA</a:t>
              </a:r>
              <a:endParaRPr lang="en-US" dirty="0">
                <a:solidFill>
                  <a:srgbClr val="676767"/>
                </a:solidFill>
              </a:endParaRPr>
            </a:p>
          </p:txBody>
        </p:sp>
        <p:sp>
          <p:nvSpPr>
            <p:cNvPr id="471" name="Freeform 10"/>
            <p:cNvSpPr>
              <a:spLocks/>
            </p:cNvSpPr>
            <p:nvPr/>
          </p:nvSpPr>
          <p:spPr bwMode="auto">
            <a:xfrm>
              <a:off x="1903906" y="1550170"/>
              <a:ext cx="427318" cy="224800"/>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0 w 357142"/>
                <a:gd name="connsiteY3" fmla="*/ 220325 h 222359"/>
                <a:gd name="connsiteX4" fmla="*/ 0 w 357142"/>
                <a:gd name="connsiteY4" fmla="*/ 0 h 222359"/>
                <a:gd name="connsiteX0" fmla="*/ 0 w 355526"/>
                <a:gd name="connsiteY0" fmla="*/ 0 h 222359"/>
                <a:gd name="connsiteX1" fmla="*/ 352915 w 355526"/>
                <a:gd name="connsiteY1" fmla="*/ 50668 h 222359"/>
                <a:gd name="connsiteX2" fmla="*/ 355469 w 355526"/>
                <a:gd name="connsiteY2" fmla="*/ 222359 h 222359"/>
                <a:gd name="connsiteX3" fmla="*/ 0 w 355526"/>
                <a:gd name="connsiteY3" fmla="*/ 220325 h 222359"/>
                <a:gd name="connsiteX4" fmla="*/ 0 w 355526"/>
                <a:gd name="connsiteY4" fmla="*/ 0 h 222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26" h="222359">
                  <a:moveTo>
                    <a:pt x="0" y="0"/>
                  </a:moveTo>
                  <a:cubicBezTo>
                    <a:pt x="122569" y="15056"/>
                    <a:pt x="175401" y="31545"/>
                    <a:pt x="352915" y="50668"/>
                  </a:cubicBezTo>
                  <a:cubicBezTo>
                    <a:pt x="352357" y="110968"/>
                    <a:pt x="356027" y="162059"/>
                    <a:pt x="355469" y="222359"/>
                  </a:cubicBezTo>
                  <a:lnTo>
                    <a:pt x="0" y="220325"/>
                  </a:lnTo>
                  <a:lnTo>
                    <a:pt x="0" y="0"/>
                  </a:lnTo>
                  <a:close/>
                </a:path>
              </a:pathLst>
            </a:custGeom>
            <a:solidFill>
              <a:srgbClr val="4D4D4D"/>
            </a:solidFill>
            <a:ln w="25400" cap="flat" cmpd="sng" algn="ctr">
              <a:noFill/>
              <a:prstDash val="solid"/>
            </a:ln>
            <a:effectLst/>
          </p:spPr>
          <p:txBody>
            <a:bodyPr lIns="0" tIns="0" rIns="0" bIns="0" rtlCol="0" anchor="ctr"/>
            <a:lstStyle/>
            <a:p>
              <a:pPr algn="ctr" defTabSz="913920"/>
              <a:r>
                <a:rPr lang="en-US" sz="900" b="1" kern="0" dirty="0">
                  <a:solidFill>
                    <a:prstClr val="white"/>
                  </a:solidFill>
                </a:rPr>
                <a:t>AMP</a:t>
              </a:r>
            </a:p>
          </p:txBody>
        </p:sp>
        <p:sp>
          <p:nvSpPr>
            <p:cNvPr id="473" name="Freeform 10"/>
            <p:cNvSpPr>
              <a:spLocks/>
            </p:cNvSpPr>
            <p:nvPr/>
          </p:nvSpPr>
          <p:spPr bwMode="auto">
            <a:xfrm>
              <a:off x="6163732" y="1957517"/>
              <a:ext cx="411480" cy="247269"/>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95306"/>
                <a:gd name="connsiteX1" fmla="*/ 342349 w 342349"/>
                <a:gd name="connsiteY1" fmla="*/ 16078 h 195306"/>
                <a:gd name="connsiteX2" fmla="*/ 340676 w 342349"/>
                <a:gd name="connsiteY2" fmla="*/ 195306 h 195306"/>
                <a:gd name="connsiteX3" fmla="*/ 0 w 342349"/>
                <a:gd name="connsiteY3" fmla="*/ 195306 h 195306"/>
                <a:gd name="connsiteX4" fmla="*/ 0 w 342349"/>
                <a:gd name="connsiteY4" fmla="*/ 0 h 195306"/>
                <a:gd name="connsiteX0" fmla="*/ 0 w 342349"/>
                <a:gd name="connsiteY0" fmla="*/ 0 h 195306"/>
                <a:gd name="connsiteX1" fmla="*/ 342349 w 342349"/>
                <a:gd name="connsiteY1" fmla="*/ 16078 h 195306"/>
                <a:gd name="connsiteX2" fmla="*/ 340676 w 342349"/>
                <a:gd name="connsiteY2" fmla="*/ 195306 h 195306"/>
                <a:gd name="connsiteX3" fmla="*/ 0 w 342349"/>
                <a:gd name="connsiteY3" fmla="*/ 195306 h 195306"/>
                <a:gd name="connsiteX4" fmla="*/ 0 w 342349"/>
                <a:gd name="connsiteY4" fmla="*/ 0 h 195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95306">
                  <a:moveTo>
                    <a:pt x="0" y="0"/>
                  </a:moveTo>
                  <a:cubicBezTo>
                    <a:pt x="114116" y="4733"/>
                    <a:pt x="228233" y="13226"/>
                    <a:pt x="342349" y="16078"/>
                  </a:cubicBezTo>
                  <a:cubicBezTo>
                    <a:pt x="341791" y="76378"/>
                    <a:pt x="341234" y="135006"/>
                    <a:pt x="340676" y="195306"/>
                  </a:cubicBezTo>
                  <a:lnTo>
                    <a:pt x="0" y="195306"/>
                  </a:lnTo>
                  <a:lnTo>
                    <a:pt x="0" y="0"/>
                  </a:lnTo>
                  <a:close/>
                </a:path>
              </a:pathLst>
            </a:custGeom>
            <a:solidFill>
              <a:schemeClr val="accent2">
                <a:lumMod val="75000"/>
              </a:schemeClr>
            </a:solidFill>
            <a:ln w="25400" cap="flat" cmpd="sng" algn="ctr">
              <a:noFill/>
              <a:prstDash val="solid"/>
            </a:ln>
            <a:effectLst/>
          </p:spPr>
          <p:txBody>
            <a:bodyPr lIns="0" tIns="0" rIns="0" bIns="0" rtlCol="0" anchor="ctr"/>
            <a:lstStyle/>
            <a:p>
              <a:pPr algn="ctr" defTabSz="914043"/>
              <a:r>
                <a:rPr lang="en-US" sz="900" b="1" dirty="0">
                  <a:solidFill>
                    <a:prstClr val="white"/>
                  </a:solidFill>
                </a:rPr>
                <a:t>CTA</a:t>
              </a:r>
            </a:p>
          </p:txBody>
        </p:sp>
        <p:sp>
          <p:nvSpPr>
            <p:cNvPr id="475" name="Freeform 21"/>
            <p:cNvSpPr/>
            <p:nvPr/>
          </p:nvSpPr>
          <p:spPr>
            <a:xfrm flipV="1">
              <a:off x="685798" y="1323228"/>
              <a:ext cx="10891437" cy="677328"/>
            </a:xfrm>
            <a:custGeom>
              <a:avLst/>
              <a:gdLst>
                <a:gd name="connsiteX0" fmla="*/ 0 w 10815781"/>
                <a:gd name="connsiteY0" fmla="*/ 147782 h 147782"/>
                <a:gd name="connsiteX1" fmla="*/ 10815781 w 10815781"/>
                <a:gd name="connsiteY1" fmla="*/ 0 h 147782"/>
                <a:gd name="connsiteX2" fmla="*/ 10815781 w 10815781"/>
                <a:gd name="connsiteY2" fmla="*/ 0 h 14778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1024305 h 1024305"/>
                <a:gd name="connsiteX1" fmla="*/ 10852726 w 10852726"/>
                <a:gd name="connsiteY1" fmla="*/ 91433 h 1024305"/>
                <a:gd name="connsiteX2" fmla="*/ 10852726 w 10852726"/>
                <a:gd name="connsiteY2" fmla="*/ 91433 h 1024305"/>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466936 h 1466936"/>
                <a:gd name="connsiteX1" fmla="*/ 10806544 w 10806544"/>
                <a:gd name="connsiteY1" fmla="*/ 109191 h 1466936"/>
                <a:gd name="connsiteX2" fmla="*/ 10806544 w 10806544"/>
                <a:gd name="connsiteY2" fmla="*/ 109191 h 1466936"/>
                <a:gd name="connsiteX0" fmla="*/ 0 w 10806544"/>
                <a:gd name="connsiteY0" fmla="*/ 1549021 h 1549021"/>
                <a:gd name="connsiteX1" fmla="*/ 10806544 w 10806544"/>
                <a:gd name="connsiteY1" fmla="*/ 191276 h 1549021"/>
                <a:gd name="connsiteX2" fmla="*/ 10806544 w 10806544"/>
                <a:gd name="connsiteY2" fmla="*/ 191276 h 1549021"/>
                <a:gd name="connsiteX0" fmla="*/ 0 w 10806544"/>
                <a:gd name="connsiteY0" fmla="*/ 1531686 h 1531686"/>
                <a:gd name="connsiteX1" fmla="*/ 10806544 w 10806544"/>
                <a:gd name="connsiteY1" fmla="*/ 173941 h 1531686"/>
                <a:gd name="connsiteX2" fmla="*/ 10806544 w 10806544"/>
                <a:gd name="connsiteY2" fmla="*/ 173941 h 1531686"/>
                <a:gd name="connsiteX0" fmla="*/ 0 w 10806544"/>
                <a:gd name="connsiteY0" fmla="*/ 1454063 h 1454063"/>
                <a:gd name="connsiteX1" fmla="*/ 10806544 w 10806544"/>
                <a:gd name="connsiteY1" fmla="*/ 96318 h 1454063"/>
                <a:gd name="connsiteX2" fmla="*/ 10806544 w 10806544"/>
                <a:gd name="connsiteY2" fmla="*/ 96318 h 1454063"/>
                <a:gd name="connsiteX0" fmla="*/ 0 w 10806544"/>
                <a:gd name="connsiteY0" fmla="*/ 1458141 h 1458141"/>
                <a:gd name="connsiteX1" fmla="*/ 10806544 w 10806544"/>
                <a:gd name="connsiteY1" fmla="*/ 100396 h 1458141"/>
                <a:gd name="connsiteX2" fmla="*/ 10806544 w 10806544"/>
                <a:gd name="connsiteY2" fmla="*/ 100396 h 1458141"/>
                <a:gd name="connsiteX0" fmla="*/ 0 w 10806544"/>
                <a:gd name="connsiteY0" fmla="*/ 1433682 h 1433682"/>
                <a:gd name="connsiteX1" fmla="*/ 10806544 w 10806544"/>
                <a:gd name="connsiteY1" fmla="*/ 75937 h 1433682"/>
                <a:gd name="connsiteX2" fmla="*/ 10806544 w 10806544"/>
                <a:gd name="connsiteY2" fmla="*/ 75937 h 1433682"/>
                <a:gd name="connsiteX0" fmla="*/ 0 w 10806544"/>
                <a:gd name="connsiteY0" fmla="*/ 1433682 h 1433682"/>
                <a:gd name="connsiteX1" fmla="*/ 10806544 w 10806544"/>
                <a:gd name="connsiteY1" fmla="*/ 75937 h 1433682"/>
                <a:gd name="connsiteX2" fmla="*/ 10806544 w 10806544"/>
                <a:gd name="connsiteY2" fmla="*/ 75937 h 1433682"/>
                <a:gd name="connsiteX0" fmla="*/ 0 w 11603743"/>
                <a:gd name="connsiteY0" fmla="*/ 1516495 h 1516495"/>
                <a:gd name="connsiteX1" fmla="*/ 10806544 w 11603743"/>
                <a:gd name="connsiteY1" fmla="*/ 158750 h 1516495"/>
                <a:gd name="connsiteX2" fmla="*/ 10793844 w 11603743"/>
                <a:gd name="connsiteY2" fmla="*/ 0 h 1516495"/>
                <a:gd name="connsiteX0" fmla="*/ 0 w 11580258"/>
                <a:gd name="connsiteY0" fmla="*/ 1679986 h 1679986"/>
                <a:gd name="connsiteX1" fmla="*/ 10774794 w 11580258"/>
                <a:gd name="connsiteY1" fmla="*/ 87291 h 1679986"/>
                <a:gd name="connsiteX2" fmla="*/ 10793844 w 11580258"/>
                <a:gd name="connsiteY2" fmla="*/ 163491 h 1679986"/>
                <a:gd name="connsiteX0" fmla="*/ 0 w 10774794"/>
                <a:gd name="connsiteY0" fmla="*/ 1592695 h 1592695"/>
                <a:gd name="connsiteX1" fmla="*/ 10774794 w 10774794"/>
                <a:gd name="connsiteY1" fmla="*/ 0 h 1592695"/>
                <a:gd name="connsiteX0" fmla="*/ 0 w 10819244"/>
                <a:gd name="connsiteY0" fmla="*/ 1535545 h 1535545"/>
                <a:gd name="connsiteX1" fmla="*/ 10819244 w 10819244"/>
                <a:gd name="connsiteY1" fmla="*/ 0 h 1535545"/>
                <a:gd name="connsiteX0" fmla="*/ 0 w 10819244"/>
                <a:gd name="connsiteY0" fmla="*/ 1545213 h 1545213"/>
                <a:gd name="connsiteX1" fmla="*/ 10819244 w 10819244"/>
                <a:gd name="connsiteY1" fmla="*/ 9668 h 1545213"/>
                <a:gd name="connsiteX0" fmla="*/ 0 w 10856189"/>
                <a:gd name="connsiteY0" fmla="*/ 1317751 h 1317751"/>
                <a:gd name="connsiteX1" fmla="*/ 10856189 w 10856189"/>
                <a:gd name="connsiteY1" fmla="*/ 59042 h 1317751"/>
                <a:gd name="connsiteX0" fmla="*/ 0 w 10856189"/>
                <a:gd name="connsiteY0" fmla="*/ 1371858 h 1371858"/>
                <a:gd name="connsiteX1" fmla="*/ 10856189 w 10856189"/>
                <a:gd name="connsiteY1" fmla="*/ 113149 h 1371858"/>
                <a:gd name="connsiteX0" fmla="*/ 0 w 10893135"/>
                <a:gd name="connsiteY0" fmla="*/ 1076303 h 1076303"/>
                <a:gd name="connsiteX1" fmla="*/ 10893135 w 10893135"/>
                <a:gd name="connsiteY1" fmla="*/ 304826 h 1076303"/>
                <a:gd name="connsiteX0" fmla="*/ 0 w 10893135"/>
                <a:gd name="connsiteY0" fmla="*/ 957796 h 957796"/>
                <a:gd name="connsiteX1" fmla="*/ 10893135 w 10893135"/>
                <a:gd name="connsiteY1" fmla="*/ 186319 h 957796"/>
                <a:gd name="connsiteX0" fmla="*/ 0 w 10893135"/>
                <a:gd name="connsiteY0" fmla="*/ 1033089 h 1033089"/>
                <a:gd name="connsiteX1" fmla="*/ 10893135 w 10893135"/>
                <a:gd name="connsiteY1" fmla="*/ 139805 h 1033089"/>
                <a:gd name="connsiteX0" fmla="*/ 0 w 10893135"/>
                <a:gd name="connsiteY0" fmla="*/ 1028289 h 1028289"/>
                <a:gd name="connsiteX1" fmla="*/ 10893135 w 10893135"/>
                <a:gd name="connsiteY1" fmla="*/ 135005 h 1028289"/>
                <a:gd name="connsiteX0" fmla="*/ 0 w 10893135"/>
                <a:gd name="connsiteY0" fmla="*/ 1034653 h 1034653"/>
                <a:gd name="connsiteX1" fmla="*/ 10893135 w 10893135"/>
                <a:gd name="connsiteY1" fmla="*/ 141369 h 1034653"/>
                <a:gd name="connsiteX0" fmla="*/ 0 w 10893135"/>
                <a:gd name="connsiteY0" fmla="*/ 998690 h 998690"/>
                <a:gd name="connsiteX1" fmla="*/ 10893135 w 10893135"/>
                <a:gd name="connsiteY1" fmla="*/ 105406 h 998690"/>
                <a:gd name="connsiteX0" fmla="*/ 0 w 10911608"/>
                <a:gd name="connsiteY0" fmla="*/ 1098208 h 1098208"/>
                <a:gd name="connsiteX1" fmla="*/ 10911608 w 10911608"/>
                <a:gd name="connsiteY1" fmla="*/ 72042 h 1098208"/>
                <a:gd name="connsiteX0" fmla="*/ 0 w 10911608"/>
                <a:gd name="connsiteY0" fmla="*/ 1083626 h 1083626"/>
                <a:gd name="connsiteX1" fmla="*/ 10911608 w 10911608"/>
                <a:gd name="connsiteY1" fmla="*/ 57460 h 1083626"/>
                <a:gd name="connsiteX0" fmla="*/ 0 w 10865426"/>
                <a:gd name="connsiteY0" fmla="*/ 1092493 h 1092493"/>
                <a:gd name="connsiteX1" fmla="*/ 10865426 w 10865426"/>
                <a:gd name="connsiteY1" fmla="*/ 55254 h 1092493"/>
                <a:gd name="connsiteX0" fmla="*/ 0 w 10865426"/>
                <a:gd name="connsiteY0" fmla="*/ 1058005 h 1058005"/>
                <a:gd name="connsiteX1" fmla="*/ 10865426 w 10865426"/>
                <a:gd name="connsiteY1" fmla="*/ 20766 h 1058005"/>
                <a:gd name="connsiteX0" fmla="*/ 0 w 10865426"/>
                <a:gd name="connsiteY0" fmla="*/ 1062175 h 1062175"/>
                <a:gd name="connsiteX1" fmla="*/ 10865426 w 10865426"/>
                <a:gd name="connsiteY1" fmla="*/ 24936 h 1062175"/>
                <a:gd name="connsiteX0" fmla="*/ 0 w 10865426"/>
                <a:gd name="connsiteY0" fmla="*/ 1072162 h 1072162"/>
                <a:gd name="connsiteX1" fmla="*/ 10865426 w 10865426"/>
                <a:gd name="connsiteY1" fmla="*/ 34923 h 1072162"/>
                <a:gd name="connsiteX0" fmla="*/ 0 w 10865426"/>
                <a:gd name="connsiteY0" fmla="*/ 1090127 h 1090127"/>
                <a:gd name="connsiteX1" fmla="*/ 10865426 w 10865426"/>
                <a:gd name="connsiteY1" fmla="*/ 52888 h 1090127"/>
                <a:gd name="connsiteX0" fmla="*/ 0 w 10865426"/>
                <a:gd name="connsiteY0" fmla="*/ 1037239 h 1037239"/>
                <a:gd name="connsiteX1" fmla="*/ 10865426 w 10865426"/>
                <a:gd name="connsiteY1" fmla="*/ 0 h 1037239"/>
                <a:gd name="connsiteX0" fmla="*/ 0 w 10865426"/>
                <a:gd name="connsiteY0" fmla="*/ 1037239 h 1037239"/>
                <a:gd name="connsiteX1" fmla="*/ 10865426 w 10865426"/>
                <a:gd name="connsiteY1" fmla="*/ 0 h 1037239"/>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12047 h 812047"/>
                <a:gd name="connsiteX1" fmla="*/ 10865426 w 10865426"/>
                <a:gd name="connsiteY1" fmla="*/ 3198 h 812047"/>
              </a:gdLst>
              <a:ahLst/>
              <a:cxnLst>
                <a:cxn ang="0">
                  <a:pos x="connsiteX0" y="connsiteY0"/>
                </a:cxn>
                <a:cxn ang="0">
                  <a:pos x="connsiteX1" y="connsiteY1"/>
                </a:cxn>
              </a:cxnLst>
              <a:rect l="l" t="t" r="r" b="b"/>
              <a:pathLst>
                <a:path w="10865426" h="812047">
                  <a:moveTo>
                    <a:pt x="0" y="812047"/>
                  </a:moveTo>
                  <a:cubicBezTo>
                    <a:pt x="5596016" y="-167183"/>
                    <a:pt x="8450502" y="22467"/>
                    <a:pt x="10865426" y="3198"/>
                  </a:cubicBezTo>
                </a:path>
              </a:pathLst>
            </a:custGeom>
            <a:noFill/>
            <a:ln w="28575">
              <a:gradFill flip="none" rotWithShape="1">
                <a:gsLst>
                  <a:gs pos="87000">
                    <a:schemeClr val="accent2"/>
                  </a:gs>
                  <a:gs pos="91000">
                    <a:schemeClr val="accent1"/>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IN">
                <a:solidFill>
                  <a:srgbClr val="FFFFFF"/>
                </a:solidFill>
              </a:endParaRPr>
            </a:p>
          </p:txBody>
        </p:sp>
        <p:sp>
          <p:nvSpPr>
            <p:cNvPr id="476" name="Freeform 22"/>
            <p:cNvSpPr/>
            <p:nvPr/>
          </p:nvSpPr>
          <p:spPr>
            <a:xfrm>
              <a:off x="685798" y="3179419"/>
              <a:ext cx="10891437" cy="677328"/>
            </a:xfrm>
            <a:custGeom>
              <a:avLst/>
              <a:gdLst>
                <a:gd name="connsiteX0" fmla="*/ 0 w 10815781"/>
                <a:gd name="connsiteY0" fmla="*/ 147782 h 147782"/>
                <a:gd name="connsiteX1" fmla="*/ 10815781 w 10815781"/>
                <a:gd name="connsiteY1" fmla="*/ 0 h 147782"/>
                <a:gd name="connsiteX2" fmla="*/ 10815781 w 10815781"/>
                <a:gd name="connsiteY2" fmla="*/ 0 h 14778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1024305 h 1024305"/>
                <a:gd name="connsiteX1" fmla="*/ 10852726 w 10852726"/>
                <a:gd name="connsiteY1" fmla="*/ 91433 h 1024305"/>
                <a:gd name="connsiteX2" fmla="*/ 10852726 w 10852726"/>
                <a:gd name="connsiteY2" fmla="*/ 91433 h 1024305"/>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466936 h 1466936"/>
                <a:gd name="connsiteX1" fmla="*/ 10806544 w 10806544"/>
                <a:gd name="connsiteY1" fmla="*/ 109191 h 1466936"/>
                <a:gd name="connsiteX2" fmla="*/ 10806544 w 10806544"/>
                <a:gd name="connsiteY2" fmla="*/ 109191 h 1466936"/>
                <a:gd name="connsiteX0" fmla="*/ 0 w 10806544"/>
                <a:gd name="connsiteY0" fmla="*/ 1549021 h 1549021"/>
                <a:gd name="connsiteX1" fmla="*/ 10806544 w 10806544"/>
                <a:gd name="connsiteY1" fmla="*/ 191276 h 1549021"/>
                <a:gd name="connsiteX2" fmla="*/ 10806544 w 10806544"/>
                <a:gd name="connsiteY2" fmla="*/ 191276 h 1549021"/>
                <a:gd name="connsiteX0" fmla="*/ 0 w 10806544"/>
                <a:gd name="connsiteY0" fmla="*/ 1531686 h 1531686"/>
                <a:gd name="connsiteX1" fmla="*/ 10806544 w 10806544"/>
                <a:gd name="connsiteY1" fmla="*/ 173941 h 1531686"/>
                <a:gd name="connsiteX2" fmla="*/ 10806544 w 10806544"/>
                <a:gd name="connsiteY2" fmla="*/ 173941 h 1531686"/>
                <a:gd name="connsiteX0" fmla="*/ 0 w 10806544"/>
                <a:gd name="connsiteY0" fmla="*/ 1454063 h 1454063"/>
                <a:gd name="connsiteX1" fmla="*/ 10806544 w 10806544"/>
                <a:gd name="connsiteY1" fmla="*/ 96318 h 1454063"/>
                <a:gd name="connsiteX2" fmla="*/ 10806544 w 10806544"/>
                <a:gd name="connsiteY2" fmla="*/ 96318 h 1454063"/>
                <a:gd name="connsiteX0" fmla="*/ 0 w 10806544"/>
                <a:gd name="connsiteY0" fmla="*/ 1458141 h 1458141"/>
                <a:gd name="connsiteX1" fmla="*/ 10806544 w 10806544"/>
                <a:gd name="connsiteY1" fmla="*/ 100396 h 1458141"/>
                <a:gd name="connsiteX2" fmla="*/ 10806544 w 10806544"/>
                <a:gd name="connsiteY2" fmla="*/ 100396 h 1458141"/>
                <a:gd name="connsiteX0" fmla="*/ 0 w 10806544"/>
                <a:gd name="connsiteY0" fmla="*/ 1433682 h 1433682"/>
                <a:gd name="connsiteX1" fmla="*/ 10806544 w 10806544"/>
                <a:gd name="connsiteY1" fmla="*/ 75937 h 1433682"/>
                <a:gd name="connsiteX2" fmla="*/ 10806544 w 10806544"/>
                <a:gd name="connsiteY2" fmla="*/ 75937 h 1433682"/>
                <a:gd name="connsiteX0" fmla="*/ 0 w 10806544"/>
                <a:gd name="connsiteY0" fmla="*/ 1433682 h 1433682"/>
                <a:gd name="connsiteX1" fmla="*/ 10806544 w 10806544"/>
                <a:gd name="connsiteY1" fmla="*/ 75937 h 1433682"/>
                <a:gd name="connsiteX2" fmla="*/ 10806544 w 10806544"/>
                <a:gd name="connsiteY2" fmla="*/ 75937 h 1433682"/>
                <a:gd name="connsiteX0" fmla="*/ 0 w 11603743"/>
                <a:gd name="connsiteY0" fmla="*/ 1516495 h 1516495"/>
                <a:gd name="connsiteX1" fmla="*/ 10806544 w 11603743"/>
                <a:gd name="connsiteY1" fmla="*/ 158750 h 1516495"/>
                <a:gd name="connsiteX2" fmla="*/ 10793844 w 11603743"/>
                <a:gd name="connsiteY2" fmla="*/ 0 h 1516495"/>
                <a:gd name="connsiteX0" fmla="*/ 0 w 11580258"/>
                <a:gd name="connsiteY0" fmla="*/ 1679986 h 1679986"/>
                <a:gd name="connsiteX1" fmla="*/ 10774794 w 11580258"/>
                <a:gd name="connsiteY1" fmla="*/ 87291 h 1679986"/>
                <a:gd name="connsiteX2" fmla="*/ 10793844 w 11580258"/>
                <a:gd name="connsiteY2" fmla="*/ 163491 h 1679986"/>
                <a:gd name="connsiteX0" fmla="*/ 0 w 10774794"/>
                <a:gd name="connsiteY0" fmla="*/ 1592695 h 1592695"/>
                <a:gd name="connsiteX1" fmla="*/ 10774794 w 10774794"/>
                <a:gd name="connsiteY1" fmla="*/ 0 h 1592695"/>
                <a:gd name="connsiteX0" fmla="*/ 0 w 10819244"/>
                <a:gd name="connsiteY0" fmla="*/ 1535545 h 1535545"/>
                <a:gd name="connsiteX1" fmla="*/ 10819244 w 10819244"/>
                <a:gd name="connsiteY1" fmla="*/ 0 h 1535545"/>
                <a:gd name="connsiteX0" fmla="*/ 0 w 10819244"/>
                <a:gd name="connsiteY0" fmla="*/ 1545213 h 1545213"/>
                <a:gd name="connsiteX1" fmla="*/ 10819244 w 10819244"/>
                <a:gd name="connsiteY1" fmla="*/ 9668 h 1545213"/>
                <a:gd name="connsiteX0" fmla="*/ 0 w 10856189"/>
                <a:gd name="connsiteY0" fmla="*/ 1317751 h 1317751"/>
                <a:gd name="connsiteX1" fmla="*/ 10856189 w 10856189"/>
                <a:gd name="connsiteY1" fmla="*/ 59042 h 1317751"/>
                <a:gd name="connsiteX0" fmla="*/ 0 w 10856189"/>
                <a:gd name="connsiteY0" fmla="*/ 1371858 h 1371858"/>
                <a:gd name="connsiteX1" fmla="*/ 10856189 w 10856189"/>
                <a:gd name="connsiteY1" fmla="*/ 113149 h 1371858"/>
                <a:gd name="connsiteX0" fmla="*/ 0 w 10893135"/>
                <a:gd name="connsiteY0" fmla="*/ 1076303 h 1076303"/>
                <a:gd name="connsiteX1" fmla="*/ 10893135 w 10893135"/>
                <a:gd name="connsiteY1" fmla="*/ 304826 h 1076303"/>
                <a:gd name="connsiteX0" fmla="*/ 0 w 10893135"/>
                <a:gd name="connsiteY0" fmla="*/ 957796 h 957796"/>
                <a:gd name="connsiteX1" fmla="*/ 10893135 w 10893135"/>
                <a:gd name="connsiteY1" fmla="*/ 186319 h 957796"/>
                <a:gd name="connsiteX0" fmla="*/ 0 w 10893135"/>
                <a:gd name="connsiteY0" fmla="*/ 1033089 h 1033089"/>
                <a:gd name="connsiteX1" fmla="*/ 10893135 w 10893135"/>
                <a:gd name="connsiteY1" fmla="*/ 139805 h 1033089"/>
                <a:gd name="connsiteX0" fmla="*/ 0 w 10893135"/>
                <a:gd name="connsiteY0" fmla="*/ 1028289 h 1028289"/>
                <a:gd name="connsiteX1" fmla="*/ 10893135 w 10893135"/>
                <a:gd name="connsiteY1" fmla="*/ 135005 h 1028289"/>
                <a:gd name="connsiteX0" fmla="*/ 0 w 10893135"/>
                <a:gd name="connsiteY0" fmla="*/ 1034653 h 1034653"/>
                <a:gd name="connsiteX1" fmla="*/ 10893135 w 10893135"/>
                <a:gd name="connsiteY1" fmla="*/ 141369 h 1034653"/>
                <a:gd name="connsiteX0" fmla="*/ 0 w 10893135"/>
                <a:gd name="connsiteY0" fmla="*/ 998690 h 998690"/>
                <a:gd name="connsiteX1" fmla="*/ 10893135 w 10893135"/>
                <a:gd name="connsiteY1" fmla="*/ 105406 h 998690"/>
                <a:gd name="connsiteX0" fmla="*/ 0 w 10911608"/>
                <a:gd name="connsiteY0" fmla="*/ 1098208 h 1098208"/>
                <a:gd name="connsiteX1" fmla="*/ 10911608 w 10911608"/>
                <a:gd name="connsiteY1" fmla="*/ 72042 h 1098208"/>
                <a:gd name="connsiteX0" fmla="*/ 0 w 10911608"/>
                <a:gd name="connsiteY0" fmla="*/ 1083626 h 1083626"/>
                <a:gd name="connsiteX1" fmla="*/ 10911608 w 10911608"/>
                <a:gd name="connsiteY1" fmla="*/ 57460 h 1083626"/>
                <a:gd name="connsiteX0" fmla="*/ 0 w 10865426"/>
                <a:gd name="connsiteY0" fmla="*/ 1092493 h 1092493"/>
                <a:gd name="connsiteX1" fmla="*/ 10865426 w 10865426"/>
                <a:gd name="connsiteY1" fmla="*/ 55254 h 1092493"/>
                <a:gd name="connsiteX0" fmla="*/ 0 w 10865426"/>
                <a:gd name="connsiteY0" fmla="*/ 1058005 h 1058005"/>
                <a:gd name="connsiteX1" fmla="*/ 10865426 w 10865426"/>
                <a:gd name="connsiteY1" fmla="*/ 20766 h 1058005"/>
                <a:gd name="connsiteX0" fmla="*/ 0 w 10865426"/>
                <a:gd name="connsiteY0" fmla="*/ 1062175 h 1062175"/>
                <a:gd name="connsiteX1" fmla="*/ 10865426 w 10865426"/>
                <a:gd name="connsiteY1" fmla="*/ 24936 h 1062175"/>
                <a:gd name="connsiteX0" fmla="*/ 0 w 10865426"/>
                <a:gd name="connsiteY0" fmla="*/ 1072162 h 1072162"/>
                <a:gd name="connsiteX1" fmla="*/ 10865426 w 10865426"/>
                <a:gd name="connsiteY1" fmla="*/ 34923 h 1072162"/>
                <a:gd name="connsiteX0" fmla="*/ 0 w 10865426"/>
                <a:gd name="connsiteY0" fmla="*/ 1090127 h 1090127"/>
                <a:gd name="connsiteX1" fmla="*/ 10865426 w 10865426"/>
                <a:gd name="connsiteY1" fmla="*/ 52888 h 1090127"/>
                <a:gd name="connsiteX0" fmla="*/ 0 w 10865426"/>
                <a:gd name="connsiteY0" fmla="*/ 1037239 h 1037239"/>
                <a:gd name="connsiteX1" fmla="*/ 10865426 w 10865426"/>
                <a:gd name="connsiteY1" fmla="*/ 0 h 1037239"/>
                <a:gd name="connsiteX0" fmla="*/ 0 w 10865426"/>
                <a:gd name="connsiteY0" fmla="*/ 1037239 h 1037239"/>
                <a:gd name="connsiteX1" fmla="*/ 10865426 w 10865426"/>
                <a:gd name="connsiteY1" fmla="*/ 0 h 1037239"/>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12047 h 812047"/>
                <a:gd name="connsiteX1" fmla="*/ 10865426 w 10865426"/>
                <a:gd name="connsiteY1" fmla="*/ 3198 h 812047"/>
              </a:gdLst>
              <a:ahLst/>
              <a:cxnLst>
                <a:cxn ang="0">
                  <a:pos x="connsiteX0" y="connsiteY0"/>
                </a:cxn>
                <a:cxn ang="0">
                  <a:pos x="connsiteX1" y="connsiteY1"/>
                </a:cxn>
              </a:cxnLst>
              <a:rect l="l" t="t" r="r" b="b"/>
              <a:pathLst>
                <a:path w="10865426" h="812047">
                  <a:moveTo>
                    <a:pt x="0" y="812047"/>
                  </a:moveTo>
                  <a:cubicBezTo>
                    <a:pt x="5596016" y="-167183"/>
                    <a:pt x="8450502" y="22467"/>
                    <a:pt x="10865426" y="3198"/>
                  </a:cubicBezTo>
                </a:path>
              </a:pathLst>
            </a:custGeom>
            <a:noFill/>
            <a:ln w="28575">
              <a:gradFill flip="none" rotWithShape="1">
                <a:gsLst>
                  <a:gs pos="87000">
                    <a:schemeClr val="accent2"/>
                  </a:gs>
                  <a:gs pos="91000">
                    <a:schemeClr val="accent1"/>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a:endParaRPr lang="en-IN">
                <a:solidFill>
                  <a:srgbClr val="FFFFFF"/>
                </a:solidFill>
              </a:endParaRPr>
            </a:p>
          </p:txBody>
        </p:sp>
        <p:sp>
          <p:nvSpPr>
            <p:cNvPr id="477" name="Freeform 23"/>
            <p:cNvSpPr/>
            <p:nvPr/>
          </p:nvSpPr>
          <p:spPr>
            <a:xfrm>
              <a:off x="8887110" y="2054416"/>
              <a:ext cx="2687681" cy="1089555"/>
            </a:xfrm>
            <a:custGeom>
              <a:avLst/>
              <a:gdLst>
                <a:gd name="connsiteX0" fmla="*/ 0 w 1782695"/>
                <a:gd name="connsiteY0" fmla="*/ 0 h 1609294"/>
                <a:gd name="connsiteX1" fmla="*/ 156074 w 1782695"/>
                <a:gd name="connsiteY1" fmla="*/ 1545 h 1609294"/>
                <a:gd name="connsiteX2" fmla="*/ 1781963 w 1782695"/>
                <a:gd name="connsiteY2" fmla="*/ 2164 h 1609294"/>
                <a:gd name="connsiteX3" fmla="*/ 1781963 w 1782695"/>
                <a:gd name="connsiteY3" fmla="*/ 1601979 h 1609294"/>
                <a:gd name="connsiteX4" fmla="*/ 0 w 1782695"/>
                <a:gd name="connsiteY4" fmla="*/ 1609294 h 1609294"/>
                <a:gd name="connsiteX0" fmla="*/ 0 w 1782695"/>
                <a:gd name="connsiteY0" fmla="*/ 0 h 1609294"/>
                <a:gd name="connsiteX1" fmla="*/ 1781963 w 1782695"/>
                <a:gd name="connsiteY1" fmla="*/ 2164 h 1609294"/>
                <a:gd name="connsiteX2" fmla="*/ 1781963 w 1782695"/>
                <a:gd name="connsiteY2" fmla="*/ 1601979 h 1609294"/>
                <a:gd name="connsiteX3" fmla="*/ 0 w 1782695"/>
                <a:gd name="connsiteY3" fmla="*/ 1609294 h 1609294"/>
                <a:gd name="connsiteX4" fmla="*/ 0 w 1782695"/>
                <a:gd name="connsiteY4" fmla="*/ 0 h 1609294"/>
                <a:gd name="connsiteX0" fmla="*/ 0 w 2712879"/>
                <a:gd name="connsiteY0" fmla="*/ 0 h 1616438"/>
                <a:gd name="connsiteX1" fmla="*/ 2712147 w 2712879"/>
                <a:gd name="connsiteY1" fmla="*/ 9308 h 1616438"/>
                <a:gd name="connsiteX2" fmla="*/ 2712147 w 2712879"/>
                <a:gd name="connsiteY2" fmla="*/ 1609123 h 1616438"/>
                <a:gd name="connsiteX3" fmla="*/ 930184 w 2712879"/>
                <a:gd name="connsiteY3" fmla="*/ 1616438 h 1616438"/>
                <a:gd name="connsiteX4" fmla="*/ 0 w 2712879"/>
                <a:gd name="connsiteY4" fmla="*/ 0 h 1616438"/>
                <a:gd name="connsiteX0" fmla="*/ 0 w 2712879"/>
                <a:gd name="connsiteY0" fmla="*/ 0 h 1614057"/>
                <a:gd name="connsiteX1" fmla="*/ 2712147 w 2712879"/>
                <a:gd name="connsiteY1" fmla="*/ 9308 h 1614057"/>
                <a:gd name="connsiteX2" fmla="*/ 2712147 w 2712879"/>
                <a:gd name="connsiteY2" fmla="*/ 1609123 h 1614057"/>
                <a:gd name="connsiteX3" fmla="*/ 2404 w 2712879"/>
                <a:gd name="connsiteY3" fmla="*/ 1614057 h 1614057"/>
                <a:gd name="connsiteX4" fmla="*/ 0 w 2712879"/>
                <a:gd name="connsiteY4" fmla="*/ 0 h 1614057"/>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5281"/>
                <a:gd name="connsiteX1" fmla="*/ 2712147 w 2712879"/>
                <a:gd name="connsiteY1" fmla="*/ 5770 h 1615281"/>
                <a:gd name="connsiteX2" fmla="*/ 2712147 w 2712879"/>
                <a:gd name="connsiteY2" fmla="*/ 1605585 h 1615281"/>
                <a:gd name="connsiteX3" fmla="*/ 4808 w 2712879"/>
                <a:gd name="connsiteY3" fmla="*/ 1615281 h 1615281"/>
                <a:gd name="connsiteX4" fmla="*/ 0 w 2712879"/>
                <a:gd name="connsiteY4" fmla="*/ 0 h 1615281"/>
                <a:gd name="connsiteX0" fmla="*/ 0 w 2712879"/>
                <a:gd name="connsiteY0" fmla="*/ 0 h 1615281"/>
                <a:gd name="connsiteX1" fmla="*/ 2712147 w 2712879"/>
                <a:gd name="connsiteY1" fmla="*/ 5770 h 1615281"/>
                <a:gd name="connsiteX2" fmla="*/ 2712147 w 2712879"/>
                <a:gd name="connsiteY2" fmla="*/ 1605585 h 1615281"/>
                <a:gd name="connsiteX3" fmla="*/ 4808 w 2712879"/>
                <a:gd name="connsiteY3" fmla="*/ 1615281 h 1615281"/>
                <a:gd name="connsiteX4" fmla="*/ 0 w 2712879"/>
                <a:gd name="connsiteY4" fmla="*/ 0 h 1615281"/>
                <a:gd name="connsiteX0" fmla="*/ 0 w 2712879"/>
                <a:gd name="connsiteY0" fmla="*/ 0 h 1618819"/>
                <a:gd name="connsiteX1" fmla="*/ 2712147 w 2712879"/>
                <a:gd name="connsiteY1" fmla="*/ 5770 h 1618819"/>
                <a:gd name="connsiteX2" fmla="*/ 2712147 w 2712879"/>
                <a:gd name="connsiteY2" fmla="*/ 1605585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5770 h 1618819"/>
                <a:gd name="connsiteX2" fmla="*/ 2712147 w 2712879"/>
                <a:gd name="connsiteY2" fmla="*/ 1605585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5770 h 1618819"/>
                <a:gd name="connsiteX2" fmla="*/ 2712147 w 2712879"/>
                <a:gd name="connsiteY2" fmla="*/ 1605585 h 1618819"/>
                <a:gd name="connsiteX3" fmla="*/ 4808 w 2712879"/>
                <a:gd name="connsiteY3" fmla="*/ 1618819 h 1618819"/>
                <a:gd name="connsiteX4" fmla="*/ 0 w 2712879"/>
                <a:gd name="connsiteY4" fmla="*/ 0 h 161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79" h="1618819">
                  <a:moveTo>
                    <a:pt x="0" y="0"/>
                  </a:moveTo>
                  <a:cubicBezTo>
                    <a:pt x="913663" y="16074"/>
                    <a:pt x="1808098" y="3847"/>
                    <a:pt x="2712147" y="5770"/>
                  </a:cubicBezTo>
                  <a:cubicBezTo>
                    <a:pt x="2709607" y="548356"/>
                    <a:pt x="2714686" y="1063000"/>
                    <a:pt x="2712147" y="1605585"/>
                  </a:cubicBezTo>
                  <a:lnTo>
                    <a:pt x="4808" y="1618819"/>
                  </a:lnTo>
                  <a:cubicBezTo>
                    <a:pt x="4007" y="1080800"/>
                    <a:pt x="801" y="538019"/>
                    <a:pt x="0" y="0"/>
                  </a:cubicBezTo>
                  <a:close/>
                </a:path>
              </a:pathLst>
            </a:custGeom>
            <a:solidFill>
              <a:schemeClr val="accent2"/>
            </a:solidFill>
            <a:ln>
              <a:noFill/>
            </a:ln>
          </p:spPr>
          <p:txBody>
            <a:bodyPr vert="horz" wrap="square" lIns="457200" tIns="73152" rIns="91440" bIns="45708" numCol="1" anchor="t" anchorCtr="0" compatLnSpc="1">
              <a:prstTxWarp prst="textNoShape">
                <a:avLst/>
              </a:prstTxWarp>
              <a:noAutofit/>
            </a:bodyPr>
            <a:lstStyle/>
            <a:p>
              <a:pPr defTabSz="685588"/>
              <a:r>
                <a:rPr lang="ja-JP" altLang="en-US" sz="800" dirty="0">
                  <a:solidFill>
                    <a:srgbClr val="FFFFFF"/>
                  </a:solidFill>
                </a:rPr>
                <a:t>レイヤ</a:t>
              </a:r>
              <a:r>
                <a:rPr lang="en-US" sz="800" dirty="0">
                  <a:solidFill>
                    <a:srgbClr val="FFFFFF"/>
                  </a:solidFill>
                </a:rPr>
                <a:t>3</a:t>
              </a:r>
            </a:p>
          </p:txBody>
        </p:sp>
        <p:sp>
          <p:nvSpPr>
            <p:cNvPr id="478" name="Rectangle 24"/>
            <p:cNvSpPr/>
            <p:nvPr/>
          </p:nvSpPr>
          <p:spPr>
            <a:xfrm>
              <a:off x="784021" y="1667379"/>
              <a:ext cx="977177" cy="1828804"/>
            </a:xfrm>
            <a:prstGeom prst="rect">
              <a:avLst/>
            </a:prstGeom>
            <a:solidFill>
              <a:schemeClr val="tx1">
                <a:lumMod val="75000"/>
              </a:schemeClr>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857">
                <a:spcAft>
                  <a:spcPts val="450"/>
                </a:spcAft>
              </a:pPr>
              <a:r>
                <a:rPr lang="ja-JP" altLang="en-US" sz="800" dirty="0">
                  <a:solidFill>
                    <a:srgbClr val="FFFFFF"/>
                  </a:solidFill>
                </a:rPr>
                <a:t>ファイルレピュテーション</a:t>
              </a:r>
              <a:endParaRPr lang="en-US" sz="800" dirty="0">
                <a:solidFill>
                  <a:srgbClr val="FFFFFF"/>
                </a:solidFill>
              </a:endParaRPr>
            </a:p>
          </p:txBody>
        </p:sp>
        <p:grpSp>
          <p:nvGrpSpPr>
            <p:cNvPr id="479" name="Group 25"/>
            <p:cNvGrpSpPr/>
            <p:nvPr/>
          </p:nvGrpSpPr>
          <p:grpSpPr>
            <a:xfrm>
              <a:off x="3180797" y="2165006"/>
              <a:ext cx="2899779" cy="903825"/>
              <a:chOff x="3180797" y="2000556"/>
              <a:chExt cx="2882949" cy="1178864"/>
            </a:xfrm>
          </p:grpSpPr>
          <p:sp>
            <p:nvSpPr>
              <p:cNvPr id="488" name="Rectangle 1018"/>
              <p:cNvSpPr/>
              <p:nvPr/>
            </p:nvSpPr>
            <p:spPr>
              <a:xfrm>
                <a:off x="3180797" y="2000556"/>
                <a:ext cx="1422891" cy="1178861"/>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57"/>
                <a:r>
                  <a:rPr lang="ja-JP" altLang="en-US" sz="800" dirty="0">
                    <a:solidFill>
                      <a:srgbClr val="FFFFFF"/>
                    </a:solidFill>
                  </a:rPr>
                  <a:t>異常検知</a:t>
                </a:r>
                <a:endParaRPr lang="en-US" sz="800" dirty="0">
                  <a:solidFill>
                    <a:srgbClr val="FFFFFF"/>
                  </a:solidFill>
                </a:endParaRPr>
              </a:p>
            </p:txBody>
          </p:sp>
          <p:sp>
            <p:nvSpPr>
              <p:cNvPr id="489" name="Rectangle 1019"/>
              <p:cNvSpPr/>
              <p:nvPr/>
            </p:nvSpPr>
            <p:spPr>
              <a:xfrm>
                <a:off x="4641183" y="2000556"/>
                <a:ext cx="1422563" cy="1178864"/>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57"/>
                <a:r>
                  <a:rPr lang="ja-JP" altLang="en-US" sz="800" dirty="0">
                    <a:solidFill>
                      <a:srgbClr val="FFFFFF"/>
                    </a:solidFill>
                  </a:rPr>
                  <a:t>信頼モデリング</a:t>
                </a:r>
                <a:endParaRPr lang="en-US" sz="800" dirty="0">
                  <a:solidFill>
                    <a:srgbClr val="FFFFFF"/>
                  </a:solidFill>
                </a:endParaRPr>
              </a:p>
            </p:txBody>
          </p:sp>
        </p:grpSp>
        <p:grpSp>
          <p:nvGrpSpPr>
            <p:cNvPr id="480" name="Group 26"/>
            <p:cNvGrpSpPr/>
            <p:nvPr/>
          </p:nvGrpSpPr>
          <p:grpSpPr>
            <a:xfrm>
              <a:off x="6212787" y="2235302"/>
              <a:ext cx="2584442" cy="763232"/>
              <a:chOff x="6224209" y="2099072"/>
              <a:chExt cx="2702641" cy="490040"/>
            </a:xfrm>
          </p:grpSpPr>
          <p:sp>
            <p:nvSpPr>
              <p:cNvPr id="486" name="Rectangle 995"/>
              <p:cNvSpPr/>
              <p:nvPr/>
            </p:nvSpPr>
            <p:spPr>
              <a:xfrm>
                <a:off x="6224209" y="2099072"/>
                <a:ext cx="1335434" cy="486529"/>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57"/>
                <a:r>
                  <a:rPr lang="ja-JP" altLang="en-US" sz="800" dirty="0">
                    <a:solidFill>
                      <a:srgbClr val="FFFFFF"/>
                    </a:solidFill>
                  </a:rPr>
                  <a:t>イベント分類</a:t>
                </a:r>
                <a:endParaRPr lang="en-US" sz="800" dirty="0">
                  <a:solidFill>
                    <a:srgbClr val="FFFFFF"/>
                  </a:solidFill>
                </a:endParaRPr>
              </a:p>
            </p:txBody>
          </p:sp>
          <p:sp>
            <p:nvSpPr>
              <p:cNvPr id="487" name="Rectangle 1017"/>
              <p:cNvSpPr/>
              <p:nvPr/>
            </p:nvSpPr>
            <p:spPr>
              <a:xfrm>
                <a:off x="7591826" y="2099072"/>
                <a:ext cx="1335024" cy="490040"/>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57"/>
                <a:r>
                  <a:rPr lang="ja-JP" altLang="en-US" sz="800" dirty="0">
                    <a:solidFill>
                      <a:srgbClr val="FFFFFF"/>
                    </a:solidFill>
                  </a:rPr>
                  <a:t>実態モデリング</a:t>
                </a:r>
                <a:endParaRPr lang="en-US" sz="800" dirty="0">
                  <a:solidFill>
                    <a:srgbClr val="FFFFFF"/>
                  </a:solidFill>
                </a:endParaRPr>
              </a:p>
            </p:txBody>
          </p:sp>
        </p:grpSp>
        <p:grpSp>
          <p:nvGrpSpPr>
            <p:cNvPr id="481" name="Group 27"/>
            <p:cNvGrpSpPr/>
            <p:nvPr/>
          </p:nvGrpSpPr>
          <p:grpSpPr>
            <a:xfrm>
              <a:off x="2005594" y="1807571"/>
              <a:ext cx="977177" cy="1576363"/>
              <a:chOff x="2039345" y="1707610"/>
              <a:chExt cx="977177" cy="1776285"/>
            </a:xfrm>
          </p:grpSpPr>
          <p:sp>
            <p:nvSpPr>
              <p:cNvPr id="484" name="Rectangle 30"/>
              <p:cNvSpPr/>
              <p:nvPr/>
            </p:nvSpPr>
            <p:spPr>
              <a:xfrm>
                <a:off x="2039345" y="1707610"/>
                <a:ext cx="977177" cy="868680"/>
              </a:xfrm>
              <a:prstGeom prst="rect">
                <a:avLst/>
              </a:prstGeom>
              <a:solidFill>
                <a:schemeClr val="tx1">
                  <a:lumMod val="75000"/>
                </a:schemeClr>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857"/>
                <a:r>
                  <a:rPr lang="ja-JP" altLang="en-US" sz="800" dirty="0">
                    <a:solidFill>
                      <a:srgbClr val="FFFFFF"/>
                    </a:solidFill>
                  </a:rPr>
                  <a:t>ダイナミック</a:t>
                </a:r>
                <a:r>
                  <a:rPr lang="en-US" altLang="ja-JP" sz="800" dirty="0">
                    <a:solidFill>
                      <a:srgbClr val="FFFFFF"/>
                    </a:solidFill>
                  </a:rPr>
                  <a:t/>
                </a:r>
                <a:br>
                  <a:rPr lang="en-US" altLang="ja-JP" sz="800" dirty="0">
                    <a:solidFill>
                      <a:srgbClr val="FFFFFF"/>
                    </a:solidFill>
                  </a:rPr>
                </a:br>
                <a:r>
                  <a:rPr lang="ja-JP" altLang="en-US" sz="800" dirty="0">
                    <a:solidFill>
                      <a:srgbClr val="FFFFFF"/>
                    </a:solidFill>
                  </a:rPr>
                  <a:t>マルウェア解析</a:t>
                </a:r>
                <a:endParaRPr lang="en-US" sz="800" dirty="0">
                  <a:solidFill>
                    <a:srgbClr val="FFFFFF"/>
                  </a:solidFill>
                </a:endParaRPr>
              </a:p>
            </p:txBody>
          </p:sp>
          <p:sp>
            <p:nvSpPr>
              <p:cNvPr id="485" name="Rectangle 993"/>
              <p:cNvSpPr/>
              <p:nvPr/>
            </p:nvSpPr>
            <p:spPr>
              <a:xfrm>
                <a:off x="2039345" y="2617419"/>
                <a:ext cx="977177" cy="866476"/>
              </a:xfrm>
              <a:prstGeom prst="rect">
                <a:avLst/>
              </a:prstGeom>
              <a:solidFill>
                <a:schemeClr val="tx1">
                  <a:lumMod val="75000"/>
                </a:schemeClr>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857"/>
                <a:r>
                  <a:rPr lang="ja-JP" altLang="en-US" sz="800" dirty="0">
                    <a:solidFill>
                      <a:srgbClr val="FFFFFF"/>
                    </a:solidFill>
                  </a:rPr>
                  <a:t>ファイル</a:t>
                </a:r>
                <a:r>
                  <a:rPr lang="en-US" altLang="ja-JP" sz="800" dirty="0">
                    <a:solidFill>
                      <a:srgbClr val="FFFFFF"/>
                    </a:solidFill>
                  </a:rPr>
                  <a:t/>
                </a:r>
                <a:br>
                  <a:rPr lang="en-US" altLang="ja-JP" sz="800" dirty="0">
                    <a:solidFill>
                      <a:srgbClr val="FFFFFF"/>
                    </a:solidFill>
                  </a:rPr>
                </a:br>
                <a:r>
                  <a:rPr lang="ja-JP" altLang="en-US" sz="800" dirty="0">
                    <a:solidFill>
                      <a:srgbClr val="FFFFFF"/>
                    </a:solidFill>
                  </a:rPr>
                  <a:t>レトロスペクション</a:t>
                </a:r>
                <a:endParaRPr lang="en-US" sz="800" dirty="0">
                  <a:solidFill>
                    <a:srgbClr val="FFFFFF"/>
                  </a:solidFill>
                </a:endParaRPr>
              </a:p>
            </p:txBody>
          </p:sp>
        </p:grpSp>
        <p:sp>
          <p:nvSpPr>
            <p:cNvPr id="482" name="Rectangle 28"/>
            <p:cNvSpPr/>
            <p:nvPr/>
          </p:nvSpPr>
          <p:spPr>
            <a:xfrm>
              <a:off x="8936779" y="2318665"/>
              <a:ext cx="2577104" cy="596506"/>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57"/>
              <a:r>
                <a:rPr lang="ja-JP" altLang="en-US" sz="800" dirty="0">
                  <a:solidFill>
                    <a:srgbClr val="FFFFFF"/>
                  </a:solidFill>
                </a:rPr>
                <a:t>関連モデリング</a:t>
              </a:r>
              <a:endParaRPr lang="en-US" sz="800" dirty="0">
                <a:solidFill>
                  <a:srgbClr val="FFFFFF"/>
                </a:solidFill>
              </a:endParaRPr>
            </a:p>
          </p:txBody>
        </p:sp>
        <p:sp>
          <p:nvSpPr>
            <p:cNvPr id="483" name="Freeform 10"/>
            <p:cNvSpPr>
              <a:spLocks/>
            </p:cNvSpPr>
            <p:nvPr/>
          </p:nvSpPr>
          <p:spPr bwMode="auto">
            <a:xfrm>
              <a:off x="8888340" y="2045629"/>
              <a:ext cx="411480" cy="237744"/>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87783">
                  <a:moveTo>
                    <a:pt x="0" y="0"/>
                  </a:moveTo>
                  <a:lnTo>
                    <a:pt x="342349" y="8555"/>
                  </a:lnTo>
                  <a:cubicBezTo>
                    <a:pt x="341791" y="68855"/>
                    <a:pt x="341234" y="127483"/>
                    <a:pt x="340676" y="187783"/>
                  </a:cubicBezTo>
                  <a:lnTo>
                    <a:pt x="0" y="187783"/>
                  </a:lnTo>
                  <a:lnTo>
                    <a:pt x="0" y="0"/>
                  </a:lnTo>
                  <a:close/>
                </a:path>
              </a:pathLst>
            </a:custGeom>
            <a:solidFill>
              <a:schemeClr val="accent2">
                <a:lumMod val="75000"/>
              </a:schemeClr>
            </a:solidFill>
            <a:ln w="25400" cap="flat" cmpd="sng" algn="ctr">
              <a:noFill/>
              <a:prstDash val="solid"/>
            </a:ln>
            <a:effectLst/>
          </p:spPr>
          <p:txBody>
            <a:bodyPr lIns="0" tIns="0" rIns="0" bIns="0" rtlCol="0" anchor="ctr"/>
            <a:lstStyle/>
            <a:p>
              <a:pPr algn="ctr" defTabSz="914043"/>
              <a:r>
                <a:rPr lang="en-US" sz="900" b="1" dirty="0">
                  <a:solidFill>
                    <a:prstClr val="white"/>
                  </a:solidFill>
                </a:rPr>
                <a:t>CTA</a:t>
              </a:r>
            </a:p>
          </p:txBody>
        </p:sp>
      </p:grpSp>
    </p:spTree>
    <p:extLst>
      <p:ext uri="{BB962C8B-B14F-4D97-AF65-F5344CB8AC3E}">
        <p14:creationId xmlns:p14="http://schemas.microsoft.com/office/powerpoint/2010/main" val="911699921"/>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430"/>
                                        </p:tgtEl>
                                        <p:attrNameLst>
                                          <p:attrName>style.visibility</p:attrName>
                                        </p:attrNameLst>
                                      </p:cBhvr>
                                      <p:to>
                                        <p:strVal val="visible"/>
                                      </p:to>
                                    </p:set>
                                    <p:animEffect transition="in" filter="wipe(right)">
                                      <p:cBhvr>
                                        <p:cTn id="7" dur="1500"/>
                                        <p:tgtEl>
                                          <p:spTgt spid="4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Freeform 120"/>
          <p:cNvSpPr>
            <a:spLocks/>
          </p:cNvSpPr>
          <p:nvPr/>
        </p:nvSpPr>
        <p:spPr bwMode="auto">
          <a:xfrm>
            <a:off x="3220958" y="1901804"/>
            <a:ext cx="3313415" cy="1978716"/>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chemeClr val="bg1">
              <a:lumMod val="95000"/>
            </a:schemeClr>
          </a:solidFill>
          <a:ln>
            <a:noFill/>
          </a:ln>
          <a:effectLst/>
          <a:extLst/>
        </p:spPr>
        <p:txBody>
          <a:bodyPr vert="horz" wrap="square" lIns="91438" tIns="45719" rIns="91438" bIns="45719" numCol="1" anchor="t" anchorCtr="0" compatLnSpc="1">
            <a:prstTxWarp prst="textNoShape">
              <a:avLst/>
            </a:prstTxWarp>
          </a:bodyPr>
          <a:lstStyle/>
          <a:p>
            <a:endParaRPr lang="en-US">
              <a:solidFill>
                <a:srgbClr val="676767"/>
              </a:solidFill>
            </a:endParaRPr>
          </a:p>
        </p:txBody>
      </p:sp>
      <p:grpSp>
        <p:nvGrpSpPr>
          <p:cNvPr id="5" name="Group 9"/>
          <p:cNvGrpSpPr/>
          <p:nvPr/>
        </p:nvGrpSpPr>
        <p:grpSpPr>
          <a:xfrm>
            <a:off x="5385378" y="1212663"/>
            <a:ext cx="289958" cy="362711"/>
            <a:chOff x="7439195" y="4481576"/>
            <a:chExt cx="386611" cy="483615"/>
          </a:xfrm>
          <a:solidFill>
            <a:schemeClr val="accent6"/>
          </a:solidFill>
        </p:grpSpPr>
        <p:sp>
          <p:nvSpPr>
            <p:cNvPr id="93" name="Freeform 135"/>
            <p:cNvSpPr>
              <a:spLocks noEditPoints="1"/>
            </p:cNvSpPr>
            <p:nvPr/>
          </p:nvSpPr>
          <p:spPr bwMode="auto">
            <a:xfrm>
              <a:off x="7474341" y="4518128"/>
              <a:ext cx="316318" cy="64669"/>
            </a:xfrm>
            <a:custGeom>
              <a:avLst/>
              <a:gdLst>
                <a:gd name="T0" fmla="*/ 428 w 451"/>
                <a:gd name="T1" fmla="*/ 0 h 93"/>
                <a:gd name="T2" fmla="*/ 437 w 451"/>
                <a:gd name="T3" fmla="*/ 3 h 93"/>
                <a:gd name="T4" fmla="*/ 447 w 451"/>
                <a:gd name="T5" fmla="*/ 11 h 93"/>
                <a:gd name="T6" fmla="*/ 449 w 451"/>
                <a:gd name="T7" fmla="*/ 18 h 93"/>
                <a:gd name="T8" fmla="*/ 451 w 451"/>
                <a:gd name="T9" fmla="*/ 72 h 93"/>
                <a:gd name="T10" fmla="*/ 449 w 451"/>
                <a:gd name="T11" fmla="*/ 76 h 93"/>
                <a:gd name="T12" fmla="*/ 444 w 451"/>
                <a:gd name="T13" fmla="*/ 88 h 93"/>
                <a:gd name="T14" fmla="*/ 433 w 451"/>
                <a:gd name="T15" fmla="*/ 93 h 93"/>
                <a:gd name="T16" fmla="*/ 22 w 451"/>
                <a:gd name="T17" fmla="*/ 93 h 93"/>
                <a:gd name="T18" fmla="*/ 18 w 451"/>
                <a:gd name="T19" fmla="*/ 93 h 93"/>
                <a:gd name="T20" fmla="*/ 7 w 451"/>
                <a:gd name="T21" fmla="*/ 88 h 93"/>
                <a:gd name="T22" fmla="*/ 0 w 451"/>
                <a:gd name="T23" fmla="*/ 76 h 93"/>
                <a:gd name="T24" fmla="*/ 0 w 451"/>
                <a:gd name="T25" fmla="*/ 23 h 93"/>
                <a:gd name="T26" fmla="*/ 0 w 451"/>
                <a:gd name="T27" fmla="*/ 18 h 93"/>
                <a:gd name="T28" fmla="*/ 7 w 451"/>
                <a:gd name="T29" fmla="*/ 7 h 93"/>
                <a:gd name="T30" fmla="*/ 18 w 451"/>
                <a:gd name="T31" fmla="*/ 2 h 93"/>
                <a:gd name="T32" fmla="*/ 428 w 451"/>
                <a:gd name="T33" fmla="*/ 0 h 93"/>
                <a:gd name="T34" fmla="*/ 219 w 451"/>
                <a:gd name="T35" fmla="*/ 39 h 93"/>
                <a:gd name="T36" fmla="*/ 211 w 451"/>
                <a:gd name="T37" fmla="*/ 42 h 93"/>
                <a:gd name="T38" fmla="*/ 208 w 451"/>
                <a:gd name="T39" fmla="*/ 50 h 93"/>
                <a:gd name="T40" fmla="*/ 208 w 451"/>
                <a:gd name="T41" fmla="*/ 54 h 93"/>
                <a:gd name="T42" fmla="*/ 215 w 451"/>
                <a:gd name="T43" fmla="*/ 60 h 93"/>
                <a:gd name="T44" fmla="*/ 391 w 451"/>
                <a:gd name="T45" fmla="*/ 61 h 93"/>
                <a:gd name="T46" fmla="*/ 395 w 451"/>
                <a:gd name="T47" fmla="*/ 60 h 93"/>
                <a:gd name="T48" fmla="*/ 401 w 451"/>
                <a:gd name="T49" fmla="*/ 54 h 93"/>
                <a:gd name="T50" fmla="*/ 402 w 451"/>
                <a:gd name="T51" fmla="*/ 50 h 93"/>
                <a:gd name="T52" fmla="*/ 400 w 451"/>
                <a:gd name="T53" fmla="*/ 42 h 93"/>
                <a:gd name="T54" fmla="*/ 391 w 451"/>
                <a:gd name="T55" fmla="*/ 39 h 93"/>
                <a:gd name="T56" fmla="*/ 57 w 451"/>
                <a:gd name="T57" fmla="*/ 39 h 93"/>
                <a:gd name="T58" fmla="*/ 53 w 451"/>
                <a:gd name="T59" fmla="*/ 39 h 93"/>
                <a:gd name="T60" fmla="*/ 48 w 451"/>
                <a:gd name="T61" fmla="*/ 46 h 93"/>
                <a:gd name="T62" fmla="*/ 46 w 451"/>
                <a:gd name="T63" fmla="*/ 50 h 93"/>
                <a:gd name="T64" fmla="*/ 50 w 451"/>
                <a:gd name="T65" fmla="*/ 57 h 93"/>
                <a:gd name="T66" fmla="*/ 57 w 451"/>
                <a:gd name="T67" fmla="*/ 61 h 93"/>
                <a:gd name="T68" fmla="*/ 62 w 451"/>
                <a:gd name="T69" fmla="*/ 60 h 93"/>
                <a:gd name="T70" fmla="*/ 68 w 451"/>
                <a:gd name="T71" fmla="*/ 54 h 93"/>
                <a:gd name="T72" fmla="*/ 68 w 451"/>
                <a:gd name="T73" fmla="*/ 50 h 93"/>
                <a:gd name="T74" fmla="*/ 65 w 451"/>
                <a:gd name="T75" fmla="*/ 42 h 93"/>
                <a:gd name="T76" fmla="*/ 57 w 451"/>
                <a:gd name="T77"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2"/>
                  </a:lnTo>
                  <a:lnTo>
                    <a:pt x="437" y="3"/>
                  </a:lnTo>
                  <a:lnTo>
                    <a:pt x="444" y="7"/>
                  </a:lnTo>
                  <a:lnTo>
                    <a:pt x="447" y="11"/>
                  </a:lnTo>
                  <a:lnTo>
                    <a:pt x="448" y="14"/>
                  </a:lnTo>
                  <a:lnTo>
                    <a:pt x="449" y="18"/>
                  </a:lnTo>
                  <a:lnTo>
                    <a:pt x="451" y="23"/>
                  </a:lnTo>
                  <a:lnTo>
                    <a:pt x="451" y="72"/>
                  </a:lnTo>
                  <a:lnTo>
                    <a:pt x="451" y="72"/>
                  </a:lnTo>
                  <a:lnTo>
                    <a:pt x="449" y="76"/>
                  </a:lnTo>
                  <a:lnTo>
                    <a:pt x="448" y="80"/>
                  </a:lnTo>
                  <a:lnTo>
                    <a:pt x="444" y="88"/>
                  </a:lnTo>
                  <a:lnTo>
                    <a:pt x="437" y="92"/>
                  </a:lnTo>
                  <a:lnTo>
                    <a:pt x="433" y="93"/>
                  </a:lnTo>
                  <a:lnTo>
                    <a:pt x="428" y="93"/>
                  </a:lnTo>
                  <a:lnTo>
                    <a:pt x="22" y="93"/>
                  </a:lnTo>
                  <a:lnTo>
                    <a:pt x="22" y="93"/>
                  </a:lnTo>
                  <a:lnTo>
                    <a:pt x="18" y="93"/>
                  </a:lnTo>
                  <a:lnTo>
                    <a:pt x="14" y="92"/>
                  </a:lnTo>
                  <a:lnTo>
                    <a:pt x="7" y="88"/>
                  </a:lnTo>
                  <a:lnTo>
                    <a:pt x="2" y="80"/>
                  </a:lnTo>
                  <a:lnTo>
                    <a:pt x="0" y="76"/>
                  </a:lnTo>
                  <a:lnTo>
                    <a:pt x="0" y="72"/>
                  </a:lnTo>
                  <a:lnTo>
                    <a:pt x="0" y="23"/>
                  </a:lnTo>
                  <a:lnTo>
                    <a:pt x="0" y="23"/>
                  </a:lnTo>
                  <a:lnTo>
                    <a:pt x="0" y="18"/>
                  </a:lnTo>
                  <a:lnTo>
                    <a:pt x="2" y="14"/>
                  </a:lnTo>
                  <a:lnTo>
                    <a:pt x="7" y="7"/>
                  </a:lnTo>
                  <a:lnTo>
                    <a:pt x="14" y="3"/>
                  </a:lnTo>
                  <a:lnTo>
                    <a:pt x="18" y="2"/>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7"/>
                  </a:lnTo>
                  <a:lnTo>
                    <a:pt x="215" y="60"/>
                  </a:lnTo>
                  <a:lnTo>
                    <a:pt x="219" y="61"/>
                  </a:lnTo>
                  <a:lnTo>
                    <a:pt x="391" y="61"/>
                  </a:lnTo>
                  <a:lnTo>
                    <a:pt x="391" y="61"/>
                  </a:lnTo>
                  <a:lnTo>
                    <a:pt x="395" y="60"/>
                  </a:lnTo>
                  <a:lnTo>
                    <a:pt x="400" y="57"/>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60"/>
                  </a:lnTo>
                  <a:lnTo>
                    <a:pt x="57" y="61"/>
                  </a:lnTo>
                  <a:lnTo>
                    <a:pt x="57" y="61"/>
                  </a:lnTo>
                  <a:lnTo>
                    <a:pt x="62" y="60"/>
                  </a:lnTo>
                  <a:lnTo>
                    <a:pt x="65" y="57"/>
                  </a:lnTo>
                  <a:lnTo>
                    <a:pt x="68" y="54"/>
                  </a:lnTo>
                  <a:lnTo>
                    <a:pt x="68" y="50"/>
                  </a:lnTo>
                  <a:lnTo>
                    <a:pt x="68" y="50"/>
                  </a:lnTo>
                  <a:lnTo>
                    <a:pt x="68" y="46"/>
                  </a:lnTo>
                  <a:lnTo>
                    <a:pt x="65" y="42"/>
                  </a:lnTo>
                  <a:lnTo>
                    <a:pt x="62" y="39"/>
                  </a:lnTo>
                  <a:lnTo>
                    <a:pt x="57" y="39"/>
                  </a:lnTo>
                  <a:lnTo>
                    <a:pt x="5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96" name="Freeform 136"/>
            <p:cNvSpPr>
              <a:spLocks noEditPoints="1"/>
            </p:cNvSpPr>
            <p:nvPr/>
          </p:nvSpPr>
          <p:spPr bwMode="auto">
            <a:xfrm>
              <a:off x="7474341" y="4601074"/>
              <a:ext cx="316318" cy="64669"/>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00" name="Freeform 137"/>
            <p:cNvSpPr>
              <a:spLocks noEditPoints="1"/>
            </p:cNvSpPr>
            <p:nvPr/>
          </p:nvSpPr>
          <p:spPr bwMode="auto">
            <a:xfrm>
              <a:off x="7474341" y="4685426"/>
              <a:ext cx="316318" cy="64669"/>
            </a:xfrm>
            <a:custGeom>
              <a:avLst/>
              <a:gdLst>
                <a:gd name="T0" fmla="*/ 428 w 451"/>
                <a:gd name="T1" fmla="*/ 0 h 93"/>
                <a:gd name="T2" fmla="*/ 437 w 451"/>
                <a:gd name="T3" fmla="*/ 1 h 93"/>
                <a:gd name="T4" fmla="*/ 447 w 451"/>
                <a:gd name="T5" fmla="*/ 9 h 93"/>
                <a:gd name="T6" fmla="*/ 449 w 451"/>
                <a:gd name="T7" fmla="*/ 17 h 93"/>
                <a:gd name="T8" fmla="*/ 451 w 451"/>
                <a:gd name="T9" fmla="*/ 70 h 93"/>
                <a:gd name="T10" fmla="*/ 449 w 451"/>
                <a:gd name="T11" fmla="*/ 74 h 93"/>
                <a:gd name="T12" fmla="*/ 444 w 451"/>
                <a:gd name="T13" fmla="*/ 86 h 93"/>
                <a:gd name="T14" fmla="*/ 433 w 451"/>
                <a:gd name="T15" fmla="*/ 92 h 93"/>
                <a:gd name="T16" fmla="*/ 22 w 451"/>
                <a:gd name="T17" fmla="*/ 93 h 93"/>
                <a:gd name="T18" fmla="*/ 18 w 451"/>
                <a:gd name="T19" fmla="*/ 92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8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8 h 93"/>
                <a:gd name="T56" fmla="*/ 57 w 451"/>
                <a:gd name="T57" fmla="*/ 38 h 93"/>
                <a:gd name="T58" fmla="*/ 53 w 451"/>
                <a:gd name="T59" fmla="*/ 38 h 93"/>
                <a:gd name="T60" fmla="*/ 48 w 451"/>
                <a:gd name="T61" fmla="*/ 44 h 93"/>
                <a:gd name="T62" fmla="*/ 46 w 451"/>
                <a:gd name="T63" fmla="*/ 48 h 93"/>
                <a:gd name="T64" fmla="*/ 50 w 451"/>
                <a:gd name="T65" fmla="*/ 57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7" y="9"/>
                  </a:lnTo>
                  <a:lnTo>
                    <a:pt x="448" y="13"/>
                  </a:lnTo>
                  <a:lnTo>
                    <a:pt x="449" y="17"/>
                  </a:lnTo>
                  <a:lnTo>
                    <a:pt x="451" y="21"/>
                  </a:lnTo>
                  <a:lnTo>
                    <a:pt x="451" y="70"/>
                  </a:lnTo>
                  <a:lnTo>
                    <a:pt x="451" y="70"/>
                  </a:lnTo>
                  <a:lnTo>
                    <a:pt x="449" y="74"/>
                  </a:lnTo>
                  <a:lnTo>
                    <a:pt x="448" y="78"/>
                  </a:lnTo>
                  <a:lnTo>
                    <a:pt x="444" y="86"/>
                  </a:lnTo>
                  <a:lnTo>
                    <a:pt x="437" y="90"/>
                  </a:lnTo>
                  <a:lnTo>
                    <a:pt x="433" y="92"/>
                  </a:lnTo>
                  <a:lnTo>
                    <a:pt x="428" y="93"/>
                  </a:lnTo>
                  <a:lnTo>
                    <a:pt x="22" y="93"/>
                  </a:lnTo>
                  <a:lnTo>
                    <a:pt x="22" y="93"/>
                  </a:lnTo>
                  <a:lnTo>
                    <a:pt x="18" y="92"/>
                  </a:lnTo>
                  <a:lnTo>
                    <a:pt x="14" y="90"/>
                  </a:lnTo>
                  <a:lnTo>
                    <a:pt x="7" y="86"/>
                  </a:lnTo>
                  <a:lnTo>
                    <a:pt x="2" y="78"/>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8"/>
                  </a:moveTo>
                  <a:lnTo>
                    <a:pt x="219" y="38"/>
                  </a:lnTo>
                  <a:lnTo>
                    <a:pt x="215" y="38"/>
                  </a:lnTo>
                  <a:lnTo>
                    <a:pt x="211" y="40"/>
                  </a:lnTo>
                  <a:lnTo>
                    <a:pt x="208" y="44"/>
                  </a:lnTo>
                  <a:lnTo>
                    <a:pt x="208" y="48"/>
                  </a:lnTo>
                  <a:lnTo>
                    <a:pt x="208" y="48"/>
                  </a:lnTo>
                  <a:lnTo>
                    <a:pt x="208" y="52"/>
                  </a:lnTo>
                  <a:lnTo>
                    <a:pt x="211" y="57"/>
                  </a:lnTo>
                  <a:lnTo>
                    <a:pt x="215" y="58"/>
                  </a:lnTo>
                  <a:lnTo>
                    <a:pt x="219" y="59"/>
                  </a:lnTo>
                  <a:lnTo>
                    <a:pt x="391" y="59"/>
                  </a:lnTo>
                  <a:lnTo>
                    <a:pt x="391" y="59"/>
                  </a:lnTo>
                  <a:lnTo>
                    <a:pt x="395" y="58"/>
                  </a:lnTo>
                  <a:lnTo>
                    <a:pt x="400" y="57"/>
                  </a:lnTo>
                  <a:lnTo>
                    <a:pt x="401" y="52"/>
                  </a:lnTo>
                  <a:lnTo>
                    <a:pt x="402" y="48"/>
                  </a:lnTo>
                  <a:lnTo>
                    <a:pt x="402" y="48"/>
                  </a:lnTo>
                  <a:lnTo>
                    <a:pt x="401" y="44"/>
                  </a:lnTo>
                  <a:lnTo>
                    <a:pt x="400" y="40"/>
                  </a:lnTo>
                  <a:lnTo>
                    <a:pt x="395" y="38"/>
                  </a:lnTo>
                  <a:lnTo>
                    <a:pt x="391" y="38"/>
                  </a:lnTo>
                  <a:lnTo>
                    <a:pt x="219" y="38"/>
                  </a:lnTo>
                  <a:close/>
                  <a:moveTo>
                    <a:pt x="57" y="38"/>
                  </a:moveTo>
                  <a:lnTo>
                    <a:pt x="57" y="38"/>
                  </a:lnTo>
                  <a:lnTo>
                    <a:pt x="53" y="38"/>
                  </a:lnTo>
                  <a:lnTo>
                    <a:pt x="50" y="40"/>
                  </a:lnTo>
                  <a:lnTo>
                    <a:pt x="48" y="44"/>
                  </a:lnTo>
                  <a:lnTo>
                    <a:pt x="46" y="48"/>
                  </a:lnTo>
                  <a:lnTo>
                    <a:pt x="46" y="48"/>
                  </a:lnTo>
                  <a:lnTo>
                    <a:pt x="48" y="52"/>
                  </a:lnTo>
                  <a:lnTo>
                    <a:pt x="50" y="57"/>
                  </a:lnTo>
                  <a:lnTo>
                    <a:pt x="53" y="58"/>
                  </a:lnTo>
                  <a:lnTo>
                    <a:pt x="57" y="59"/>
                  </a:lnTo>
                  <a:lnTo>
                    <a:pt x="57" y="59"/>
                  </a:lnTo>
                  <a:lnTo>
                    <a:pt x="62" y="58"/>
                  </a:lnTo>
                  <a:lnTo>
                    <a:pt x="65" y="57"/>
                  </a:lnTo>
                  <a:lnTo>
                    <a:pt x="68" y="52"/>
                  </a:lnTo>
                  <a:lnTo>
                    <a:pt x="68" y="48"/>
                  </a:lnTo>
                  <a:lnTo>
                    <a:pt x="68" y="48"/>
                  </a:lnTo>
                  <a:lnTo>
                    <a:pt x="68" y="44"/>
                  </a:lnTo>
                  <a:lnTo>
                    <a:pt x="65" y="40"/>
                  </a:lnTo>
                  <a:lnTo>
                    <a:pt x="62" y="38"/>
                  </a:lnTo>
                  <a:lnTo>
                    <a:pt x="57" y="38"/>
                  </a:lnTo>
                  <a:lnTo>
                    <a:pt x="5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01" name="Freeform 138"/>
            <p:cNvSpPr>
              <a:spLocks noEditPoints="1"/>
            </p:cNvSpPr>
            <p:nvPr/>
          </p:nvSpPr>
          <p:spPr bwMode="auto">
            <a:xfrm>
              <a:off x="7474341" y="4768371"/>
              <a:ext cx="316318" cy="66076"/>
            </a:xfrm>
            <a:custGeom>
              <a:avLst/>
              <a:gdLst>
                <a:gd name="T0" fmla="*/ 428 w 451"/>
                <a:gd name="T1" fmla="*/ 0 h 93"/>
                <a:gd name="T2" fmla="*/ 437 w 451"/>
                <a:gd name="T3" fmla="*/ 1 h 93"/>
                <a:gd name="T4" fmla="*/ 448 w 451"/>
                <a:gd name="T5" fmla="*/ 13 h 93"/>
                <a:gd name="T6" fmla="*/ 451 w 451"/>
                <a:gd name="T7" fmla="*/ 21 h 93"/>
                <a:gd name="T8" fmla="*/ 451 w 451"/>
                <a:gd name="T9" fmla="*/ 70 h 93"/>
                <a:gd name="T10" fmla="*/ 448 w 451"/>
                <a:gd name="T11" fmla="*/ 79 h 93"/>
                <a:gd name="T12" fmla="*/ 441 w 451"/>
                <a:gd name="T13" fmla="*/ 89 h 93"/>
                <a:gd name="T14" fmla="*/ 433 w 451"/>
                <a:gd name="T15" fmla="*/ 91 h 93"/>
                <a:gd name="T16" fmla="*/ 22 w 451"/>
                <a:gd name="T17" fmla="*/ 93 h 93"/>
                <a:gd name="T18" fmla="*/ 18 w 451"/>
                <a:gd name="T19" fmla="*/ 91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7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7 h 93"/>
                <a:gd name="T56" fmla="*/ 57 w 451"/>
                <a:gd name="T57" fmla="*/ 37 h 93"/>
                <a:gd name="T58" fmla="*/ 53 w 451"/>
                <a:gd name="T59" fmla="*/ 37 h 93"/>
                <a:gd name="T60" fmla="*/ 48 w 451"/>
                <a:gd name="T61" fmla="*/ 44 h 93"/>
                <a:gd name="T62" fmla="*/ 46 w 451"/>
                <a:gd name="T63" fmla="*/ 48 h 93"/>
                <a:gd name="T64" fmla="*/ 50 w 451"/>
                <a:gd name="T65" fmla="*/ 56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8" y="13"/>
                  </a:lnTo>
                  <a:lnTo>
                    <a:pt x="449" y="17"/>
                  </a:lnTo>
                  <a:lnTo>
                    <a:pt x="451" y="21"/>
                  </a:lnTo>
                  <a:lnTo>
                    <a:pt x="451" y="70"/>
                  </a:lnTo>
                  <a:lnTo>
                    <a:pt x="451" y="70"/>
                  </a:lnTo>
                  <a:lnTo>
                    <a:pt x="449" y="74"/>
                  </a:lnTo>
                  <a:lnTo>
                    <a:pt x="448" y="79"/>
                  </a:lnTo>
                  <a:lnTo>
                    <a:pt x="444" y="86"/>
                  </a:lnTo>
                  <a:lnTo>
                    <a:pt x="441" y="89"/>
                  </a:lnTo>
                  <a:lnTo>
                    <a:pt x="437" y="90"/>
                  </a:lnTo>
                  <a:lnTo>
                    <a:pt x="433" y="91"/>
                  </a:lnTo>
                  <a:lnTo>
                    <a:pt x="428" y="93"/>
                  </a:lnTo>
                  <a:lnTo>
                    <a:pt x="22" y="93"/>
                  </a:lnTo>
                  <a:lnTo>
                    <a:pt x="22" y="93"/>
                  </a:lnTo>
                  <a:lnTo>
                    <a:pt x="18" y="91"/>
                  </a:lnTo>
                  <a:lnTo>
                    <a:pt x="14" y="90"/>
                  </a:lnTo>
                  <a:lnTo>
                    <a:pt x="7" y="86"/>
                  </a:lnTo>
                  <a:lnTo>
                    <a:pt x="2" y="79"/>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7"/>
                  </a:moveTo>
                  <a:lnTo>
                    <a:pt x="219" y="37"/>
                  </a:lnTo>
                  <a:lnTo>
                    <a:pt x="215" y="37"/>
                  </a:lnTo>
                  <a:lnTo>
                    <a:pt x="211" y="40"/>
                  </a:lnTo>
                  <a:lnTo>
                    <a:pt x="208" y="44"/>
                  </a:lnTo>
                  <a:lnTo>
                    <a:pt x="208" y="48"/>
                  </a:lnTo>
                  <a:lnTo>
                    <a:pt x="208" y="48"/>
                  </a:lnTo>
                  <a:lnTo>
                    <a:pt x="208" y="52"/>
                  </a:lnTo>
                  <a:lnTo>
                    <a:pt x="211" y="56"/>
                  </a:lnTo>
                  <a:lnTo>
                    <a:pt x="215" y="58"/>
                  </a:lnTo>
                  <a:lnTo>
                    <a:pt x="219" y="59"/>
                  </a:lnTo>
                  <a:lnTo>
                    <a:pt x="391" y="59"/>
                  </a:lnTo>
                  <a:lnTo>
                    <a:pt x="391" y="59"/>
                  </a:lnTo>
                  <a:lnTo>
                    <a:pt x="395" y="58"/>
                  </a:lnTo>
                  <a:lnTo>
                    <a:pt x="400" y="56"/>
                  </a:lnTo>
                  <a:lnTo>
                    <a:pt x="401" y="52"/>
                  </a:lnTo>
                  <a:lnTo>
                    <a:pt x="402" y="48"/>
                  </a:lnTo>
                  <a:lnTo>
                    <a:pt x="402" y="48"/>
                  </a:lnTo>
                  <a:lnTo>
                    <a:pt x="401" y="44"/>
                  </a:lnTo>
                  <a:lnTo>
                    <a:pt x="400" y="40"/>
                  </a:lnTo>
                  <a:lnTo>
                    <a:pt x="395" y="37"/>
                  </a:lnTo>
                  <a:lnTo>
                    <a:pt x="391" y="37"/>
                  </a:lnTo>
                  <a:lnTo>
                    <a:pt x="219" y="37"/>
                  </a:lnTo>
                  <a:close/>
                  <a:moveTo>
                    <a:pt x="57" y="37"/>
                  </a:moveTo>
                  <a:lnTo>
                    <a:pt x="57" y="37"/>
                  </a:lnTo>
                  <a:lnTo>
                    <a:pt x="53" y="37"/>
                  </a:lnTo>
                  <a:lnTo>
                    <a:pt x="50" y="40"/>
                  </a:lnTo>
                  <a:lnTo>
                    <a:pt x="48" y="44"/>
                  </a:lnTo>
                  <a:lnTo>
                    <a:pt x="46" y="48"/>
                  </a:lnTo>
                  <a:lnTo>
                    <a:pt x="46" y="48"/>
                  </a:lnTo>
                  <a:lnTo>
                    <a:pt x="48" y="52"/>
                  </a:lnTo>
                  <a:lnTo>
                    <a:pt x="50" y="56"/>
                  </a:lnTo>
                  <a:lnTo>
                    <a:pt x="53" y="58"/>
                  </a:lnTo>
                  <a:lnTo>
                    <a:pt x="57" y="59"/>
                  </a:lnTo>
                  <a:lnTo>
                    <a:pt x="57" y="59"/>
                  </a:lnTo>
                  <a:lnTo>
                    <a:pt x="62" y="58"/>
                  </a:lnTo>
                  <a:lnTo>
                    <a:pt x="65" y="56"/>
                  </a:lnTo>
                  <a:lnTo>
                    <a:pt x="68" y="52"/>
                  </a:lnTo>
                  <a:lnTo>
                    <a:pt x="68" y="48"/>
                  </a:lnTo>
                  <a:lnTo>
                    <a:pt x="68" y="48"/>
                  </a:lnTo>
                  <a:lnTo>
                    <a:pt x="68" y="44"/>
                  </a:lnTo>
                  <a:lnTo>
                    <a:pt x="65" y="40"/>
                  </a:lnTo>
                  <a:lnTo>
                    <a:pt x="62" y="37"/>
                  </a:lnTo>
                  <a:lnTo>
                    <a:pt x="57" y="37"/>
                  </a:lnTo>
                  <a:lnTo>
                    <a:pt x="5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07" name="Freeform 139"/>
            <p:cNvSpPr>
              <a:spLocks noEditPoints="1"/>
            </p:cNvSpPr>
            <p:nvPr/>
          </p:nvSpPr>
          <p:spPr bwMode="auto">
            <a:xfrm>
              <a:off x="7474341" y="4852722"/>
              <a:ext cx="316318" cy="64669"/>
            </a:xfrm>
            <a:custGeom>
              <a:avLst/>
              <a:gdLst>
                <a:gd name="T0" fmla="*/ 428 w 451"/>
                <a:gd name="T1" fmla="*/ 0 h 93"/>
                <a:gd name="T2" fmla="*/ 437 w 451"/>
                <a:gd name="T3" fmla="*/ 2 h 93"/>
                <a:gd name="T4" fmla="*/ 448 w 451"/>
                <a:gd name="T5" fmla="*/ 14 h 93"/>
                <a:gd name="T6" fmla="*/ 451 w 451"/>
                <a:gd name="T7" fmla="*/ 22 h 93"/>
                <a:gd name="T8" fmla="*/ 451 w 451"/>
                <a:gd name="T9" fmla="*/ 70 h 93"/>
                <a:gd name="T10" fmla="*/ 448 w 451"/>
                <a:gd name="T11" fmla="*/ 80 h 93"/>
                <a:gd name="T12" fmla="*/ 444 w 451"/>
                <a:gd name="T13" fmla="*/ 86 h 93"/>
                <a:gd name="T14" fmla="*/ 437 w 451"/>
                <a:gd name="T15" fmla="*/ 91 h 93"/>
                <a:gd name="T16" fmla="*/ 428 w 451"/>
                <a:gd name="T17" fmla="*/ 93 h 93"/>
                <a:gd name="T18" fmla="*/ 22 w 451"/>
                <a:gd name="T19" fmla="*/ 93 h 93"/>
                <a:gd name="T20" fmla="*/ 14 w 451"/>
                <a:gd name="T21" fmla="*/ 91 h 93"/>
                <a:gd name="T22" fmla="*/ 4 w 451"/>
                <a:gd name="T23" fmla="*/ 82 h 93"/>
                <a:gd name="T24" fmla="*/ 0 w 451"/>
                <a:gd name="T25" fmla="*/ 76 h 93"/>
                <a:gd name="T26" fmla="*/ 0 w 451"/>
                <a:gd name="T27" fmla="*/ 22 h 93"/>
                <a:gd name="T28" fmla="*/ 0 w 451"/>
                <a:gd name="T29" fmla="*/ 18 h 93"/>
                <a:gd name="T30" fmla="*/ 7 w 451"/>
                <a:gd name="T31" fmla="*/ 6 h 93"/>
                <a:gd name="T32" fmla="*/ 18 w 451"/>
                <a:gd name="T33" fmla="*/ 0 h 93"/>
                <a:gd name="T34" fmla="*/ 428 w 451"/>
                <a:gd name="T35" fmla="*/ 0 h 93"/>
                <a:gd name="T36" fmla="*/ 219 w 451"/>
                <a:gd name="T37" fmla="*/ 38 h 93"/>
                <a:gd name="T38" fmla="*/ 211 w 451"/>
                <a:gd name="T39" fmla="*/ 41 h 93"/>
                <a:gd name="T40" fmla="*/ 208 w 451"/>
                <a:gd name="T41" fmla="*/ 49 h 93"/>
                <a:gd name="T42" fmla="*/ 208 w 451"/>
                <a:gd name="T43" fmla="*/ 53 h 93"/>
                <a:gd name="T44" fmla="*/ 215 w 451"/>
                <a:gd name="T45" fmla="*/ 58 h 93"/>
                <a:gd name="T46" fmla="*/ 391 w 451"/>
                <a:gd name="T47" fmla="*/ 60 h 93"/>
                <a:gd name="T48" fmla="*/ 395 w 451"/>
                <a:gd name="T49" fmla="*/ 58 h 93"/>
                <a:gd name="T50" fmla="*/ 401 w 451"/>
                <a:gd name="T51" fmla="*/ 53 h 93"/>
                <a:gd name="T52" fmla="*/ 402 w 451"/>
                <a:gd name="T53" fmla="*/ 49 h 93"/>
                <a:gd name="T54" fmla="*/ 400 w 451"/>
                <a:gd name="T55" fmla="*/ 41 h 93"/>
                <a:gd name="T56" fmla="*/ 391 w 451"/>
                <a:gd name="T57" fmla="*/ 38 h 93"/>
                <a:gd name="T58" fmla="*/ 57 w 451"/>
                <a:gd name="T59" fmla="*/ 38 h 93"/>
                <a:gd name="T60" fmla="*/ 53 w 451"/>
                <a:gd name="T61" fmla="*/ 38 h 93"/>
                <a:gd name="T62" fmla="*/ 48 w 451"/>
                <a:gd name="T63" fmla="*/ 45 h 93"/>
                <a:gd name="T64" fmla="*/ 46 w 451"/>
                <a:gd name="T65" fmla="*/ 49 h 93"/>
                <a:gd name="T66" fmla="*/ 50 w 451"/>
                <a:gd name="T67" fmla="*/ 57 h 93"/>
                <a:gd name="T68" fmla="*/ 57 w 451"/>
                <a:gd name="T69" fmla="*/ 60 h 93"/>
                <a:gd name="T70" fmla="*/ 62 w 451"/>
                <a:gd name="T71" fmla="*/ 58 h 93"/>
                <a:gd name="T72" fmla="*/ 68 w 451"/>
                <a:gd name="T73" fmla="*/ 53 h 93"/>
                <a:gd name="T74" fmla="*/ 68 w 451"/>
                <a:gd name="T75" fmla="*/ 49 h 93"/>
                <a:gd name="T76" fmla="*/ 65 w 451"/>
                <a:gd name="T77" fmla="*/ 41 h 93"/>
                <a:gd name="T78" fmla="*/ 57 w 451"/>
                <a:gd name="T7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93">
                  <a:moveTo>
                    <a:pt x="428" y="0"/>
                  </a:moveTo>
                  <a:lnTo>
                    <a:pt x="428" y="0"/>
                  </a:lnTo>
                  <a:lnTo>
                    <a:pt x="433" y="0"/>
                  </a:lnTo>
                  <a:lnTo>
                    <a:pt x="437" y="2"/>
                  </a:lnTo>
                  <a:lnTo>
                    <a:pt x="444" y="6"/>
                  </a:lnTo>
                  <a:lnTo>
                    <a:pt x="448" y="14"/>
                  </a:lnTo>
                  <a:lnTo>
                    <a:pt x="449" y="18"/>
                  </a:lnTo>
                  <a:lnTo>
                    <a:pt x="451" y="22"/>
                  </a:lnTo>
                  <a:lnTo>
                    <a:pt x="451" y="70"/>
                  </a:lnTo>
                  <a:lnTo>
                    <a:pt x="451" y="70"/>
                  </a:lnTo>
                  <a:lnTo>
                    <a:pt x="449" y="76"/>
                  </a:lnTo>
                  <a:lnTo>
                    <a:pt x="448" y="80"/>
                  </a:lnTo>
                  <a:lnTo>
                    <a:pt x="447" y="82"/>
                  </a:lnTo>
                  <a:lnTo>
                    <a:pt x="444" y="86"/>
                  </a:lnTo>
                  <a:lnTo>
                    <a:pt x="441" y="89"/>
                  </a:lnTo>
                  <a:lnTo>
                    <a:pt x="437" y="91"/>
                  </a:lnTo>
                  <a:lnTo>
                    <a:pt x="433" y="92"/>
                  </a:lnTo>
                  <a:lnTo>
                    <a:pt x="428" y="93"/>
                  </a:lnTo>
                  <a:lnTo>
                    <a:pt x="22" y="93"/>
                  </a:lnTo>
                  <a:lnTo>
                    <a:pt x="22" y="93"/>
                  </a:lnTo>
                  <a:lnTo>
                    <a:pt x="18" y="92"/>
                  </a:lnTo>
                  <a:lnTo>
                    <a:pt x="14" y="91"/>
                  </a:lnTo>
                  <a:lnTo>
                    <a:pt x="7" y="86"/>
                  </a:lnTo>
                  <a:lnTo>
                    <a:pt x="4" y="82"/>
                  </a:lnTo>
                  <a:lnTo>
                    <a:pt x="2" y="80"/>
                  </a:lnTo>
                  <a:lnTo>
                    <a:pt x="0" y="76"/>
                  </a:lnTo>
                  <a:lnTo>
                    <a:pt x="0" y="70"/>
                  </a:lnTo>
                  <a:lnTo>
                    <a:pt x="0" y="22"/>
                  </a:lnTo>
                  <a:lnTo>
                    <a:pt x="0" y="22"/>
                  </a:lnTo>
                  <a:lnTo>
                    <a:pt x="0" y="18"/>
                  </a:lnTo>
                  <a:lnTo>
                    <a:pt x="2" y="14"/>
                  </a:lnTo>
                  <a:lnTo>
                    <a:pt x="7" y="6"/>
                  </a:lnTo>
                  <a:lnTo>
                    <a:pt x="14" y="2"/>
                  </a:lnTo>
                  <a:lnTo>
                    <a:pt x="18" y="0"/>
                  </a:lnTo>
                  <a:lnTo>
                    <a:pt x="22" y="0"/>
                  </a:lnTo>
                  <a:lnTo>
                    <a:pt x="428" y="0"/>
                  </a:lnTo>
                  <a:close/>
                  <a:moveTo>
                    <a:pt x="219" y="38"/>
                  </a:moveTo>
                  <a:lnTo>
                    <a:pt x="219" y="38"/>
                  </a:lnTo>
                  <a:lnTo>
                    <a:pt x="215" y="38"/>
                  </a:lnTo>
                  <a:lnTo>
                    <a:pt x="211" y="41"/>
                  </a:lnTo>
                  <a:lnTo>
                    <a:pt x="208" y="45"/>
                  </a:lnTo>
                  <a:lnTo>
                    <a:pt x="208" y="49"/>
                  </a:lnTo>
                  <a:lnTo>
                    <a:pt x="208" y="49"/>
                  </a:lnTo>
                  <a:lnTo>
                    <a:pt x="208" y="53"/>
                  </a:lnTo>
                  <a:lnTo>
                    <a:pt x="211" y="57"/>
                  </a:lnTo>
                  <a:lnTo>
                    <a:pt x="215" y="58"/>
                  </a:lnTo>
                  <a:lnTo>
                    <a:pt x="219" y="60"/>
                  </a:lnTo>
                  <a:lnTo>
                    <a:pt x="391" y="60"/>
                  </a:lnTo>
                  <a:lnTo>
                    <a:pt x="391" y="60"/>
                  </a:lnTo>
                  <a:lnTo>
                    <a:pt x="395" y="58"/>
                  </a:lnTo>
                  <a:lnTo>
                    <a:pt x="400" y="57"/>
                  </a:lnTo>
                  <a:lnTo>
                    <a:pt x="401" y="53"/>
                  </a:lnTo>
                  <a:lnTo>
                    <a:pt x="402" y="49"/>
                  </a:lnTo>
                  <a:lnTo>
                    <a:pt x="402" y="49"/>
                  </a:lnTo>
                  <a:lnTo>
                    <a:pt x="401" y="45"/>
                  </a:lnTo>
                  <a:lnTo>
                    <a:pt x="400" y="41"/>
                  </a:lnTo>
                  <a:lnTo>
                    <a:pt x="395" y="38"/>
                  </a:lnTo>
                  <a:lnTo>
                    <a:pt x="391" y="38"/>
                  </a:lnTo>
                  <a:lnTo>
                    <a:pt x="219" y="38"/>
                  </a:lnTo>
                  <a:close/>
                  <a:moveTo>
                    <a:pt x="57" y="38"/>
                  </a:moveTo>
                  <a:lnTo>
                    <a:pt x="57" y="38"/>
                  </a:lnTo>
                  <a:lnTo>
                    <a:pt x="53" y="38"/>
                  </a:lnTo>
                  <a:lnTo>
                    <a:pt x="50" y="41"/>
                  </a:lnTo>
                  <a:lnTo>
                    <a:pt x="48" y="45"/>
                  </a:lnTo>
                  <a:lnTo>
                    <a:pt x="46" y="49"/>
                  </a:lnTo>
                  <a:lnTo>
                    <a:pt x="46" y="49"/>
                  </a:lnTo>
                  <a:lnTo>
                    <a:pt x="48" y="53"/>
                  </a:lnTo>
                  <a:lnTo>
                    <a:pt x="50" y="57"/>
                  </a:lnTo>
                  <a:lnTo>
                    <a:pt x="53" y="58"/>
                  </a:lnTo>
                  <a:lnTo>
                    <a:pt x="57" y="60"/>
                  </a:lnTo>
                  <a:lnTo>
                    <a:pt x="57" y="60"/>
                  </a:lnTo>
                  <a:lnTo>
                    <a:pt x="62" y="58"/>
                  </a:lnTo>
                  <a:lnTo>
                    <a:pt x="65" y="57"/>
                  </a:lnTo>
                  <a:lnTo>
                    <a:pt x="68" y="53"/>
                  </a:lnTo>
                  <a:lnTo>
                    <a:pt x="68" y="49"/>
                  </a:lnTo>
                  <a:lnTo>
                    <a:pt x="68" y="49"/>
                  </a:lnTo>
                  <a:lnTo>
                    <a:pt x="68" y="45"/>
                  </a:lnTo>
                  <a:lnTo>
                    <a:pt x="65" y="41"/>
                  </a:lnTo>
                  <a:lnTo>
                    <a:pt x="62" y="38"/>
                  </a:lnTo>
                  <a:lnTo>
                    <a:pt x="57" y="38"/>
                  </a:lnTo>
                  <a:lnTo>
                    <a:pt x="5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08" name="Freeform 140"/>
            <p:cNvSpPr>
              <a:spLocks noEditPoints="1"/>
            </p:cNvSpPr>
            <p:nvPr/>
          </p:nvSpPr>
          <p:spPr bwMode="auto">
            <a:xfrm>
              <a:off x="7439195" y="4481576"/>
              <a:ext cx="386611" cy="483615"/>
            </a:xfrm>
            <a:custGeom>
              <a:avLst/>
              <a:gdLst>
                <a:gd name="T0" fmla="*/ 531 w 550"/>
                <a:gd name="T1" fmla="*/ 20 h 689"/>
                <a:gd name="T2" fmla="*/ 508 w 550"/>
                <a:gd name="T3" fmla="*/ 5 h 689"/>
                <a:gd name="T4" fmla="*/ 482 w 550"/>
                <a:gd name="T5" fmla="*/ 0 h 689"/>
                <a:gd name="T6" fmla="*/ 67 w 550"/>
                <a:gd name="T7" fmla="*/ 0 h 689"/>
                <a:gd name="T8" fmla="*/ 40 w 550"/>
                <a:gd name="T9" fmla="*/ 5 h 689"/>
                <a:gd name="T10" fmla="*/ 18 w 550"/>
                <a:gd name="T11" fmla="*/ 20 h 689"/>
                <a:gd name="T12" fmla="*/ 10 w 550"/>
                <a:gd name="T13" fmla="*/ 30 h 689"/>
                <a:gd name="T14" fmla="*/ 1 w 550"/>
                <a:gd name="T15" fmla="*/ 54 h 689"/>
                <a:gd name="T16" fmla="*/ 0 w 550"/>
                <a:gd name="T17" fmla="*/ 601 h 689"/>
                <a:gd name="T18" fmla="*/ 0 w 550"/>
                <a:gd name="T19" fmla="*/ 611 h 689"/>
                <a:gd name="T20" fmla="*/ 4 w 550"/>
                <a:gd name="T21" fmla="*/ 627 h 689"/>
                <a:gd name="T22" fmla="*/ 12 w 550"/>
                <a:gd name="T23" fmla="*/ 642 h 689"/>
                <a:gd name="T24" fmla="*/ 24 w 550"/>
                <a:gd name="T25" fmla="*/ 654 h 689"/>
                <a:gd name="T26" fmla="*/ 31 w 550"/>
                <a:gd name="T27" fmla="*/ 658 h 689"/>
                <a:gd name="T28" fmla="*/ 31 w 550"/>
                <a:gd name="T29" fmla="*/ 659 h 689"/>
                <a:gd name="T30" fmla="*/ 32 w 550"/>
                <a:gd name="T31" fmla="*/ 670 h 689"/>
                <a:gd name="T32" fmla="*/ 39 w 550"/>
                <a:gd name="T33" fmla="*/ 680 h 689"/>
                <a:gd name="T34" fmla="*/ 48 w 550"/>
                <a:gd name="T35" fmla="*/ 686 h 689"/>
                <a:gd name="T36" fmla="*/ 60 w 550"/>
                <a:gd name="T37" fmla="*/ 689 h 689"/>
                <a:gd name="T38" fmla="*/ 98 w 550"/>
                <a:gd name="T39" fmla="*/ 689 h 689"/>
                <a:gd name="T40" fmla="*/ 115 w 550"/>
                <a:gd name="T41" fmla="*/ 684 h 689"/>
                <a:gd name="T42" fmla="*/ 125 w 550"/>
                <a:gd name="T43" fmla="*/ 669 h 689"/>
                <a:gd name="T44" fmla="*/ 423 w 550"/>
                <a:gd name="T45" fmla="*/ 669 h 689"/>
                <a:gd name="T46" fmla="*/ 434 w 550"/>
                <a:gd name="T47" fmla="*/ 684 h 689"/>
                <a:gd name="T48" fmla="*/ 451 w 550"/>
                <a:gd name="T49" fmla="*/ 689 h 689"/>
                <a:gd name="T50" fmla="*/ 489 w 550"/>
                <a:gd name="T51" fmla="*/ 689 h 689"/>
                <a:gd name="T52" fmla="*/ 501 w 550"/>
                <a:gd name="T53" fmla="*/ 686 h 689"/>
                <a:gd name="T54" fmla="*/ 511 w 550"/>
                <a:gd name="T55" fmla="*/ 680 h 689"/>
                <a:gd name="T56" fmla="*/ 517 w 550"/>
                <a:gd name="T57" fmla="*/ 670 h 689"/>
                <a:gd name="T58" fmla="*/ 519 w 550"/>
                <a:gd name="T59" fmla="*/ 659 h 689"/>
                <a:gd name="T60" fmla="*/ 519 w 550"/>
                <a:gd name="T61" fmla="*/ 658 h 689"/>
                <a:gd name="T62" fmla="*/ 525 w 550"/>
                <a:gd name="T63" fmla="*/ 654 h 689"/>
                <a:gd name="T64" fmla="*/ 538 w 550"/>
                <a:gd name="T65" fmla="*/ 642 h 689"/>
                <a:gd name="T66" fmla="*/ 546 w 550"/>
                <a:gd name="T67" fmla="*/ 627 h 689"/>
                <a:gd name="T68" fmla="*/ 550 w 550"/>
                <a:gd name="T69" fmla="*/ 611 h 689"/>
                <a:gd name="T70" fmla="*/ 550 w 550"/>
                <a:gd name="T71" fmla="*/ 67 h 689"/>
                <a:gd name="T72" fmla="*/ 548 w 550"/>
                <a:gd name="T73" fmla="*/ 54 h 689"/>
                <a:gd name="T74" fmla="*/ 539 w 550"/>
                <a:gd name="T75" fmla="*/ 30 h 689"/>
                <a:gd name="T76" fmla="*/ 531 w 550"/>
                <a:gd name="T77" fmla="*/ 20 h 689"/>
                <a:gd name="T78" fmla="*/ 528 w 550"/>
                <a:gd name="T79" fmla="*/ 601 h 689"/>
                <a:gd name="T80" fmla="*/ 524 w 550"/>
                <a:gd name="T81" fmla="*/ 619 h 689"/>
                <a:gd name="T82" fmla="*/ 515 w 550"/>
                <a:gd name="T83" fmla="*/ 634 h 689"/>
                <a:gd name="T84" fmla="*/ 500 w 550"/>
                <a:gd name="T85" fmla="*/ 643 h 689"/>
                <a:gd name="T86" fmla="*/ 482 w 550"/>
                <a:gd name="T87" fmla="*/ 647 h 689"/>
                <a:gd name="T88" fmla="*/ 67 w 550"/>
                <a:gd name="T89" fmla="*/ 647 h 689"/>
                <a:gd name="T90" fmla="*/ 48 w 550"/>
                <a:gd name="T91" fmla="*/ 643 h 689"/>
                <a:gd name="T92" fmla="*/ 35 w 550"/>
                <a:gd name="T93" fmla="*/ 634 h 689"/>
                <a:gd name="T94" fmla="*/ 24 w 550"/>
                <a:gd name="T95" fmla="*/ 619 h 689"/>
                <a:gd name="T96" fmla="*/ 21 w 550"/>
                <a:gd name="T97" fmla="*/ 601 h 689"/>
                <a:gd name="T98" fmla="*/ 21 w 550"/>
                <a:gd name="T99" fmla="*/ 67 h 689"/>
                <a:gd name="T100" fmla="*/ 24 w 550"/>
                <a:gd name="T101" fmla="*/ 50 h 689"/>
                <a:gd name="T102" fmla="*/ 35 w 550"/>
                <a:gd name="T103" fmla="*/ 35 h 689"/>
                <a:gd name="T104" fmla="*/ 41 w 550"/>
                <a:gd name="T105" fmla="*/ 30 h 689"/>
                <a:gd name="T106" fmla="*/ 58 w 550"/>
                <a:gd name="T107" fmla="*/ 23 h 689"/>
                <a:gd name="T108" fmla="*/ 482 w 550"/>
                <a:gd name="T109" fmla="*/ 22 h 689"/>
                <a:gd name="T110" fmla="*/ 492 w 550"/>
                <a:gd name="T111" fmla="*/ 23 h 689"/>
                <a:gd name="T112" fmla="*/ 508 w 550"/>
                <a:gd name="T113" fmla="*/ 30 h 689"/>
                <a:gd name="T114" fmla="*/ 515 w 550"/>
                <a:gd name="T115" fmla="*/ 35 h 689"/>
                <a:gd name="T116" fmla="*/ 524 w 550"/>
                <a:gd name="T117" fmla="*/ 50 h 689"/>
                <a:gd name="T118" fmla="*/ 528 w 550"/>
                <a:gd name="T119" fmla="*/ 6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0" h="689">
                  <a:moveTo>
                    <a:pt x="531" y="20"/>
                  </a:moveTo>
                  <a:lnTo>
                    <a:pt x="531" y="20"/>
                  </a:lnTo>
                  <a:lnTo>
                    <a:pt x="520" y="11"/>
                  </a:lnTo>
                  <a:lnTo>
                    <a:pt x="508" y="5"/>
                  </a:lnTo>
                  <a:lnTo>
                    <a:pt x="496" y="1"/>
                  </a:lnTo>
                  <a:lnTo>
                    <a:pt x="482" y="0"/>
                  </a:lnTo>
                  <a:lnTo>
                    <a:pt x="67" y="0"/>
                  </a:lnTo>
                  <a:lnTo>
                    <a:pt x="67" y="0"/>
                  </a:lnTo>
                  <a:lnTo>
                    <a:pt x="53" y="1"/>
                  </a:lnTo>
                  <a:lnTo>
                    <a:pt x="40" y="5"/>
                  </a:lnTo>
                  <a:lnTo>
                    <a:pt x="29" y="11"/>
                  </a:lnTo>
                  <a:lnTo>
                    <a:pt x="18" y="20"/>
                  </a:lnTo>
                  <a:lnTo>
                    <a:pt x="18" y="20"/>
                  </a:lnTo>
                  <a:lnTo>
                    <a:pt x="10" y="30"/>
                  </a:lnTo>
                  <a:lnTo>
                    <a:pt x="4" y="42"/>
                  </a:lnTo>
                  <a:lnTo>
                    <a:pt x="1" y="54"/>
                  </a:lnTo>
                  <a:lnTo>
                    <a:pt x="0" y="67"/>
                  </a:lnTo>
                  <a:lnTo>
                    <a:pt x="0" y="601"/>
                  </a:lnTo>
                  <a:lnTo>
                    <a:pt x="0" y="601"/>
                  </a:lnTo>
                  <a:lnTo>
                    <a:pt x="0" y="611"/>
                  </a:lnTo>
                  <a:lnTo>
                    <a:pt x="1" y="619"/>
                  </a:lnTo>
                  <a:lnTo>
                    <a:pt x="4" y="627"/>
                  </a:lnTo>
                  <a:lnTo>
                    <a:pt x="8" y="634"/>
                  </a:lnTo>
                  <a:lnTo>
                    <a:pt x="12" y="642"/>
                  </a:lnTo>
                  <a:lnTo>
                    <a:pt x="17" y="647"/>
                  </a:lnTo>
                  <a:lnTo>
                    <a:pt x="24" y="654"/>
                  </a:lnTo>
                  <a:lnTo>
                    <a:pt x="31" y="658"/>
                  </a:lnTo>
                  <a:lnTo>
                    <a:pt x="31" y="658"/>
                  </a:lnTo>
                  <a:lnTo>
                    <a:pt x="31" y="659"/>
                  </a:lnTo>
                  <a:lnTo>
                    <a:pt x="31" y="659"/>
                  </a:lnTo>
                  <a:lnTo>
                    <a:pt x="31" y="665"/>
                  </a:lnTo>
                  <a:lnTo>
                    <a:pt x="32" y="670"/>
                  </a:lnTo>
                  <a:lnTo>
                    <a:pt x="35" y="676"/>
                  </a:lnTo>
                  <a:lnTo>
                    <a:pt x="39" y="680"/>
                  </a:lnTo>
                  <a:lnTo>
                    <a:pt x="43" y="684"/>
                  </a:lnTo>
                  <a:lnTo>
                    <a:pt x="48" y="686"/>
                  </a:lnTo>
                  <a:lnTo>
                    <a:pt x="53" y="688"/>
                  </a:lnTo>
                  <a:lnTo>
                    <a:pt x="60" y="689"/>
                  </a:lnTo>
                  <a:lnTo>
                    <a:pt x="98" y="689"/>
                  </a:lnTo>
                  <a:lnTo>
                    <a:pt x="98" y="689"/>
                  </a:lnTo>
                  <a:lnTo>
                    <a:pt x="107" y="688"/>
                  </a:lnTo>
                  <a:lnTo>
                    <a:pt x="115" y="684"/>
                  </a:lnTo>
                  <a:lnTo>
                    <a:pt x="121" y="677"/>
                  </a:lnTo>
                  <a:lnTo>
                    <a:pt x="125" y="669"/>
                  </a:lnTo>
                  <a:lnTo>
                    <a:pt x="423" y="669"/>
                  </a:lnTo>
                  <a:lnTo>
                    <a:pt x="423" y="669"/>
                  </a:lnTo>
                  <a:lnTo>
                    <a:pt x="428" y="677"/>
                  </a:lnTo>
                  <a:lnTo>
                    <a:pt x="434" y="684"/>
                  </a:lnTo>
                  <a:lnTo>
                    <a:pt x="442" y="688"/>
                  </a:lnTo>
                  <a:lnTo>
                    <a:pt x="451" y="689"/>
                  </a:lnTo>
                  <a:lnTo>
                    <a:pt x="489" y="689"/>
                  </a:lnTo>
                  <a:lnTo>
                    <a:pt x="489" y="689"/>
                  </a:lnTo>
                  <a:lnTo>
                    <a:pt x="496" y="688"/>
                  </a:lnTo>
                  <a:lnTo>
                    <a:pt x="501" y="686"/>
                  </a:lnTo>
                  <a:lnTo>
                    <a:pt x="507" y="684"/>
                  </a:lnTo>
                  <a:lnTo>
                    <a:pt x="511" y="680"/>
                  </a:lnTo>
                  <a:lnTo>
                    <a:pt x="515" y="676"/>
                  </a:lnTo>
                  <a:lnTo>
                    <a:pt x="517" y="670"/>
                  </a:lnTo>
                  <a:lnTo>
                    <a:pt x="519" y="665"/>
                  </a:lnTo>
                  <a:lnTo>
                    <a:pt x="519" y="659"/>
                  </a:lnTo>
                  <a:lnTo>
                    <a:pt x="519" y="659"/>
                  </a:lnTo>
                  <a:lnTo>
                    <a:pt x="519" y="658"/>
                  </a:lnTo>
                  <a:lnTo>
                    <a:pt x="519" y="658"/>
                  </a:lnTo>
                  <a:lnTo>
                    <a:pt x="525" y="654"/>
                  </a:lnTo>
                  <a:lnTo>
                    <a:pt x="532" y="647"/>
                  </a:lnTo>
                  <a:lnTo>
                    <a:pt x="538" y="642"/>
                  </a:lnTo>
                  <a:lnTo>
                    <a:pt x="542" y="634"/>
                  </a:lnTo>
                  <a:lnTo>
                    <a:pt x="546" y="627"/>
                  </a:lnTo>
                  <a:lnTo>
                    <a:pt x="548" y="619"/>
                  </a:lnTo>
                  <a:lnTo>
                    <a:pt x="550" y="611"/>
                  </a:lnTo>
                  <a:lnTo>
                    <a:pt x="550" y="601"/>
                  </a:lnTo>
                  <a:lnTo>
                    <a:pt x="550" y="67"/>
                  </a:lnTo>
                  <a:lnTo>
                    <a:pt x="550" y="67"/>
                  </a:lnTo>
                  <a:lnTo>
                    <a:pt x="548" y="54"/>
                  </a:lnTo>
                  <a:lnTo>
                    <a:pt x="544" y="42"/>
                  </a:lnTo>
                  <a:lnTo>
                    <a:pt x="539" y="30"/>
                  </a:lnTo>
                  <a:lnTo>
                    <a:pt x="531" y="20"/>
                  </a:lnTo>
                  <a:lnTo>
                    <a:pt x="531" y="20"/>
                  </a:lnTo>
                  <a:close/>
                  <a:moveTo>
                    <a:pt x="528" y="601"/>
                  </a:moveTo>
                  <a:lnTo>
                    <a:pt x="528" y="601"/>
                  </a:lnTo>
                  <a:lnTo>
                    <a:pt x="527" y="611"/>
                  </a:lnTo>
                  <a:lnTo>
                    <a:pt x="524" y="619"/>
                  </a:lnTo>
                  <a:lnTo>
                    <a:pt x="520" y="627"/>
                  </a:lnTo>
                  <a:lnTo>
                    <a:pt x="515" y="634"/>
                  </a:lnTo>
                  <a:lnTo>
                    <a:pt x="508" y="639"/>
                  </a:lnTo>
                  <a:lnTo>
                    <a:pt x="500" y="643"/>
                  </a:lnTo>
                  <a:lnTo>
                    <a:pt x="492" y="646"/>
                  </a:lnTo>
                  <a:lnTo>
                    <a:pt x="482" y="647"/>
                  </a:lnTo>
                  <a:lnTo>
                    <a:pt x="67" y="647"/>
                  </a:lnTo>
                  <a:lnTo>
                    <a:pt x="67" y="647"/>
                  </a:lnTo>
                  <a:lnTo>
                    <a:pt x="58" y="646"/>
                  </a:lnTo>
                  <a:lnTo>
                    <a:pt x="48" y="643"/>
                  </a:lnTo>
                  <a:lnTo>
                    <a:pt x="41" y="639"/>
                  </a:lnTo>
                  <a:lnTo>
                    <a:pt x="35" y="634"/>
                  </a:lnTo>
                  <a:lnTo>
                    <a:pt x="29" y="627"/>
                  </a:lnTo>
                  <a:lnTo>
                    <a:pt x="24" y="619"/>
                  </a:lnTo>
                  <a:lnTo>
                    <a:pt x="22" y="611"/>
                  </a:lnTo>
                  <a:lnTo>
                    <a:pt x="21" y="601"/>
                  </a:lnTo>
                  <a:lnTo>
                    <a:pt x="21" y="67"/>
                  </a:lnTo>
                  <a:lnTo>
                    <a:pt x="21" y="67"/>
                  </a:lnTo>
                  <a:lnTo>
                    <a:pt x="21" y="58"/>
                  </a:lnTo>
                  <a:lnTo>
                    <a:pt x="24" y="50"/>
                  </a:lnTo>
                  <a:lnTo>
                    <a:pt x="29" y="42"/>
                  </a:lnTo>
                  <a:lnTo>
                    <a:pt x="35" y="35"/>
                  </a:lnTo>
                  <a:lnTo>
                    <a:pt x="35" y="35"/>
                  </a:lnTo>
                  <a:lnTo>
                    <a:pt x="41" y="30"/>
                  </a:lnTo>
                  <a:lnTo>
                    <a:pt x="49" y="26"/>
                  </a:lnTo>
                  <a:lnTo>
                    <a:pt x="58" y="23"/>
                  </a:lnTo>
                  <a:lnTo>
                    <a:pt x="67" y="22"/>
                  </a:lnTo>
                  <a:lnTo>
                    <a:pt x="482" y="22"/>
                  </a:lnTo>
                  <a:lnTo>
                    <a:pt x="482" y="22"/>
                  </a:lnTo>
                  <a:lnTo>
                    <a:pt x="492" y="23"/>
                  </a:lnTo>
                  <a:lnTo>
                    <a:pt x="500" y="26"/>
                  </a:lnTo>
                  <a:lnTo>
                    <a:pt x="508" y="30"/>
                  </a:lnTo>
                  <a:lnTo>
                    <a:pt x="515" y="35"/>
                  </a:lnTo>
                  <a:lnTo>
                    <a:pt x="515" y="35"/>
                  </a:lnTo>
                  <a:lnTo>
                    <a:pt x="520" y="42"/>
                  </a:lnTo>
                  <a:lnTo>
                    <a:pt x="524" y="50"/>
                  </a:lnTo>
                  <a:lnTo>
                    <a:pt x="527" y="58"/>
                  </a:lnTo>
                  <a:lnTo>
                    <a:pt x="528" y="67"/>
                  </a:lnTo>
                  <a:lnTo>
                    <a:pt x="528" y="6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77" name="Rectangle 15"/>
          <p:cNvSpPr>
            <a:spLocks/>
          </p:cNvSpPr>
          <p:nvPr/>
        </p:nvSpPr>
        <p:spPr bwMode="auto">
          <a:xfrm rot="5400000">
            <a:off x="2678084" y="2891774"/>
            <a:ext cx="2462213" cy="125484"/>
          </a:xfrm>
          <a:prstGeom prst="rect">
            <a:avLst/>
          </a:prstGeom>
          <a:noFill/>
          <a:ln w="12700" cap="flat">
            <a:noFill/>
            <a:miter lim="800000"/>
            <a:headEnd type="none" w="med" len="med"/>
            <a:tailEnd type="none" w="med" len="med"/>
          </a:ln>
          <a:effectLst/>
        </p:spPr>
        <p:txBody>
          <a:bodyPr vert="vert270" wrap="square" lIns="0" tIns="0" rIns="0" bIns="0">
            <a:prstTxWarp prst="textNoShape">
              <a:avLst/>
            </a:prstTxWarp>
            <a:spAutoFit/>
          </a:bodyPr>
          <a:lstStyle/>
          <a:p>
            <a:r>
              <a:rPr lang="en-US" sz="500" dirty="0">
                <a:solidFill>
                  <a:srgbClr val="676767"/>
                </a:solidFill>
                <a:latin typeface="CiscoSans"/>
                <a:ea typeface="CiscoSans"/>
                <a:cs typeface="CiscoSans"/>
                <a:sym typeface="Arial" charset="0"/>
              </a:rPr>
              <a:t>0I0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I 0I 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I0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0 I00</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II</a:t>
            </a:r>
          </a:p>
          <a:p>
            <a:r>
              <a:rPr lang="en-US" sz="500" dirty="0">
                <a:solidFill>
                  <a:srgbClr val="676767"/>
                </a:solidFill>
                <a:latin typeface="CiscoSans"/>
                <a:ea typeface="CiscoSans"/>
                <a:cs typeface="CiscoSans"/>
                <a:sym typeface="Arial" charset="0"/>
              </a:rPr>
              <a:t>II0I 000 0I000I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0</a:t>
            </a:r>
          </a:p>
          <a:p>
            <a:r>
              <a:rPr lang="en-US" sz="500" dirty="0">
                <a:solidFill>
                  <a:srgbClr val="676767"/>
                </a:solidFill>
                <a:latin typeface="CiscoSans"/>
                <a:ea typeface="CiscoSans"/>
                <a:cs typeface="CiscoSans"/>
                <a:sym typeface="Arial" charset="0"/>
              </a:rPr>
              <a:t>I0I0</a:t>
            </a:r>
          </a:p>
          <a:p>
            <a:r>
              <a:rPr lang="en-US" sz="500" dirty="0">
                <a:solidFill>
                  <a:srgbClr val="676767"/>
                </a:solidFill>
                <a:latin typeface="CiscoSans"/>
                <a:ea typeface="CiscoSans"/>
                <a:cs typeface="CiscoSans"/>
                <a:sym typeface="Arial" charset="0"/>
              </a:rPr>
              <a:t>0I0 000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I0</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 I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I I 00I</a:t>
            </a:r>
          </a:p>
          <a:p>
            <a:r>
              <a:rPr lang="en-US" sz="500" dirty="0">
                <a:solidFill>
                  <a:srgbClr val="676767"/>
                </a:solidFill>
                <a:latin typeface="CiscoSans"/>
                <a:ea typeface="CiscoSans"/>
                <a:cs typeface="CiscoSans"/>
                <a:sym typeface="Arial" charset="0"/>
              </a:rPr>
              <a:t>0I0</a:t>
            </a:r>
          </a:p>
          <a:p>
            <a:r>
              <a:rPr lang="en-US" sz="500" dirty="0">
                <a:solidFill>
                  <a:srgbClr val="676767"/>
                </a:solidFill>
                <a:latin typeface="CiscoSans"/>
                <a:ea typeface="CiscoSans"/>
                <a:cs typeface="CiscoSans"/>
                <a:sym typeface="Arial" charset="0"/>
              </a:rPr>
              <a:t>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II 00I 00II   0I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 0  0I I   </a:t>
            </a:r>
          </a:p>
          <a:p>
            <a:r>
              <a:rPr lang="en-US" sz="500" dirty="0">
                <a:solidFill>
                  <a:srgbClr val="676767"/>
                </a:solidFill>
                <a:latin typeface="CiscoSans"/>
                <a:ea typeface="CiscoSans"/>
                <a:cs typeface="CiscoSans"/>
                <a:sym typeface="Arial" charset="0"/>
              </a:rPr>
              <a:t>I00I</a:t>
            </a:r>
            <a:br>
              <a:rPr lang="en-US" sz="500" dirty="0">
                <a:solidFill>
                  <a:srgbClr val="676767"/>
                </a:solidFill>
                <a:latin typeface="CiscoSans"/>
                <a:ea typeface="CiscoSans"/>
                <a:cs typeface="CiscoSans"/>
                <a:sym typeface="Arial" charset="0"/>
              </a:rPr>
            </a:br>
            <a:endParaRPr lang="en-US" sz="500" dirty="0">
              <a:solidFill>
                <a:srgbClr val="676767"/>
              </a:solidFill>
              <a:latin typeface="CiscoSans"/>
              <a:ea typeface="CiscoSans"/>
              <a:cs typeface="CiscoSans"/>
              <a:sym typeface="Arial" charset="0"/>
            </a:endParaRPr>
          </a:p>
        </p:txBody>
      </p:sp>
      <p:sp>
        <p:nvSpPr>
          <p:cNvPr id="2" name="Title 1"/>
          <p:cNvSpPr>
            <a:spLocks noGrp="1"/>
          </p:cNvSpPr>
          <p:nvPr>
            <p:ph type="title"/>
          </p:nvPr>
        </p:nvSpPr>
        <p:spPr/>
        <p:txBody>
          <a:bodyPr/>
          <a:lstStyle/>
          <a:p>
            <a:r>
              <a:rPr lang="en-US" altLang="ja-JP" dirty="0" smtClean="0"/>
              <a:t>AMP</a:t>
            </a:r>
            <a:r>
              <a:rPr lang="ja-JP" altLang="en-US" dirty="0" smtClean="0"/>
              <a:t>＆</a:t>
            </a:r>
            <a:r>
              <a:rPr lang="en-US" altLang="ja-JP" dirty="0" smtClean="0"/>
              <a:t>CTA </a:t>
            </a:r>
            <a:r>
              <a:rPr lang="ja-JP" altLang="en-US" dirty="0" smtClean="0"/>
              <a:t>の差別ポイント</a:t>
            </a:r>
            <a:endParaRPr lang="en-US" dirty="0"/>
          </a:p>
        </p:txBody>
      </p:sp>
      <p:sp>
        <p:nvSpPr>
          <p:cNvPr id="36" name="Rectangle 35"/>
          <p:cNvSpPr/>
          <p:nvPr/>
        </p:nvSpPr>
        <p:spPr>
          <a:xfrm>
            <a:off x="3544988" y="2693400"/>
            <a:ext cx="698578" cy="181128"/>
          </a:xfrm>
          <a:prstGeom prst="rect">
            <a:avLst/>
          </a:prstGeom>
          <a:solidFill>
            <a:srgbClr val="F2F2F2"/>
          </a:solidFill>
          <a:ln>
            <a:noFill/>
          </a:ln>
          <a:effectLst/>
        </p:spPr>
        <p:style>
          <a:lnRef idx="1">
            <a:schemeClr val="accent3"/>
          </a:lnRef>
          <a:fillRef idx="3">
            <a:schemeClr val="accent3"/>
          </a:fillRef>
          <a:effectRef idx="2">
            <a:schemeClr val="accent3"/>
          </a:effectRef>
          <a:fontRef idx="minor">
            <a:schemeClr val="lt1"/>
          </a:fontRef>
        </p:style>
        <p:txBody>
          <a:bodyPr lIns="68580" tIns="34290" rIns="68580" bIns="34290" rtlCol="0" anchor="ctr">
            <a:noAutofit/>
          </a:bodyPr>
          <a:lstStyle/>
          <a:p>
            <a:pPr algn="ctr"/>
            <a:r>
              <a:rPr lang="en-US" sz="1200" b="1" dirty="0">
                <a:solidFill>
                  <a:srgbClr val="1A315D"/>
                </a:solidFill>
              </a:rPr>
              <a:t>AMP</a:t>
            </a:r>
          </a:p>
        </p:txBody>
      </p:sp>
      <p:sp>
        <p:nvSpPr>
          <p:cNvPr id="63" name="AutoShape 88"/>
          <p:cNvSpPr>
            <a:spLocks/>
          </p:cNvSpPr>
          <p:nvPr/>
        </p:nvSpPr>
        <p:spPr bwMode="auto">
          <a:xfrm rot="10800000" flipH="1">
            <a:off x="3673846" y="4182915"/>
            <a:ext cx="466747" cy="302539"/>
          </a:xfrm>
          <a:custGeom>
            <a:avLst/>
            <a:gdLst/>
            <a:ahLst/>
            <a:cxnLst/>
            <a:rect l="l" t="t" r="r" b="b"/>
            <a:pathLst>
              <a:path w="687361" h="445420">
                <a:moveTo>
                  <a:pt x="79269" y="122832"/>
                </a:moveTo>
                <a:lnTo>
                  <a:pt x="608092" y="122832"/>
                </a:lnTo>
                <a:lnTo>
                  <a:pt x="687361" y="0"/>
                </a:lnTo>
                <a:lnTo>
                  <a:pt x="0" y="0"/>
                </a:lnTo>
                <a:close/>
                <a:moveTo>
                  <a:pt x="136843" y="415643"/>
                </a:moveTo>
                <a:cubicBezTo>
                  <a:pt x="122938" y="415643"/>
                  <a:pt x="111665" y="404370"/>
                  <a:pt x="111665" y="390465"/>
                </a:cubicBezTo>
                <a:lnTo>
                  <a:pt x="111665" y="196398"/>
                </a:lnTo>
                <a:cubicBezTo>
                  <a:pt x="111665" y="182493"/>
                  <a:pt x="122938" y="171220"/>
                  <a:pt x="136843" y="171220"/>
                </a:cubicBezTo>
                <a:lnTo>
                  <a:pt x="551758" y="171220"/>
                </a:lnTo>
                <a:cubicBezTo>
                  <a:pt x="565663" y="171220"/>
                  <a:pt x="576936" y="182493"/>
                  <a:pt x="576936" y="196398"/>
                </a:cubicBezTo>
                <a:lnTo>
                  <a:pt x="576936" y="390465"/>
                </a:lnTo>
                <a:cubicBezTo>
                  <a:pt x="576936" y="404370"/>
                  <a:pt x="565663" y="415643"/>
                  <a:pt x="551758" y="415643"/>
                </a:cubicBezTo>
                <a:close/>
                <a:moveTo>
                  <a:pt x="114605" y="445420"/>
                </a:moveTo>
                <a:cubicBezTo>
                  <a:pt x="114612" y="445420"/>
                  <a:pt x="116440" y="445420"/>
                  <a:pt x="573997" y="445420"/>
                </a:cubicBezTo>
                <a:cubicBezTo>
                  <a:pt x="592673" y="445420"/>
                  <a:pt x="607955" y="430178"/>
                  <a:pt x="607955" y="411543"/>
                </a:cubicBezTo>
                <a:cubicBezTo>
                  <a:pt x="607955" y="411534"/>
                  <a:pt x="607955" y="409958"/>
                  <a:pt x="607955" y="143924"/>
                </a:cubicBezTo>
                <a:lnTo>
                  <a:pt x="80647" y="143924"/>
                </a:lnTo>
                <a:cubicBezTo>
                  <a:pt x="80647" y="143933"/>
                  <a:pt x="80647" y="145492"/>
                  <a:pt x="80647" y="411543"/>
                </a:cubicBezTo>
                <a:cubicBezTo>
                  <a:pt x="80647" y="430178"/>
                  <a:pt x="95929" y="445420"/>
                  <a:pt x="114605" y="445420"/>
                </a:cubicBezTo>
                <a:close/>
              </a:path>
            </a:pathLst>
          </a:custGeom>
          <a:solidFill>
            <a:schemeClr val="tx1"/>
          </a:solidFill>
          <a:ln w="9525" cap="flat">
            <a:noFill/>
            <a:miter lim="800000"/>
            <a:headEnd type="none" w="med" len="med"/>
            <a:tailEnd type="none" w="med" len="med"/>
          </a:ln>
        </p:spPr>
        <p:txBody>
          <a:bodyPr lIns="0" tIns="0" rIns="0" bIns="0"/>
          <a:lstStyle/>
          <a:p>
            <a:endParaRPr lang="en-US" sz="1300" dirty="0">
              <a:solidFill>
                <a:srgbClr val="676767"/>
              </a:solidFill>
            </a:endParaRPr>
          </a:p>
        </p:txBody>
      </p:sp>
      <p:grpSp>
        <p:nvGrpSpPr>
          <p:cNvPr id="66" name="Group 65"/>
          <p:cNvGrpSpPr/>
          <p:nvPr/>
        </p:nvGrpSpPr>
        <p:grpSpPr>
          <a:xfrm>
            <a:off x="3729467" y="1207622"/>
            <a:ext cx="349338" cy="444648"/>
            <a:chOff x="854043" y="3974589"/>
            <a:chExt cx="590637" cy="751783"/>
          </a:xfrm>
          <a:solidFill>
            <a:srgbClr val="ED7685"/>
          </a:solidFill>
        </p:grpSpPr>
        <p:sp>
          <p:nvSpPr>
            <p:cNvPr id="67" name="Freeform 5"/>
            <p:cNvSpPr>
              <a:spLocks/>
            </p:cNvSpPr>
            <p:nvPr/>
          </p:nvSpPr>
          <p:spPr bwMode="auto">
            <a:xfrm>
              <a:off x="854043" y="3974589"/>
              <a:ext cx="214571" cy="214920"/>
            </a:xfrm>
            <a:custGeom>
              <a:avLst/>
              <a:gdLst>
                <a:gd name="T0" fmla="*/ 1233 w 1233"/>
                <a:gd name="T1" fmla="*/ 0 h 1235"/>
                <a:gd name="T2" fmla="*/ 1225 w 1233"/>
                <a:gd name="T3" fmla="*/ 0 h 1235"/>
                <a:gd name="T4" fmla="*/ 1225 w 1233"/>
                <a:gd name="T5" fmla="*/ 0 h 1235"/>
                <a:gd name="T6" fmla="*/ 1212 w 1233"/>
                <a:gd name="T7" fmla="*/ 14 h 1235"/>
                <a:gd name="T8" fmla="*/ 1174 w 1233"/>
                <a:gd name="T9" fmla="*/ 55 h 1235"/>
                <a:gd name="T10" fmla="*/ 1037 w 1233"/>
                <a:gd name="T11" fmla="*/ 194 h 1235"/>
                <a:gd name="T12" fmla="*/ 841 w 1233"/>
                <a:gd name="T13" fmla="*/ 391 h 1235"/>
                <a:gd name="T14" fmla="*/ 617 w 1233"/>
                <a:gd name="T15" fmla="*/ 617 h 1235"/>
                <a:gd name="T16" fmla="*/ 392 w 1233"/>
                <a:gd name="T17" fmla="*/ 840 h 1235"/>
                <a:gd name="T18" fmla="*/ 195 w 1233"/>
                <a:gd name="T19" fmla="*/ 1037 h 1235"/>
                <a:gd name="T20" fmla="*/ 55 w 1233"/>
                <a:gd name="T21" fmla="*/ 1174 h 1235"/>
                <a:gd name="T22" fmla="*/ 14 w 1233"/>
                <a:gd name="T23" fmla="*/ 1212 h 1235"/>
                <a:gd name="T24" fmla="*/ 0 w 1233"/>
                <a:gd name="T25" fmla="*/ 1225 h 1235"/>
                <a:gd name="T26" fmla="*/ 0 w 1233"/>
                <a:gd name="T27" fmla="*/ 1235 h 1235"/>
                <a:gd name="T28" fmla="*/ 1233 w 1233"/>
                <a:gd name="T29" fmla="*/ 1235 h 1235"/>
                <a:gd name="T30" fmla="*/ 1233 w 1233"/>
                <a:gd name="T31" fmla="*/ 0 h 1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3" h="1235">
                  <a:moveTo>
                    <a:pt x="1233" y="0"/>
                  </a:moveTo>
                  <a:lnTo>
                    <a:pt x="1225" y="0"/>
                  </a:lnTo>
                  <a:lnTo>
                    <a:pt x="1225" y="0"/>
                  </a:lnTo>
                  <a:lnTo>
                    <a:pt x="1212" y="14"/>
                  </a:lnTo>
                  <a:lnTo>
                    <a:pt x="1174" y="55"/>
                  </a:lnTo>
                  <a:lnTo>
                    <a:pt x="1037" y="194"/>
                  </a:lnTo>
                  <a:lnTo>
                    <a:pt x="841" y="391"/>
                  </a:lnTo>
                  <a:lnTo>
                    <a:pt x="617" y="617"/>
                  </a:lnTo>
                  <a:lnTo>
                    <a:pt x="392" y="840"/>
                  </a:lnTo>
                  <a:lnTo>
                    <a:pt x="195" y="1037"/>
                  </a:lnTo>
                  <a:lnTo>
                    <a:pt x="55" y="1174"/>
                  </a:lnTo>
                  <a:lnTo>
                    <a:pt x="14" y="1212"/>
                  </a:lnTo>
                  <a:lnTo>
                    <a:pt x="0" y="1225"/>
                  </a:lnTo>
                  <a:lnTo>
                    <a:pt x="0" y="1235"/>
                  </a:lnTo>
                  <a:lnTo>
                    <a:pt x="1233" y="1235"/>
                  </a:lnTo>
                  <a:lnTo>
                    <a:pt x="123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68" name="Freeform 6"/>
            <p:cNvSpPr>
              <a:spLocks noEditPoints="1"/>
            </p:cNvSpPr>
            <p:nvPr/>
          </p:nvSpPr>
          <p:spPr bwMode="auto">
            <a:xfrm>
              <a:off x="854043" y="3974589"/>
              <a:ext cx="590637" cy="751783"/>
            </a:xfrm>
            <a:custGeom>
              <a:avLst/>
              <a:gdLst>
                <a:gd name="T0" fmla="*/ 0 w 3394"/>
                <a:gd name="T1" fmla="*/ 1543 h 4320"/>
                <a:gd name="T2" fmla="*/ 6 w 3394"/>
                <a:gd name="T3" fmla="*/ 4074 h 4320"/>
                <a:gd name="T4" fmla="*/ 52 w 3394"/>
                <a:gd name="T5" fmla="*/ 4184 h 4320"/>
                <a:gd name="T6" fmla="*/ 136 w 3394"/>
                <a:gd name="T7" fmla="*/ 4268 h 4320"/>
                <a:gd name="T8" fmla="*/ 246 w 3394"/>
                <a:gd name="T9" fmla="*/ 4314 h 4320"/>
                <a:gd name="T10" fmla="*/ 3086 w 3394"/>
                <a:gd name="T11" fmla="*/ 4320 h 4320"/>
                <a:gd name="T12" fmla="*/ 3206 w 3394"/>
                <a:gd name="T13" fmla="*/ 4296 h 4320"/>
                <a:gd name="T14" fmla="*/ 3304 w 3394"/>
                <a:gd name="T15" fmla="*/ 4230 h 4320"/>
                <a:gd name="T16" fmla="*/ 3370 w 3394"/>
                <a:gd name="T17" fmla="*/ 4132 h 4320"/>
                <a:gd name="T18" fmla="*/ 3394 w 3394"/>
                <a:gd name="T19" fmla="*/ 4011 h 4320"/>
                <a:gd name="T20" fmla="*/ 3388 w 3394"/>
                <a:gd name="T21" fmla="*/ 246 h 4320"/>
                <a:gd name="T22" fmla="*/ 3342 w 3394"/>
                <a:gd name="T23" fmla="*/ 136 h 4320"/>
                <a:gd name="T24" fmla="*/ 3258 w 3394"/>
                <a:gd name="T25" fmla="*/ 52 h 4320"/>
                <a:gd name="T26" fmla="*/ 3148 w 3394"/>
                <a:gd name="T27" fmla="*/ 6 h 4320"/>
                <a:gd name="T28" fmla="*/ 1006 w 3394"/>
                <a:gd name="T29" fmla="*/ 1867 h 4320"/>
                <a:gd name="T30" fmla="*/ 1089 w 3394"/>
                <a:gd name="T31" fmla="*/ 1895 h 4320"/>
                <a:gd name="T32" fmla="*/ 1186 w 3394"/>
                <a:gd name="T33" fmla="*/ 1951 h 4320"/>
                <a:gd name="T34" fmla="*/ 1267 w 3394"/>
                <a:gd name="T35" fmla="*/ 2024 h 4320"/>
                <a:gd name="T36" fmla="*/ 1333 w 3394"/>
                <a:gd name="T37" fmla="*/ 2114 h 4320"/>
                <a:gd name="T38" fmla="*/ 486 w 3394"/>
                <a:gd name="T39" fmla="*/ 1994 h 4320"/>
                <a:gd name="T40" fmla="*/ 568 w 3394"/>
                <a:gd name="T41" fmla="*/ 1932 h 4320"/>
                <a:gd name="T42" fmla="*/ 691 w 3394"/>
                <a:gd name="T43" fmla="*/ 1874 h 4320"/>
                <a:gd name="T44" fmla="*/ 827 w 3394"/>
                <a:gd name="T45" fmla="*/ 1849 h 4320"/>
                <a:gd name="T46" fmla="*/ 969 w 3394"/>
                <a:gd name="T47" fmla="*/ 1859 h 4320"/>
                <a:gd name="T48" fmla="*/ 693 w 3394"/>
                <a:gd name="T49" fmla="*/ 2976 h 4320"/>
                <a:gd name="T50" fmla="*/ 584 w 3394"/>
                <a:gd name="T51" fmla="*/ 2931 h 4320"/>
                <a:gd name="T52" fmla="*/ 490 w 3394"/>
                <a:gd name="T53" fmla="*/ 2869 h 4320"/>
                <a:gd name="T54" fmla="*/ 412 w 3394"/>
                <a:gd name="T55" fmla="*/ 2791 h 4320"/>
                <a:gd name="T56" fmla="*/ 351 w 3394"/>
                <a:gd name="T57" fmla="*/ 2700 h 4320"/>
                <a:gd name="T58" fmla="*/ 308 w 3394"/>
                <a:gd name="T59" fmla="*/ 2600 h 4320"/>
                <a:gd name="T60" fmla="*/ 285 w 3394"/>
                <a:gd name="T61" fmla="*/ 2494 h 4320"/>
                <a:gd name="T62" fmla="*/ 284 w 3394"/>
                <a:gd name="T63" fmla="*/ 2381 h 4320"/>
                <a:gd name="T64" fmla="*/ 303 w 3394"/>
                <a:gd name="T65" fmla="*/ 2269 h 4320"/>
                <a:gd name="T66" fmla="*/ 348 w 3394"/>
                <a:gd name="T67" fmla="*/ 2165 h 4320"/>
                <a:gd name="T68" fmla="*/ 435 w 3394"/>
                <a:gd name="T69" fmla="*/ 2046 h 4320"/>
                <a:gd name="T70" fmla="*/ 1350 w 3394"/>
                <a:gd name="T71" fmla="*/ 2723 h 4320"/>
                <a:gd name="T72" fmla="*/ 1311 w 3394"/>
                <a:gd name="T73" fmla="*/ 2782 h 4320"/>
                <a:gd name="T74" fmla="*/ 1246 w 3394"/>
                <a:gd name="T75" fmla="*/ 2849 h 4320"/>
                <a:gd name="T76" fmla="*/ 1173 w 3394"/>
                <a:gd name="T77" fmla="*/ 2907 h 4320"/>
                <a:gd name="T78" fmla="*/ 1090 w 3394"/>
                <a:gd name="T79" fmla="*/ 2952 h 4320"/>
                <a:gd name="T80" fmla="*/ 1002 w 3394"/>
                <a:gd name="T81" fmla="*/ 2983 h 4320"/>
                <a:gd name="T82" fmla="*/ 909 w 3394"/>
                <a:gd name="T83" fmla="*/ 2998 h 4320"/>
                <a:gd name="T84" fmla="*/ 813 w 3394"/>
                <a:gd name="T85" fmla="*/ 2998 h 4320"/>
                <a:gd name="T86" fmla="*/ 716 w 3394"/>
                <a:gd name="T87" fmla="*/ 2983 h 4320"/>
                <a:gd name="T88" fmla="*/ 1419 w 3394"/>
                <a:gd name="T89" fmla="*/ 2579 h 4320"/>
                <a:gd name="T90" fmla="*/ 1371 w 3394"/>
                <a:gd name="T91" fmla="*/ 2689 h 4320"/>
                <a:gd name="T92" fmla="*/ 1375 w 3394"/>
                <a:gd name="T93" fmla="*/ 2161 h 4320"/>
                <a:gd name="T94" fmla="*/ 1416 w 3394"/>
                <a:gd name="T95" fmla="*/ 2259 h 4320"/>
                <a:gd name="T96" fmla="*/ 1439 w 3394"/>
                <a:gd name="T97" fmla="*/ 2363 h 4320"/>
                <a:gd name="T98" fmla="*/ 1440 w 3394"/>
                <a:gd name="T99" fmla="*/ 2471 h 4320"/>
                <a:gd name="T100" fmla="*/ 1419 w 3394"/>
                <a:gd name="T101" fmla="*/ 2579 h 4320"/>
                <a:gd name="T102" fmla="*/ 1559 w 3394"/>
                <a:gd name="T103" fmla="*/ 3001 h 4320"/>
                <a:gd name="T104" fmla="*/ 1919 w 3394"/>
                <a:gd name="T105" fmla="*/ 3963 h 4320"/>
                <a:gd name="T106" fmla="*/ 2501 w 3394"/>
                <a:gd name="T107" fmla="*/ 3963 h 4320"/>
                <a:gd name="T108" fmla="*/ 2501 w 3394"/>
                <a:gd name="T109" fmla="*/ 3963 h 4320"/>
                <a:gd name="T110" fmla="*/ 2855 w 3394"/>
                <a:gd name="T111" fmla="*/ 3023 h 4320"/>
                <a:gd name="T112" fmla="*/ 2988 w 3394"/>
                <a:gd name="T113" fmla="*/ 2803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94" h="4320">
                  <a:moveTo>
                    <a:pt x="3086" y="0"/>
                  </a:moveTo>
                  <a:lnTo>
                    <a:pt x="1542" y="0"/>
                  </a:lnTo>
                  <a:lnTo>
                    <a:pt x="1542" y="1543"/>
                  </a:lnTo>
                  <a:lnTo>
                    <a:pt x="0" y="1543"/>
                  </a:lnTo>
                  <a:lnTo>
                    <a:pt x="0" y="4011"/>
                  </a:lnTo>
                  <a:lnTo>
                    <a:pt x="0" y="4011"/>
                  </a:lnTo>
                  <a:lnTo>
                    <a:pt x="1" y="4043"/>
                  </a:lnTo>
                  <a:lnTo>
                    <a:pt x="6" y="4074"/>
                  </a:lnTo>
                  <a:lnTo>
                    <a:pt x="14" y="4104"/>
                  </a:lnTo>
                  <a:lnTo>
                    <a:pt x="24" y="4132"/>
                  </a:lnTo>
                  <a:lnTo>
                    <a:pt x="37" y="4158"/>
                  </a:lnTo>
                  <a:lnTo>
                    <a:pt x="52" y="4184"/>
                  </a:lnTo>
                  <a:lnTo>
                    <a:pt x="70" y="4208"/>
                  </a:lnTo>
                  <a:lnTo>
                    <a:pt x="90" y="4230"/>
                  </a:lnTo>
                  <a:lnTo>
                    <a:pt x="112" y="4250"/>
                  </a:lnTo>
                  <a:lnTo>
                    <a:pt x="136" y="4268"/>
                  </a:lnTo>
                  <a:lnTo>
                    <a:pt x="162" y="4283"/>
                  </a:lnTo>
                  <a:lnTo>
                    <a:pt x="188" y="4296"/>
                  </a:lnTo>
                  <a:lnTo>
                    <a:pt x="216" y="4306"/>
                  </a:lnTo>
                  <a:lnTo>
                    <a:pt x="246" y="4314"/>
                  </a:lnTo>
                  <a:lnTo>
                    <a:pt x="277" y="4319"/>
                  </a:lnTo>
                  <a:lnTo>
                    <a:pt x="308" y="4320"/>
                  </a:lnTo>
                  <a:lnTo>
                    <a:pt x="3086" y="4320"/>
                  </a:lnTo>
                  <a:lnTo>
                    <a:pt x="3086" y="4320"/>
                  </a:lnTo>
                  <a:lnTo>
                    <a:pt x="3117" y="4319"/>
                  </a:lnTo>
                  <a:lnTo>
                    <a:pt x="3148" y="4314"/>
                  </a:lnTo>
                  <a:lnTo>
                    <a:pt x="3178" y="4306"/>
                  </a:lnTo>
                  <a:lnTo>
                    <a:pt x="3206" y="4296"/>
                  </a:lnTo>
                  <a:lnTo>
                    <a:pt x="3232" y="4283"/>
                  </a:lnTo>
                  <a:lnTo>
                    <a:pt x="3258" y="4268"/>
                  </a:lnTo>
                  <a:lnTo>
                    <a:pt x="3282" y="4250"/>
                  </a:lnTo>
                  <a:lnTo>
                    <a:pt x="3304" y="4230"/>
                  </a:lnTo>
                  <a:lnTo>
                    <a:pt x="3324" y="4208"/>
                  </a:lnTo>
                  <a:lnTo>
                    <a:pt x="3342" y="4184"/>
                  </a:lnTo>
                  <a:lnTo>
                    <a:pt x="3357" y="4158"/>
                  </a:lnTo>
                  <a:lnTo>
                    <a:pt x="3370" y="4132"/>
                  </a:lnTo>
                  <a:lnTo>
                    <a:pt x="3380" y="4104"/>
                  </a:lnTo>
                  <a:lnTo>
                    <a:pt x="3388" y="4074"/>
                  </a:lnTo>
                  <a:lnTo>
                    <a:pt x="3393" y="4043"/>
                  </a:lnTo>
                  <a:lnTo>
                    <a:pt x="3394" y="4011"/>
                  </a:lnTo>
                  <a:lnTo>
                    <a:pt x="3394" y="308"/>
                  </a:lnTo>
                  <a:lnTo>
                    <a:pt x="3394" y="308"/>
                  </a:lnTo>
                  <a:lnTo>
                    <a:pt x="3393" y="277"/>
                  </a:lnTo>
                  <a:lnTo>
                    <a:pt x="3388" y="246"/>
                  </a:lnTo>
                  <a:lnTo>
                    <a:pt x="3380" y="216"/>
                  </a:lnTo>
                  <a:lnTo>
                    <a:pt x="3370" y="188"/>
                  </a:lnTo>
                  <a:lnTo>
                    <a:pt x="3357" y="162"/>
                  </a:lnTo>
                  <a:lnTo>
                    <a:pt x="3342" y="136"/>
                  </a:lnTo>
                  <a:lnTo>
                    <a:pt x="3324" y="112"/>
                  </a:lnTo>
                  <a:lnTo>
                    <a:pt x="3304" y="90"/>
                  </a:lnTo>
                  <a:lnTo>
                    <a:pt x="3282" y="70"/>
                  </a:lnTo>
                  <a:lnTo>
                    <a:pt x="3258" y="52"/>
                  </a:lnTo>
                  <a:lnTo>
                    <a:pt x="3232" y="37"/>
                  </a:lnTo>
                  <a:lnTo>
                    <a:pt x="3206" y="24"/>
                  </a:lnTo>
                  <a:lnTo>
                    <a:pt x="3178" y="14"/>
                  </a:lnTo>
                  <a:lnTo>
                    <a:pt x="3148" y="6"/>
                  </a:lnTo>
                  <a:lnTo>
                    <a:pt x="3117" y="1"/>
                  </a:lnTo>
                  <a:lnTo>
                    <a:pt x="3086" y="0"/>
                  </a:lnTo>
                  <a:lnTo>
                    <a:pt x="3086" y="0"/>
                  </a:lnTo>
                  <a:close/>
                  <a:moveTo>
                    <a:pt x="1006" y="1867"/>
                  </a:moveTo>
                  <a:lnTo>
                    <a:pt x="1006" y="1867"/>
                  </a:lnTo>
                  <a:lnTo>
                    <a:pt x="1034" y="1876"/>
                  </a:lnTo>
                  <a:lnTo>
                    <a:pt x="1062" y="1884"/>
                  </a:lnTo>
                  <a:lnTo>
                    <a:pt x="1089" y="1895"/>
                  </a:lnTo>
                  <a:lnTo>
                    <a:pt x="1114" y="1908"/>
                  </a:lnTo>
                  <a:lnTo>
                    <a:pt x="1138" y="1920"/>
                  </a:lnTo>
                  <a:lnTo>
                    <a:pt x="1162" y="1936"/>
                  </a:lnTo>
                  <a:lnTo>
                    <a:pt x="1186" y="1951"/>
                  </a:lnTo>
                  <a:lnTo>
                    <a:pt x="1207" y="1968"/>
                  </a:lnTo>
                  <a:lnTo>
                    <a:pt x="1228" y="1986"/>
                  </a:lnTo>
                  <a:lnTo>
                    <a:pt x="1249" y="2005"/>
                  </a:lnTo>
                  <a:lnTo>
                    <a:pt x="1267" y="2024"/>
                  </a:lnTo>
                  <a:lnTo>
                    <a:pt x="1285" y="2046"/>
                  </a:lnTo>
                  <a:lnTo>
                    <a:pt x="1302" y="2068"/>
                  </a:lnTo>
                  <a:lnTo>
                    <a:pt x="1318" y="2090"/>
                  </a:lnTo>
                  <a:lnTo>
                    <a:pt x="1333" y="2114"/>
                  </a:lnTo>
                  <a:lnTo>
                    <a:pt x="1347" y="2138"/>
                  </a:lnTo>
                  <a:lnTo>
                    <a:pt x="1347" y="2138"/>
                  </a:lnTo>
                  <a:lnTo>
                    <a:pt x="861" y="2401"/>
                  </a:lnTo>
                  <a:lnTo>
                    <a:pt x="486" y="1994"/>
                  </a:lnTo>
                  <a:lnTo>
                    <a:pt x="486" y="1994"/>
                  </a:lnTo>
                  <a:lnTo>
                    <a:pt x="513" y="1971"/>
                  </a:lnTo>
                  <a:lnTo>
                    <a:pt x="539" y="1951"/>
                  </a:lnTo>
                  <a:lnTo>
                    <a:pt x="568" y="1932"/>
                  </a:lnTo>
                  <a:lnTo>
                    <a:pt x="597" y="1915"/>
                  </a:lnTo>
                  <a:lnTo>
                    <a:pt x="628" y="1899"/>
                  </a:lnTo>
                  <a:lnTo>
                    <a:pt x="659" y="1887"/>
                  </a:lnTo>
                  <a:lnTo>
                    <a:pt x="691" y="1874"/>
                  </a:lnTo>
                  <a:lnTo>
                    <a:pt x="725" y="1864"/>
                  </a:lnTo>
                  <a:lnTo>
                    <a:pt x="759" y="1857"/>
                  </a:lnTo>
                  <a:lnTo>
                    <a:pt x="792" y="1852"/>
                  </a:lnTo>
                  <a:lnTo>
                    <a:pt x="827" y="1849"/>
                  </a:lnTo>
                  <a:lnTo>
                    <a:pt x="863" y="1847"/>
                  </a:lnTo>
                  <a:lnTo>
                    <a:pt x="898" y="1849"/>
                  </a:lnTo>
                  <a:lnTo>
                    <a:pt x="934" y="1853"/>
                  </a:lnTo>
                  <a:lnTo>
                    <a:pt x="969" y="1859"/>
                  </a:lnTo>
                  <a:lnTo>
                    <a:pt x="1006" y="1867"/>
                  </a:lnTo>
                  <a:lnTo>
                    <a:pt x="1006" y="1867"/>
                  </a:lnTo>
                  <a:close/>
                  <a:moveTo>
                    <a:pt x="693" y="2976"/>
                  </a:moveTo>
                  <a:lnTo>
                    <a:pt x="693" y="2976"/>
                  </a:lnTo>
                  <a:lnTo>
                    <a:pt x="664" y="2966"/>
                  </a:lnTo>
                  <a:lnTo>
                    <a:pt x="636" y="2956"/>
                  </a:lnTo>
                  <a:lnTo>
                    <a:pt x="610" y="2945"/>
                  </a:lnTo>
                  <a:lnTo>
                    <a:pt x="584" y="2931"/>
                  </a:lnTo>
                  <a:lnTo>
                    <a:pt x="559" y="2917"/>
                  </a:lnTo>
                  <a:lnTo>
                    <a:pt x="535" y="2902"/>
                  </a:lnTo>
                  <a:lnTo>
                    <a:pt x="513" y="2886"/>
                  </a:lnTo>
                  <a:lnTo>
                    <a:pt x="490" y="2869"/>
                  </a:lnTo>
                  <a:lnTo>
                    <a:pt x="469" y="2850"/>
                  </a:lnTo>
                  <a:lnTo>
                    <a:pt x="450" y="2832"/>
                  </a:lnTo>
                  <a:lnTo>
                    <a:pt x="430" y="2811"/>
                  </a:lnTo>
                  <a:lnTo>
                    <a:pt x="412" y="2791"/>
                  </a:lnTo>
                  <a:lnTo>
                    <a:pt x="395" y="2769"/>
                  </a:lnTo>
                  <a:lnTo>
                    <a:pt x="379" y="2748"/>
                  </a:lnTo>
                  <a:lnTo>
                    <a:pt x="364" y="2724"/>
                  </a:lnTo>
                  <a:lnTo>
                    <a:pt x="351" y="2700"/>
                  </a:lnTo>
                  <a:lnTo>
                    <a:pt x="339" y="2676"/>
                  </a:lnTo>
                  <a:lnTo>
                    <a:pt x="327" y="2651"/>
                  </a:lnTo>
                  <a:lnTo>
                    <a:pt x="317" y="2626"/>
                  </a:lnTo>
                  <a:lnTo>
                    <a:pt x="308" y="2600"/>
                  </a:lnTo>
                  <a:lnTo>
                    <a:pt x="301" y="2574"/>
                  </a:lnTo>
                  <a:lnTo>
                    <a:pt x="294" y="2547"/>
                  </a:lnTo>
                  <a:lnTo>
                    <a:pt x="289" y="2520"/>
                  </a:lnTo>
                  <a:lnTo>
                    <a:pt x="285" y="2494"/>
                  </a:lnTo>
                  <a:lnTo>
                    <a:pt x="282" y="2466"/>
                  </a:lnTo>
                  <a:lnTo>
                    <a:pt x="281" y="2437"/>
                  </a:lnTo>
                  <a:lnTo>
                    <a:pt x="281" y="2409"/>
                  </a:lnTo>
                  <a:lnTo>
                    <a:pt x="284" y="2381"/>
                  </a:lnTo>
                  <a:lnTo>
                    <a:pt x="287" y="2353"/>
                  </a:lnTo>
                  <a:lnTo>
                    <a:pt x="291" y="2325"/>
                  </a:lnTo>
                  <a:lnTo>
                    <a:pt x="296" y="2297"/>
                  </a:lnTo>
                  <a:lnTo>
                    <a:pt x="303" y="2269"/>
                  </a:lnTo>
                  <a:lnTo>
                    <a:pt x="303" y="2269"/>
                  </a:lnTo>
                  <a:lnTo>
                    <a:pt x="316" y="2234"/>
                  </a:lnTo>
                  <a:lnTo>
                    <a:pt x="332" y="2199"/>
                  </a:lnTo>
                  <a:lnTo>
                    <a:pt x="348" y="2165"/>
                  </a:lnTo>
                  <a:lnTo>
                    <a:pt x="368" y="2133"/>
                  </a:lnTo>
                  <a:lnTo>
                    <a:pt x="389" y="2102"/>
                  </a:lnTo>
                  <a:lnTo>
                    <a:pt x="412" y="2074"/>
                  </a:lnTo>
                  <a:lnTo>
                    <a:pt x="435" y="2046"/>
                  </a:lnTo>
                  <a:lnTo>
                    <a:pt x="461" y="2020"/>
                  </a:lnTo>
                  <a:lnTo>
                    <a:pt x="461" y="2020"/>
                  </a:lnTo>
                  <a:lnTo>
                    <a:pt x="849" y="2447"/>
                  </a:lnTo>
                  <a:lnTo>
                    <a:pt x="1350" y="2723"/>
                  </a:lnTo>
                  <a:lnTo>
                    <a:pt x="1350" y="2723"/>
                  </a:lnTo>
                  <a:lnTo>
                    <a:pt x="1337" y="2742"/>
                  </a:lnTo>
                  <a:lnTo>
                    <a:pt x="1325" y="2762"/>
                  </a:lnTo>
                  <a:lnTo>
                    <a:pt x="1311" y="2782"/>
                  </a:lnTo>
                  <a:lnTo>
                    <a:pt x="1295" y="2800"/>
                  </a:lnTo>
                  <a:lnTo>
                    <a:pt x="1280" y="2817"/>
                  </a:lnTo>
                  <a:lnTo>
                    <a:pt x="1263" y="2834"/>
                  </a:lnTo>
                  <a:lnTo>
                    <a:pt x="1246" y="2849"/>
                  </a:lnTo>
                  <a:lnTo>
                    <a:pt x="1229" y="2865"/>
                  </a:lnTo>
                  <a:lnTo>
                    <a:pt x="1211" y="2880"/>
                  </a:lnTo>
                  <a:lnTo>
                    <a:pt x="1191" y="2894"/>
                  </a:lnTo>
                  <a:lnTo>
                    <a:pt x="1173" y="2907"/>
                  </a:lnTo>
                  <a:lnTo>
                    <a:pt x="1152" y="2919"/>
                  </a:lnTo>
                  <a:lnTo>
                    <a:pt x="1132" y="2931"/>
                  </a:lnTo>
                  <a:lnTo>
                    <a:pt x="1111" y="2942"/>
                  </a:lnTo>
                  <a:lnTo>
                    <a:pt x="1090" y="2952"/>
                  </a:lnTo>
                  <a:lnTo>
                    <a:pt x="1069" y="2960"/>
                  </a:lnTo>
                  <a:lnTo>
                    <a:pt x="1047" y="2969"/>
                  </a:lnTo>
                  <a:lnTo>
                    <a:pt x="1024" y="2976"/>
                  </a:lnTo>
                  <a:lnTo>
                    <a:pt x="1002" y="2983"/>
                  </a:lnTo>
                  <a:lnTo>
                    <a:pt x="979" y="2988"/>
                  </a:lnTo>
                  <a:lnTo>
                    <a:pt x="955" y="2992"/>
                  </a:lnTo>
                  <a:lnTo>
                    <a:pt x="933" y="2995"/>
                  </a:lnTo>
                  <a:lnTo>
                    <a:pt x="909" y="2998"/>
                  </a:lnTo>
                  <a:lnTo>
                    <a:pt x="885" y="2999"/>
                  </a:lnTo>
                  <a:lnTo>
                    <a:pt x="861" y="3001"/>
                  </a:lnTo>
                  <a:lnTo>
                    <a:pt x="837" y="2999"/>
                  </a:lnTo>
                  <a:lnTo>
                    <a:pt x="813" y="2998"/>
                  </a:lnTo>
                  <a:lnTo>
                    <a:pt x="789" y="2997"/>
                  </a:lnTo>
                  <a:lnTo>
                    <a:pt x="764" y="2992"/>
                  </a:lnTo>
                  <a:lnTo>
                    <a:pt x="740" y="2988"/>
                  </a:lnTo>
                  <a:lnTo>
                    <a:pt x="716" y="2983"/>
                  </a:lnTo>
                  <a:lnTo>
                    <a:pt x="693" y="2976"/>
                  </a:lnTo>
                  <a:lnTo>
                    <a:pt x="693" y="2976"/>
                  </a:lnTo>
                  <a:close/>
                  <a:moveTo>
                    <a:pt x="1419" y="2579"/>
                  </a:moveTo>
                  <a:lnTo>
                    <a:pt x="1419" y="2579"/>
                  </a:lnTo>
                  <a:lnTo>
                    <a:pt x="1409" y="2607"/>
                  </a:lnTo>
                  <a:lnTo>
                    <a:pt x="1399" y="2636"/>
                  </a:lnTo>
                  <a:lnTo>
                    <a:pt x="1387" y="2662"/>
                  </a:lnTo>
                  <a:lnTo>
                    <a:pt x="1371" y="2689"/>
                  </a:lnTo>
                  <a:lnTo>
                    <a:pt x="1371" y="2689"/>
                  </a:lnTo>
                  <a:lnTo>
                    <a:pt x="892" y="2422"/>
                  </a:lnTo>
                  <a:lnTo>
                    <a:pt x="1375" y="2161"/>
                  </a:lnTo>
                  <a:lnTo>
                    <a:pt x="1375" y="2161"/>
                  </a:lnTo>
                  <a:lnTo>
                    <a:pt x="1388" y="2185"/>
                  </a:lnTo>
                  <a:lnTo>
                    <a:pt x="1398" y="2208"/>
                  </a:lnTo>
                  <a:lnTo>
                    <a:pt x="1408" y="2234"/>
                  </a:lnTo>
                  <a:lnTo>
                    <a:pt x="1416" y="2259"/>
                  </a:lnTo>
                  <a:lnTo>
                    <a:pt x="1424" y="2284"/>
                  </a:lnTo>
                  <a:lnTo>
                    <a:pt x="1430" y="2311"/>
                  </a:lnTo>
                  <a:lnTo>
                    <a:pt x="1434" y="2336"/>
                  </a:lnTo>
                  <a:lnTo>
                    <a:pt x="1439" y="2363"/>
                  </a:lnTo>
                  <a:lnTo>
                    <a:pt x="1441" y="2390"/>
                  </a:lnTo>
                  <a:lnTo>
                    <a:pt x="1443" y="2416"/>
                  </a:lnTo>
                  <a:lnTo>
                    <a:pt x="1441" y="2443"/>
                  </a:lnTo>
                  <a:lnTo>
                    <a:pt x="1440" y="2471"/>
                  </a:lnTo>
                  <a:lnTo>
                    <a:pt x="1437" y="2498"/>
                  </a:lnTo>
                  <a:lnTo>
                    <a:pt x="1433" y="2525"/>
                  </a:lnTo>
                  <a:lnTo>
                    <a:pt x="1427" y="2553"/>
                  </a:lnTo>
                  <a:lnTo>
                    <a:pt x="1419" y="2579"/>
                  </a:lnTo>
                  <a:lnTo>
                    <a:pt x="1419" y="2579"/>
                  </a:lnTo>
                  <a:close/>
                  <a:moveTo>
                    <a:pt x="1786" y="3963"/>
                  </a:moveTo>
                  <a:lnTo>
                    <a:pt x="1559" y="3963"/>
                  </a:lnTo>
                  <a:lnTo>
                    <a:pt x="1559" y="3001"/>
                  </a:lnTo>
                  <a:lnTo>
                    <a:pt x="1786" y="3001"/>
                  </a:lnTo>
                  <a:lnTo>
                    <a:pt x="1786" y="3963"/>
                  </a:lnTo>
                  <a:close/>
                  <a:moveTo>
                    <a:pt x="2142" y="3963"/>
                  </a:moveTo>
                  <a:lnTo>
                    <a:pt x="1919" y="3963"/>
                  </a:lnTo>
                  <a:lnTo>
                    <a:pt x="1919" y="2606"/>
                  </a:lnTo>
                  <a:lnTo>
                    <a:pt x="2142" y="2606"/>
                  </a:lnTo>
                  <a:lnTo>
                    <a:pt x="2142" y="3963"/>
                  </a:lnTo>
                  <a:close/>
                  <a:moveTo>
                    <a:pt x="2501" y="3963"/>
                  </a:moveTo>
                  <a:lnTo>
                    <a:pt x="2274" y="3963"/>
                  </a:lnTo>
                  <a:lnTo>
                    <a:pt x="2274" y="3512"/>
                  </a:lnTo>
                  <a:lnTo>
                    <a:pt x="2501" y="3512"/>
                  </a:lnTo>
                  <a:lnTo>
                    <a:pt x="2501" y="3963"/>
                  </a:lnTo>
                  <a:close/>
                  <a:moveTo>
                    <a:pt x="2855" y="3963"/>
                  </a:moveTo>
                  <a:lnTo>
                    <a:pt x="2633" y="3963"/>
                  </a:lnTo>
                  <a:lnTo>
                    <a:pt x="2633" y="3023"/>
                  </a:lnTo>
                  <a:lnTo>
                    <a:pt x="2855" y="3023"/>
                  </a:lnTo>
                  <a:lnTo>
                    <a:pt x="2855" y="3963"/>
                  </a:lnTo>
                  <a:close/>
                  <a:moveTo>
                    <a:pt x="3216" y="3963"/>
                  </a:moveTo>
                  <a:lnTo>
                    <a:pt x="2988" y="3963"/>
                  </a:lnTo>
                  <a:lnTo>
                    <a:pt x="2988" y="2803"/>
                  </a:lnTo>
                  <a:lnTo>
                    <a:pt x="3216" y="2803"/>
                  </a:lnTo>
                  <a:lnTo>
                    <a:pt x="3216" y="396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70" name="AutoShape 88"/>
          <p:cNvSpPr>
            <a:spLocks/>
          </p:cNvSpPr>
          <p:nvPr/>
        </p:nvSpPr>
        <p:spPr bwMode="auto">
          <a:xfrm rot="10800000" flipH="1">
            <a:off x="5285500" y="4182914"/>
            <a:ext cx="466747" cy="302539"/>
          </a:xfrm>
          <a:custGeom>
            <a:avLst/>
            <a:gdLst/>
            <a:ahLst/>
            <a:cxnLst/>
            <a:rect l="l" t="t" r="r" b="b"/>
            <a:pathLst>
              <a:path w="687361" h="445420">
                <a:moveTo>
                  <a:pt x="79269" y="122832"/>
                </a:moveTo>
                <a:lnTo>
                  <a:pt x="608092" y="122832"/>
                </a:lnTo>
                <a:lnTo>
                  <a:pt x="687361" y="0"/>
                </a:lnTo>
                <a:lnTo>
                  <a:pt x="0" y="0"/>
                </a:lnTo>
                <a:close/>
                <a:moveTo>
                  <a:pt x="136843" y="415643"/>
                </a:moveTo>
                <a:cubicBezTo>
                  <a:pt x="122938" y="415643"/>
                  <a:pt x="111665" y="404370"/>
                  <a:pt x="111665" y="390465"/>
                </a:cubicBezTo>
                <a:lnTo>
                  <a:pt x="111665" y="196398"/>
                </a:lnTo>
                <a:cubicBezTo>
                  <a:pt x="111665" y="182493"/>
                  <a:pt x="122938" y="171220"/>
                  <a:pt x="136843" y="171220"/>
                </a:cubicBezTo>
                <a:lnTo>
                  <a:pt x="551758" y="171220"/>
                </a:lnTo>
                <a:cubicBezTo>
                  <a:pt x="565663" y="171220"/>
                  <a:pt x="576936" y="182493"/>
                  <a:pt x="576936" y="196398"/>
                </a:cubicBezTo>
                <a:lnTo>
                  <a:pt x="576936" y="390465"/>
                </a:lnTo>
                <a:cubicBezTo>
                  <a:pt x="576936" y="404370"/>
                  <a:pt x="565663" y="415643"/>
                  <a:pt x="551758" y="415643"/>
                </a:cubicBezTo>
                <a:close/>
                <a:moveTo>
                  <a:pt x="114605" y="445420"/>
                </a:moveTo>
                <a:cubicBezTo>
                  <a:pt x="114612" y="445420"/>
                  <a:pt x="116440" y="445420"/>
                  <a:pt x="573997" y="445420"/>
                </a:cubicBezTo>
                <a:cubicBezTo>
                  <a:pt x="592673" y="445420"/>
                  <a:pt x="607955" y="430178"/>
                  <a:pt x="607955" y="411543"/>
                </a:cubicBezTo>
                <a:cubicBezTo>
                  <a:pt x="607955" y="411534"/>
                  <a:pt x="607955" y="409958"/>
                  <a:pt x="607955" y="143924"/>
                </a:cubicBezTo>
                <a:lnTo>
                  <a:pt x="80647" y="143924"/>
                </a:lnTo>
                <a:cubicBezTo>
                  <a:pt x="80647" y="143933"/>
                  <a:pt x="80647" y="145492"/>
                  <a:pt x="80647" y="411543"/>
                </a:cubicBezTo>
                <a:cubicBezTo>
                  <a:pt x="80647" y="430178"/>
                  <a:pt x="95929" y="445420"/>
                  <a:pt x="114605" y="445420"/>
                </a:cubicBezTo>
                <a:close/>
              </a:path>
            </a:pathLst>
          </a:custGeom>
          <a:solidFill>
            <a:schemeClr val="tx1"/>
          </a:solidFill>
          <a:ln w="9525" cap="flat">
            <a:noFill/>
            <a:miter lim="800000"/>
            <a:headEnd type="none" w="med" len="med"/>
            <a:tailEnd type="none" w="med" len="med"/>
          </a:ln>
        </p:spPr>
        <p:txBody>
          <a:bodyPr lIns="0" tIns="0" rIns="0" bIns="0"/>
          <a:lstStyle/>
          <a:p>
            <a:endParaRPr lang="en-US" sz="1300" dirty="0">
              <a:solidFill>
                <a:srgbClr val="676767"/>
              </a:solidFill>
            </a:endParaRPr>
          </a:p>
        </p:txBody>
      </p:sp>
      <p:sp>
        <p:nvSpPr>
          <p:cNvPr id="72" name="AutoShape 88"/>
          <p:cNvSpPr>
            <a:spLocks/>
          </p:cNvSpPr>
          <p:nvPr/>
        </p:nvSpPr>
        <p:spPr bwMode="auto">
          <a:xfrm rot="10800000" flipH="1">
            <a:off x="4211064" y="4182914"/>
            <a:ext cx="466747" cy="302539"/>
          </a:xfrm>
          <a:custGeom>
            <a:avLst/>
            <a:gdLst/>
            <a:ahLst/>
            <a:cxnLst/>
            <a:rect l="l" t="t" r="r" b="b"/>
            <a:pathLst>
              <a:path w="687361" h="445420">
                <a:moveTo>
                  <a:pt x="79269" y="122832"/>
                </a:moveTo>
                <a:lnTo>
                  <a:pt x="608092" y="122832"/>
                </a:lnTo>
                <a:lnTo>
                  <a:pt x="687361" y="0"/>
                </a:lnTo>
                <a:lnTo>
                  <a:pt x="0" y="0"/>
                </a:lnTo>
                <a:close/>
                <a:moveTo>
                  <a:pt x="136843" y="415643"/>
                </a:moveTo>
                <a:cubicBezTo>
                  <a:pt x="122938" y="415643"/>
                  <a:pt x="111665" y="404370"/>
                  <a:pt x="111665" y="390465"/>
                </a:cubicBezTo>
                <a:lnTo>
                  <a:pt x="111665" y="196398"/>
                </a:lnTo>
                <a:cubicBezTo>
                  <a:pt x="111665" y="182493"/>
                  <a:pt x="122938" y="171220"/>
                  <a:pt x="136843" y="171220"/>
                </a:cubicBezTo>
                <a:lnTo>
                  <a:pt x="551758" y="171220"/>
                </a:lnTo>
                <a:cubicBezTo>
                  <a:pt x="565663" y="171220"/>
                  <a:pt x="576936" y="182493"/>
                  <a:pt x="576936" y="196398"/>
                </a:cubicBezTo>
                <a:lnTo>
                  <a:pt x="576936" y="390465"/>
                </a:lnTo>
                <a:cubicBezTo>
                  <a:pt x="576936" y="404370"/>
                  <a:pt x="565663" y="415643"/>
                  <a:pt x="551758" y="415643"/>
                </a:cubicBezTo>
                <a:close/>
                <a:moveTo>
                  <a:pt x="114605" y="445420"/>
                </a:moveTo>
                <a:cubicBezTo>
                  <a:pt x="114612" y="445420"/>
                  <a:pt x="116440" y="445420"/>
                  <a:pt x="573997" y="445420"/>
                </a:cubicBezTo>
                <a:cubicBezTo>
                  <a:pt x="592673" y="445420"/>
                  <a:pt x="607955" y="430178"/>
                  <a:pt x="607955" y="411543"/>
                </a:cubicBezTo>
                <a:cubicBezTo>
                  <a:pt x="607955" y="411534"/>
                  <a:pt x="607955" y="409958"/>
                  <a:pt x="607955" y="143924"/>
                </a:cubicBezTo>
                <a:lnTo>
                  <a:pt x="80647" y="143924"/>
                </a:lnTo>
                <a:cubicBezTo>
                  <a:pt x="80647" y="143933"/>
                  <a:pt x="80647" y="145492"/>
                  <a:pt x="80647" y="411543"/>
                </a:cubicBezTo>
                <a:cubicBezTo>
                  <a:pt x="80647" y="430178"/>
                  <a:pt x="95929" y="445420"/>
                  <a:pt x="114605" y="445420"/>
                </a:cubicBezTo>
                <a:close/>
              </a:path>
            </a:pathLst>
          </a:custGeom>
          <a:solidFill>
            <a:schemeClr val="tx1"/>
          </a:solidFill>
          <a:ln w="9525" cap="flat">
            <a:noFill/>
            <a:miter lim="800000"/>
            <a:headEnd type="none" w="med" len="med"/>
            <a:tailEnd type="none" w="med" len="med"/>
          </a:ln>
        </p:spPr>
        <p:txBody>
          <a:bodyPr lIns="0" tIns="0" rIns="0" bIns="0"/>
          <a:lstStyle/>
          <a:p>
            <a:endParaRPr lang="en-US" sz="1300" dirty="0">
              <a:solidFill>
                <a:srgbClr val="676767"/>
              </a:solidFill>
            </a:endParaRPr>
          </a:p>
        </p:txBody>
      </p:sp>
      <p:sp>
        <p:nvSpPr>
          <p:cNvPr id="128" name="TextBox 127"/>
          <p:cNvSpPr txBox="1"/>
          <p:nvPr/>
        </p:nvSpPr>
        <p:spPr>
          <a:xfrm>
            <a:off x="2833637" y="1797422"/>
            <a:ext cx="961802" cy="276999"/>
          </a:xfrm>
          <a:prstGeom prst="rect">
            <a:avLst/>
          </a:prstGeom>
          <a:noFill/>
        </p:spPr>
        <p:txBody>
          <a:bodyPr wrap="none" lIns="0" tIns="0" rIns="0" bIns="0" rtlCol="0">
            <a:spAutoFit/>
          </a:bodyPr>
          <a:lstStyle/>
          <a:p>
            <a:pPr algn="r"/>
            <a:r>
              <a:rPr lang="ja-JP" altLang="en-US" sz="900" dirty="0">
                <a:solidFill>
                  <a:srgbClr val="676767"/>
                </a:solidFill>
              </a:rPr>
              <a:t>ウェブからの</a:t>
            </a:r>
            <a:r>
              <a:rPr lang="en-US" altLang="ja-JP" sz="900" dirty="0">
                <a:solidFill>
                  <a:srgbClr val="676767"/>
                </a:solidFill>
              </a:rPr>
              <a:t/>
            </a:r>
            <a:br>
              <a:rPr lang="en-US" altLang="ja-JP" sz="900" dirty="0">
                <a:solidFill>
                  <a:srgbClr val="676767"/>
                </a:solidFill>
              </a:rPr>
            </a:br>
            <a:r>
              <a:rPr lang="ja-JP" altLang="en-US" sz="900" dirty="0">
                <a:solidFill>
                  <a:srgbClr val="676767"/>
                </a:solidFill>
              </a:rPr>
              <a:t>直接攻撃</a:t>
            </a:r>
            <a:endParaRPr lang="en-US" sz="900" dirty="0">
              <a:solidFill>
                <a:srgbClr val="676767"/>
              </a:solidFill>
            </a:endParaRPr>
          </a:p>
        </p:txBody>
      </p:sp>
      <p:grpSp>
        <p:nvGrpSpPr>
          <p:cNvPr id="130" name="Group 129"/>
          <p:cNvGrpSpPr/>
          <p:nvPr/>
        </p:nvGrpSpPr>
        <p:grpSpPr>
          <a:xfrm>
            <a:off x="7192259" y="4225597"/>
            <a:ext cx="237299" cy="169092"/>
            <a:chOff x="5152458" y="5408224"/>
            <a:chExt cx="369522" cy="213398"/>
          </a:xfrm>
          <a:solidFill>
            <a:schemeClr val="tx1"/>
          </a:solidFill>
        </p:grpSpPr>
        <p:sp>
          <p:nvSpPr>
            <p:cNvPr id="131" name="Full Process - envelope fly out"/>
            <p:cNvSpPr>
              <a:spLocks noChangeAspect="1"/>
            </p:cNvSpPr>
            <p:nvPr/>
          </p:nvSpPr>
          <p:spPr bwMode="auto">
            <a:xfrm>
              <a:off x="5172670" y="5408224"/>
              <a:ext cx="331620" cy="121070"/>
            </a:xfrm>
            <a:custGeom>
              <a:avLst/>
              <a:gdLst>
                <a:gd name="T0" fmla="*/ 854 w 1896"/>
                <a:gd name="T1" fmla="*/ 657 h 689"/>
                <a:gd name="T2" fmla="*/ 854 w 1896"/>
                <a:gd name="T3" fmla="*/ 657 h 689"/>
                <a:gd name="T4" fmla="*/ 864 w 1896"/>
                <a:gd name="T5" fmla="*/ 664 h 689"/>
                <a:gd name="T6" fmla="*/ 875 w 1896"/>
                <a:gd name="T7" fmla="*/ 671 h 689"/>
                <a:gd name="T8" fmla="*/ 886 w 1896"/>
                <a:gd name="T9" fmla="*/ 676 h 689"/>
                <a:gd name="T10" fmla="*/ 898 w 1896"/>
                <a:gd name="T11" fmla="*/ 681 h 689"/>
                <a:gd name="T12" fmla="*/ 911 w 1896"/>
                <a:gd name="T13" fmla="*/ 684 h 689"/>
                <a:gd name="T14" fmla="*/ 923 w 1896"/>
                <a:gd name="T15" fmla="*/ 687 h 689"/>
                <a:gd name="T16" fmla="*/ 936 w 1896"/>
                <a:gd name="T17" fmla="*/ 688 h 689"/>
                <a:gd name="T18" fmla="*/ 949 w 1896"/>
                <a:gd name="T19" fmla="*/ 689 h 689"/>
                <a:gd name="T20" fmla="*/ 949 w 1896"/>
                <a:gd name="T21" fmla="*/ 689 h 689"/>
                <a:gd name="T22" fmla="*/ 961 w 1896"/>
                <a:gd name="T23" fmla="*/ 688 h 689"/>
                <a:gd name="T24" fmla="*/ 975 w 1896"/>
                <a:gd name="T25" fmla="*/ 687 h 689"/>
                <a:gd name="T26" fmla="*/ 988 w 1896"/>
                <a:gd name="T27" fmla="*/ 683 h 689"/>
                <a:gd name="T28" fmla="*/ 1001 w 1896"/>
                <a:gd name="T29" fmla="*/ 680 h 689"/>
                <a:gd name="T30" fmla="*/ 1012 w 1896"/>
                <a:gd name="T31" fmla="*/ 675 h 689"/>
                <a:gd name="T32" fmla="*/ 1025 w 1896"/>
                <a:gd name="T33" fmla="*/ 668 h 689"/>
                <a:gd name="T34" fmla="*/ 1036 w 1896"/>
                <a:gd name="T35" fmla="*/ 661 h 689"/>
                <a:gd name="T36" fmla="*/ 1047 w 1896"/>
                <a:gd name="T37" fmla="*/ 653 h 689"/>
                <a:gd name="T38" fmla="*/ 1896 w 1896"/>
                <a:gd name="T39" fmla="*/ 6 h 689"/>
                <a:gd name="T40" fmla="*/ 1896 w 1896"/>
                <a:gd name="T41" fmla="*/ 6 h 689"/>
                <a:gd name="T42" fmla="*/ 1878 w 1896"/>
                <a:gd name="T43" fmla="*/ 2 h 689"/>
                <a:gd name="T44" fmla="*/ 1867 w 1896"/>
                <a:gd name="T45" fmla="*/ 1 h 689"/>
                <a:gd name="T46" fmla="*/ 1858 w 1896"/>
                <a:gd name="T47" fmla="*/ 0 h 689"/>
                <a:gd name="T48" fmla="*/ 38 w 1896"/>
                <a:gd name="T49" fmla="*/ 0 h 689"/>
                <a:gd name="T50" fmla="*/ 38 w 1896"/>
                <a:gd name="T51" fmla="*/ 0 h 689"/>
                <a:gd name="T52" fmla="*/ 28 w 1896"/>
                <a:gd name="T53" fmla="*/ 1 h 689"/>
                <a:gd name="T54" fmla="*/ 19 w 1896"/>
                <a:gd name="T55" fmla="*/ 2 h 689"/>
                <a:gd name="T56" fmla="*/ 0 w 1896"/>
                <a:gd name="T57" fmla="*/ 6 h 689"/>
                <a:gd name="T58" fmla="*/ 853 w 1896"/>
                <a:gd name="T59" fmla="*/ 657 h 689"/>
                <a:gd name="T60" fmla="*/ 853 w 1896"/>
                <a:gd name="T61" fmla="*/ 657 h 689"/>
                <a:gd name="T62" fmla="*/ 854 w 1896"/>
                <a:gd name="T63" fmla="*/ 657 h 689"/>
                <a:gd name="T64" fmla="*/ 854 w 1896"/>
                <a:gd name="T65" fmla="*/ 65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6" h="689">
                  <a:moveTo>
                    <a:pt x="854" y="657"/>
                  </a:moveTo>
                  <a:lnTo>
                    <a:pt x="854" y="657"/>
                  </a:lnTo>
                  <a:lnTo>
                    <a:pt x="864" y="664"/>
                  </a:lnTo>
                  <a:lnTo>
                    <a:pt x="875" y="671"/>
                  </a:lnTo>
                  <a:lnTo>
                    <a:pt x="886" y="676"/>
                  </a:lnTo>
                  <a:lnTo>
                    <a:pt x="898" y="681"/>
                  </a:lnTo>
                  <a:lnTo>
                    <a:pt x="911" y="684"/>
                  </a:lnTo>
                  <a:lnTo>
                    <a:pt x="923" y="687"/>
                  </a:lnTo>
                  <a:lnTo>
                    <a:pt x="936" y="688"/>
                  </a:lnTo>
                  <a:lnTo>
                    <a:pt x="949" y="689"/>
                  </a:lnTo>
                  <a:lnTo>
                    <a:pt x="949" y="689"/>
                  </a:lnTo>
                  <a:lnTo>
                    <a:pt x="961" y="688"/>
                  </a:lnTo>
                  <a:lnTo>
                    <a:pt x="975" y="687"/>
                  </a:lnTo>
                  <a:lnTo>
                    <a:pt x="988" y="683"/>
                  </a:lnTo>
                  <a:lnTo>
                    <a:pt x="1001" y="680"/>
                  </a:lnTo>
                  <a:lnTo>
                    <a:pt x="1012" y="675"/>
                  </a:lnTo>
                  <a:lnTo>
                    <a:pt x="1025" y="668"/>
                  </a:lnTo>
                  <a:lnTo>
                    <a:pt x="1036" y="661"/>
                  </a:lnTo>
                  <a:lnTo>
                    <a:pt x="1047" y="653"/>
                  </a:lnTo>
                  <a:lnTo>
                    <a:pt x="1896" y="6"/>
                  </a:lnTo>
                  <a:lnTo>
                    <a:pt x="1896" y="6"/>
                  </a:lnTo>
                  <a:lnTo>
                    <a:pt x="1878" y="2"/>
                  </a:lnTo>
                  <a:lnTo>
                    <a:pt x="1867" y="1"/>
                  </a:lnTo>
                  <a:lnTo>
                    <a:pt x="1858" y="0"/>
                  </a:lnTo>
                  <a:lnTo>
                    <a:pt x="38" y="0"/>
                  </a:lnTo>
                  <a:lnTo>
                    <a:pt x="38" y="0"/>
                  </a:lnTo>
                  <a:lnTo>
                    <a:pt x="28" y="1"/>
                  </a:lnTo>
                  <a:lnTo>
                    <a:pt x="19" y="2"/>
                  </a:lnTo>
                  <a:lnTo>
                    <a:pt x="0" y="6"/>
                  </a:lnTo>
                  <a:lnTo>
                    <a:pt x="853" y="657"/>
                  </a:lnTo>
                  <a:lnTo>
                    <a:pt x="853" y="657"/>
                  </a:lnTo>
                  <a:lnTo>
                    <a:pt x="854" y="657"/>
                  </a:lnTo>
                  <a:lnTo>
                    <a:pt x="854" y="657"/>
                  </a:lnTo>
                  <a:close/>
                </a:path>
              </a:pathLst>
            </a:custGeom>
            <a:grp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0000"/>
                </a:solidFill>
              </a:endParaRPr>
            </a:p>
          </p:txBody>
        </p:sp>
        <p:sp>
          <p:nvSpPr>
            <p:cNvPr id="132" name="Full Process - envelope"/>
            <p:cNvSpPr>
              <a:spLocks noChangeAspect="1"/>
            </p:cNvSpPr>
            <p:nvPr/>
          </p:nvSpPr>
          <p:spPr bwMode="auto">
            <a:xfrm>
              <a:off x="5152458" y="5424751"/>
              <a:ext cx="369522" cy="196871"/>
            </a:xfrm>
            <a:custGeom>
              <a:avLst/>
              <a:gdLst>
                <a:gd name="T0" fmla="*/ 1218 w 2105"/>
                <a:gd name="T1" fmla="*/ 664 h 1120"/>
                <a:gd name="T2" fmla="*/ 1181 w 2105"/>
                <a:gd name="T3" fmla="*/ 689 h 1120"/>
                <a:gd name="T4" fmla="*/ 1140 w 2105"/>
                <a:gd name="T5" fmla="*/ 706 h 1120"/>
                <a:gd name="T6" fmla="*/ 1096 w 2105"/>
                <a:gd name="T7" fmla="*/ 718 h 1120"/>
                <a:gd name="T8" fmla="*/ 1053 w 2105"/>
                <a:gd name="T9" fmla="*/ 721 h 1120"/>
                <a:gd name="T10" fmla="*/ 1031 w 2105"/>
                <a:gd name="T11" fmla="*/ 720 h 1120"/>
                <a:gd name="T12" fmla="*/ 988 w 2105"/>
                <a:gd name="T13" fmla="*/ 713 h 1120"/>
                <a:gd name="T14" fmla="*/ 948 w 2105"/>
                <a:gd name="T15" fmla="*/ 700 h 1120"/>
                <a:gd name="T16" fmla="*/ 910 w 2105"/>
                <a:gd name="T17" fmla="*/ 680 h 1120"/>
                <a:gd name="T18" fmla="*/ 891 w 2105"/>
                <a:gd name="T19" fmla="*/ 668 h 1120"/>
                <a:gd name="T20" fmla="*/ 14 w 2105"/>
                <a:gd name="T21" fmla="*/ 0 h 1120"/>
                <a:gd name="T22" fmla="*/ 8 w 2105"/>
                <a:gd name="T23" fmla="*/ 14 h 1120"/>
                <a:gd name="T24" fmla="*/ 1 w 2105"/>
                <a:gd name="T25" fmla="*/ 45 h 1120"/>
                <a:gd name="T26" fmla="*/ 1 w 2105"/>
                <a:gd name="T27" fmla="*/ 979 h 1120"/>
                <a:gd name="T28" fmla="*/ 1 w 2105"/>
                <a:gd name="T29" fmla="*/ 990 h 1120"/>
                <a:gd name="T30" fmla="*/ 6 w 2105"/>
                <a:gd name="T31" fmla="*/ 1012 h 1120"/>
                <a:gd name="T32" fmla="*/ 13 w 2105"/>
                <a:gd name="T33" fmla="*/ 1034 h 1120"/>
                <a:gd name="T34" fmla="*/ 23 w 2105"/>
                <a:gd name="T35" fmla="*/ 1054 h 1120"/>
                <a:gd name="T36" fmla="*/ 562 w 2105"/>
                <a:gd name="T37" fmla="*/ 658 h 1120"/>
                <a:gd name="T38" fmla="*/ 568 w 2105"/>
                <a:gd name="T39" fmla="*/ 654 h 1120"/>
                <a:gd name="T40" fmla="*/ 578 w 2105"/>
                <a:gd name="T41" fmla="*/ 652 h 1120"/>
                <a:gd name="T42" fmla="*/ 590 w 2105"/>
                <a:gd name="T43" fmla="*/ 653 h 1120"/>
                <a:gd name="T44" fmla="*/ 600 w 2105"/>
                <a:gd name="T45" fmla="*/ 659 h 1120"/>
                <a:gd name="T46" fmla="*/ 604 w 2105"/>
                <a:gd name="T47" fmla="*/ 664 h 1120"/>
                <a:gd name="T48" fmla="*/ 610 w 2105"/>
                <a:gd name="T49" fmla="*/ 674 h 1120"/>
                <a:gd name="T50" fmla="*/ 610 w 2105"/>
                <a:gd name="T51" fmla="*/ 685 h 1120"/>
                <a:gd name="T52" fmla="*/ 606 w 2105"/>
                <a:gd name="T53" fmla="*/ 696 h 1120"/>
                <a:gd name="T54" fmla="*/ 598 w 2105"/>
                <a:gd name="T55" fmla="*/ 705 h 1120"/>
                <a:gd name="T56" fmla="*/ 74 w 2105"/>
                <a:gd name="T57" fmla="*/ 1102 h 1120"/>
                <a:gd name="T58" fmla="*/ 108 w 2105"/>
                <a:gd name="T59" fmla="*/ 1116 h 1120"/>
                <a:gd name="T60" fmla="*/ 143 w 2105"/>
                <a:gd name="T61" fmla="*/ 1120 h 1120"/>
                <a:gd name="T62" fmla="*/ 1963 w 2105"/>
                <a:gd name="T63" fmla="*/ 1120 h 1120"/>
                <a:gd name="T64" fmla="*/ 1999 w 2105"/>
                <a:gd name="T65" fmla="*/ 1116 h 1120"/>
                <a:gd name="T66" fmla="*/ 2032 w 2105"/>
                <a:gd name="T67" fmla="*/ 1102 h 1120"/>
                <a:gd name="T68" fmla="*/ 1512 w 2105"/>
                <a:gd name="T69" fmla="*/ 705 h 1120"/>
                <a:gd name="T70" fmla="*/ 1504 w 2105"/>
                <a:gd name="T71" fmla="*/ 696 h 1120"/>
                <a:gd name="T72" fmla="*/ 1500 w 2105"/>
                <a:gd name="T73" fmla="*/ 685 h 1120"/>
                <a:gd name="T74" fmla="*/ 1501 w 2105"/>
                <a:gd name="T75" fmla="*/ 674 h 1120"/>
                <a:gd name="T76" fmla="*/ 1506 w 2105"/>
                <a:gd name="T77" fmla="*/ 664 h 1120"/>
                <a:gd name="T78" fmla="*/ 1511 w 2105"/>
                <a:gd name="T79" fmla="*/ 659 h 1120"/>
                <a:gd name="T80" fmla="*/ 1521 w 2105"/>
                <a:gd name="T81" fmla="*/ 653 h 1120"/>
                <a:gd name="T82" fmla="*/ 1531 w 2105"/>
                <a:gd name="T83" fmla="*/ 652 h 1120"/>
                <a:gd name="T84" fmla="*/ 1543 w 2105"/>
                <a:gd name="T85" fmla="*/ 654 h 1120"/>
                <a:gd name="T86" fmla="*/ 2077 w 2105"/>
                <a:gd name="T87" fmla="*/ 1062 h 1120"/>
                <a:gd name="T88" fmla="*/ 2083 w 2105"/>
                <a:gd name="T89" fmla="*/ 1052 h 1120"/>
                <a:gd name="T90" fmla="*/ 2093 w 2105"/>
                <a:gd name="T91" fmla="*/ 1034 h 1120"/>
                <a:gd name="T92" fmla="*/ 2100 w 2105"/>
                <a:gd name="T93" fmla="*/ 1012 h 1120"/>
                <a:gd name="T94" fmla="*/ 2104 w 2105"/>
                <a:gd name="T95" fmla="*/ 990 h 1120"/>
                <a:gd name="T96" fmla="*/ 2104 w 2105"/>
                <a:gd name="T97" fmla="*/ 60 h 1120"/>
                <a:gd name="T98" fmla="*/ 2103 w 2105"/>
                <a:gd name="T99" fmla="*/ 44 h 1120"/>
                <a:gd name="T100" fmla="*/ 2096 w 2105"/>
                <a:gd name="T101" fmla="*/ 14 h 1120"/>
                <a:gd name="T102" fmla="*/ 1220 w 2105"/>
                <a:gd name="T103" fmla="*/ 664 h 1120"/>
                <a:gd name="T104" fmla="*/ 1218 w 2105"/>
                <a:gd name="T105" fmla="*/ 6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5" h="1120">
                  <a:moveTo>
                    <a:pt x="1218" y="664"/>
                  </a:moveTo>
                  <a:lnTo>
                    <a:pt x="1218" y="664"/>
                  </a:lnTo>
                  <a:lnTo>
                    <a:pt x="1199" y="677"/>
                  </a:lnTo>
                  <a:lnTo>
                    <a:pt x="1181" y="689"/>
                  </a:lnTo>
                  <a:lnTo>
                    <a:pt x="1161" y="698"/>
                  </a:lnTo>
                  <a:lnTo>
                    <a:pt x="1140" y="706"/>
                  </a:lnTo>
                  <a:lnTo>
                    <a:pt x="1118" y="713"/>
                  </a:lnTo>
                  <a:lnTo>
                    <a:pt x="1096" y="718"/>
                  </a:lnTo>
                  <a:lnTo>
                    <a:pt x="1075" y="720"/>
                  </a:lnTo>
                  <a:lnTo>
                    <a:pt x="1053" y="721"/>
                  </a:lnTo>
                  <a:lnTo>
                    <a:pt x="1053" y="721"/>
                  </a:lnTo>
                  <a:lnTo>
                    <a:pt x="1031" y="720"/>
                  </a:lnTo>
                  <a:lnTo>
                    <a:pt x="1009" y="718"/>
                  </a:lnTo>
                  <a:lnTo>
                    <a:pt x="988" y="713"/>
                  </a:lnTo>
                  <a:lnTo>
                    <a:pt x="967" y="707"/>
                  </a:lnTo>
                  <a:lnTo>
                    <a:pt x="948" y="700"/>
                  </a:lnTo>
                  <a:lnTo>
                    <a:pt x="928" y="691"/>
                  </a:lnTo>
                  <a:lnTo>
                    <a:pt x="910" y="680"/>
                  </a:lnTo>
                  <a:lnTo>
                    <a:pt x="891" y="668"/>
                  </a:lnTo>
                  <a:lnTo>
                    <a:pt x="891" y="668"/>
                  </a:lnTo>
                  <a:lnTo>
                    <a:pt x="890" y="667"/>
                  </a:lnTo>
                  <a:lnTo>
                    <a:pt x="14" y="0"/>
                  </a:lnTo>
                  <a:lnTo>
                    <a:pt x="14" y="0"/>
                  </a:lnTo>
                  <a:lnTo>
                    <a:pt x="8" y="14"/>
                  </a:lnTo>
                  <a:lnTo>
                    <a:pt x="4" y="29"/>
                  </a:lnTo>
                  <a:lnTo>
                    <a:pt x="1" y="45"/>
                  </a:lnTo>
                  <a:lnTo>
                    <a:pt x="0" y="60"/>
                  </a:lnTo>
                  <a:lnTo>
                    <a:pt x="1" y="979"/>
                  </a:lnTo>
                  <a:lnTo>
                    <a:pt x="1" y="979"/>
                  </a:lnTo>
                  <a:lnTo>
                    <a:pt x="1" y="990"/>
                  </a:lnTo>
                  <a:lnTo>
                    <a:pt x="4" y="1002"/>
                  </a:lnTo>
                  <a:lnTo>
                    <a:pt x="6" y="1012"/>
                  </a:lnTo>
                  <a:lnTo>
                    <a:pt x="8" y="1024"/>
                  </a:lnTo>
                  <a:lnTo>
                    <a:pt x="13" y="1034"/>
                  </a:lnTo>
                  <a:lnTo>
                    <a:pt x="18" y="1043"/>
                  </a:lnTo>
                  <a:lnTo>
                    <a:pt x="23" y="1054"/>
                  </a:lnTo>
                  <a:lnTo>
                    <a:pt x="29" y="1062"/>
                  </a:lnTo>
                  <a:lnTo>
                    <a:pt x="562" y="658"/>
                  </a:lnTo>
                  <a:lnTo>
                    <a:pt x="562" y="658"/>
                  </a:lnTo>
                  <a:lnTo>
                    <a:pt x="568" y="654"/>
                  </a:lnTo>
                  <a:lnTo>
                    <a:pt x="573" y="653"/>
                  </a:lnTo>
                  <a:lnTo>
                    <a:pt x="578" y="652"/>
                  </a:lnTo>
                  <a:lnTo>
                    <a:pt x="584" y="652"/>
                  </a:lnTo>
                  <a:lnTo>
                    <a:pt x="590" y="653"/>
                  </a:lnTo>
                  <a:lnTo>
                    <a:pt x="596" y="655"/>
                  </a:lnTo>
                  <a:lnTo>
                    <a:pt x="600" y="659"/>
                  </a:lnTo>
                  <a:lnTo>
                    <a:pt x="604" y="664"/>
                  </a:lnTo>
                  <a:lnTo>
                    <a:pt x="604" y="664"/>
                  </a:lnTo>
                  <a:lnTo>
                    <a:pt x="607" y="668"/>
                  </a:lnTo>
                  <a:lnTo>
                    <a:pt x="610" y="674"/>
                  </a:lnTo>
                  <a:lnTo>
                    <a:pt x="610" y="680"/>
                  </a:lnTo>
                  <a:lnTo>
                    <a:pt x="610" y="685"/>
                  </a:lnTo>
                  <a:lnTo>
                    <a:pt x="608" y="691"/>
                  </a:lnTo>
                  <a:lnTo>
                    <a:pt x="606" y="696"/>
                  </a:lnTo>
                  <a:lnTo>
                    <a:pt x="603" y="700"/>
                  </a:lnTo>
                  <a:lnTo>
                    <a:pt x="598" y="705"/>
                  </a:lnTo>
                  <a:lnTo>
                    <a:pt x="74" y="1102"/>
                  </a:lnTo>
                  <a:lnTo>
                    <a:pt x="74" y="1102"/>
                  </a:lnTo>
                  <a:lnTo>
                    <a:pt x="90" y="1110"/>
                  </a:lnTo>
                  <a:lnTo>
                    <a:pt x="108" y="1116"/>
                  </a:lnTo>
                  <a:lnTo>
                    <a:pt x="125" y="1119"/>
                  </a:lnTo>
                  <a:lnTo>
                    <a:pt x="143" y="1120"/>
                  </a:lnTo>
                  <a:lnTo>
                    <a:pt x="1963" y="1120"/>
                  </a:lnTo>
                  <a:lnTo>
                    <a:pt x="1963" y="1120"/>
                  </a:lnTo>
                  <a:lnTo>
                    <a:pt x="1982" y="1119"/>
                  </a:lnTo>
                  <a:lnTo>
                    <a:pt x="1999" y="1116"/>
                  </a:lnTo>
                  <a:lnTo>
                    <a:pt x="2016" y="1109"/>
                  </a:lnTo>
                  <a:lnTo>
                    <a:pt x="2032" y="1102"/>
                  </a:lnTo>
                  <a:lnTo>
                    <a:pt x="1512" y="705"/>
                  </a:lnTo>
                  <a:lnTo>
                    <a:pt x="1512" y="705"/>
                  </a:lnTo>
                  <a:lnTo>
                    <a:pt x="1507" y="700"/>
                  </a:lnTo>
                  <a:lnTo>
                    <a:pt x="1504" y="696"/>
                  </a:lnTo>
                  <a:lnTo>
                    <a:pt x="1501" y="691"/>
                  </a:lnTo>
                  <a:lnTo>
                    <a:pt x="1500" y="685"/>
                  </a:lnTo>
                  <a:lnTo>
                    <a:pt x="1500" y="680"/>
                  </a:lnTo>
                  <a:lnTo>
                    <a:pt x="1501" y="674"/>
                  </a:lnTo>
                  <a:lnTo>
                    <a:pt x="1504" y="668"/>
                  </a:lnTo>
                  <a:lnTo>
                    <a:pt x="1506" y="664"/>
                  </a:lnTo>
                  <a:lnTo>
                    <a:pt x="1506" y="664"/>
                  </a:lnTo>
                  <a:lnTo>
                    <a:pt x="1511" y="659"/>
                  </a:lnTo>
                  <a:lnTo>
                    <a:pt x="1515" y="655"/>
                  </a:lnTo>
                  <a:lnTo>
                    <a:pt x="1521" y="653"/>
                  </a:lnTo>
                  <a:lnTo>
                    <a:pt x="1526" y="652"/>
                  </a:lnTo>
                  <a:lnTo>
                    <a:pt x="1531" y="652"/>
                  </a:lnTo>
                  <a:lnTo>
                    <a:pt x="1537" y="653"/>
                  </a:lnTo>
                  <a:lnTo>
                    <a:pt x="1543" y="654"/>
                  </a:lnTo>
                  <a:lnTo>
                    <a:pt x="1548" y="658"/>
                  </a:lnTo>
                  <a:lnTo>
                    <a:pt x="2077" y="1062"/>
                  </a:lnTo>
                  <a:lnTo>
                    <a:pt x="2077" y="1062"/>
                  </a:lnTo>
                  <a:lnTo>
                    <a:pt x="2083" y="1052"/>
                  </a:lnTo>
                  <a:lnTo>
                    <a:pt x="2089" y="1043"/>
                  </a:lnTo>
                  <a:lnTo>
                    <a:pt x="2093" y="1034"/>
                  </a:lnTo>
                  <a:lnTo>
                    <a:pt x="2097" y="1024"/>
                  </a:lnTo>
                  <a:lnTo>
                    <a:pt x="2100" y="1012"/>
                  </a:lnTo>
                  <a:lnTo>
                    <a:pt x="2103" y="1002"/>
                  </a:lnTo>
                  <a:lnTo>
                    <a:pt x="2104" y="990"/>
                  </a:lnTo>
                  <a:lnTo>
                    <a:pt x="2105" y="979"/>
                  </a:lnTo>
                  <a:lnTo>
                    <a:pt x="2104" y="60"/>
                  </a:lnTo>
                  <a:lnTo>
                    <a:pt x="2104" y="60"/>
                  </a:lnTo>
                  <a:lnTo>
                    <a:pt x="2103" y="44"/>
                  </a:lnTo>
                  <a:lnTo>
                    <a:pt x="2099" y="29"/>
                  </a:lnTo>
                  <a:lnTo>
                    <a:pt x="2096" y="14"/>
                  </a:lnTo>
                  <a:lnTo>
                    <a:pt x="2090" y="0"/>
                  </a:lnTo>
                  <a:lnTo>
                    <a:pt x="1220" y="664"/>
                  </a:lnTo>
                  <a:lnTo>
                    <a:pt x="1220" y="664"/>
                  </a:lnTo>
                  <a:lnTo>
                    <a:pt x="1218" y="664"/>
                  </a:lnTo>
                  <a:lnTo>
                    <a:pt x="1218" y="664"/>
                  </a:lnTo>
                  <a:close/>
                </a:path>
              </a:pathLst>
            </a:custGeom>
            <a:grp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0000"/>
                </a:solidFill>
              </a:endParaRPr>
            </a:p>
          </p:txBody>
        </p:sp>
      </p:grpSp>
      <p:sp>
        <p:nvSpPr>
          <p:cNvPr id="134" name="TextBox 133"/>
          <p:cNvSpPr txBox="1"/>
          <p:nvPr/>
        </p:nvSpPr>
        <p:spPr>
          <a:xfrm>
            <a:off x="7540282" y="4129658"/>
            <a:ext cx="901187" cy="276999"/>
          </a:xfrm>
          <a:prstGeom prst="rect">
            <a:avLst/>
          </a:prstGeom>
          <a:noFill/>
        </p:spPr>
        <p:txBody>
          <a:bodyPr wrap="square" lIns="0" tIns="0" rIns="0" bIns="0" rtlCol="0">
            <a:spAutoFit/>
          </a:bodyPr>
          <a:lstStyle/>
          <a:p>
            <a:r>
              <a:rPr lang="ja-JP" altLang="en-US" sz="900" dirty="0">
                <a:solidFill>
                  <a:srgbClr val="676767"/>
                </a:solidFill>
              </a:rPr>
              <a:t>メールや</a:t>
            </a:r>
            <a:r>
              <a:rPr lang="en-US" altLang="ja-JP" sz="900" dirty="0">
                <a:solidFill>
                  <a:srgbClr val="676767"/>
                </a:solidFill>
              </a:rPr>
              <a:t>USB</a:t>
            </a:r>
            <a:r>
              <a:rPr lang="ja-JP" altLang="en-US" sz="900" dirty="0">
                <a:solidFill>
                  <a:srgbClr val="676767"/>
                </a:solidFill>
              </a:rPr>
              <a:t>に</a:t>
            </a:r>
            <a:r>
              <a:rPr lang="en-US" altLang="ja-JP" sz="900" dirty="0">
                <a:solidFill>
                  <a:srgbClr val="676767"/>
                </a:solidFill>
              </a:rPr>
              <a:t/>
            </a:r>
            <a:br>
              <a:rPr lang="en-US" altLang="ja-JP" sz="900" dirty="0">
                <a:solidFill>
                  <a:srgbClr val="676767"/>
                </a:solidFill>
              </a:rPr>
            </a:br>
            <a:r>
              <a:rPr lang="ja-JP" altLang="en-US" sz="900" dirty="0">
                <a:solidFill>
                  <a:srgbClr val="676767"/>
                </a:solidFill>
              </a:rPr>
              <a:t>よる感染</a:t>
            </a:r>
            <a:endParaRPr lang="en-US" sz="900" dirty="0">
              <a:solidFill>
                <a:srgbClr val="676767"/>
              </a:solidFill>
            </a:endParaRPr>
          </a:p>
        </p:txBody>
      </p:sp>
      <p:sp>
        <p:nvSpPr>
          <p:cNvPr id="139" name="AutoShape 88"/>
          <p:cNvSpPr>
            <a:spLocks/>
          </p:cNvSpPr>
          <p:nvPr/>
        </p:nvSpPr>
        <p:spPr bwMode="auto">
          <a:xfrm rot="10800000" flipH="1">
            <a:off x="4748282" y="4182914"/>
            <a:ext cx="466747" cy="302539"/>
          </a:xfrm>
          <a:custGeom>
            <a:avLst/>
            <a:gdLst/>
            <a:ahLst/>
            <a:cxnLst/>
            <a:rect l="l" t="t" r="r" b="b"/>
            <a:pathLst>
              <a:path w="687361" h="445420">
                <a:moveTo>
                  <a:pt x="79269" y="122832"/>
                </a:moveTo>
                <a:lnTo>
                  <a:pt x="608092" y="122832"/>
                </a:lnTo>
                <a:lnTo>
                  <a:pt x="687361" y="0"/>
                </a:lnTo>
                <a:lnTo>
                  <a:pt x="0" y="0"/>
                </a:lnTo>
                <a:close/>
                <a:moveTo>
                  <a:pt x="136843" y="415643"/>
                </a:moveTo>
                <a:cubicBezTo>
                  <a:pt x="122938" y="415643"/>
                  <a:pt x="111665" y="404370"/>
                  <a:pt x="111665" y="390465"/>
                </a:cubicBezTo>
                <a:lnTo>
                  <a:pt x="111665" y="196398"/>
                </a:lnTo>
                <a:cubicBezTo>
                  <a:pt x="111665" y="182493"/>
                  <a:pt x="122938" y="171220"/>
                  <a:pt x="136843" y="171220"/>
                </a:cubicBezTo>
                <a:lnTo>
                  <a:pt x="551758" y="171220"/>
                </a:lnTo>
                <a:cubicBezTo>
                  <a:pt x="565663" y="171220"/>
                  <a:pt x="576936" y="182493"/>
                  <a:pt x="576936" y="196398"/>
                </a:cubicBezTo>
                <a:lnTo>
                  <a:pt x="576936" y="390465"/>
                </a:lnTo>
                <a:cubicBezTo>
                  <a:pt x="576936" y="404370"/>
                  <a:pt x="565663" y="415643"/>
                  <a:pt x="551758" y="415643"/>
                </a:cubicBezTo>
                <a:close/>
                <a:moveTo>
                  <a:pt x="114605" y="445420"/>
                </a:moveTo>
                <a:cubicBezTo>
                  <a:pt x="114612" y="445420"/>
                  <a:pt x="116440" y="445420"/>
                  <a:pt x="573997" y="445420"/>
                </a:cubicBezTo>
                <a:cubicBezTo>
                  <a:pt x="592673" y="445420"/>
                  <a:pt x="607955" y="430178"/>
                  <a:pt x="607955" y="411543"/>
                </a:cubicBezTo>
                <a:cubicBezTo>
                  <a:pt x="607955" y="411534"/>
                  <a:pt x="607955" y="409958"/>
                  <a:pt x="607955" y="143924"/>
                </a:cubicBezTo>
                <a:lnTo>
                  <a:pt x="80647" y="143924"/>
                </a:lnTo>
                <a:cubicBezTo>
                  <a:pt x="80647" y="143933"/>
                  <a:pt x="80647" y="145492"/>
                  <a:pt x="80647" y="411543"/>
                </a:cubicBezTo>
                <a:cubicBezTo>
                  <a:pt x="80647" y="430178"/>
                  <a:pt x="95929" y="445420"/>
                  <a:pt x="114605" y="445420"/>
                </a:cubicBezTo>
                <a:close/>
              </a:path>
            </a:pathLst>
          </a:custGeom>
          <a:solidFill>
            <a:schemeClr val="tx1"/>
          </a:solidFill>
          <a:ln w="9525" cap="flat">
            <a:noFill/>
            <a:miter lim="800000"/>
            <a:headEnd type="none" w="med" len="med"/>
            <a:tailEnd type="none" w="med" len="med"/>
          </a:ln>
        </p:spPr>
        <p:txBody>
          <a:bodyPr lIns="0" tIns="0" rIns="0" bIns="0"/>
          <a:lstStyle/>
          <a:p>
            <a:endParaRPr lang="en-US" sz="1300" dirty="0">
              <a:solidFill>
                <a:srgbClr val="676767"/>
              </a:solidFill>
            </a:endParaRPr>
          </a:p>
        </p:txBody>
      </p:sp>
      <p:sp>
        <p:nvSpPr>
          <p:cNvPr id="140" name="TextBox 139"/>
          <p:cNvSpPr txBox="1"/>
          <p:nvPr/>
        </p:nvSpPr>
        <p:spPr>
          <a:xfrm>
            <a:off x="5771248" y="1245123"/>
            <a:ext cx="842780" cy="138500"/>
          </a:xfrm>
          <a:prstGeom prst="rect">
            <a:avLst/>
          </a:prstGeom>
          <a:noFill/>
        </p:spPr>
        <p:txBody>
          <a:bodyPr wrap="none" lIns="0" tIns="0" rIns="0" bIns="0" rtlCol="0">
            <a:spAutoFit/>
          </a:bodyPr>
          <a:lstStyle/>
          <a:p>
            <a:r>
              <a:rPr lang="ja-JP" altLang="en-US" sz="900" dirty="0">
                <a:solidFill>
                  <a:srgbClr val="676767"/>
                </a:solidFill>
              </a:rPr>
              <a:t>攻撃者のインフラ</a:t>
            </a:r>
            <a:endParaRPr lang="en-US" sz="900" dirty="0">
              <a:solidFill>
                <a:srgbClr val="676767"/>
              </a:solidFill>
            </a:endParaRPr>
          </a:p>
        </p:txBody>
      </p:sp>
      <p:grpSp>
        <p:nvGrpSpPr>
          <p:cNvPr id="81" name="Group 80"/>
          <p:cNvGrpSpPr/>
          <p:nvPr/>
        </p:nvGrpSpPr>
        <p:grpSpPr>
          <a:xfrm>
            <a:off x="3766261" y="3586352"/>
            <a:ext cx="256032" cy="256032"/>
            <a:chOff x="2546889" y="1510755"/>
            <a:chExt cx="256032" cy="256032"/>
          </a:xfrm>
        </p:grpSpPr>
        <p:sp>
          <p:nvSpPr>
            <p:cNvPr id="82" name="Oval 81"/>
            <p:cNvSpPr/>
            <p:nvPr/>
          </p:nvSpPr>
          <p:spPr bwMode="auto">
            <a:xfrm>
              <a:off x="2546889" y="1510755"/>
              <a:ext cx="256032" cy="256032"/>
            </a:xfrm>
            <a:prstGeom prst="ellipse">
              <a:avLst/>
            </a:prstGeom>
            <a:noFill/>
            <a:ln w="12700" cap="flat">
              <a:noFill/>
              <a:miter lim="800000"/>
              <a:headEnd type="none" w="med" len="med"/>
              <a:tailEnd type="none" w="med" len="med"/>
            </a:ln>
          </p:spPr>
          <p:txBody>
            <a:bodyPr lIns="91440" tIns="45720" rIns="91440" bIns="45720" rtlCol="0" anchor="ctr"/>
            <a:lstStyle/>
            <a:p>
              <a:pPr algn="ctr" defTabSz="514337"/>
              <a:endParaRPr lang="en-US" sz="1400" dirty="0" err="1">
                <a:solidFill>
                  <a:srgbClr val="FFFFFF"/>
                </a:solidFill>
                <a:ea typeface="Arial" pitchFamily="-107" charset="0"/>
                <a:cs typeface="Arial" pitchFamily="-107" charset="0"/>
                <a:sym typeface="Arial" pitchFamily="-107" charset="0"/>
              </a:endParaRPr>
            </a:p>
          </p:txBody>
        </p:sp>
        <p:sp>
          <p:nvSpPr>
            <p:cNvPr id="83" name="&quot;No&quot; Symbol 82"/>
            <p:cNvSpPr/>
            <p:nvPr/>
          </p:nvSpPr>
          <p:spPr bwMode="auto">
            <a:xfrm>
              <a:off x="2546889" y="1510755"/>
              <a:ext cx="256032" cy="256032"/>
            </a:xfrm>
            <a:prstGeom prst="noSmoking">
              <a:avLst>
                <a:gd name="adj" fmla="val 11424"/>
              </a:avLst>
            </a:prstGeom>
            <a:solidFill>
              <a:srgbClr val="D81F28"/>
            </a:solidFill>
            <a:ln w="12700" cap="flat">
              <a:noFill/>
              <a:miter lim="800000"/>
              <a:headEnd type="none" w="med" len="med"/>
              <a:tailEnd type="none" w="med" len="med"/>
            </a:ln>
          </p:spPr>
          <p:txBody>
            <a:bodyPr lIns="91440" tIns="45720" rIns="91440" bIns="45720" rtlCol="0" anchor="ctr"/>
            <a:lstStyle/>
            <a:p>
              <a:pPr algn="ctr" defTabSz="514337"/>
              <a:endParaRPr lang="en-US" sz="1400" dirty="0" err="1">
                <a:solidFill>
                  <a:srgbClr val="FFFFFF"/>
                </a:solidFill>
                <a:ea typeface="Arial" pitchFamily="-107" charset="0"/>
                <a:cs typeface="Arial" pitchFamily="-107" charset="0"/>
                <a:sym typeface="Arial" pitchFamily="-107" charset="0"/>
              </a:endParaRPr>
            </a:p>
          </p:txBody>
        </p:sp>
      </p:grpSp>
      <p:grpSp>
        <p:nvGrpSpPr>
          <p:cNvPr id="9" name="Group 8"/>
          <p:cNvGrpSpPr/>
          <p:nvPr/>
        </p:nvGrpSpPr>
        <p:grpSpPr>
          <a:xfrm>
            <a:off x="7525975" y="3072371"/>
            <a:ext cx="717131" cy="717131"/>
            <a:chOff x="10522844" y="3983632"/>
            <a:chExt cx="956174" cy="956174"/>
          </a:xfrm>
        </p:grpSpPr>
        <p:sp>
          <p:nvSpPr>
            <p:cNvPr id="71" name="Oval 70"/>
            <p:cNvSpPr>
              <a:spLocks/>
            </p:cNvSpPr>
            <p:nvPr/>
          </p:nvSpPr>
          <p:spPr>
            <a:xfrm>
              <a:off x="10522844" y="3983632"/>
              <a:ext cx="956174" cy="956174"/>
            </a:xfrm>
            <a:prstGeom prst="ellipse">
              <a:avLst/>
            </a:prstGeom>
            <a:solidFill>
              <a:schemeClr val="bg1">
                <a:lumMod val="95000"/>
              </a:schemeClr>
            </a:solidFill>
            <a:ln>
              <a:noFill/>
            </a:ln>
            <a:effectLst>
              <a:outerShdw blurRad="25400" dist="25400" dir="2700000" algn="ctr" rotWithShape="0">
                <a:srgbClr val="000000">
                  <a:alpha val="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822960" numCol="1" spcCol="0" rtlCol="0" fromWordArt="0" anchor="t" anchorCtr="0" forceAA="0" compatLnSpc="1">
              <a:prstTxWarp prst="textNoShape">
                <a:avLst/>
              </a:prstTxWarp>
              <a:noAutofit/>
            </a:bodyPr>
            <a:lstStyle/>
            <a:p>
              <a:pPr algn="ctr"/>
              <a:r>
                <a:rPr lang="ja-JP" altLang="en-US" sz="1100" dirty="0">
                  <a:solidFill>
                    <a:srgbClr val="676767"/>
                  </a:solidFill>
                </a:rPr>
                <a:t>管理者</a:t>
              </a:r>
              <a:endParaRPr lang="en-US" sz="1100" dirty="0">
                <a:solidFill>
                  <a:srgbClr val="676767"/>
                </a:solidFill>
              </a:endParaRPr>
            </a:p>
          </p:txBody>
        </p:sp>
        <p:grpSp>
          <p:nvGrpSpPr>
            <p:cNvPr id="43" name="Group 42"/>
            <p:cNvGrpSpPr/>
            <p:nvPr/>
          </p:nvGrpSpPr>
          <p:grpSpPr>
            <a:xfrm>
              <a:off x="10688667" y="4293880"/>
              <a:ext cx="624528" cy="563542"/>
              <a:chOff x="5326855" y="2779521"/>
              <a:chExt cx="2283621" cy="2167124"/>
            </a:xfrm>
            <a:solidFill>
              <a:schemeClr val="tx1"/>
            </a:solidFill>
            <a:effectLst/>
          </p:grpSpPr>
          <p:sp>
            <p:nvSpPr>
              <p:cNvPr id="44" name="Freeform 43"/>
              <p:cNvSpPr/>
              <p:nvPr/>
            </p:nvSpPr>
            <p:spPr>
              <a:xfrm>
                <a:off x="5326855" y="3228976"/>
                <a:ext cx="1147085" cy="1083470"/>
              </a:xfrm>
              <a:custGeom>
                <a:avLst/>
                <a:gdLst>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990798 h 1083469"/>
                  <a:gd name="connsiteX6" fmla="*/ 186985 w 1147085"/>
                  <a:gd name="connsiteY6" fmla="*/ 1011445 h 1083469"/>
                  <a:gd name="connsiteX7" fmla="*/ 977729 w 1147085"/>
                  <a:gd name="connsiteY7" fmla="*/ 857154 h 1083469"/>
                  <a:gd name="connsiteX8" fmla="*/ 977729 w 1147085"/>
                  <a:gd name="connsiteY8" fmla="*/ 916854 h 1083469"/>
                  <a:gd name="connsiteX9" fmla="*/ 123825 w 1147085"/>
                  <a:gd name="connsiteY9" fmla="*/ 1083469 h 1083469"/>
                  <a:gd name="connsiteX10" fmla="*/ 0 w 1147085"/>
                  <a:gd name="connsiteY10" fmla="*/ 114300 h 1083469"/>
                  <a:gd name="connsiteX11" fmla="*/ 1090612 w 1147085"/>
                  <a:gd name="connsiteY11" fmla="*/ 0 h 1083469"/>
                  <a:gd name="connsiteX0" fmla="*/ 1090612 w 1147085"/>
                  <a:gd name="connsiteY0" fmla="*/ 0 h 1083469"/>
                  <a:gd name="connsiteX1" fmla="*/ 1147085 w 1147085"/>
                  <a:gd name="connsiteY1" fmla="*/ 460567 h 1083469"/>
                  <a:gd name="connsiteX2" fmla="*/ 1078295 w 1147085"/>
                  <a:gd name="connsiteY2" fmla="*/ 504743 h 1083469"/>
                  <a:gd name="connsiteX3" fmla="*/ 1025237 w 1147085"/>
                  <a:gd name="connsiteY3" fmla="*/ 72025 h 1083469"/>
                  <a:gd name="connsiteX4" fmla="*/ 79622 w 1147085"/>
                  <a:gd name="connsiteY4" fmla="*/ 171129 h 1083469"/>
                  <a:gd name="connsiteX5" fmla="*/ 186985 w 1147085"/>
                  <a:gd name="connsiteY5" fmla="*/ 1011445 h 1083469"/>
                  <a:gd name="connsiteX6" fmla="*/ 977729 w 1147085"/>
                  <a:gd name="connsiteY6" fmla="*/ 857154 h 1083469"/>
                  <a:gd name="connsiteX7" fmla="*/ 977729 w 1147085"/>
                  <a:gd name="connsiteY7" fmla="*/ 916854 h 1083469"/>
                  <a:gd name="connsiteX8" fmla="*/ 123825 w 1147085"/>
                  <a:gd name="connsiteY8" fmla="*/ 1083469 h 1083469"/>
                  <a:gd name="connsiteX9" fmla="*/ 0 w 1147085"/>
                  <a:gd name="connsiteY9" fmla="*/ 114300 h 1083469"/>
                  <a:gd name="connsiteX10" fmla="*/ 1090612 w 1147085"/>
                  <a:gd name="connsiteY10" fmla="*/ 0 h 108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7085" h="1083469">
                    <a:moveTo>
                      <a:pt x="1090612" y="0"/>
                    </a:moveTo>
                    <a:lnTo>
                      <a:pt x="1147085" y="460567"/>
                    </a:lnTo>
                    <a:cubicBezTo>
                      <a:pt x="1121629" y="471368"/>
                      <a:pt x="1098257" y="486098"/>
                      <a:pt x="1078295" y="504743"/>
                    </a:cubicBezTo>
                    <a:lnTo>
                      <a:pt x="1025237" y="72025"/>
                    </a:lnTo>
                    <a:lnTo>
                      <a:pt x="79622" y="171129"/>
                    </a:lnTo>
                    <a:lnTo>
                      <a:pt x="186985" y="1011445"/>
                    </a:lnTo>
                    <a:lnTo>
                      <a:pt x="977729" y="857154"/>
                    </a:lnTo>
                    <a:lnTo>
                      <a:pt x="977729" y="916854"/>
                    </a:lnTo>
                    <a:lnTo>
                      <a:pt x="123825" y="1083469"/>
                    </a:lnTo>
                    <a:lnTo>
                      <a:pt x="0" y="114300"/>
                    </a:lnTo>
                    <a:lnTo>
                      <a:pt x="1090612" y="0"/>
                    </a:ln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453">
                  <a:defRPr/>
                </a:pPr>
                <a:endParaRPr lang="en-US" sz="1700" kern="0" dirty="0">
                  <a:gradFill>
                    <a:gsLst>
                      <a:gs pos="0">
                        <a:srgbClr val="FFFFFF"/>
                      </a:gs>
                      <a:gs pos="100000">
                        <a:srgbClr val="FFFFFF"/>
                      </a:gs>
                    </a:gsLst>
                    <a:lin ang="5400000" scaled="0"/>
                  </a:gradFill>
                </a:endParaRPr>
              </a:p>
            </p:txBody>
          </p:sp>
          <p:sp>
            <p:nvSpPr>
              <p:cNvPr id="45" name="Oval 23"/>
              <p:cNvSpPr/>
              <p:nvPr/>
            </p:nvSpPr>
            <p:spPr bwMode="auto">
              <a:xfrm>
                <a:off x="5472972" y="4217017"/>
                <a:ext cx="831611" cy="515320"/>
              </a:xfrm>
              <a:custGeom>
                <a:avLst/>
                <a:gdLst/>
                <a:ahLst/>
                <a:cxnLst/>
                <a:rect l="l" t="t" r="r" b="b"/>
                <a:pathLst>
                  <a:path w="831613" h="515322">
                    <a:moveTo>
                      <a:pt x="656506" y="0"/>
                    </a:moveTo>
                    <a:cubicBezTo>
                      <a:pt x="722980" y="12459"/>
                      <a:pt x="782484" y="33487"/>
                      <a:pt x="831613" y="60220"/>
                    </a:cubicBezTo>
                    <a:lnTo>
                      <a:pt x="831613" y="156807"/>
                    </a:lnTo>
                    <a:lnTo>
                      <a:pt x="790343" y="156807"/>
                    </a:lnTo>
                    <a:cubicBezTo>
                      <a:pt x="689578" y="156807"/>
                      <a:pt x="607892" y="247187"/>
                      <a:pt x="607892" y="358678"/>
                    </a:cubicBezTo>
                    <a:cubicBezTo>
                      <a:pt x="607892" y="412735"/>
                      <a:pt x="627095" y="461830"/>
                      <a:pt x="658968" y="497546"/>
                    </a:cubicBezTo>
                    <a:cubicBezTo>
                      <a:pt x="605816" y="509342"/>
                      <a:pt x="548050" y="515322"/>
                      <a:pt x="487726" y="515322"/>
                    </a:cubicBezTo>
                    <a:cubicBezTo>
                      <a:pt x="218362" y="515322"/>
                      <a:pt x="0" y="396081"/>
                      <a:pt x="0" y="248990"/>
                    </a:cubicBezTo>
                    <a:cubicBezTo>
                      <a:pt x="0" y="198934"/>
                      <a:pt x="25288" y="152104"/>
                      <a:pt x="70263" y="113194"/>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453">
                  <a:defRPr/>
                </a:pPr>
                <a:endParaRPr lang="en-US" sz="1700" kern="0" dirty="0">
                  <a:gradFill>
                    <a:gsLst>
                      <a:gs pos="0">
                        <a:srgbClr val="FFFFFF"/>
                      </a:gs>
                      <a:gs pos="100000">
                        <a:srgbClr val="FFFFFF"/>
                      </a:gs>
                    </a:gsLst>
                    <a:lin ang="5400000" scaled="0"/>
                  </a:gradFill>
                </a:endParaRPr>
              </a:p>
            </p:txBody>
          </p:sp>
          <p:sp>
            <p:nvSpPr>
              <p:cNvPr id="46" name="Rounded Rectangle 13"/>
              <p:cNvSpPr/>
              <p:nvPr/>
            </p:nvSpPr>
            <p:spPr bwMode="auto">
              <a:xfrm>
                <a:off x="6127751" y="3705224"/>
                <a:ext cx="1375517" cy="1241421"/>
              </a:xfrm>
              <a:custGeom>
                <a:avLst/>
                <a:gdLst/>
                <a:ahLst/>
                <a:cxnLst/>
                <a:rect l="l" t="t" r="r" b="b"/>
                <a:pathLst>
                  <a:path w="1375518" h="1241425">
                    <a:moveTo>
                      <a:pt x="880211" y="0"/>
                    </a:moveTo>
                    <a:lnTo>
                      <a:pt x="1125002" y="0"/>
                    </a:lnTo>
                    <a:cubicBezTo>
                      <a:pt x="1202113" y="0"/>
                      <a:pt x="1271265" y="34077"/>
                      <a:pt x="1317403" y="88704"/>
                    </a:cubicBezTo>
                    <a:cubicBezTo>
                      <a:pt x="1244331" y="103169"/>
                      <a:pt x="1190628" y="168346"/>
                      <a:pt x="1190628" y="246066"/>
                    </a:cubicBezTo>
                    <a:lnTo>
                      <a:pt x="1190628" y="708029"/>
                    </a:lnTo>
                    <a:lnTo>
                      <a:pt x="929175" y="708029"/>
                    </a:lnTo>
                    <a:lnTo>
                      <a:pt x="803618" y="172438"/>
                    </a:lnTo>
                    <a:close/>
                    <a:moveTo>
                      <a:pt x="481554" y="0"/>
                    </a:moveTo>
                    <a:lnTo>
                      <a:pt x="726347" y="0"/>
                    </a:lnTo>
                    <a:lnTo>
                      <a:pt x="802940" y="172436"/>
                    </a:lnTo>
                    <a:lnTo>
                      <a:pt x="674361" y="720915"/>
                    </a:lnTo>
                    <a:cubicBezTo>
                      <a:pt x="614856" y="745801"/>
                      <a:pt x="573090" y="804586"/>
                      <a:pt x="573090" y="873128"/>
                    </a:cubicBezTo>
                    <a:cubicBezTo>
                      <a:pt x="573090" y="964310"/>
                      <a:pt x="647007" y="1038227"/>
                      <a:pt x="738189" y="1038227"/>
                    </a:cubicBezTo>
                    <a:lnTo>
                      <a:pt x="1375518" y="1038227"/>
                    </a:lnTo>
                    <a:cubicBezTo>
                      <a:pt x="1351252" y="1154299"/>
                      <a:pt x="1248302" y="1241425"/>
                      <a:pt x="1125002" y="1241425"/>
                    </a:cubicBezTo>
                    <a:lnTo>
                      <a:pt x="481554" y="1241425"/>
                    </a:lnTo>
                    <a:cubicBezTo>
                      <a:pt x="358254" y="1241425"/>
                      <a:pt x="255302" y="1154298"/>
                      <a:pt x="231037" y="1038224"/>
                    </a:cubicBezTo>
                    <a:lnTo>
                      <a:pt x="165099" y="1038224"/>
                    </a:lnTo>
                    <a:cubicBezTo>
                      <a:pt x="73917" y="1038224"/>
                      <a:pt x="0" y="964307"/>
                      <a:pt x="0" y="873125"/>
                    </a:cubicBezTo>
                    <a:cubicBezTo>
                      <a:pt x="0" y="781943"/>
                      <a:pt x="73917" y="708026"/>
                      <a:pt x="165099" y="708026"/>
                    </a:cubicBezTo>
                    <a:lnTo>
                      <a:pt x="225428" y="708026"/>
                    </a:lnTo>
                    <a:lnTo>
                      <a:pt x="225428" y="256126"/>
                    </a:lnTo>
                    <a:cubicBezTo>
                      <a:pt x="225428" y="114672"/>
                      <a:pt x="340100" y="0"/>
                      <a:pt x="481554" y="0"/>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453">
                  <a:defRPr/>
                </a:pPr>
                <a:endParaRPr lang="en-US" sz="1700" kern="0" dirty="0">
                  <a:gradFill>
                    <a:gsLst>
                      <a:gs pos="0">
                        <a:srgbClr val="FFFFFF"/>
                      </a:gs>
                      <a:gs pos="100000">
                        <a:srgbClr val="FFFFFF"/>
                      </a:gs>
                    </a:gsLst>
                    <a:lin ang="5400000" scaled="0"/>
                  </a:gradFill>
                </a:endParaRPr>
              </a:p>
            </p:txBody>
          </p:sp>
          <p:sp>
            <p:nvSpPr>
              <p:cNvPr id="47" name="Oval 46"/>
              <p:cNvSpPr/>
              <p:nvPr/>
            </p:nvSpPr>
            <p:spPr bwMode="auto">
              <a:xfrm>
                <a:off x="6524624" y="2779521"/>
                <a:ext cx="835026" cy="835024"/>
              </a:xfrm>
              <a:prstGeom prst="ellipse">
                <a:avLst/>
              </a:pr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453">
                  <a:defRPr/>
                </a:pPr>
                <a:endParaRPr lang="en-US" sz="1700" kern="0" dirty="0">
                  <a:gradFill>
                    <a:gsLst>
                      <a:gs pos="0">
                        <a:srgbClr val="FFFFFF"/>
                      </a:gs>
                      <a:gs pos="100000">
                        <a:srgbClr val="FFFFFF"/>
                      </a:gs>
                    </a:gsLst>
                    <a:lin ang="5400000" scaled="0"/>
                  </a:gradFill>
                </a:endParaRPr>
              </a:p>
            </p:txBody>
          </p:sp>
          <p:sp>
            <p:nvSpPr>
              <p:cNvPr id="48" name="Rounded Rectangle 14"/>
              <p:cNvSpPr/>
              <p:nvPr/>
            </p:nvSpPr>
            <p:spPr bwMode="auto">
              <a:xfrm>
                <a:off x="6740523" y="3829049"/>
                <a:ext cx="869953" cy="874713"/>
              </a:xfrm>
              <a:custGeom>
                <a:avLst/>
                <a:gdLst>
                  <a:gd name="connsiteX0" fmla="*/ 744540 w 869954"/>
                  <a:gd name="connsiteY0" fmla="*/ 0 h 874713"/>
                  <a:gd name="connsiteX1" fmla="*/ 869954 w 869954"/>
                  <a:gd name="connsiteY1" fmla="*/ 125414 h 874713"/>
                  <a:gd name="connsiteX2" fmla="*/ 869953 w 869954"/>
                  <a:gd name="connsiteY2" fmla="*/ 706437 h 874713"/>
                  <a:gd name="connsiteX3" fmla="*/ 869952 w 869954"/>
                  <a:gd name="connsiteY3" fmla="*/ 749299 h 874713"/>
                  <a:gd name="connsiteX4" fmla="*/ 744538 w 869954"/>
                  <a:gd name="connsiteY4" fmla="*/ 874713 h 874713"/>
                  <a:gd name="connsiteX5" fmla="*/ 125414 w 869954"/>
                  <a:gd name="connsiteY5" fmla="*/ 874712 h 874713"/>
                  <a:gd name="connsiteX6" fmla="*/ 0 w 869954"/>
                  <a:gd name="connsiteY6" fmla="*/ 749298 h 874713"/>
                  <a:gd name="connsiteX7" fmla="*/ 1 w 869954"/>
                  <a:gd name="connsiteY7" fmla="*/ 749299 h 874713"/>
                  <a:gd name="connsiteX8" fmla="*/ 125415 w 869954"/>
                  <a:gd name="connsiteY8" fmla="*/ 623885 h 874713"/>
                  <a:gd name="connsiteX9" fmla="*/ 619126 w 869954"/>
                  <a:gd name="connsiteY9" fmla="*/ 623885 h 874713"/>
                  <a:gd name="connsiteX10" fmla="*/ 619126 w 869954"/>
                  <a:gd name="connsiteY10" fmla="*/ 125414 h 874713"/>
                  <a:gd name="connsiteX11" fmla="*/ 744540 w 869954"/>
                  <a:gd name="connsiteY11" fmla="*/ 0 h 8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9954" h="874713">
                    <a:moveTo>
                      <a:pt x="744540" y="0"/>
                    </a:moveTo>
                    <a:cubicBezTo>
                      <a:pt x="813804" y="0"/>
                      <a:pt x="869954" y="56150"/>
                      <a:pt x="869954" y="125414"/>
                    </a:cubicBezTo>
                    <a:cubicBezTo>
                      <a:pt x="869954" y="319088"/>
                      <a:pt x="869953" y="512763"/>
                      <a:pt x="869953" y="706437"/>
                    </a:cubicBezTo>
                    <a:cubicBezTo>
                      <a:pt x="869953" y="720724"/>
                      <a:pt x="869952" y="735012"/>
                      <a:pt x="869952" y="749299"/>
                    </a:cubicBezTo>
                    <a:cubicBezTo>
                      <a:pt x="869952" y="818563"/>
                      <a:pt x="813802" y="874713"/>
                      <a:pt x="744538" y="874713"/>
                    </a:cubicBezTo>
                    <a:lnTo>
                      <a:pt x="125414" y="874712"/>
                    </a:lnTo>
                    <a:cubicBezTo>
                      <a:pt x="56150" y="874712"/>
                      <a:pt x="0" y="818562"/>
                      <a:pt x="0" y="749298"/>
                    </a:cubicBezTo>
                    <a:lnTo>
                      <a:pt x="1" y="749299"/>
                    </a:lnTo>
                    <a:cubicBezTo>
                      <a:pt x="1" y="680035"/>
                      <a:pt x="56151" y="623885"/>
                      <a:pt x="125415" y="623885"/>
                    </a:cubicBezTo>
                    <a:lnTo>
                      <a:pt x="619126" y="623885"/>
                    </a:lnTo>
                    <a:lnTo>
                      <a:pt x="619126" y="125414"/>
                    </a:lnTo>
                    <a:cubicBezTo>
                      <a:pt x="619126" y="56150"/>
                      <a:pt x="675276" y="0"/>
                      <a:pt x="744540" y="0"/>
                    </a:cubicBezTo>
                    <a:close/>
                  </a:path>
                </a:pathLst>
              </a:custGeom>
              <a:grp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453">
                  <a:defRPr/>
                </a:pPr>
                <a:endParaRPr lang="en-US" sz="1700" kern="0" dirty="0">
                  <a:gradFill>
                    <a:gsLst>
                      <a:gs pos="0">
                        <a:srgbClr val="FFFFFF"/>
                      </a:gs>
                      <a:gs pos="100000">
                        <a:srgbClr val="FFFFFF"/>
                      </a:gs>
                    </a:gsLst>
                    <a:lin ang="5400000" scaled="0"/>
                  </a:gradFill>
                </a:endParaRPr>
              </a:p>
            </p:txBody>
          </p:sp>
        </p:grpSp>
      </p:grpSp>
      <p:sp>
        <p:nvSpPr>
          <p:cNvPr id="11" name="Rectangle 10"/>
          <p:cNvSpPr/>
          <p:nvPr/>
        </p:nvSpPr>
        <p:spPr>
          <a:xfrm>
            <a:off x="2982685" y="1157289"/>
            <a:ext cx="5732690" cy="3395663"/>
          </a:xfrm>
          <a:prstGeom prst="rect">
            <a:avLst/>
          </a:prstGeom>
          <a:noFill/>
          <a:ln w="3175">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IN" dirty="0" smtClean="0">
              <a:solidFill>
                <a:srgbClr val="FFFFFF"/>
              </a:solidFill>
            </a:endParaRPr>
          </a:p>
        </p:txBody>
      </p:sp>
      <p:grpSp>
        <p:nvGrpSpPr>
          <p:cNvPr id="18" name="Group 6"/>
          <p:cNvGrpSpPr/>
          <p:nvPr/>
        </p:nvGrpSpPr>
        <p:grpSpPr>
          <a:xfrm>
            <a:off x="437767" y="1334738"/>
            <a:ext cx="2464538" cy="996828"/>
            <a:chOff x="583688" y="1779650"/>
            <a:chExt cx="3286051" cy="1329104"/>
          </a:xfrm>
        </p:grpSpPr>
        <p:sp>
          <p:nvSpPr>
            <p:cNvPr id="4" name="Rectangle 9"/>
            <p:cNvSpPr/>
            <p:nvPr/>
          </p:nvSpPr>
          <p:spPr>
            <a:xfrm>
              <a:off x="1454061" y="1785315"/>
              <a:ext cx="2415678" cy="1323439"/>
            </a:xfrm>
            <a:prstGeom prst="rect">
              <a:avLst/>
            </a:prstGeom>
            <a:noFill/>
          </p:spPr>
          <p:txBody>
            <a:bodyPr wrap="square" anchor="t">
              <a:noAutofit/>
            </a:bodyPr>
            <a:lstStyle/>
            <a:p>
              <a:pPr>
                <a:spcAft>
                  <a:spcPts val="225"/>
                </a:spcAft>
              </a:pPr>
              <a:r>
                <a:rPr lang="ja-JP" altLang="en-US" sz="900" dirty="0">
                  <a:solidFill>
                    <a:srgbClr val="676767"/>
                  </a:solidFill>
                </a:rPr>
                <a:t>ウェブからの直接攻撃に対する</a:t>
              </a:r>
              <a:r>
                <a:rPr lang="en-US" altLang="ja-JP" sz="900" dirty="0">
                  <a:solidFill>
                    <a:srgbClr val="676767"/>
                  </a:solidFill>
                </a:rPr>
                <a:t/>
              </a:r>
              <a:br>
                <a:rPr lang="en-US" altLang="ja-JP" sz="900" dirty="0">
                  <a:solidFill>
                    <a:srgbClr val="676767"/>
                  </a:solidFill>
                </a:rPr>
              </a:br>
              <a:r>
                <a:rPr lang="ja-JP" altLang="en-US" sz="900" b="1" dirty="0">
                  <a:solidFill>
                    <a:schemeClr val="tx2">
                      <a:lumMod val="75000"/>
                    </a:schemeClr>
                  </a:solidFill>
                </a:rPr>
                <a:t>防御の向上</a:t>
              </a:r>
              <a:r>
                <a:rPr lang="en-US" sz="900" dirty="0">
                  <a:solidFill>
                    <a:srgbClr val="676767"/>
                  </a:solidFill>
                </a:rPr>
                <a:t>:</a:t>
              </a:r>
            </a:p>
            <a:p>
              <a:pPr marL="216694" indent="-128588">
                <a:spcAft>
                  <a:spcPts val="225"/>
                </a:spcAft>
                <a:buFont typeface="Arial" panose="020B0604020202020204" pitchFamily="34" charset="0"/>
                <a:buChar char="•"/>
              </a:pPr>
              <a:r>
                <a:rPr lang="ja-JP" altLang="en-US" sz="900" dirty="0">
                  <a:solidFill>
                    <a:srgbClr val="676767"/>
                  </a:solidFill>
                </a:rPr>
                <a:t>ファイルレピュテーション</a:t>
              </a:r>
              <a:endParaRPr lang="en-US" sz="900" dirty="0">
                <a:solidFill>
                  <a:srgbClr val="676767"/>
                </a:solidFill>
              </a:endParaRPr>
            </a:p>
            <a:p>
              <a:pPr marL="216694" indent="-128588">
                <a:spcAft>
                  <a:spcPts val="225"/>
                </a:spcAft>
                <a:buFont typeface="Arial" panose="020B0604020202020204" pitchFamily="34" charset="0"/>
                <a:buChar char="•"/>
              </a:pPr>
              <a:r>
                <a:rPr lang="ja-JP" altLang="en-US" sz="900" dirty="0">
                  <a:solidFill>
                    <a:srgbClr val="676767"/>
                  </a:solidFill>
                </a:rPr>
                <a:t>ダイナミックマルウェア解析</a:t>
              </a:r>
              <a:endParaRPr lang="en-US" sz="900" dirty="0">
                <a:solidFill>
                  <a:srgbClr val="676767"/>
                </a:solidFill>
              </a:endParaRPr>
            </a:p>
            <a:p>
              <a:pPr marL="216694" indent="-128588">
                <a:spcAft>
                  <a:spcPts val="225"/>
                </a:spcAft>
                <a:buFont typeface="Arial" panose="020B0604020202020204" pitchFamily="34" charset="0"/>
                <a:buChar char="•"/>
              </a:pPr>
              <a:r>
                <a:rPr lang="ja-JP" altLang="en-US" sz="900" dirty="0">
                  <a:solidFill>
                    <a:srgbClr val="676767"/>
                  </a:solidFill>
                </a:rPr>
                <a:t>ファイルレトロスペクティブ</a:t>
              </a:r>
              <a:endParaRPr lang="en-IN" sz="800" dirty="0">
                <a:solidFill>
                  <a:srgbClr val="676767"/>
                </a:solidFill>
              </a:endParaRPr>
            </a:p>
          </p:txBody>
        </p:sp>
        <p:grpSp>
          <p:nvGrpSpPr>
            <p:cNvPr id="15" name="Group 11"/>
            <p:cNvGrpSpPr/>
            <p:nvPr/>
          </p:nvGrpSpPr>
          <p:grpSpPr>
            <a:xfrm>
              <a:off x="583688" y="1779650"/>
              <a:ext cx="856365" cy="856365"/>
              <a:chOff x="583688" y="1779650"/>
              <a:chExt cx="856365" cy="856365"/>
            </a:xfrm>
          </p:grpSpPr>
          <p:sp>
            <p:nvSpPr>
              <p:cNvPr id="6" name="Oval 12"/>
              <p:cNvSpPr/>
              <p:nvPr/>
            </p:nvSpPr>
            <p:spPr>
              <a:xfrm>
                <a:off x="583688" y="1779650"/>
                <a:ext cx="856365" cy="856365"/>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ctr"/>
                <a:r>
                  <a:rPr lang="en-US" sz="1200" b="1" dirty="0" smtClean="0">
                    <a:solidFill>
                      <a:srgbClr val="FFFFFF"/>
                    </a:solidFill>
                  </a:rPr>
                  <a:t>AMP</a:t>
                </a:r>
              </a:p>
            </p:txBody>
          </p:sp>
          <p:sp>
            <p:nvSpPr>
              <p:cNvPr id="75" name="Freeform 13"/>
              <p:cNvSpPr>
                <a:spLocks noEditPoints="1"/>
              </p:cNvSpPr>
              <p:nvPr/>
            </p:nvSpPr>
            <p:spPr bwMode="auto">
              <a:xfrm>
                <a:off x="787528" y="2229730"/>
                <a:ext cx="448684" cy="166830"/>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67" tIns="60933" rIns="121867" bIns="60933"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US" sz="1000">
                  <a:solidFill>
                    <a:srgbClr val="FFFFFF"/>
                  </a:solidFill>
                </a:endParaRPr>
              </a:p>
            </p:txBody>
          </p:sp>
        </p:grpSp>
      </p:grpSp>
      <p:sp>
        <p:nvSpPr>
          <p:cNvPr id="8" name="Isosceles Triangle 7"/>
          <p:cNvSpPr/>
          <p:nvPr/>
        </p:nvSpPr>
        <p:spPr>
          <a:xfrm rot="10800000">
            <a:off x="6540042" y="2848176"/>
            <a:ext cx="922356" cy="571229"/>
          </a:xfrm>
          <a:prstGeom prst="triangle">
            <a:avLst/>
          </a:prstGeom>
          <a:gradFill flip="none" rotWithShape="1">
            <a:gsLst>
              <a:gs pos="0">
                <a:srgbClr val="676767"/>
              </a:gs>
              <a:gs pos="100000">
                <a:schemeClr val="bg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solidFill>
                <a:srgbClr val="FFFFFF"/>
              </a:solidFill>
            </a:endParaRPr>
          </a:p>
        </p:txBody>
      </p:sp>
      <p:sp>
        <p:nvSpPr>
          <p:cNvPr id="3" name="TextBox 2"/>
          <p:cNvSpPr txBox="1"/>
          <p:nvPr/>
        </p:nvSpPr>
        <p:spPr>
          <a:xfrm>
            <a:off x="6610646" y="2774891"/>
            <a:ext cx="781157" cy="307777"/>
          </a:xfrm>
          <a:prstGeom prst="rect">
            <a:avLst/>
          </a:prstGeom>
          <a:noFill/>
        </p:spPr>
        <p:txBody>
          <a:bodyPr wrap="none" lIns="0" tIns="0" rIns="0" bIns="0" rtlCol="0">
            <a:spAutoFit/>
          </a:bodyPr>
          <a:lstStyle/>
          <a:p>
            <a:pPr algn="ctr"/>
            <a:r>
              <a:rPr lang="en-US" sz="1100" b="1" dirty="0">
                <a:solidFill>
                  <a:srgbClr val="217EA8"/>
                </a:solidFill>
              </a:rPr>
              <a:t>STIX / TAXII </a:t>
            </a:r>
            <a:br>
              <a:rPr lang="en-US" sz="1100" b="1" dirty="0">
                <a:solidFill>
                  <a:srgbClr val="217EA8"/>
                </a:solidFill>
              </a:rPr>
            </a:br>
            <a:r>
              <a:rPr lang="en-US" sz="900" dirty="0">
                <a:solidFill>
                  <a:srgbClr val="217EA8"/>
                </a:solidFill>
              </a:rPr>
              <a:t>(APIs)</a:t>
            </a:r>
          </a:p>
        </p:txBody>
      </p:sp>
      <p:grpSp>
        <p:nvGrpSpPr>
          <p:cNvPr id="19" name="Group 23"/>
          <p:cNvGrpSpPr/>
          <p:nvPr/>
        </p:nvGrpSpPr>
        <p:grpSpPr>
          <a:xfrm>
            <a:off x="437770" y="2851053"/>
            <a:ext cx="2466517" cy="647465"/>
            <a:chOff x="583688" y="4178384"/>
            <a:chExt cx="3288689" cy="863287"/>
          </a:xfrm>
        </p:grpSpPr>
        <p:sp>
          <p:nvSpPr>
            <p:cNvPr id="84" name="Rectangle 26"/>
            <p:cNvSpPr/>
            <p:nvPr/>
          </p:nvSpPr>
          <p:spPr>
            <a:xfrm>
              <a:off x="1443752" y="4178384"/>
              <a:ext cx="2428625" cy="830997"/>
            </a:xfrm>
            <a:prstGeom prst="rect">
              <a:avLst/>
            </a:prstGeom>
            <a:noFill/>
          </p:spPr>
          <p:txBody>
            <a:bodyPr wrap="square" anchor="t">
              <a:noAutofit/>
            </a:bodyPr>
            <a:lstStyle/>
            <a:p>
              <a:pPr>
                <a:spcAft>
                  <a:spcPts val="450"/>
                </a:spcAft>
              </a:pPr>
              <a:r>
                <a:rPr lang="ja-JP" altLang="en-US" sz="900" dirty="0">
                  <a:solidFill>
                    <a:srgbClr val="676767"/>
                  </a:solidFill>
                </a:rPr>
                <a:t>異常検知とネットワークトラフィック分析による</a:t>
              </a:r>
              <a:r>
                <a:rPr lang="ja-JP" altLang="en-US" sz="900" b="1" dirty="0">
                  <a:solidFill>
                    <a:schemeClr val="accent2">
                      <a:lumMod val="75000"/>
                    </a:schemeClr>
                  </a:solidFill>
                </a:rPr>
                <a:t>不正検知</a:t>
              </a:r>
              <a:endParaRPr lang="en-US" sz="900" b="1" dirty="0">
                <a:solidFill>
                  <a:schemeClr val="accent2">
                    <a:lumMod val="75000"/>
                  </a:schemeClr>
                </a:solidFill>
              </a:endParaRPr>
            </a:p>
            <a:p>
              <a:pPr>
                <a:spcAft>
                  <a:spcPts val="225"/>
                </a:spcAft>
              </a:pPr>
              <a:r>
                <a:rPr lang="ja-JP" altLang="en-US" sz="900" dirty="0">
                  <a:solidFill>
                    <a:srgbClr val="676767"/>
                  </a:solidFill>
                </a:rPr>
                <a:t>感染したメールや</a:t>
              </a:r>
              <a:r>
                <a:rPr lang="en-US" altLang="ja-JP" sz="900" dirty="0">
                  <a:solidFill>
                    <a:srgbClr val="676767"/>
                  </a:solidFill>
                </a:rPr>
                <a:t>USB</a:t>
              </a:r>
              <a:r>
                <a:rPr lang="ja-JP" altLang="en-US" sz="900" dirty="0">
                  <a:solidFill>
                    <a:srgbClr val="676767"/>
                  </a:solidFill>
                </a:rPr>
                <a:t>メモリ、ゲストデバイス等からのウェブを介さずに感染している可能性のある</a:t>
              </a:r>
              <a:r>
                <a:rPr lang="ja-JP" altLang="en-US" sz="900" b="1" dirty="0">
                  <a:solidFill>
                    <a:schemeClr val="accent2">
                      <a:lumMod val="75000"/>
                    </a:schemeClr>
                  </a:solidFill>
                </a:rPr>
                <a:t>脅威の可視化</a:t>
              </a:r>
              <a:endParaRPr lang="en-US" sz="900" b="1" dirty="0">
                <a:solidFill>
                  <a:schemeClr val="accent2">
                    <a:lumMod val="75000"/>
                  </a:schemeClr>
                </a:solidFill>
              </a:endParaRPr>
            </a:p>
          </p:txBody>
        </p:sp>
        <p:grpSp>
          <p:nvGrpSpPr>
            <p:cNvPr id="17" name="Group 28"/>
            <p:cNvGrpSpPr/>
            <p:nvPr/>
          </p:nvGrpSpPr>
          <p:grpSpPr>
            <a:xfrm>
              <a:off x="583688" y="4185306"/>
              <a:ext cx="856365" cy="856365"/>
              <a:chOff x="583688" y="4185306"/>
              <a:chExt cx="856365" cy="856365"/>
            </a:xfrm>
          </p:grpSpPr>
          <p:sp>
            <p:nvSpPr>
              <p:cNvPr id="74" name="Oval 29"/>
              <p:cNvSpPr/>
              <p:nvPr/>
            </p:nvSpPr>
            <p:spPr>
              <a:xfrm>
                <a:off x="583688" y="4185306"/>
                <a:ext cx="856365" cy="856365"/>
              </a:xfrm>
              <a:prstGeom prst="ellipse">
                <a:avLst/>
              </a:prstGeom>
              <a:solidFill>
                <a:srgbClr val="217EA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ctr"/>
                <a:r>
                  <a:rPr lang="en-US" sz="1400" b="1" dirty="0" smtClean="0">
                    <a:solidFill>
                      <a:srgbClr val="FFFFFF"/>
                    </a:solidFill>
                  </a:rPr>
                  <a:t>CTA</a:t>
                </a:r>
              </a:p>
            </p:txBody>
          </p:sp>
          <p:grpSp>
            <p:nvGrpSpPr>
              <p:cNvPr id="102" name="Group 30"/>
              <p:cNvGrpSpPr>
                <a:grpSpLocks noChangeAspect="1"/>
              </p:cNvGrpSpPr>
              <p:nvPr/>
            </p:nvGrpSpPr>
            <p:grpSpPr>
              <a:xfrm>
                <a:off x="917112" y="4646826"/>
                <a:ext cx="239210" cy="309486"/>
                <a:chOff x="12249151" y="6053138"/>
                <a:chExt cx="323850" cy="419100"/>
              </a:xfrm>
              <a:solidFill>
                <a:sysClr val="window" lastClr="FFFFFF"/>
              </a:solidFill>
            </p:grpSpPr>
            <p:sp>
              <p:nvSpPr>
                <p:cNvPr id="103" name="Freeform 164"/>
                <p:cNvSpPr>
                  <a:spLocks noEditPoints="1"/>
                </p:cNvSpPr>
                <p:nvPr/>
              </p:nvSpPr>
              <p:spPr bwMode="auto">
                <a:xfrm>
                  <a:off x="12430126" y="6151563"/>
                  <a:ext cx="42863" cy="42863"/>
                </a:xfrm>
                <a:custGeom>
                  <a:avLst/>
                  <a:gdLst>
                    <a:gd name="T0" fmla="*/ 147 w 191"/>
                    <a:gd name="T1" fmla="*/ 15 h 191"/>
                    <a:gd name="T2" fmla="*/ 130 w 191"/>
                    <a:gd name="T3" fmla="*/ 6 h 191"/>
                    <a:gd name="T4" fmla="*/ 112 w 191"/>
                    <a:gd name="T5" fmla="*/ 1 h 191"/>
                    <a:gd name="T6" fmla="*/ 94 w 191"/>
                    <a:gd name="T7" fmla="*/ 0 h 191"/>
                    <a:gd name="T8" fmla="*/ 75 w 191"/>
                    <a:gd name="T9" fmla="*/ 2 h 191"/>
                    <a:gd name="T10" fmla="*/ 58 w 191"/>
                    <a:gd name="T11" fmla="*/ 8 h 191"/>
                    <a:gd name="T12" fmla="*/ 42 w 191"/>
                    <a:gd name="T13" fmla="*/ 16 h 191"/>
                    <a:gd name="T14" fmla="*/ 27 w 191"/>
                    <a:gd name="T15" fmla="*/ 29 h 191"/>
                    <a:gd name="T16" fmla="*/ 15 w 191"/>
                    <a:gd name="T17" fmla="*/ 44 h 191"/>
                    <a:gd name="T18" fmla="*/ 10 w 191"/>
                    <a:gd name="T19" fmla="*/ 52 h 191"/>
                    <a:gd name="T20" fmla="*/ 4 w 191"/>
                    <a:gd name="T21" fmla="*/ 70 h 191"/>
                    <a:gd name="T22" fmla="*/ 0 w 191"/>
                    <a:gd name="T23" fmla="*/ 89 h 191"/>
                    <a:gd name="T24" fmla="*/ 1 w 191"/>
                    <a:gd name="T25" fmla="*/ 107 h 191"/>
                    <a:gd name="T26" fmla="*/ 5 w 191"/>
                    <a:gd name="T27" fmla="*/ 125 h 191"/>
                    <a:gd name="T28" fmla="*/ 12 w 191"/>
                    <a:gd name="T29" fmla="*/ 142 h 191"/>
                    <a:gd name="T30" fmla="*/ 22 w 191"/>
                    <a:gd name="T31" fmla="*/ 157 h 191"/>
                    <a:gd name="T32" fmla="*/ 37 w 191"/>
                    <a:gd name="T33" fmla="*/ 171 h 191"/>
                    <a:gd name="T34" fmla="*/ 44 w 191"/>
                    <a:gd name="T35" fmla="*/ 176 h 191"/>
                    <a:gd name="T36" fmla="*/ 61 w 191"/>
                    <a:gd name="T37" fmla="*/ 185 h 191"/>
                    <a:gd name="T38" fmla="*/ 80 w 191"/>
                    <a:gd name="T39" fmla="*/ 190 h 191"/>
                    <a:gd name="T40" fmla="*/ 98 w 191"/>
                    <a:gd name="T41" fmla="*/ 191 h 191"/>
                    <a:gd name="T42" fmla="*/ 116 w 191"/>
                    <a:gd name="T43" fmla="*/ 189 h 191"/>
                    <a:gd name="T44" fmla="*/ 134 w 191"/>
                    <a:gd name="T45" fmla="*/ 183 h 191"/>
                    <a:gd name="T46" fmla="*/ 150 w 191"/>
                    <a:gd name="T47" fmla="*/ 175 h 191"/>
                    <a:gd name="T48" fmla="*/ 164 w 191"/>
                    <a:gd name="T49" fmla="*/ 162 h 191"/>
                    <a:gd name="T50" fmla="*/ 177 w 191"/>
                    <a:gd name="T51" fmla="*/ 147 h 191"/>
                    <a:gd name="T52" fmla="*/ 181 w 191"/>
                    <a:gd name="T53" fmla="*/ 139 h 191"/>
                    <a:gd name="T54" fmla="*/ 188 w 191"/>
                    <a:gd name="T55" fmla="*/ 121 h 191"/>
                    <a:gd name="T56" fmla="*/ 191 w 191"/>
                    <a:gd name="T57" fmla="*/ 102 h 191"/>
                    <a:gd name="T58" fmla="*/ 191 w 191"/>
                    <a:gd name="T59" fmla="*/ 84 h 191"/>
                    <a:gd name="T60" fmla="*/ 187 w 191"/>
                    <a:gd name="T61" fmla="*/ 66 h 191"/>
                    <a:gd name="T62" fmla="*/ 180 w 191"/>
                    <a:gd name="T63" fmla="*/ 49 h 191"/>
                    <a:gd name="T64" fmla="*/ 169 w 191"/>
                    <a:gd name="T65" fmla="*/ 34 h 191"/>
                    <a:gd name="T66" fmla="*/ 155 w 191"/>
                    <a:gd name="T67" fmla="*/ 20 h 191"/>
                    <a:gd name="T68" fmla="*/ 147 w 191"/>
                    <a:gd name="T69" fmla="*/ 15 h 191"/>
                    <a:gd name="T70" fmla="*/ 132 w 191"/>
                    <a:gd name="T71" fmla="*/ 119 h 191"/>
                    <a:gd name="T72" fmla="*/ 120 w 191"/>
                    <a:gd name="T73" fmla="*/ 131 h 191"/>
                    <a:gd name="T74" fmla="*/ 105 w 191"/>
                    <a:gd name="T75" fmla="*/ 138 h 191"/>
                    <a:gd name="T76" fmla="*/ 89 w 191"/>
                    <a:gd name="T77" fmla="*/ 138 h 191"/>
                    <a:gd name="T78" fmla="*/ 72 w 191"/>
                    <a:gd name="T79" fmla="*/ 132 h 191"/>
                    <a:gd name="T80" fmla="*/ 65 w 191"/>
                    <a:gd name="T81" fmla="*/ 127 h 191"/>
                    <a:gd name="T82" fmla="*/ 56 w 191"/>
                    <a:gd name="T83" fmla="*/ 112 h 191"/>
                    <a:gd name="T84" fmla="*/ 52 w 191"/>
                    <a:gd name="T85" fmla="*/ 97 h 191"/>
                    <a:gd name="T86" fmla="*/ 55 w 191"/>
                    <a:gd name="T87" fmla="*/ 80 h 191"/>
                    <a:gd name="T88" fmla="*/ 59 w 191"/>
                    <a:gd name="T89" fmla="*/ 72 h 191"/>
                    <a:gd name="T90" fmla="*/ 71 w 191"/>
                    <a:gd name="T91" fmla="*/ 60 h 191"/>
                    <a:gd name="T92" fmla="*/ 87 w 191"/>
                    <a:gd name="T93" fmla="*/ 53 h 191"/>
                    <a:gd name="T94" fmla="*/ 103 w 191"/>
                    <a:gd name="T95" fmla="*/ 53 h 191"/>
                    <a:gd name="T96" fmla="*/ 119 w 191"/>
                    <a:gd name="T97" fmla="*/ 59 h 191"/>
                    <a:gd name="T98" fmla="*/ 126 w 191"/>
                    <a:gd name="T99" fmla="*/ 64 h 191"/>
                    <a:gd name="T100" fmla="*/ 136 w 191"/>
                    <a:gd name="T101" fmla="*/ 79 h 191"/>
                    <a:gd name="T102" fmla="*/ 139 w 191"/>
                    <a:gd name="T103" fmla="*/ 95 h 191"/>
                    <a:gd name="T104" fmla="*/ 136 w 191"/>
                    <a:gd name="T105" fmla="*/ 111 h 191"/>
                    <a:gd name="T106" fmla="*/ 132 w 191"/>
                    <a:gd name="T107" fmla="*/ 1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1" h="191">
                      <a:moveTo>
                        <a:pt x="147" y="15"/>
                      </a:moveTo>
                      <a:lnTo>
                        <a:pt x="147" y="15"/>
                      </a:lnTo>
                      <a:lnTo>
                        <a:pt x="139" y="10"/>
                      </a:lnTo>
                      <a:lnTo>
                        <a:pt x="130" y="6"/>
                      </a:lnTo>
                      <a:lnTo>
                        <a:pt x="121" y="3"/>
                      </a:lnTo>
                      <a:lnTo>
                        <a:pt x="112" y="1"/>
                      </a:lnTo>
                      <a:lnTo>
                        <a:pt x="103" y="0"/>
                      </a:lnTo>
                      <a:lnTo>
                        <a:pt x="94" y="0"/>
                      </a:lnTo>
                      <a:lnTo>
                        <a:pt x="85" y="1"/>
                      </a:lnTo>
                      <a:lnTo>
                        <a:pt x="75" y="2"/>
                      </a:lnTo>
                      <a:lnTo>
                        <a:pt x="66" y="4"/>
                      </a:lnTo>
                      <a:lnTo>
                        <a:pt x="58" y="8"/>
                      </a:lnTo>
                      <a:lnTo>
                        <a:pt x="50" y="12"/>
                      </a:lnTo>
                      <a:lnTo>
                        <a:pt x="42" y="16"/>
                      </a:lnTo>
                      <a:lnTo>
                        <a:pt x="35" y="22"/>
                      </a:lnTo>
                      <a:lnTo>
                        <a:pt x="27" y="29"/>
                      </a:lnTo>
                      <a:lnTo>
                        <a:pt x="21" y="36"/>
                      </a:lnTo>
                      <a:lnTo>
                        <a:pt x="15" y="44"/>
                      </a:lnTo>
                      <a:lnTo>
                        <a:pt x="15" y="44"/>
                      </a:lnTo>
                      <a:lnTo>
                        <a:pt x="10" y="52"/>
                      </a:lnTo>
                      <a:lnTo>
                        <a:pt x="6" y="61"/>
                      </a:lnTo>
                      <a:lnTo>
                        <a:pt x="4" y="70"/>
                      </a:lnTo>
                      <a:lnTo>
                        <a:pt x="2" y="80"/>
                      </a:lnTo>
                      <a:lnTo>
                        <a:pt x="0" y="89"/>
                      </a:lnTo>
                      <a:lnTo>
                        <a:pt x="0" y="98"/>
                      </a:lnTo>
                      <a:lnTo>
                        <a:pt x="1" y="107"/>
                      </a:lnTo>
                      <a:lnTo>
                        <a:pt x="2" y="116"/>
                      </a:lnTo>
                      <a:lnTo>
                        <a:pt x="5" y="125"/>
                      </a:lnTo>
                      <a:lnTo>
                        <a:pt x="8" y="134"/>
                      </a:lnTo>
                      <a:lnTo>
                        <a:pt x="12" y="142"/>
                      </a:lnTo>
                      <a:lnTo>
                        <a:pt x="17" y="150"/>
                      </a:lnTo>
                      <a:lnTo>
                        <a:pt x="22" y="157"/>
                      </a:lnTo>
                      <a:lnTo>
                        <a:pt x="28" y="165"/>
                      </a:lnTo>
                      <a:lnTo>
                        <a:pt x="37" y="171"/>
                      </a:lnTo>
                      <a:lnTo>
                        <a:pt x="44" y="176"/>
                      </a:lnTo>
                      <a:lnTo>
                        <a:pt x="44" y="176"/>
                      </a:lnTo>
                      <a:lnTo>
                        <a:pt x="53" y="181"/>
                      </a:lnTo>
                      <a:lnTo>
                        <a:pt x="61" y="185"/>
                      </a:lnTo>
                      <a:lnTo>
                        <a:pt x="70" y="188"/>
                      </a:lnTo>
                      <a:lnTo>
                        <a:pt x="80" y="190"/>
                      </a:lnTo>
                      <a:lnTo>
                        <a:pt x="89" y="191"/>
                      </a:lnTo>
                      <a:lnTo>
                        <a:pt x="98" y="191"/>
                      </a:lnTo>
                      <a:lnTo>
                        <a:pt x="107" y="190"/>
                      </a:lnTo>
                      <a:lnTo>
                        <a:pt x="116" y="189"/>
                      </a:lnTo>
                      <a:lnTo>
                        <a:pt x="126" y="187"/>
                      </a:lnTo>
                      <a:lnTo>
                        <a:pt x="134" y="183"/>
                      </a:lnTo>
                      <a:lnTo>
                        <a:pt x="142" y="179"/>
                      </a:lnTo>
                      <a:lnTo>
                        <a:pt x="150" y="175"/>
                      </a:lnTo>
                      <a:lnTo>
                        <a:pt x="157" y="169"/>
                      </a:lnTo>
                      <a:lnTo>
                        <a:pt x="164" y="162"/>
                      </a:lnTo>
                      <a:lnTo>
                        <a:pt x="171" y="155"/>
                      </a:lnTo>
                      <a:lnTo>
                        <a:pt x="177" y="147"/>
                      </a:lnTo>
                      <a:lnTo>
                        <a:pt x="177" y="147"/>
                      </a:lnTo>
                      <a:lnTo>
                        <a:pt x="181" y="139"/>
                      </a:lnTo>
                      <a:lnTo>
                        <a:pt x="185" y="130"/>
                      </a:lnTo>
                      <a:lnTo>
                        <a:pt x="188" y="121"/>
                      </a:lnTo>
                      <a:lnTo>
                        <a:pt x="190" y="111"/>
                      </a:lnTo>
                      <a:lnTo>
                        <a:pt x="191" y="102"/>
                      </a:lnTo>
                      <a:lnTo>
                        <a:pt x="191" y="93"/>
                      </a:lnTo>
                      <a:lnTo>
                        <a:pt x="191" y="84"/>
                      </a:lnTo>
                      <a:lnTo>
                        <a:pt x="189" y="76"/>
                      </a:lnTo>
                      <a:lnTo>
                        <a:pt x="187" y="66"/>
                      </a:lnTo>
                      <a:lnTo>
                        <a:pt x="184" y="57"/>
                      </a:lnTo>
                      <a:lnTo>
                        <a:pt x="180" y="49"/>
                      </a:lnTo>
                      <a:lnTo>
                        <a:pt x="175" y="42"/>
                      </a:lnTo>
                      <a:lnTo>
                        <a:pt x="169" y="34"/>
                      </a:lnTo>
                      <a:lnTo>
                        <a:pt x="162" y="27"/>
                      </a:lnTo>
                      <a:lnTo>
                        <a:pt x="155" y="20"/>
                      </a:lnTo>
                      <a:lnTo>
                        <a:pt x="147" y="15"/>
                      </a:lnTo>
                      <a:lnTo>
                        <a:pt x="147" y="15"/>
                      </a:lnTo>
                      <a:close/>
                      <a:moveTo>
                        <a:pt x="132" y="119"/>
                      </a:moveTo>
                      <a:lnTo>
                        <a:pt x="132" y="119"/>
                      </a:lnTo>
                      <a:lnTo>
                        <a:pt x="127" y="126"/>
                      </a:lnTo>
                      <a:lnTo>
                        <a:pt x="120" y="131"/>
                      </a:lnTo>
                      <a:lnTo>
                        <a:pt x="113" y="135"/>
                      </a:lnTo>
                      <a:lnTo>
                        <a:pt x="105" y="138"/>
                      </a:lnTo>
                      <a:lnTo>
                        <a:pt x="97" y="139"/>
                      </a:lnTo>
                      <a:lnTo>
                        <a:pt x="89" y="138"/>
                      </a:lnTo>
                      <a:lnTo>
                        <a:pt x="81" y="136"/>
                      </a:lnTo>
                      <a:lnTo>
                        <a:pt x="72" y="132"/>
                      </a:lnTo>
                      <a:lnTo>
                        <a:pt x="72" y="132"/>
                      </a:lnTo>
                      <a:lnTo>
                        <a:pt x="65" y="127"/>
                      </a:lnTo>
                      <a:lnTo>
                        <a:pt x="60" y="121"/>
                      </a:lnTo>
                      <a:lnTo>
                        <a:pt x="56" y="112"/>
                      </a:lnTo>
                      <a:lnTo>
                        <a:pt x="53" y="105"/>
                      </a:lnTo>
                      <a:lnTo>
                        <a:pt x="52" y="97"/>
                      </a:lnTo>
                      <a:lnTo>
                        <a:pt x="53" y="88"/>
                      </a:lnTo>
                      <a:lnTo>
                        <a:pt x="55" y="80"/>
                      </a:lnTo>
                      <a:lnTo>
                        <a:pt x="59" y="72"/>
                      </a:lnTo>
                      <a:lnTo>
                        <a:pt x="59" y="72"/>
                      </a:lnTo>
                      <a:lnTo>
                        <a:pt x="65" y="65"/>
                      </a:lnTo>
                      <a:lnTo>
                        <a:pt x="71" y="60"/>
                      </a:lnTo>
                      <a:lnTo>
                        <a:pt x="78" y="56"/>
                      </a:lnTo>
                      <a:lnTo>
                        <a:pt x="87" y="53"/>
                      </a:lnTo>
                      <a:lnTo>
                        <a:pt x="95" y="52"/>
                      </a:lnTo>
                      <a:lnTo>
                        <a:pt x="103" y="53"/>
                      </a:lnTo>
                      <a:lnTo>
                        <a:pt x="111" y="55"/>
                      </a:lnTo>
                      <a:lnTo>
                        <a:pt x="119" y="59"/>
                      </a:lnTo>
                      <a:lnTo>
                        <a:pt x="119" y="59"/>
                      </a:lnTo>
                      <a:lnTo>
                        <a:pt x="126" y="64"/>
                      </a:lnTo>
                      <a:lnTo>
                        <a:pt x="132" y="71"/>
                      </a:lnTo>
                      <a:lnTo>
                        <a:pt x="136" y="79"/>
                      </a:lnTo>
                      <a:lnTo>
                        <a:pt x="138" y="87"/>
                      </a:lnTo>
                      <a:lnTo>
                        <a:pt x="139" y="95"/>
                      </a:lnTo>
                      <a:lnTo>
                        <a:pt x="138" y="103"/>
                      </a:lnTo>
                      <a:lnTo>
                        <a:pt x="136" y="111"/>
                      </a:lnTo>
                      <a:lnTo>
                        <a:pt x="132" y="119"/>
                      </a:lnTo>
                      <a:lnTo>
                        <a:pt x="132"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4264">
                    <a:defRPr/>
                  </a:pPr>
                  <a:endParaRPr lang="en-US" sz="600" kern="0">
                    <a:solidFill>
                      <a:srgbClr val="1A315D">
                        <a:lumMod val="50000"/>
                      </a:srgbClr>
                    </a:solidFill>
                  </a:endParaRPr>
                </a:p>
              </p:txBody>
            </p:sp>
            <p:sp>
              <p:nvSpPr>
                <p:cNvPr id="104" name="Freeform 165"/>
                <p:cNvSpPr>
                  <a:spLocks noEditPoints="1"/>
                </p:cNvSpPr>
                <p:nvPr/>
              </p:nvSpPr>
              <p:spPr bwMode="auto">
                <a:xfrm>
                  <a:off x="12303126" y="6183313"/>
                  <a:ext cx="63500" cy="63500"/>
                </a:xfrm>
                <a:custGeom>
                  <a:avLst/>
                  <a:gdLst>
                    <a:gd name="T0" fmla="*/ 126 w 281"/>
                    <a:gd name="T1" fmla="*/ 1 h 280"/>
                    <a:gd name="T2" fmla="*/ 86 w 281"/>
                    <a:gd name="T3" fmla="*/ 11 h 280"/>
                    <a:gd name="T4" fmla="*/ 51 w 281"/>
                    <a:gd name="T5" fmla="*/ 32 h 280"/>
                    <a:gd name="T6" fmla="*/ 24 w 281"/>
                    <a:gd name="T7" fmla="*/ 62 h 280"/>
                    <a:gd name="T8" fmla="*/ 6 w 281"/>
                    <a:gd name="T9" fmla="*/ 98 h 280"/>
                    <a:gd name="T10" fmla="*/ 0 w 281"/>
                    <a:gd name="T11" fmla="*/ 140 h 280"/>
                    <a:gd name="T12" fmla="*/ 3 w 281"/>
                    <a:gd name="T13" fmla="*/ 169 h 280"/>
                    <a:gd name="T14" fmla="*/ 17 w 281"/>
                    <a:gd name="T15" fmla="*/ 207 h 280"/>
                    <a:gd name="T16" fmla="*/ 41 w 281"/>
                    <a:gd name="T17" fmla="*/ 239 h 280"/>
                    <a:gd name="T18" fmla="*/ 74 w 281"/>
                    <a:gd name="T19" fmla="*/ 263 h 280"/>
                    <a:gd name="T20" fmla="*/ 112 w 281"/>
                    <a:gd name="T21" fmla="*/ 277 h 280"/>
                    <a:gd name="T22" fmla="*/ 140 w 281"/>
                    <a:gd name="T23" fmla="*/ 280 h 280"/>
                    <a:gd name="T24" fmla="*/ 181 w 281"/>
                    <a:gd name="T25" fmla="*/ 274 h 280"/>
                    <a:gd name="T26" fmla="*/ 218 w 281"/>
                    <a:gd name="T27" fmla="*/ 256 h 280"/>
                    <a:gd name="T28" fmla="*/ 248 w 281"/>
                    <a:gd name="T29" fmla="*/ 229 h 280"/>
                    <a:gd name="T30" fmla="*/ 269 w 281"/>
                    <a:gd name="T31" fmla="*/ 194 h 280"/>
                    <a:gd name="T32" fmla="*/ 280 w 281"/>
                    <a:gd name="T33" fmla="*/ 154 h 280"/>
                    <a:gd name="T34" fmla="*/ 280 w 281"/>
                    <a:gd name="T35" fmla="*/ 126 h 280"/>
                    <a:gd name="T36" fmla="*/ 269 w 281"/>
                    <a:gd name="T37" fmla="*/ 86 h 280"/>
                    <a:gd name="T38" fmla="*/ 248 w 281"/>
                    <a:gd name="T39" fmla="*/ 51 h 280"/>
                    <a:gd name="T40" fmla="*/ 218 w 281"/>
                    <a:gd name="T41" fmla="*/ 24 h 280"/>
                    <a:gd name="T42" fmla="*/ 181 w 281"/>
                    <a:gd name="T43" fmla="*/ 6 h 280"/>
                    <a:gd name="T44" fmla="*/ 140 w 281"/>
                    <a:gd name="T45" fmla="*/ 0 h 280"/>
                    <a:gd name="T46" fmla="*/ 140 w 281"/>
                    <a:gd name="T47" fmla="*/ 219 h 280"/>
                    <a:gd name="T48" fmla="*/ 117 w 281"/>
                    <a:gd name="T49" fmla="*/ 216 h 280"/>
                    <a:gd name="T50" fmla="*/ 96 w 281"/>
                    <a:gd name="T51" fmla="*/ 206 h 280"/>
                    <a:gd name="T52" fmla="*/ 79 w 281"/>
                    <a:gd name="T53" fmla="*/ 190 h 280"/>
                    <a:gd name="T54" fmla="*/ 67 w 281"/>
                    <a:gd name="T55" fmla="*/ 171 h 280"/>
                    <a:gd name="T56" fmla="*/ 62 w 281"/>
                    <a:gd name="T57" fmla="*/ 148 h 280"/>
                    <a:gd name="T58" fmla="*/ 62 w 281"/>
                    <a:gd name="T59" fmla="*/ 132 h 280"/>
                    <a:gd name="T60" fmla="*/ 67 w 281"/>
                    <a:gd name="T61" fmla="*/ 109 h 280"/>
                    <a:gd name="T62" fmla="*/ 79 w 281"/>
                    <a:gd name="T63" fmla="*/ 90 h 280"/>
                    <a:gd name="T64" fmla="*/ 96 w 281"/>
                    <a:gd name="T65" fmla="*/ 75 h 280"/>
                    <a:gd name="T66" fmla="*/ 117 w 281"/>
                    <a:gd name="T67" fmla="*/ 64 h 280"/>
                    <a:gd name="T68" fmla="*/ 140 w 281"/>
                    <a:gd name="T69" fmla="*/ 61 h 280"/>
                    <a:gd name="T70" fmla="*/ 156 w 281"/>
                    <a:gd name="T71" fmla="*/ 62 h 280"/>
                    <a:gd name="T72" fmla="*/ 178 w 281"/>
                    <a:gd name="T73" fmla="*/ 71 h 280"/>
                    <a:gd name="T74" fmla="*/ 196 w 281"/>
                    <a:gd name="T75" fmla="*/ 84 h 280"/>
                    <a:gd name="T76" fmla="*/ 210 w 281"/>
                    <a:gd name="T77" fmla="*/ 102 h 280"/>
                    <a:gd name="T78" fmla="*/ 218 w 281"/>
                    <a:gd name="T79" fmla="*/ 124 h 280"/>
                    <a:gd name="T80" fmla="*/ 219 w 281"/>
                    <a:gd name="T81" fmla="*/ 140 h 280"/>
                    <a:gd name="T82" fmla="*/ 216 w 281"/>
                    <a:gd name="T83" fmla="*/ 164 h 280"/>
                    <a:gd name="T84" fmla="*/ 206 w 281"/>
                    <a:gd name="T85" fmla="*/ 184 h 280"/>
                    <a:gd name="T86" fmla="*/ 191 w 281"/>
                    <a:gd name="T87" fmla="*/ 201 h 280"/>
                    <a:gd name="T88" fmla="*/ 171 w 281"/>
                    <a:gd name="T89" fmla="*/ 213 h 280"/>
                    <a:gd name="T90" fmla="*/ 149 w 281"/>
                    <a:gd name="T91" fmla="*/ 21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1" h="280">
                      <a:moveTo>
                        <a:pt x="140" y="0"/>
                      </a:moveTo>
                      <a:lnTo>
                        <a:pt x="140" y="0"/>
                      </a:lnTo>
                      <a:lnTo>
                        <a:pt x="126" y="1"/>
                      </a:lnTo>
                      <a:lnTo>
                        <a:pt x="112" y="3"/>
                      </a:lnTo>
                      <a:lnTo>
                        <a:pt x="98" y="6"/>
                      </a:lnTo>
                      <a:lnTo>
                        <a:pt x="86" y="11"/>
                      </a:lnTo>
                      <a:lnTo>
                        <a:pt x="74" y="17"/>
                      </a:lnTo>
                      <a:lnTo>
                        <a:pt x="62" y="24"/>
                      </a:lnTo>
                      <a:lnTo>
                        <a:pt x="51" y="32"/>
                      </a:lnTo>
                      <a:lnTo>
                        <a:pt x="41" y="41"/>
                      </a:lnTo>
                      <a:lnTo>
                        <a:pt x="32" y="51"/>
                      </a:lnTo>
                      <a:lnTo>
                        <a:pt x="24" y="62"/>
                      </a:lnTo>
                      <a:lnTo>
                        <a:pt x="17" y="74"/>
                      </a:lnTo>
                      <a:lnTo>
                        <a:pt x="12" y="86"/>
                      </a:lnTo>
                      <a:lnTo>
                        <a:pt x="6" y="98"/>
                      </a:lnTo>
                      <a:lnTo>
                        <a:pt x="3" y="111"/>
                      </a:lnTo>
                      <a:lnTo>
                        <a:pt x="1" y="126"/>
                      </a:lnTo>
                      <a:lnTo>
                        <a:pt x="0" y="140"/>
                      </a:lnTo>
                      <a:lnTo>
                        <a:pt x="0" y="140"/>
                      </a:lnTo>
                      <a:lnTo>
                        <a:pt x="1" y="154"/>
                      </a:lnTo>
                      <a:lnTo>
                        <a:pt x="3" y="169"/>
                      </a:lnTo>
                      <a:lnTo>
                        <a:pt x="6" y="182"/>
                      </a:lnTo>
                      <a:lnTo>
                        <a:pt x="12" y="194"/>
                      </a:lnTo>
                      <a:lnTo>
                        <a:pt x="17" y="207"/>
                      </a:lnTo>
                      <a:lnTo>
                        <a:pt x="24" y="218"/>
                      </a:lnTo>
                      <a:lnTo>
                        <a:pt x="32" y="229"/>
                      </a:lnTo>
                      <a:lnTo>
                        <a:pt x="41" y="239"/>
                      </a:lnTo>
                      <a:lnTo>
                        <a:pt x="51" y="248"/>
                      </a:lnTo>
                      <a:lnTo>
                        <a:pt x="62" y="256"/>
                      </a:lnTo>
                      <a:lnTo>
                        <a:pt x="74" y="263"/>
                      </a:lnTo>
                      <a:lnTo>
                        <a:pt x="86" y="269"/>
                      </a:lnTo>
                      <a:lnTo>
                        <a:pt x="98" y="274"/>
                      </a:lnTo>
                      <a:lnTo>
                        <a:pt x="112" y="277"/>
                      </a:lnTo>
                      <a:lnTo>
                        <a:pt x="126" y="279"/>
                      </a:lnTo>
                      <a:lnTo>
                        <a:pt x="140" y="280"/>
                      </a:lnTo>
                      <a:lnTo>
                        <a:pt x="140" y="280"/>
                      </a:lnTo>
                      <a:lnTo>
                        <a:pt x="155" y="279"/>
                      </a:lnTo>
                      <a:lnTo>
                        <a:pt x="168" y="277"/>
                      </a:lnTo>
                      <a:lnTo>
                        <a:pt x="181" y="274"/>
                      </a:lnTo>
                      <a:lnTo>
                        <a:pt x="195" y="269"/>
                      </a:lnTo>
                      <a:lnTo>
                        <a:pt x="207" y="263"/>
                      </a:lnTo>
                      <a:lnTo>
                        <a:pt x="218" y="256"/>
                      </a:lnTo>
                      <a:lnTo>
                        <a:pt x="229" y="248"/>
                      </a:lnTo>
                      <a:lnTo>
                        <a:pt x="240" y="239"/>
                      </a:lnTo>
                      <a:lnTo>
                        <a:pt x="248" y="229"/>
                      </a:lnTo>
                      <a:lnTo>
                        <a:pt x="256" y="218"/>
                      </a:lnTo>
                      <a:lnTo>
                        <a:pt x="263" y="207"/>
                      </a:lnTo>
                      <a:lnTo>
                        <a:pt x="269" y="194"/>
                      </a:lnTo>
                      <a:lnTo>
                        <a:pt x="273" y="182"/>
                      </a:lnTo>
                      <a:lnTo>
                        <a:pt x="277" y="169"/>
                      </a:lnTo>
                      <a:lnTo>
                        <a:pt x="280" y="154"/>
                      </a:lnTo>
                      <a:lnTo>
                        <a:pt x="281" y="140"/>
                      </a:lnTo>
                      <a:lnTo>
                        <a:pt x="281" y="140"/>
                      </a:lnTo>
                      <a:lnTo>
                        <a:pt x="280" y="126"/>
                      </a:lnTo>
                      <a:lnTo>
                        <a:pt x="277" y="111"/>
                      </a:lnTo>
                      <a:lnTo>
                        <a:pt x="273" y="98"/>
                      </a:lnTo>
                      <a:lnTo>
                        <a:pt x="269" y="86"/>
                      </a:lnTo>
                      <a:lnTo>
                        <a:pt x="263" y="74"/>
                      </a:lnTo>
                      <a:lnTo>
                        <a:pt x="256" y="62"/>
                      </a:lnTo>
                      <a:lnTo>
                        <a:pt x="248" y="51"/>
                      </a:lnTo>
                      <a:lnTo>
                        <a:pt x="240" y="41"/>
                      </a:lnTo>
                      <a:lnTo>
                        <a:pt x="229" y="32"/>
                      </a:lnTo>
                      <a:lnTo>
                        <a:pt x="218" y="24"/>
                      </a:lnTo>
                      <a:lnTo>
                        <a:pt x="207" y="17"/>
                      </a:lnTo>
                      <a:lnTo>
                        <a:pt x="195" y="11"/>
                      </a:lnTo>
                      <a:lnTo>
                        <a:pt x="181" y="6"/>
                      </a:lnTo>
                      <a:lnTo>
                        <a:pt x="168" y="3"/>
                      </a:lnTo>
                      <a:lnTo>
                        <a:pt x="155" y="1"/>
                      </a:lnTo>
                      <a:lnTo>
                        <a:pt x="140" y="0"/>
                      </a:lnTo>
                      <a:lnTo>
                        <a:pt x="140" y="0"/>
                      </a:lnTo>
                      <a:close/>
                      <a:moveTo>
                        <a:pt x="140" y="219"/>
                      </a:moveTo>
                      <a:lnTo>
                        <a:pt x="140" y="219"/>
                      </a:lnTo>
                      <a:lnTo>
                        <a:pt x="132" y="219"/>
                      </a:lnTo>
                      <a:lnTo>
                        <a:pt x="124" y="218"/>
                      </a:lnTo>
                      <a:lnTo>
                        <a:pt x="117" y="216"/>
                      </a:lnTo>
                      <a:lnTo>
                        <a:pt x="110" y="213"/>
                      </a:lnTo>
                      <a:lnTo>
                        <a:pt x="103" y="210"/>
                      </a:lnTo>
                      <a:lnTo>
                        <a:pt x="96" y="206"/>
                      </a:lnTo>
                      <a:lnTo>
                        <a:pt x="90" y="201"/>
                      </a:lnTo>
                      <a:lnTo>
                        <a:pt x="84" y="196"/>
                      </a:lnTo>
                      <a:lnTo>
                        <a:pt x="79" y="190"/>
                      </a:lnTo>
                      <a:lnTo>
                        <a:pt x="75" y="184"/>
                      </a:lnTo>
                      <a:lnTo>
                        <a:pt x="71" y="178"/>
                      </a:lnTo>
                      <a:lnTo>
                        <a:pt x="67" y="171"/>
                      </a:lnTo>
                      <a:lnTo>
                        <a:pt x="65" y="164"/>
                      </a:lnTo>
                      <a:lnTo>
                        <a:pt x="63" y="156"/>
                      </a:lnTo>
                      <a:lnTo>
                        <a:pt x="62" y="148"/>
                      </a:lnTo>
                      <a:lnTo>
                        <a:pt x="61" y="140"/>
                      </a:lnTo>
                      <a:lnTo>
                        <a:pt x="61" y="140"/>
                      </a:lnTo>
                      <a:lnTo>
                        <a:pt x="62" y="132"/>
                      </a:lnTo>
                      <a:lnTo>
                        <a:pt x="63" y="124"/>
                      </a:lnTo>
                      <a:lnTo>
                        <a:pt x="65" y="117"/>
                      </a:lnTo>
                      <a:lnTo>
                        <a:pt x="67" y="109"/>
                      </a:lnTo>
                      <a:lnTo>
                        <a:pt x="71" y="102"/>
                      </a:lnTo>
                      <a:lnTo>
                        <a:pt x="75" y="96"/>
                      </a:lnTo>
                      <a:lnTo>
                        <a:pt x="79" y="90"/>
                      </a:lnTo>
                      <a:lnTo>
                        <a:pt x="84" y="84"/>
                      </a:lnTo>
                      <a:lnTo>
                        <a:pt x="90" y="79"/>
                      </a:lnTo>
                      <a:lnTo>
                        <a:pt x="96" y="75"/>
                      </a:lnTo>
                      <a:lnTo>
                        <a:pt x="103" y="71"/>
                      </a:lnTo>
                      <a:lnTo>
                        <a:pt x="110" y="67"/>
                      </a:lnTo>
                      <a:lnTo>
                        <a:pt x="117" y="64"/>
                      </a:lnTo>
                      <a:lnTo>
                        <a:pt x="124" y="62"/>
                      </a:lnTo>
                      <a:lnTo>
                        <a:pt x="132" y="61"/>
                      </a:lnTo>
                      <a:lnTo>
                        <a:pt x="140" y="61"/>
                      </a:lnTo>
                      <a:lnTo>
                        <a:pt x="140" y="61"/>
                      </a:lnTo>
                      <a:lnTo>
                        <a:pt x="149" y="61"/>
                      </a:lnTo>
                      <a:lnTo>
                        <a:pt x="156" y="62"/>
                      </a:lnTo>
                      <a:lnTo>
                        <a:pt x="164" y="64"/>
                      </a:lnTo>
                      <a:lnTo>
                        <a:pt x="171" y="67"/>
                      </a:lnTo>
                      <a:lnTo>
                        <a:pt x="178" y="71"/>
                      </a:lnTo>
                      <a:lnTo>
                        <a:pt x="184" y="75"/>
                      </a:lnTo>
                      <a:lnTo>
                        <a:pt x="191" y="79"/>
                      </a:lnTo>
                      <a:lnTo>
                        <a:pt x="196" y="84"/>
                      </a:lnTo>
                      <a:lnTo>
                        <a:pt x="201" y="90"/>
                      </a:lnTo>
                      <a:lnTo>
                        <a:pt x="206" y="96"/>
                      </a:lnTo>
                      <a:lnTo>
                        <a:pt x="210" y="102"/>
                      </a:lnTo>
                      <a:lnTo>
                        <a:pt x="213" y="109"/>
                      </a:lnTo>
                      <a:lnTo>
                        <a:pt x="216" y="117"/>
                      </a:lnTo>
                      <a:lnTo>
                        <a:pt x="218" y="124"/>
                      </a:lnTo>
                      <a:lnTo>
                        <a:pt x="219" y="132"/>
                      </a:lnTo>
                      <a:lnTo>
                        <a:pt x="219" y="140"/>
                      </a:lnTo>
                      <a:lnTo>
                        <a:pt x="219" y="140"/>
                      </a:lnTo>
                      <a:lnTo>
                        <a:pt x="219" y="148"/>
                      </a:lnTo>
                      <a:lnTo>
                        <a:pt x="218" y="156"/>
                      </a:lnTo>
                      <a:lnTo>
                        <a:pt x="216" y="164"/>
                      </a:lnTo>
                      <a:lnTo>
                        <a:pt x="213" y="171"/>
                      </a:lnTo>
                      <a:lnTo>
                        <a:pt x="210" y="178"/>
                      </a:lnTo>
                      <a:lnTo>
                        <a:pt x="206" y="184"/>
                      </a:lnTo>
                      <a:lnTo>
                        <a:pt x="201" y="190"/>
                      </a:lnTo>
                      <a:lnTo>
                        <a:pt x="196" y="196"/>
                      </a:lnTo>
                      <a:lnTo>
                        <a:pt x="191" y="201"/>
                      </a:lnTo>
                      <a:lnTo>
                        <a:pt x="184" y="206"/>
                      </a:lnTo>
                      <a:lnTo>
                        <a:pt x="178" y="210"/>
                      </a:lnTo>
                      <a:lnTo>
                        <a:pt x="171" y="213"/>
                      </a:lnTo>
                      <a:lnTo>
                        <a:pt x="164" y="216"/>
                      </a:lnTo>
                      <a:lnTo>
                        <a:pt x="156" y="218"/>
                      </a:lnTo>
                      <a:lnTo>
                        <a:pt x="149" y="219"/>
                      </a:lnTo>
                      <a:lnTo>
                        <a:pt x="140" y="219"/>
                      </a:lnTo>
                      <a:lnTo>
                        <a:pt x="140"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4264">
                    <a:defRPr/>
                  </a:pPr>
                  <a:endParaRPr lang="en-US" sz="600" kern="0">
                    <a:solidFill>
                      <a:srgbClr val="1A315D">
                        <a:lumMod val="50000"/>
                      </a:srgbClr>
                    </a:solidFill>
                  </a:endParaRPr>
                </a:p>
              </p:txBody>
            </p:sp>
            <p:sp>
              <p:nvSpPr>
                <p:cNvPr id="105" name="Freeform 166"/>
                <p:cNvSpPr>
                  <a:spLocks noEditPoints="1"/>
                </p:cNvSpPr>
                <p:nvPr/>
              </p:nvSpPr>
              <p:spPr bwMode="auto">
                <a:xfrm>
                  <a:off x="12360276" y="6084888"/>
                  <a:ext cx="39688" cy="41275"/>
                </a:xfrm>
                <a:custGeom>
                  <a:avLst/>
                  <a:gdLst>
                    <a:gd name="T0" fmla="*/ 90 w 180"/>
                    <a:gd name="T1" fmla="*/ 0 h 179"/>
                    <a:gd name="T2" fmla="*/ 71 w 180"/>
                    <a:gd name="T3" fmla="*/ 1 h 179"/>
                    <a:gd name="T4" fmla="*/ 54 w 180"/>
                    <a:gd name="T5" fmla="*/ 8 h 179"/>
                    <a:gd name="T6" fmla="*/ 40 w 180"/>
                    <a:gd name="T7" fmla="*/ 16 h 179"/>
                    <a:gd name="T8" fmla="*/ 26 w 180"/>
                    <a:gd name="T9" fmla="*/ 26 h 179"/>
                    <a:gd name="T10" fmla="*/ 15 w 180"/>
                    <a:gd name="T11" fmla="*/ 39 h 179"/>
                    <a:gd name="T12" fmla="*/ 7 w 180"/>
                    <a:gd name="T13" fmla="*/ 55 h 179"/>
                    <a:gd name="T14" fmla="*/ 2 w 180"/>
                    <a:gd name="T15" fmla="*/ 72 h 179"/>
                    <a:gd name="T16" fmla="*/ 0 w 180"/>
                    <a:gd name="T17" fmla="*/ 89 h 179"/>
                    <a:gd name="T18" fmla="*/ 0 w 180"/>
                    <a:gd name="T19" fmla="*/ 99 h 179"/>
                    <a:gd name="T20" fmla="*/ 4 w 180"/>
                    <a:gd name="T21" fmla="*/ 117 h 179"/>
                    <a:gd name="T22" fmla="*/ 10 w 180"/>
                    <a:gd name="T23" fmla="*/ 132 h 179"/>
                    <a:gd name="T24" fmla="*/ 20 w 180"/>
                    <a:gd name="T25" fmla="*/ 147 h 179"/>
                    <a:gd name="T26" fmla="*/ 33 w 180"/>
                    <a:gd name="T27" fmla="*/ 159 h 179"/>
                    <a:gd name="T28" fmla="*/ 47 w 180"/>
                    <a:gd name="T29" fmla="*/ 169 h 179"/>
                    <a:gd name="T30" fmla="*/ 63 w 180"/>
                    <a:gd name="T31" fmla="*/ 175 h 179"/>
                    <a:gd name="T32" fmla="*/ 81 w 180"/>
                    <a:gd name="T33" fmla="*/ 179 h 179"/>
                    <a:gd name="T34" fmla="*/ 90 w 180"/>
                    <a:gd name="T35" fmla="*/ 179 h 179"/>
                    <a:gd name="T36" fmla="*/ 107 w 180"/>
                    <a:gd name="T37" fmla="*/ 178 h 179"/>
                    <a:gd name="T38" fmla="*/ 125 w 180"/>
                    <a:gd name="T39" fmla="*/ 173 h 179"/>
                    <a:gd name="T40" fmla="*/ 140 w 180"/>
                    <a:gd name="T41" fmla="*/ 164 h 179"/>
                    <a:gd name="T42" fmla="*/ 153 w 180"/>
                    <a:gd name="T43" fmla="*/ 154 h 179"/>
                    <a:gd name="T44" fmla="*/ 165 w 180"/>
                    <a:gd name="T45" fmla="*/ 140 h 179"/>
                    <a:gd name="T46" fmla="*/ 173 w 180"/>
                    <a:gd name="T47" fmla="*/ 125 h 179"/>
                    <a:gd name="T48" fmla="*/ 178 w 180"/>
                    <a:gd name="T49" fmla="*/ 108 h 179"/>
                    <a:gd name="T50" fmla="*/ 180 w 180"/>
                    <a:gd name="T51" fmla="*/ 89 h 179"/>
                    <a:gd name="T52" fmla="*/ 179 w 180"/>
                    <a:gd name="T53" fmla="*/ 81 h 179"/>
                    <a:gd name="T54" fmla="*/ 176 w 180"/>
                    <a:gd name="T55" fmla="*/ 63 h 179"/>
                    <a:gd name="T56" fmla="*/ 169 w 180"/>
                    <a:gd name="T57" fmla="*/ 47 h 179"/>
                    <a:gd name="T58" fmla="*/ 159 w 180"/>
                    <a:gd name="T59" fmla="*/ 33 h 179"/>
                    <a:gd name="T60" fmla="*/ 147 w 180"/>
                    <a:gd name="T61" fmla="*/ 21 h 179"/>
                    <a:gd name="T62" fmla="*/ 133 w 180"/>
                    <a:gd name="T63" fmla="*/ 11 h 179"/>
                    <a:gd name="T64" fmla="*/ 116 w 180"/>
                    <a:gd name="T65" fmla="*/ 4 h 179"/>
                    <a:gd name="T66" fmla="*/ 99 w 180"/>
                    <a:gd name="T67" fmla="*/ 0 h 179"/>
                    <a:gd name="T68" fmla="*/ 90 w 180"/>
                    <a:gd name="T69" fmla="*/ 0 h 179"/>
                    <a:gd name="T70" fmla="*/ 90 w 180"/>
                    <a:gd name="T71" fmla="*/ 130 h 179"/>
                    <a:gd name="T72" fmla="*/ 73 w 180"/>
                    <a:gd name="T73" fmla="*/ 127 h 179"/>
                    <a:gd name="T74" fmla="*/ 61 w 180"/>
                    <a:gd name="T75" fmla="*/ 119 h 179"/>
                    <a:gd name="T76" fmla="*/ 52 w 180"/>
                    <a:gd name="T77" fmla="*/ 106 h 179"/>
                    <a:gd name="T78" fmla="*/ 49 w 180"/>
                    <a:gd name="T79" fmla="*/ 89 h 179"/>
                    <a:gd name="T80" fmla="*/ 50 w 180"/>
                    <a:gd name="T81" fmla="*/ 81 h 179"/>
                    <a:gd name="T82" fmla="*/ 56 w 180"/>
                    <a:gd name="T83" fmla="*/ 67 h 179"/>
                    <a:gd name="T84" fmla="*/ 67 w 180"/>
                    <a:gd name="T85" fmla="*/ 57 h 179"/>
                    <a:gd name="T86" fmla="*/ 82 w 180"/>
                    <a:gd name="T87" fmla="*/ 50 h 179"/>
                    <a:gd name="T88" fmla="*/ 90 w 180"/>
                    <a:gd name="T89" fmla="*/ 49 h 179"/>
                    <a:gd name="T90" fmla="*/ 105 w 180"/>
                    <a:gd name="T91" fmla="*/ 53 h 179"/>
                    <a:gd name="T92" fmla="*/ 118 w 180"/>
                    <a:gd name="T93" fmla="*/ 61 h 179"/>
                    <a:gd name="T94" fmla="*/ 127 w 180"/>
                    <a:gd name="T95" fmla="*/ 74 h 179"/>
                    <a:gd name="T96" fmla="*/ 130 w 180"/>
                    <a:gd name="T97" fmla="*/ 89 h 179"/>
                    <a:gd name="T98" fmla="*/ 130 w 180"/>
                    <a:gd name="T99" fmla="*/ 99 h 179"/>
                    <a:gd name="T100" fmla="*/ 124 w 180"/>
                    <a:gd name="T101" fmla="*/ 113 h 179"/>
                    <a:gd name="T102" fmla="*/ 112 w 180"/>
                    <a:gd name="T103" fmla="*/ 123 h 179"/>
                    <a:gd name="T104" fmla="*/ 98 w 180"/>
                    <a:gd name="T105" fmla="*/ 129 h 179"/>
                    <a:gd name="T106" fmla="*/ 90 w 180"/>
                    <a:gd name="T107" fmla="*/ 13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0" h="179">
                      <a:moveTo>
                        <a:pt x="90" y="0"/>
                      </a:moveTo>
                      <a:lnTo>
                        <a:pt x="90" y="0"/>
                      </a:lnTo>
                      <a:lnTo>
                        <a:pt x="81" y="0"/>
                      </a:lnTo>
                      <a:lnTo>
                        <a:pt x="71" y="1"/>
                      </a:lnTo>
                      <a:lnTo>
                        <a:pt x="63" y="4"/>
                      </a:lnTo>
                      <a:lnTo>
                        <a:pt x="54" y="8"/>
                      </a:lnTo>
                      <a:lnTo>
                        <a:pt x="47" y="11"/>
                      </a:lnTo>
                      <a:lnTo>
                        <a:pt x="40" y="16"/>
                      </a:lnTo>
                      <a:lnTo>
                        <a:pt x="33" y="21"/>
                      </a:lnTo>
                      <a:lnTo>
                        <a:pt x="26" y="26"/>
                      </a:lnTo>
                      <a:lnTo>
                        <a:pt x="20" y="33"/>
                      </a:lnTo>
                      <a:lnTo>
                        <a:pt x="15" y="39"/>
                      </a:lnTo>
                      <a:lnTo>
                        <a:pt x="10" y="47"/>
                      </a:lnTo>
                      <a:lnTo>
                        <a:pt x="7" y="55"/>
                      </a:lnTo>
                      <a:lnTo>
                        <a:pt x="4" y="63"/>
                      </a:lnTo>
                      <a:lnTo>
                        <a:pt x="2" y="72"/>
                      </a:lnTo>
                      <a:lnTo>
                        <a:pt x="0" y="81"/>
                      </a:lnTo>
                      <a:lnTo>
                        <a:pt x="0" y="89"/>
                      </a:lnTo>
                      <a:lnTo>
                        <a:pt x="0" y="89"/>
                      </a:lnTo>
                      <a:lnTo>
                        <a:pt x="0" y="99"/>
                      </a:lnTo>
                      <a:lnTo>
                        <a:pt x="2" y="108"/>
                      </a:lnTo>
                      <a:lnTo>
                        <a:pt x="4" y="117"/>
                      </a:lnTo>
                      <a:lnTo>
                        <a:pt x="7" y="125"/>
                      </a:lnTo>
                      <a:lnTo>
                        <a:pt x="10" y="132"/>
                      </a:lnTo>
                      <a:lnTo>
                        <a:pt x="15" y="140"/>
                      </a:lnTo>
                      <a:lnTo>
                        <a:pt x="20" y="147"/>
                      </a:lnTo>
                      <a:lnTo>
                        <a:pt x="26" y="154"/>
                      </a:lnTo>
                      <a:lnTo>
                        <a:pt x="33" y="159"/>
                      </a:lnTo>
                      <a:lnTo>
                        <a:pt x="40" y="164"/>
                      </a:lnTo>
                      <a:lnTo>
                        <a:pt x="47" y="169"/>
                      </a:lnTo>
                      <a:lnTo>
                        <a:pt x="54" y="173"/>
                      </a:lnTo>
                      <a:lnTo>
                        <a:pt x="63" y="175"/>
                      </a:lnTo>
                      <a:lnTo>
                        <a:pt x="71" y="178"/>
                      </a:lnTo>
                      <a:lnTo>
                        <a:pt x="81" y="179"/>
                      </a:lnTo>
                      <a:lnTo>
                        <a:pt x="90" y="179"/>
                      </a:lnTo>
                      <a:lnTo>
                        <a:pt x="90" y="179"/>
                      </a:lnTo>
                      <a:lnTo>
                        <a:pt x="99" y="179"/>
                      </a:lnTo>
                      <a:lnTo>
                        <a:pt x="107" y="178"/>
                      </a:lnTo>
                      <a:lnTo>
                        <a:pt x="116" y="175"/>
                      </a:lnTo>
                      <a:lnTo>
                        <a:pt x="125" y="173"/>
                      </a:lnTo>
                      <a:lnTo>
                        <a:pt x="133" y="169"/>
                      </a:lnTo>
                      <a:lnTo>
                        <a:pt x="140" y="164"/>
                      </a:lnTo>
                      <a:lnTo>
                        <a:pt x="147" y="159"/>
                      </a:lnTo>
                      <a:lnTo>
                        <a:pt x="153" y="154"/>
                      </a:lnTo>
                      <a:lnTo>
                        <a:pt x="159" y="147"/>
                      </a:lnTo>
                      <a:lnTo>
                        <a:pt x="165" y="140"/>
                      </a:lnTo>
                      <a:lnTo>
                        <a:pt x="169" y="132"/>
                      </a:lnTo>
                      <a:lnTo>
                        <a:pt x="173" y="125"/>
                      </a:lnTo>
                      <a:lnTo>
                        <a:pt x="176" y="117"/>
                      </a:lnTo>
                      <a:lnTo>
                        <a:pt x="178" y="108"/>
                      </a:lnTo>
                      <a:lnTo>
                        <a:pt x="179" y="99"/>
                      </a:lnTo>
                      <a:lnTo>
                        <a:pt x="180" y="89"/>
                      </a:lnTo>
                      <a:lnTo>
                        <a:pt x="180" y="89"/>
                      </a:lnTo>
                      <a:lnTo>
                        <a:pt x="179" y="81"/>
                      </a:lnTo>
                      <a:lnTo>
                        <a:pt x="178" y="72"/>
                      </a:lnTo>
                      <a:lnTo>
                        <a:pt x="176" y="63"/>
                      </a:lnTo>
                      <a:lnTo>
                        <a:pt x="173" y="55"/>
                      </a:lnTo>
                      <a:lnTo>
                        <a:pt x="169" y="47"/>
                      </a:lnTo>
                      <a:lnTo>
                        <a:pt x="165" y="39"/>
                      </a:lnTo>
                      <a:lnTo>
                        <a:pt x="159" y="33"/>
                      </a:lnTo>
                      <a:lnTo>
                        <a:pt x="153" y="26"/>
                      </a:lnTo>
                      <a:lnTo>
                        <a:pt x="147" y="21"/>
                      </a:lnTo>
                      <a:lnTo>
                        <a:pt x="140" y="16"/>
                      </a:lnTo>
                      <a:lnTo>
                        <a:pt x="133" y="11"/>
                      </a:lnTo>
                      <a:lnTo>
                        <a:pt x="125" y="8"/>
                      </a:lnTo>
                      <a:lnTo>
                        <a:pt x="116" y="4"/>
                      </a:lnTo>
                      <a:lnTo>
                        <a:pt x="107" y="1"/>
                      </a:lnTo>
                      <a:lnTo>
                        <a:pt x="99" y="0"/>
                      </a:lnTo>
                      <a:lnTo>
                        <a:pt x="90" y="0"/>
                      </a:lnTo>
                      <a:lnTo>
                        <a:pt x="90" y="0"/>
                      </a:lnTo>
                      <a:close/>
                      <a:moveTo>
                        <a:pt x="90" y="130"/>
                      </a:moveTo>
                      <a:lnTo>
                        <a:pt x="90" y="130"/>
                      </a:lnTo>
                      <a:lnTo>
                        <a:pt x="82" y="129"/>
                      </a:lnTo>
                      <a:lnTo>
                        <a:pt x="73" y="127"/>
                      </a:lnTo>
                      <a:lnTo>
                        <a:pt x="67" y="123"/>
                      </a:lnTo>
                      <a:lnTo>
                        <a:pt x="61" y="119"/>
                      </a:lnTo>
                      <a:lnTo>
                        <a:pt x="56" y="113"/>
                      </a:lnTo>
                      <a:lnTo>
                        <a:pt x="52" y="106"/>
                      </a:lnTo>
                      <a:lnTo>
                        <a:pt x="50" y="99"/>
                      </a:lnTo>
                      <a:lnTo>
                        <a:pt x="49" y="89"/>
                      </a:lnTo>
                      <a:lnTo>
                        <a:pt x="49" y="89"/>
                      </a:lnTo>
                      <a:lnTo>
                        <a:pt x="50" y="81"/>
                      </a:lnTo>
                      <a:lnTo>
                        <a:pt x="52" y="74"/>
                      </a:lnTo>
                      <a:lnTo>
                        <a:pt x="56" y="67"/>
                      </a:lnTo>
                      <a:lnTo>
                        <a:pt x="61" y="61"/>
                      </a:lnTo>
                      <a:lnTo>
                        <a:pt x="67" y="57"/>
                      </a:lnTo>
                      <a:lnTo>
                        <a:pt x="73" y="53"/>
                      </a:lnTo>
                      <a:lnTo>
                        <a:pt x="82" y="50"/>
                      </a:lnTo>
                      <a:lnTo>
                        <a:pt x="90" y="49"/>
                      </a:lnTo>
                      <a:lnTo>
                        <a:pt x="90" y="49"/>
                      </a:lnTo>
                      <a:lnTo>
                        <a:pt x="98" y="50"/>
                      </a:lnTo>
                      <a:lnTo>
                        <a:pt x="105" y="53"/>
                      </a:lnTo>
                      <a:lnTo>
                        <a:pt x="112" y="57"/>
                      </a:lnTo>
                      <a:lnTo>
                        <a:pt x="118" y="61"/>
                      </a:lnTo>
                      <a:lnTo>
                        <a:pt x="124" y="67"/>
                      </a:lnTo>
                      <a:lnTo>
                        <a:pt x="127" y="74"/>
                      </a:lnTo>
                      <a:lnTo>
                        <a:pt x="130" y="81"/>
                      </a:lnTo>
                      <a:lnTo>
                        <a:pt x="130" y="89"/>
                      </a:lnTo>
                      <a:lnTo>
                        <a:pt x="130" y="89"/>
                      </a:lnTo>
                      <a:lnTo>
                        <a:pt x="130" y="99"/>
                      </a:lnTo>
                      <a:lnTo>
                        <a:pt x="127" y="106"/>
                      </a:lnTo>
                      <a:lnTo>
                        <a:pt x="124" y="113"/>
                      </a:lnTo>
                      <a:lnTo>
                        <a:pt x="118" y="119"/>
                      </a:lnTo>
                      <a:lnTo>
                        <a:pt x="112" y="123"/>
                      </a:lnTo>
                      <a:lnTo>
                        <a:pt x="105" y="127"/>
                      </a:lnTo>
                      <a:lnTo>
                        <a:pt x="98" y="129"/>
                      </a:lnTo>
                      <a:lnTo>
                        <a:pt x="90" y="130"/>
                      </a:lnTo>
                      <a:lnTo>
                        <a:pt x="9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4264">
                    <a:defRPr/>
                  </a:pPr>
                  <a:endParaRPr lang="en-US" sz="600" kern="0">
                    <a:solidFill>
                      <a:srgbClr val="1A315D">
                        <a:lumMod val="50000"/>
                      </a:srgbClr>
                    </a:solidFill>
                  </a:endParaRPr>
                </a:p>
              </p:txBody>
            </p:sp>
            <p:sp>
              <p:nvSpPr>
                <p:cNvPr id="106" name="Freeform 167"/>
                <p:cNvSpPr>
                  <a:spLocks noEditPoints="1"/>
                </p:cNvSpPr>
                <p:nvPr/>
              </p:nvSpPr>
              <p:spPr bwMode="auto">
                <a:xfrm>
                  <a:off x="12249151" y="6053138"/>
                  <a:ext cx="323850" cy="419100"/>
                </a:xfrm>
                <a:custGeom>
                  <a:avLst/>
                  <a:gdLst>
                    <a:gd name="T0" fmla="*/ 1296 w 1430"/>
                    <a:gd name="T1" fmla="*/ 631 h 1852"/>
                    <a:gd name="T2" fmla="*/ 1222 w 1430"/>
                    <a:gd name="T3" fmla="*/ 292 h 1852"/>
                    <a:gd name="T4" fmla="*/ 976 w 1430"/>
                    <a:gd name="T5" fmla="*/ 68 h 1852"/>
                    <a:gd name="T6" fmla="*/ 506 w 1430"/>
                    <a:gd name="T7" fmla="*/ 7 h 1852"/>
                    <a:gd name="T8" fmla="*/ 126 w 1430"/>
                    <a:gd name="T9" fmla="*/ 234 h 1852"/>
                    <a:gd name="T10" fmla="*/ 2 w 1430"/>
                    <a:gd name="T11" fmla="*/ 588 h 1852"/>
                    <a:gd name="T12" fmla="*/ 101 w 1430"/>
                    <a:gd name="T13" fmla="*/ 1047 h 1852"/>
                    <a:gd name="T14" fmla="*/ 241 w 1430"/>
                    <a:gd name="T15" fmla="*/ 1351 h 1852"/>
                    <a:gd name="T16" fmla="*/ 141 w 1430"/>
                    <a:gd name="T17" fmla="*/ 1652 h 1852"/>
                    <a:gd name="T18" fmla="*/ 92 w 1430"/>
                    <a:gd name="T19" fmla="*/ 1828 h 1852"/>
                    <a:gd name="T20" fmla="*/ 956 w 1430"/>
                    <a:gd name="T21" fmla="*/ 1821 h 1852"/>
                    <a:gd name="T22" fmla="*/ 898 w 1430"/>
                    <a:gd name="T23" fmla="*/ 1649 h 1852"/>
                    <a:gd name="T24" fmla="*/ 912 w 1430"/>
                    <a:gd name="T25" fmla="*/ 1484 h 1852"/>
                    <a:gd name="T26" fmla="*/ 1155 w 1430"/>
                    <a:gd name="T27" fmla="*/ 1452 h 1852"/>
                    <a:gd name="T28" fmla="*/ 1279 w 1430"/>
                    <a:gd name="T29" fmla="*/ 1422 h 1852"/>
                    <a:gd name="T30" fmla="*/ 1323 w 1430"/>
                    <a:gd name="T31" fmla="*/ 1262 h 1852"/>
                    <a:gd name="T32" fmla="*/ 1338 w 1430"/>
                    <a:gd name="T33" fmla="*/ 1181 h 1852"/>
                    <a:gd name="T34" fmla="*/ 1341 w 1430"/>
                    <a:gd name="T35" fmla="*/ 1072 h 1852"/>
                    <a:gd name="T36" fmla="*/ 1430 w 1430"/>
                    <a:gd name="T37" fmla="*/ 985 h 1852"/>
                    <a:gd name="T38" fmla="*/ 655 w 1430"/>
                    <a:gd name="T39" fmla="*/ 768 h 1852"/>
                    <a:gd name="T40" fmla="*/ 618 w 1430"/>
                    <a:gd name="T41" fmla="*/ 895 h 1852"/>
                    <a:gd name="T42" fmla="*/ 508 w 1430"/>
                    <a:gd name="T43" fmla="*/ 933 h 1852"/>
                    <a:gd name="T44" fmla="*/ 439 w 1430"/>
                    <a:gd name="T45" fmla="*/ 1006 h 1852"/>
                    <a:gd name="T46" fmla="*/ 291 w 1430"/>
                    <a:gd name="T47" fmla="*/ 982 h 1852"/>
                    <a:gd name="T48" fmla="*/ 188 w 1430"/>
                    <a:gd name="T49" fmla="*/ 928 h 1852"/>
                    <a:gd name="T50" fmla="*/ 94 w 1430"/>
                    <a:gd name="T51" fmla="*/ 793 h 1852"/>
                    <a:gd name="T52" fmla="*/ 129 w 1430"/>
                    <a:gd name="T53" fmla="*/ 702 h 1852"/>
                    <a:gd name="T54" fmla="*/ 106 w 1430"/>
                    <a:gd name="T55" fmla="*/ 600 h 1852"/>
                    <a:gd name="T56" fmla="*/ 198 w 1430"/>
                    <a:gd name="T57" fmla="*/ 504 h 1852"/>
                    <a:gd name="T58" fmla="*/ 295 w 1430"/>
                    <a:gd name="T59" fmla="*/ 434 h 1852"/>
                    <a:gd name="T60" fmla="*/ 462 w 1430"/>
                    <a:gd name="T61" fmla="*/ 429 h 1852"/>
                    <a:gd name="T62" fmla="*/ 561 w 1430"/>
                    <a:gd name="T63" fmla="*/ 508 h 1852"/>
                    <a:gd name="T64" fmla="*/ 639 w 1430"/>
                    <a:gd name="T65" fmla="*/ 566 h 1852"/>
                    <a:gd name="T66" fmla="*/ 629 w 1430"/>
                    <a:gd name="T67" fmla="*/ 665 h 1852"/>
                    <a:gd name="T68" fmla="*/ 634 w 1430"/>
                    <a:gd name="T69" fmla="*/ 397 h 1852"/>
                    <a:gd name="T70" fmla="*/ 533 w 1430"/>
                    <a:gd name="T71" fmla="*/ 409 h 1852"/>
                    <a:gd name="T72" fmla="*/ 468 w 1430"/>
                    <a:gd name="T73" fmla="*/ 359 h 1852"/>
                    <a:gd name="T74" fmla="*/ 415 w 1430"/>
                    <a:gd name="T75" fmla="*/ 313 h 1852"/>
                    <a:gd name="T76" fmla="*/ 431 w 1430"/>
                    <a:gd name="T77" fmla="*/ 232 h 1852"/>
                    <a:gd name="T78" fmla="*/ 410 w 1430"/>
                    <a:gd name="T79" fmla="*/ 163 h 1852"/>
                    <a:gd name="T80" fmla="*/ 468 w 1430"/>
                    <a:gd name="T81" fmla="*/ 107 h 1852"/>
                    <a:gd name="T82" fmla="*/ 533 w 1430"/>
                    <a:gd name="T83" fmla="*/ 56 h 1852"/>
                    <a:gd name="T84" fmla="*/ 633 w 1430"/>
                    <a:gd name="T85" fmla="*/ 65 h 1852"/>
                    <a:gd name="T86" fmla="*/ 701 w 1430"/>
                    <a:gd name="T87" fmla="*/ 101 h 1852"/>
                    <a:gd name="T88" fmla="*/ 755 w 1430"/>
                    <a:gd name="T89" fmla="*/ 184 h 1852"/>
                    <a:gd name="T90" fmla="*/ 743 w 1430"/>
                    <a:gd name="T91" fmla="*/ 265 h 1852"/>
                    <a:gd name="T92" fmla="*/ 723 w 1430"/>
                    <a:gd name="T93" fmla="*/ 344 h 1852"/>
                    <a:gd name="T94" fmla="*/ 1083 w 1430"/>
                    <a:gd name="T95" fmla="*/ 566 h 1852"/>
                    <a:gd name="T96" fmla="*/ 1025 w 1430"/>
                    <a:gd name="T97" fmla="*/ 616 h 1852"/>
                    <a:gd name="T98" fmla="*/ 1014 w 1430"/>
                    <a:gd name="T99" fmla="*/ 683 h 1852"/>
                    <a:gd name="T100" fmla="*/ 921 w 1430"/>
                    <a:gd name="T101" fmla="*/ 713 h 1852"/>
                    <a:gd name="T102" fmla="*/ 833 w 1430"/>
                    <a:gd name="T103" fmla="*/ 716 h 1852"/>
                    <a:gd name="T104" fmla="*/ 747 w 1430"/>
                    <a:gd name="T105" fmla="*/ 655 h 1852"/>
                    <a:gd name="T106" fmla="*/ 716 w 1430"/>
                    <a:gd name="T107" fmla="*/ 582 h 1852"/>
                    <a:gd name="T108" fmla="*/ 708 w 1430"/>
                    <a:gd name="T109" fmla="*/ 474 h 1852"/>
                    <a:gd name="T110" fmla="*/ 779 w 1430"/>
                    <a:gd name="T111" fmla="*/ 423 h 1852"/>
                    <a:gd name="T112" fmla="*/ 804 w 1430"/>
                    <a:gd name="T113" fmla="*/ 359 h 1852"/>
                    <a:gd name="T114" fmla="*/ 885 w 1430"/>
                    <a:gd name="T115" fmla="*/ 374 h 1852"/>
                    <a:gd name="T116" fmla="*/ 963 w 1430"/>
                    <a:gd name="T117" fmla="*/ 351 h 1852"/>
                    <a:gd name="T118" fmla="*/ 1036 w 1430"/>
                    <a:gd name="T119" fmla="*/ 416 h 1852"/>
                    <a:gd name="T120" fmla="*/ 1081 w 1430"/>
                    <a:gd name="T121" fmla="*/ 487 h 1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0" h="1852">
                      <a:moveTo>
                        <a:pt x="1389" y="891"/>
                      </a:moveTo>
                      <a:lnTo>
                        <a:pt x="1389" y="891"/>
                      </a:lnTo>
                      <a:lnTo>
                        <a:pt x="1355" y="834"/>
                      </a:lnTo>
                      <a:lnTo>
                        <a:pt x="1340" y="805"/>
                      </a:lnTo>
                      <a:lnTo>
                        <a:pt x="1325" y="776"/>
                      </a:lnTo>
                      <a:lnTo>
                        <a:pt x="1312" y="748"/>
                      </a:lnTo>
                      <a:lnTo>
                        <a:pt x="1302" y="722"/>
                      </a:lnTo>
                      <a:lnTo>
                        <a:pt x="1298" y="710"/>
                      </a:lnTo>
                      <a:lnTo>
                        <a:pt x="1295" y="698"/>
                      </a:lnTo>
                      <a:lnTo>
                        <a:pt x="1292" y="686"/>
                      </a:lnTo>
                      <a:lnTo>
                        <a:pt x="1291" y="676"/>
                      </a:lnTo>
                      <a:lnTo>
                        <a:pt x="1291" y="676"/>
                      </a:lnTo>
                      <a:lnTo>
                        <a:pt x="1291" y="666"/>
                      </a:lnTo>
                      <a:lnTo>
                        <a:pt x="1292" y="655"/>
                      </a:lnTo>
                      <a:lnTo>
                        <a:pt x="1296" y="631"/>
                      </a:lnTo>
                      <a:lnTo>
                        <a:pt x="1301" y="605"/>
                      </a:lnTo>
                      <a:lnTo>
                        <a:pt x="1304" y="590"/>
                      </a:lnTo>
                      <a:lnTo>
                        <a:pt x="1305" y="574"/>
                      </a:lnTo>
                      <a:lnTo>
                        <a:pt x="1306" y="557"/>
                      </a:lnTo>
                      <a:lnTo>
                        <a:pt x="1307" y="538"/>
                      </a:lnTo>
                      <a:lnTo>
                        <a:pt x="1305" y="518"/>
                      </a:lnTo>
                      <a:lnTo>
                        <a:pt x="1303" y="495"/>
                      </a:lnTo>
                      <a:lnTo>
                        <a:pt x="1298" y="472"/>
                      </a:lnTo>
                      <a:lnTo>
                        <a:pt x="1291" y="446"/>
                      </a:lnTo>
                      <a:lnTo>
                        <a:pt x="1283" y="418"/>
                      </a:lnTo>
                      <a:lnTo>
                        <a:pt x="1270" y="389"/>
                      </a:lnTo>
                      <a:lnTo>
                        <a:pt x="1270" y="389"/>
                      </a:lnTo>
                      <a:lnTo>
                        <a:pt x="1257" y="358"/>
                      </a:lnTo>
                      <a:lnTo>
                        <a:pt x="1241" y="325"/>
                      </a:lnTo>
                      <a:lnTo>
                        <a:pt x="1222" y="292"/>
                      </a:lnTo>
                      <a:lnTo>
                        <a:pt x="1213" y="275"/>
                      </a:lnTo>
                      <a:lnTo>
                        <a:pt x="1202" y="259"/>
                      </a:lnTo>
                      <a:lnTo>
                        <a:pt x="1191" y="243"/>
                      </a:lnTo>
                      <a:lnTo>
                        <a:pt x="1178" y="226"/>
                      </a:lnTo>
                      <a:lnTo>
                        <a:pt x="1165" y="210"/>
                      </a:lnTo>
                      <a:lnTo>
                        <a:pt x="1151" y="193"/>
                      </a:lnTo>
                      <a:lnTo>
                        <a:pt x="1135" y="178"/>
                      </a:lnTo>
                      <a:lnTo>
                        <a:pt x="1119" y="163"/>
                      </a:lnTo>
                      <a:lnTo>
                        <a:pt x="1103" y="147"/>
                      </a:lnTo>
                      <a:lnTo>
                        <a:pt x="1084" y="133"/>
                      </a:lnTo>
                      <a:lnTo>
                        <a:pt x="1065" y="119"/>
                      </a:lnTo>
                      <a:lnTo>
                        <a:pt x="1044" y="106"/>
                      </a:lnTo>
                      <a:lnTo>
                        <a:pt x="1023" y="92"/>
                      </a:lnTo>
                      <a:lnTo>
                        <a:pt x="1000" y="80"/>
                      </a:lnTo>
                      <a:lnTo>
                        <a:pt x="976" y="68"/>
                      </a:lnTo>
                      <a:lnTo>
                        <a:pt x="951" y="57"/>
                      </a:lnTo>
                      <a:lnTo>
                        <a:pt x="925" y="47"/>
                      </a:lnTo>
                      <a:lnTo>
                        <a:pt x="896" y="37"/>
                      </a:lnTo>
                      <a:lnTo>
                        <a:pt x="866" y="29"/>
                      </a:lnTo>
                      <a:lnTo>
                        <a:pt x="836" y="22"/>
                      </a:lnTo>
                      <a:lnTo>
                        <a:pt x="803" y="16"/>
                      </a:lnTo>
                      <a:lnTo>
                        <a:pt x="768" y="9"/>
                      </a:lnTo>
                      <a:lnTo>
                        <a:pt x="732" y="5"/>
                      </a:lnTo>
                      <a:lnTo>
                        <a:pt x="694" y="2"/>
                      </a:lnTo>
                      <a:lnTo>
                        <a:pt x="656" y="0"/>
                      </a:lnTo>
                      <a:lnTo>
                        <a:pt x="615" y="0"/>
                      </a:lnTo>
                      <a:lnTo>
                        <a:pt x="615" y="0"/>
                      </a:lnTo>
                      <a:lnTo>
                        <a:pt x="577" y="0"/>
                      </a:lnTo>
                      <a:lnTo>
                        <a:pt x="541" y="3"/>
                      </a:lnTo>
                      <a:lnTo>
                        <a:pt x="506" y="7"/>
                      </a:lnTo>
                      <a:lnTo>
                        <a:pt x="472" y="13"/>
                      </a:lnTo>
                      <a:lnTo>
                        <a:pt x="440" y="22"/>
                      </a:lnTo>
                      <a:lnTo>
                        <a:pt x="408" y="31"/>
                      </a:lnTo>
                      <a:lnTo>
                        <a:pt x="378" y="41"/>
                      </a:lnTo>
                      <a:lnTo>
                        <a:pt x="350" y="53"/>
                      </a:lnTo>
                      <a:lnTo>
                        <a:pt x="322" y="67"/>
                      </a:lnTo>
                      <a:lnTo>
                        <a:pt x="295" y="81"/>
                      </a:lnTo>
                      <a:lnTo>
                        <a:pt x="270" y="96"/>
                      </a:lnTo>
                      <a:lnTo>
                        <a:pt x="246" y="114"/>
                      </a:lnTo>
                      <a:lnTo>
                        <a:pt x="223" y="131"/>
                      </a:lnTo>
                      <a:lnTo>
                        <a:pt x="201" y="151"/>
                      </a:lnTo>
                      <a:lnTo>
                        <a:pt x="181" y="170"/>
                      </a:lnTo>
                      <a:lnTo>
                        <a:pt x="161" y="190"/>
                      </a:lnTo>
                      <a:lnTo>
                        <a:pt x="143" y="212"/>
                      </a:lnTo>
                      <a:lnTo>
                        <a:pt x="126" y="234"/>
                      </a:lnTo>
                      <a:lnTo>
                        <a:pt x="110" y="257"/>
                      </a:lnTo>
                      <a:lnTo>
                        <a:pt x="95" y="280"/>
                      </a:lnTo>
                      <a:lnTo>
                        <a:pt x="82" y="305"/>
                      </a:lnTo>
                      <a:lnTo>
                        <a:pt x="68" y="329"/>
                      </a:lnTo>
                      <a:lnTo>
                        <a:pt x="57" y="355"/>
                      </a:lnTo>
                      <a:lnTo>
                        <a:pt x="47" y="380"/>
                      </a:lnTo>
                      <a:lnTo>
                        <a:pt x="38" y="406"/>
                      </a:lnTo>
                      <a:lnTo>
                        <a:pt x="30" y="432"/>
                      </a:lnTo>
                      <a:lnTo>
                        <a:pt x="21" y="457"/>
                      </a:lnTo>
                      <a:lnTo>
                        <a:pt x="16" y="484"/>
                      </a:lnTo>
                      <a:lnTo>
                        <a:pt x="11" y="511"/>
                      </a:lnTo>
                      <a:lnTo>
                        <a:pt x="7" y="536"/>
                      </a:lnTo>
                      <a:lnTo>
                        <a:pt x="4" y="563"/>
                      </a:lnTo>
                      <a:lnTo>
                        <a:pt x="2" y="588"/>
                      </a:lnTo>
                      <a:lnTo>
                        <a:pt x="2" y="588"/>
                      </a:lnTo>
                      <a:lnTo>
                        <a:pt x="0" y="630"/>
                      </a:lnTo>
                      <a:lnTo>
                        <a:pt x="0" y="671"/>
                      </a:lnTo>
                      <a:lnTo>
                        <a:pt x="2" y="709"/>
                      </a:lnTo>
                      <a:lnTo>
                        <a:pt x="5" y="746"/>
                      </a:lnTo>
                      <a:lnTo>
                        <a:pt x="9" y="781"/>
                      </a:lnTo>
                      <a:lnTo>
                        <a:pt x="14" y="813"/>
                      </a:lnTo>
                      <a:lnTo>
                        <a:pt x="21" y="845"/>
                      </a:lnTo>
                      <a:lnTo>
                        <a:pt x="28" y="876"/>
                      </a:lnTo>
                      <a:lnTo>
                        <a:pt x="37" y="904"/>
                      </a:lnTo>
                      <a:lnTo>
                        <a:pt x="47" y="931"/>
                      </a:lnTo>
                      <a:lnTo>
                        <a:pt x="56" y="956"/>
                      </a:lnTo>
                      <a:lnTo>
                        <a:pt x="67" y="981"/>
                      </a:lnTo>
                      <a:lnTo>
                        <a:pt x="78" y="1005"/>
                      </a:lnTo>
                      <a:lnTo>
                        <a:pt x="90" y="1027"/>
                      </a:lnTo>
                      <a:lnTo>
                        <a:pt x="101" y="1047"/>
                      </a:lnTo>
                      <a:lnTo>
                        <a:pt x="113" y="1068"/>
                      </a:lnTo>
                      <a:lnTo>
                        <a:pt x="137" y="1105"/>
                      </a:lnTo>
                      <a:lnTo>
                        <a:pt x="160" y="1140"/>
                      </a:lnTo>
                      <a:lnTo>
                        <a:pt x="182" y="1170"/>
                      </a:lnTo>
                      <a:lnTo>
                        <a:pt x="202" y="1200"/>
                      </a:lnTo>
                      <a:lnTo>
                        <a:pt x="219" y="1226"/>
                      </a:lnTo>
                      <a:lnTo>
                        <a:pt x="226" y="1240"/>
                      </a:lnTo>
                      <a:lnTo>
                        <a:pt x="232" y="1253"/>
                      </a:lnTo>
                      <a:lnTo>
                        <a:pt x="236" y="1265"/>
                      </a:lnTo>
                      <a:lnTo>
                        <a:pt x="240" y="1279"/>
                      </a:lnTo>
                      <a:lnTo>
                        <a:pt x="242" y="1291"/>
                      </a:lnTo>
                      <a:lnTo>
                        <a:pt x="243" y="1303"/>
                      </a:lnTo>
                      <a:lnTo>
                        <a:pt x="243" y="1303"/>
                      </a:lnTo>
                      <a:lnTo>
                        <a:pt x="243" y="1328"/>
                      </a:lnTo>
                      <a:lnTo>
                        <a:pt x="241" y="1351"/>
                      </a:lnTo>
                      <a:lnTo>
                        <a:pt x="240" y="1375"/>
                      </a:lnTo>
                      <a:lnTo>
                        <a:pt x="237" y="1397"/>
                      </a:lnTo>
                      <a:lnTo>
                        <a:pt x="231" y="1442"/>
                      </a:lnTo>
                      <a:lnTo>
                        <a:pt x="224" y="1486"/>
                      </a:lnTo>
                      <a:lnTo>
                        <a:pt x="216" y="1528"/>
                      </a:lnTo>
                      <a:lnTo>
                        <a:pt x="206" y="1568"/>
                      </a:lnTo>
                      <a:lnTo>
                        <a:pt x="198" y="1606"/>
                      </a:lnTo>
                      <a:lnTo>
                        <a:pt x="192" y="1641"/>
                      </a:lnTo>
                      <a:lnTo>
                        <a:pt x="188" y="1641"/>
                      </a:lnTo>
                      <a:lnTo>
                        <a:pt x="188" y="1641"/>
                      </a:lnTo>
                      <a:lnTo>
                        <a:pt x="178" y="1641"/>
                      </a:lnTo>
                      <a:lnTo>
                        <a:pt x="168" y="1643"/>
                      </a:lnTo>
                      <a:lnTo>
                        <a:pt x="158" y="1645"/>
                      </a:lnTo>
                      <a:lnTo>
                        <a:pt x="149" y="1648"/>
                      </a:lnTo>
                      <a:lnTo>
                        <a:pt x="141" y="1652"/>
                      </a:lnTo>
                      <a:lnTo>
                        <a:pt x="133" y="1657"/>
                      </a:lnTo>
                      <a:lnTo>
                        <a:pt x="125" y="1663"/>
                      </a:lnTo>
                      <a:lnTo>
                        <a:pt x="117" y="1669"/>
                      </a:lnTo>
                      <a:lnTo>
                        <a:pt x="111" y="1676"/>
                      </a:lnTo>
                      <a:lnTo>
                        <a:pt x="105" y="1685"/>
                      </a:lnTo>
                      <a:lnTo>
                        <a:pt x="100" y="1693"/>
                      </a:lnTo>
                      <a:lnTo>
                        <a:pt x="96" y="1701"/>
                      </a:lnTo>
                      <a:lnTo>
                        <a:pt x="93" y="1710"/>
                      </a:lnTo>
                      <a:lnTo>
                        <a:pt x="91" y="1719"/>
                      </a:lnTo>
                      <a:lnTo>
                        <a:pt x="89" y="1730"/>
                      </a:lnTo>
                      <a:lnTo>
                        <a:pt x="89" y="1740"/>
                      </a:lnTo>
                      <a:lnTo>
                        <a:pt x="89" y="1813"/>
                      </a:lnTo>
                      <a:lnTo>
                        <a:pt x="89" y="1813"/>
                      </a:lnTo>
                      <a:lnTo>
                        <a:pt x="89" y="1821"/>
                      </a:lnTo>
                      <a:lnTo>
                        <a:pt x="92" y="1828"/>
                      </a:lnTo>
                      <a:lnTo>
                        <a:pt x="95" y="1835"/>
                      </a:lnTo>
                      <a:lnTo>
                        <a:pt x="100" y="1841"/>
                      </a:lnTo>
                      <a:lnTo>
                        <a:pt x="106" y="1846"/>
                      </a:lnTo>
                      <a:lnTo>
                        <a:pt x="112" y="1849"/>
                      </a:lnTo>
                      <a:lnTo>
                        <a:pt x="121" y="1851"/>
                      </a:lnTo>
                      <a:lnTo>
                        <a:pt x="129" y="1852"/>
                      </a:lnTo>
                      <a:lnTo>
                        <a:pt x="917" y="1852"/>
                      </a:lnTo>
                      <a:lnTo>
                        <a:pt x="917" y="1852"/>
                      </a:lnTo>
                      <a:lnTo>
                        <a:pt x="926" y="1851"/>
                      </a:lnTo>
                      <a:lnTo>
                        <a:pt x="933" y="1849"/>
                      </a:lnTo>
                      <a:lnTo>
                        <a:pt x="940" y="1846"/>
                      </a:lnTo>
                      <a:lnTo>
                        <a:pt x="946" y="1841"/>
                      </a:lnTo>
                      <a:lnTo>
                        <a:pt x="950" y="1835"/>
                      </a:lnTo>
                      <a:lnTo>
                        <a:pt x="954" y="1828"/>
                      </a:lnTo>
                      <a:lnTo>
                        <a:pt x="956" y="1821"/>
                      </a:lnTo>
                      <a:lnTo>
                        <a:pt x="957" y="1813"/>
                      </a:lnTo>
                      <a:lnTo>
                        <a:pt x="957" y="1740"/>
                      </a:lnTo>
                      <a:lnTo>
                        <a:pt x="957" y="1740"/>
                      </a:lnTo>
                      <a:lnTo>
                        <a:pt x="956" y="1730"/>
                      </a:lnTo>
                      <a:lnTo>
                        <a:pt x="955" y="1720"/>
                      </a:lnTo>
                      <a:lnTo>
                        <a:pt x="953" y="1710"/>
                      </a:lnTo>
                      <a:lnTo>
                        <a:pt x="949" y="1702"/>
                      </a:lnTo>
                      <a:lnTo>
                        <a:pt x="945" y="1693"/>
                      </a:lnTo>
                      <a:lnTo>
                        <a:pt x="941" y="1685"/>
                      </a:lnTo>
                      <a:lnTo>
                        <a:pt x="935" y="1677"/>
                      </a:lnTo>
                      <a:lnTo>
                        <a:pt x="929" y="1670"/>
                      </a:lnTo>
                      <a:lnTo>
                        <a:pt x="922" y="1664"/>
                      </a:lnTo>
                      <a:lnTo>
                        <a:pt x="914" y="1658"/>
                      </a:lnTo>
                      <a:lnTo>
                        <a:pt x="906" y="1653"/>
                      </a:lnTo>
                      <a:lnTo>
                        <a:pt x="898" y="1649"/>
                      </a:lnTo>
                      <a:lnTo>
                        <a:pt x="889" y="1646"/>
                      </a:lnTo>
                      <a:lnTo>
                        <a:pt x="880" y="1643"/>
                      </a:lnTo>
                      <a:lnTo>
                        <a:pt x="869" y="1642"/>
                      </a:lnTo>
                      <a:lnTo>
                        <a:pt x="860" y="1641"/>
                      </a:lnTo>
                      <a:lnTo>
                        <a:pt x="860" y="1641"/>
                      </a:lnTo>
                      <a:lnTo>
                        <a:pt x="861" y="1613"/>
                      </a:lnTo>
                      <a:lnTo>
                        <a:pt x="863" y="1600"/>
                      </a:lnTo>
                      <a:lnTo>
                        <a:pt x="866" y="1587"/>
                      </a:lnTo>
                      <a:lnTo>
                        <a:pt x="866" y="1587"/>
                      </a:lnTo>
                      <a:lnTo>
                        <a:pt x="873" y="1562"/>
                      </a:lnTo>
                      <a:lnTo>
                        <a:pt x="882" y="1538"/>
                      </a:lnTo>
                      <a:lnTo>
                        <a:pt x="891" y="1518"/>
                      </a:lnTo>
                      <a:lnTo>
                        <a:pt x="901" y="1500"/>
                      </a:lnTo>
                      <a:lnTo>
                        <a:pt x="906" y="1492"/>
                      </a:lnTo>
                      <a:lnTo>
                        <a:pt x="912" y="1484"/>
                      </a:lnTo>
                      <a:lnTo>
                        <a:pt x="918" y="1478"/>
                      </a:lnTo>
                      <a:lnTo>
                        <a:pt x="926" y="1472"/>
                      </a:lnTo>
                      <a:lnTo>
                        <a:pt x="933" y="1467"/>
                      </a:lnTo>
                      <a:lnTo>
                        <a:pt x="940" y="1462"/>
                      </a:lnTo>
                      <a:lnTo>
                        <a:pt x="948" y="1458"/>
                      </a:lnTo>
                      <a:lnTo>
                        <a:pt x="956" y="1454"/>
                      </a:lnTo>
                      <a:lnTo>
                        <a:pt x="964" y="1450"/>
                      </a:lnTo>
                      <a:lnTo>
                        <a:pt x="974" y="1447"/>
                      </a:lnTo>
                      <a:lnTo>
                        <a:pt x="993" y="1443"/>
                      </a:lnTo>
                      <a:lnTo>
                        <a:pt x="1015" y="1441"/>
                      </a:lnTo>
                      <a:lnTo>
                        <a:pt x="1038" y="1440"/>
                      </a:lnTo>
                      <a:lnTo>
                        <a:pt x="1064" y="1441"/>
                      </a:lnTo>
                      <a:lnTo>
                        <a:pt x="1091" y="1443"/>
                      </a:lnTo>
                      <a:lnTo>
                        <a:pt x="1122" y="1447"/>
                      </a:lnTo>
                      <a:lnTo>
                        <a:pt x="1155" y="1452"/>
                      </a:lnTo>
                      <a:lnTo>
                        <a:pt x="1155" y="1452"/>
                      </a:lnTo>
                      <a:lnTo>
                        <a:pt x="1169" y="1455"/>
                      </a:lnTo>
                      <a:lnTo>
                        <a:pt x="1181" y="1456"/>
                      </a:lnTo>
                      <a:lnTo>
                        <a:pt x="1194" y="1456"/>
                      </a:lnTo>
                      <a:lnTo>
                        <a:pt x="1206" y="1456"/>
                      </a:lnTo>
                      <a:lnTo>
                        <a:pt x="1216" y="1455"/>
                      </a:lnTo>
                      <a:lnTo>
                        <a:pt x="1225" y="1454"/>
                      </a:lnTo>
                      <a:lnTo>
                        <a:pt x="1235" y="1450"/>
                      </a:lnTo>
                      <a:lnTo>
                        <a:pt x="1243" y="1448"/>
                      </a:lnTo>
                      <a:lnTo>
                        <a:pt x="1250" y="1444"/>
                      </a:lnTo>
                      <a:lnTo>
                        <a:pt x="1257" y="1441"/>
                      </a:lnTo>
                      <a:lnTo>
                        <a:pt x="1263" y="1437"/>
                      </a:lnTo>
                      <a:lnTo>
                        <a:pt x="1269" y="1432"/>
                      </a:lnTo>
                      <a:lnTo>
                        <a:pt x="1274" y="1427"/>
                      </a:lnTo>
                      <a:lnTo>
                        <a:pt x="1279" y="1422"/>
                      </a:lnTo>
                      <a:lnTo>
                        <a:pt x="1287" y="1410"/>
                      </a:lnTo>
                      <a:lnTo>
                        <a:pt x="1292" y="1397"/>
                      </a:lnTo>
                      <a:lnTo>
                        <a:pt x="1296" y="1384"/>
                      </a:lnTo>
                      <a:lnTo>
                        <a:pt x="1299" y="1371"/>
                      </a:lnTo>
                      <a:lnTo>
                        <a:pt x="1301" y="1356"/>
                      </a:lnTo>
                      <a:lnTo>
                        <a:pt x="1303" y="1331"/>
                      </a:lnTo>
                      <a:lnTo>
                        <a:pt x="1304" y="1307"/>
                      </a:lnTo>
                      <a:lnTo>
                        <a:pt x="1304" y="1307"/>
                      </a:lnTo>
                      <a:lnTo>
                        <a:pt x="1305" y="1298"/>
                      </a:lnTo>
                      <a:lnTo>
                        <a:pt x="1306" y="1290"/>
                      </a:lnTo>
                      <a:lnTo>
                        <a:pt x="1308" y="1284"/>
                      </a:lnTo>
                      <a:lnTo>
                        <a:pt x="1310" y="1278"/>
                      </a:lnTo>
                      <a:lnTo>
                        <a:pt x="1313" y="1274"/>
                      </a:lnTo>
                      <a:lnTo>
                        <a:pt x="1316" y="1269"/>
                      </a:lnTo>
                      <a:lnTo>
                        <a:pt x="1323" y="1262"/>
                      </a:lnTo>
                      <a:lnTo>
                        <a:pt x="1336" y="1253"/>
                      </a:lnTo>
                      <a:lnTo>
                        <a:pt x="1343" y="1248"/>
                      </a:lnTo>
                      <a:lnTo>
                        <a:pt x="1345" y="1244"/>
                      </a:lnTo>
                      <a:lnTo>
                        <a:pt x="1348" y="1240"/>
                      </a:lnTo>
                      <a:lnTo>
                        <a:pt x="1348" y="1240"/>
                      </a:lnTo>
                      <a:lnTo>
                        <a:pt x="1352" y="1230"/>
                      </a:lnTo>
                      <a:lnTo>
                        <a:pt x="1353" y="1219"/>
                      </a:lnTo>
                      <a:lnTo>
                        <a:pt x="1353" y="1211"/>
                      </a:lnTo>
                      <a:lnTo>
                        <a:pt x="1351" y="1204"/>
                      </a:lnTo>
                      <a:lnTo>
                        <a:pt x="1347" y="1197"/>
                      </a:lnTo>
                      <a:lnTo>
                        <a:pt x="1341" y="1192"/>
                      </a:lnTo>
                      <a:lnTo>
                        <a:pt x="1335" y="1187"/>
                      </a:lnTo>
                      <a:lnTo>
                        <a:pt x="1327" y="1184"/>
                      </a:lnTo>
                      <a:lnTo>
                        <a:pt x="1327" y="1184"/>
                      </a:lnTo>
                      <a:lnTo>
                        <a:pt x="1338" y="1181"/>
                      </a:lnTo>
                      <a:lnTo>
                        <a:pt x="1344" y="1180"/>
                      </a:lnTo>
                      <a:lnTo>
                        <a:pt x="1349" y="1177"/>
                      </a:lnTo>
                      <a:lnTo>
                        <a:pt x="1353" y="1173"/>
                      </a:lnTo>
                      <a:lnTo>
                        <a:pt x="1354" y="1169"/>
                      </a:lnTo>
                      <a:lnTo>
                        <a:pt x="1355" y="1166"/>
                      </a:lnTo>
                      <a:lnTo>
                        <a:pt x="1356" y="1156"/>
                      </a:lnTo>
                      <a:lnTo>
                        <a:pt x="1354" y="1144"/>
                      </a:lnTo>
                      <a:lnTo>
                        <a:pt x="1354" y="1144"/>
                      </a:lnTo>
                      <a:lnTo>
                        <a:pt x="1350" y="1129"/>
                      </a:lnTo>
                      <a:lnTo>
                        <a:pt x="1345" y="1115"/>
                      </a:lnTo>
                      <a:lnTo>
                        <a:pt x="1341" y="1101"/>
                      </a:lnTo>
                      <a:lnTo>
                        <a:pt x="1340" y="1093"/>
                      </a:lnTo>
                      <a:lnTo>
                        <a:pt x="1339" y="1086"/>
                      </a:lnTo>
                      <a:lnTo>
                        <a:pt x="1340" y="1079"/>
                      </a:lnTo>
                      <a:lnTo>
                        <a:pt x="1341" y="1072"/>
                      </a:lnTo>
                      <a:lnTo>
                        <a:pt x="1344" y="1065"/>
                      </a:lnTo>
                      <a:lnTo>
                        <a:pt x="1349" y="1058"/>
                      </a:lnTo>
                      <a:lnTo>
                        <a:pt x="1355" y="1051"/>
                      </a:lnTo>
                      <a:lnTo>
                        <a:pt x="1364" y="1043"/>
                      </a:lnTo>
                      <a:lnTo>
                        <a:pt x="1375" y="1036"/>
                      </a:lnTo>
                      <a:lnTo>
                        <a:pt x="1388" y="1029"/>
                      </a:lnTo>
                      <a:lnTo>
                        <a:pt x="1388" y="1029"/>
                      </a:lnTo>
                      <a:lnTo>
                        <a:pt x="1398" y="1025"/>
                      </a:lnTo>
                      <a:lnTo>
                        <a:pt x="1407" y="1020"/>
                      </a:lnTo>
                      <a:lnTo>
                        <a:pt x="1415" y="1015"/>
                      </a:lnTo>
                      <a:lnTo>
                        <a:pt x="1420" y="1010"/>
                      </a:lnTo>
                      <a:lnTo>
                        <a:pt x="1425" y="1005"/>
                      </a:lnTo>
                      <a:lnTo>
                        <a:pt x="1428" y="998"/>
                      </a:lnTo>
                      <a:lnTo>
                        <a:pt x="1430" y="992"/>
                      </a:lnTo>
                      <a:lnTo>
                        <a:pt x="1430" y="985"/>
                      </a:lnTo>
                      <a:lnTo>
                        <a:pt x="1429" y="977"/>
                      </a:lnTo>
                      <a:lnTo>
                        <a:pt x="1427" y="969"/>
                      </a:lnTo>
                      <a:lnTo>
                        <a:pt x="1424" y="960"/>
                      </a:lnTo>
                      <a:lnTo>
                        <a:pt x="1419" y="948"/>
                      </a:lnTo>
                      <a:lnTo>
                        <a:pt x="1406" y="923"/>
                      </a:lnTo>
                      <a:lnTo>
                        <a:pt x="1389" y="891"/>
                      </a:lnTo>
                      <a:lnTo>
                        <a:pt x="1389" y="891"/>
                      </a:lnTo>
                      <a:close/>
                      <a:moveTo>
                        <a:pt x="634" y="714"/>
                      </a:moveTo>
                      <a:lnTo>
                        <a:pt x="634" y="714"/>
                      </a:lnTo>
                      <a:lnTo>
                        <a:pt x="634" y="726"/>
                      </a:lnTo>
                      <a:lnTo>
                        <a:pt x="633" y="739"/>
                      </a:lnTo>
                      <a:lnTo>
                        <a:pt x="629" y="763"/>
                      </a:lnTo>
                      <a:lnTo>
                        <a:pt x="649" y="767"/>
                      </a:lnTo>
                      <a:lnTo>
                        <a:pt x="649" y="767"/>
                      </a:lnTo>
                      <a:lnTo>
                        <a:pt x="655" y="768"/>
                      </a:lnTo>
                      <a:lnTo>
                        <a:pt x="658" y="770"/>
                      </a:lnTo>
                      <a:lnTo>
                        <a:pt x="658" y="770"/>
                      </a:lnTo>
                      <a:lnTo>
                        <a:pt x="664" y="774"/>
                      </a:lnTo>
                      <a:lnTo>
                        <a:pt x="667" y="780"/>
                      </a:lnTo>
                      <a:lnTo>
                        <a:pt x="669" y="787"/>
                      </a:lnTo>
                      <a:lnTo>
                        <a:pt x="668" y="793"/>
                      </a:lnTo>
                      <a:lnTo>
                        <a:pt x="668" y="793"/>
                      </a:lnTo>
                      <a:lnTo>
                        <a:pt x="668" y="793"/>
                      </a:lnTo>
                      <a:lnTo>
                        <a:pt x="663" y="810"/>
                      </a:lnTo>
                      <a:lnTo>
                        <a:pt x="656" y="829"/>
                      </a:lnTo>
                      <a:lnTo>
                        <a:pt x="647" y="846"/>
                      </a:lnTo>
                      <a:lnTo>
                        <a:pt x="639" y="862"/>
                      </a:lnTo>
                      <a:lnTo>
                        <a:pt x="639" y="862"/>
                      </a:lnTo>
                      <a:lnTo>
                        <a:pt x="629" y="879"/>
                      </a:lnTo>
                      <a:lnTo>
                        <a:pt x="618" y="895"/>
                      </a:lnTo>
                      <a:lnTo>
                        <a:pt x="605" y="909"/>
                      </a:lnTo>
                      <a:lnTo>
                        <a:pt x="593" y="924"/>
                      </a:lnTo>
                      <a:lnTo>
                        <a:pt x="593" y="924"/>
                      </a:lnTo>
                      <a:lnTo>
                        <a:pt x="593" y="924"/>
                      </a:lnTo>
                      <a:lnTo>
                        <a:pt x="587" y="927"/>
                      </a:lnTo>
                      <a:lnTo>
                        <a:pt x="581" y="929"/>
                      </a:lnTo>
                      <a:lnTo>
                        <a:pt x="575" y="928"/>
                      </a:lnTo>
                      <a:lnTo>
                        <a:pt x="569" y="926"/>
                      </a:lnTo>
                      <a:lnTo>
                        <a:pt x="569" y="926"/>
                      </a:lnTo>
                      <a:lnTo>
                        <a:pt x="565" y="924"/>
                      </a:lnTo>
                      <a:lnTo>
                        <a:pt x="561" y="920"/>
                      </a:lnTo>
                      <a:lnTo>
                        <a:pt x="547" y="904"/>
                      </a:lnTo>
                      <a:lnTo>
                        <a:pt x="547" y="904"/>
                      </a:lnTo>
                      <a:lnTo>
                        <a:pt x="529" y="920"/>
                      </a:lnTo>
                      <a:lnTo>
                        <a:pt x="508" y="933"/>
                      </a:lnTo>
                      <a:lnTo>
                        <a:pt x="486" y="944"/>
                      </a:lnTo>
                      <a:lnTo>
                        <a:pt x="474" y="949"/>
                      </a:lnTo>
                      <a:lnTo>
                        <a:pt x="462" y="953"/>
                      </a:lnTo>
                      <a:lnTo>
                        <a:pt x="469" y="973"/>
                      </a:lnTo>
                      <a:lnTo>
                        <a:pt x="469" y="973"/>
                      </a:lnTo>
                      <a:lnTo>
                        <a:pt x="470" y="978"/>
                      </a:lnTo>
                      <a:lnTo>
                        <a:pt x="471" y="982"/>
                      </a:lnTo>
                      <a:lnTo>
                        <a:pt x="471" y="982"/>
                      </a:lnTo>
                      <a:lnTo>
                        <a:pt x="470" y="988"/>
                      </a:lnTo>
                      <a:lnTo>
                        <a:pt x="467" y="994"/>
                      </a:lnTo>
                      <a:lnTo>
                        <a:pt x="462" y="999"/>
                      </a:lnTo>
                      <a:lnTo>
                        <a:pt x="456" y="1002"/>
                      </a:lnTo>
                      <a:lnTo>
                        <a:pt x="457" y="1002"/>
                      </a:lnTo>
                      <a:lnTo>
                        <a:pt x="457" y="1002"/>
                      </a:lnTo>
                      <a:lnTo>
                        <a:pt x="439" y="1006"/>
                      </a:lnTo>
                      <a:lnTo>
                        <a:pt x="419" y="1009"/>
                      </a:lnTo>
                      <a:lnTo>
                        <a:pt x="401" y="1011"/>
                      </a:lnTo>
                      <a:lnTo>
                        <a:pt x="381" y="1012"/>
                      </a:lnTo>
                      <a:lnTo>
                        <a:pt x="381" y="1012"/>
                      </a:lnTo>
                      <a:lnTo>
                        <a:pt x="362" y="1011"/>
                      </a:lnTo>
                      <a:lnTo>
                        <a:pt x="343" y="1009"/>
                      </a:lnTo>
                      <a:lnTo>
                        <a:pt x="324" y="1006"/>
                      </a:lnTo>
                      <a:lnTo>
                        <a:pt x="306" y="1002"/>
                      </a:lnTo>
                      <a:lnTo>
                        <a:pt x="306" y="1002"/>
                      </a:lnTo>
                      <a:lnTo>
                        <a:pt x="306" y="1002"/>
                      </a:lnTo>
                      <a:lnTo>
                        <a:pt x="300" y="999"/>
                      </a:lnTo>
                      <a:lnTo>
                        <a:pt x="295" y="994"/>
                      </a:lnTo>
                      <a:lnTo>
                        <a:pt x="292" y="988"/>
                      </a:lnTo>
                      <a:lnTo>
                        <a:pt x="291" y="982"/>
                      </a:lnTo>
                      <a:lnTo>
                        <a:pt x="291" y="982"/>
                      </a:lnTo>
                      <a:lnTo>
                        <a:pt x="291" y="977"/>
                      </a:lnTo>
                      <a:lnTo>
                        <a:pt x="292" y="973"/>
                      </a:lnTo>
                      <a:lnTo>
                        <a:pt x="300" y="953"/>
                      </a:lnTo>
                      <a:lnTo>
                        <a:pt x="300" y="953"/>
                      </a:lnTo>
                      <a:lnTo>
                        <a:pt x="288" y="949"/>
                      </a:lnTo>
                      <a:lnTo>
                        <a:pt x="277" y="944"/>
                      </a:lnTo>
                      <a:lnTo>
                        <a:pt x="255" y="933"/>
                      </a:lnTo>
                      <a:lnTo>
                        <a:pt x="234" y="920"/>
                      </a:lnTo>
                      <a:lnTo>
                        <a:pt x="215" y="904"/>
                      </a:lnTo>
                      <a:lnTo>
                        <a:pt x="200" y="920"/>
                      </a:lnTo>
                      <a:lnTo>
                        <a:pt x="200" y="920"/>
                      </a:lnTo>
                      <a:lnTo>
                        <a:pt x="198" y="924"/>
                      </a:lnTo>
                      <a:lnTo>
                        <a:pt x="194" y="926"/>
                      </a:lnTo>
                      <a:lnTo>
                        <a:pt x="194" y="926"/>
                      </a:lnTo>
                      <a:lnTo>
                        <a:pt x="188" y="928"/>
                      </a:lnTo>
                      <a:lnTo>
                        <a:pt x="181" y="929"/>
                      </a:lnTo>
                      <a:lnTo>
                        <a:pt x="175" y="927"/>
                      </a:lnTo>
                      <a:lnTo>
                        <a:pt x="170" y="924"/>
                      </a:lnTo>
                      <a:lnTo>
                        <a:pt x="170" y="924"/>
                      </a:lnTo>
                      <a:lnTo>
                        <a:pt x="170" y="924"/>
                      </a:lnTo>
                      <a:lnTo>
                        <a:pt x="157" y="909"/>
                      </a:lnTo>
                      <a:lnTo>
                        <a:pt x="145" y="895"/>
                      </a:lnTo>
                      <a:lnTo>
                        <a:pt x="134" y="879"/>
                      </a:lnTo>
                      <a:lnTo>
                        <a:pt x="124" y="862"/>
                      </a:lnTo>
                      <a:lnTo>
                        <a:pt x="124" y="862"/>
                      </a:lnTo>
                      <a:lnTo>
                        <a:pt x="114" y="846"/>
                      </a:lnTo>
                      <a:lnTo>
                        <a:pt x="106" y="829"/>
                      </a:lnTo>
                      <a:lnTo>
                        <a:pt x="100" y="810"/>
                      </a:lnTo>
                      <a:lnTo>
                        <a:pt x="94" y="793"/>
                      </a:lnTo>
                      <a:lnTo>
                        <a:pt x="94" y="793"/>
                      </a:lnTo>
                      <a:lnTo>
                        <a:pt x="94" y="793"/>
                      </a:lnTo>
                      <a:lnTo>
                        <a:pt x="94" y="787"/>
                      </a:lnTo>
                      <a:lnTo>
                        <a:pt x="95" y="780"/>
                      </a:lnTo>
                      <a:lnTo>
                        <a:pt x="99" y="774"/>
                      </a:lnTo>
                      <a:lnTo>
                        <a:pt x="104" y="770"/>
                      </a:lnTo>
                      <a:lnTo>
                        <a:pt x="104" y="770"/>
                      </a:lnTo>
                      <a:lnTo>
                        <a:pt x="108" y="768"/>
                      </a:lnTo>
                      <a:lnTo>
                        <a:pt x="112" y="767"/>
                      </a:lnTo>
                      <a:lnTo>
                        <a:pt x="133" y="763"/>
                      </a:lnTo>
                      <a:lnTo>
                        <a:pt x="133" y="763"/>
                      </a:lnTo>
                      <a:lnTo>
                        <a:pt x="130" y="739"/>
                      </a:lnTo>
                      <a:lnTo>
                        <a:pt x="129" y="726"/>
                      </a:lnTo>
                      <a:lnTo>
                        <a:pt x="129" y="714"/>
                      </a:lnTo>
                      <a:lnTo>
                        <a:pt x="129" y="714"/>
                      </a:lnTo>
                      <a:lnTo>
                        <a:pt x="129" y="702"/>
                      </a:lnTo>
                      <a:lnTo>
                        <a:pt x="130" y="690"/>
                      </a:lnTo>
                      <a:lnTo>
                        <a:pt x="133" y="665"/>
                      </a:lnTo>
                      <a:lnTo>
                        <a:pt x="112" y="661"/>
                      </a:lnTo>
                      <a:lnTo>
                        <a:pt x="112" y="661"/>
                      </a:lnTo>
                      <a:lnTo>
                        <a:pt x="108" y="660"/>
                      </a:lnTo>
                      <a:lnTo>
                        <a:pt x="104" y="658"/>
                      </a:lnTo>
                      <a:lnTo>
                        <a:pt x="104" y="658"/>
                      </a:lnTo>
                      <a:lnTo>
                        <a:pt x="99" y="654"/>
                      </a:lnTo>
                      <a:lnTo>
                        <a:pt x="95" y="649"/>
                      </a:lnTo>
                      <a:lnTo>
                        <a:pt x="94" y="642"/>
                      </a:lnTo>
                      <a:lnTo>
                        <a:pt x="94" y="635"/>
                      </a:lnTo>
                      <a:lnTo>
                        <a:pt x="94" y="635"/>
                      </a:lnTo>
                      <a:lnTo>
                        <a:pt x="94" y="635"/>
                      </a:lnTo>
                      <a:lnTo>
                        <a:pt x="100" y="618"/>
                      </a:lnTo>
                      <a:lnTo>
                        <a:pt x="106" y="600"/>
                      </a:lnTo>
                      <a:lnTo>
                        <a:pt x="114" y="582"/>
                      </a:lnTo>
                      <a:lnTo>
                        <a:pt x="124" y="566"/>
                      </a:lnTo>
                      <a:lnTo>
                        <a:pt x="124" y="566"/>
                      </a:lnTo>
                      <a:lnTo>
                        <a:pt x="134" y="549"/>
                      </a:lnTo>
                      <a:lnTo>
                        <a:pt x="145" y="533"/>
                      </a:lnTo>
                      <a:lnTo>
                        <a:pt x="157" y="519"/>
                      </a:lnTo>
                      <a:lnTo>
                        <a:pt x="170" y="504"/>
                      </a:lnTo>
                      <a:lnTo>
                        <a:pt x="170" y="504"/>
                      </a:lnTo>
                      <a:lnTo>
                        <a:pt x="170" y="504"/>
                      </a:lnTo>
                      <a:lnTo>
                        <a:pt x="175" y="501"/>
                      </a:lnTo>
                      <a:lnTo>
                        <a:pt x="181" y="499"/>
                      </a:lnTo>
                      <a:lnTo>
                        <a:pt x="188" y="500"/>
                      </a:lnTo>
                      <a:lnTo>
                        <a:pt x="194" y="502"/>
                      </a:lnTo>
                      <a:lnTo>
                        <a:pt x="194" y="502"/>
                      </a:lnTo>
                      <a:lnTo>
                        <a:pt x="198" y="504"/>
                      </a:lnTo>
                      <a:lnTo>
                        <a:pt x="200" y="508"/>
                      </a:lnTo>
                      <a:lnTo>
                        <a:pt x="215" y="524"/>
                      </a:lnTo>
                      <a:lnTo>
                        <a:pt x="215" y="524"/>
                      </a:lnTo>
                      <a:lnTo>
                        <a:pt x="234" y="508"/>
                      </a:lnTo>
                      <a:lnTo>
                        <a:pt x="255" y="495"/>
                      </a:lnTo>
                      <a:lnTo>
                        <a:pt x="277" y="484"/>
                      </a:lnTo>
                      <a:lnTo>
                        <a:pt x="288" y="479"/>
                      </a:lnTo>
                      <a:lnTo>
                        <a:pt x="300" y="475"/>
                      </a:lnTo>
                      <a:lnTo>
                        <a:pt x="292" y="455"/>
                      </a:lnTo>
                      <a:lnTo>
                        <a:pt x="292" y="455"/>
                      </a:lnTo>
                      <a:lnTo>
                        <a:pt x="291" y="450"/>
                      </a:lnTo>
                      <a:lnTo>
                        <a:pt x="291" y="446"/>
                      </a:lnTo>
                      <a:lnTo>
                        <a:pt x="291" y="446"/>
                      </a:lnTo>
                      <a:lnTo>
                        <a:pt x="292" y="440"/>
                      </a:lnTo>
                      <a:lnTo>
                        <a:pt x="295" y="434"/>
                      </a:lnTo>
                      <a:lnTo>
                        <a:pt x="300" y="429"/>
                      </a:lnTo>
                      <a:lnTo>
                        <a:pt x="306" y="426"/>
                      </a:lnTo>
                      <a:lnTo>
                        <a:pt x="306" y="426"/>
                      </a:lnTo>
                      <a:lnTo>
                        <a:pt x="324" y="423"/>
                      </a:lnTo>
                      <a:lnTo>
                        <a:pt x="343" y="419"/>
                      </a:lnTo>
                      <a:lnTo>
                        <a:pt x="362" y="417"/>
                      </a:lnTo>
                      <a:lnTo>
                        <a:pt x="381" y="416"/>
                      </a:lnTo>
                      <a:lnTo>
                        <a:pt x="381" y="416"/>
                      </a:lnTo>
                      <a:lnTo>
                        <a:pt x="401" y="417"/>
                      </a:lnTo>
                      <a:lnTo>
                        <a:pt x="419" y="419"/>
                      </a:lnTo>
                      <a:lnTo>
                        <a:pt x="439" y="423"/>
                      </a:lnTo>
                      <a:lnTo>
                        <a:pt x="457" y="426"/>
                      </a:lnTo>
                      <a:lnTo>
                        <a:pt x="456" y="426"/>
                      </a:lnTo>
                      <a:lnTo>
                        <a:pt x="456" y="426"/>
                      </a:lnTo>
                      <a:lnTo>
                        <a:pt x="462" y="429"/>
                      </a:lnTo>
                      <a:lnTo>
                        <a:pt x="467" y="434"/>
                      </a:lnTo>
                      <a:lnTo>
                        <a:pt x="470" y="440"/>
                      </a:lnTo>
                      <a:lnTo>
                        <a:pt x="471" y="446"/>
                      </a:lnTo>
                      <a:lnTo>
                        <a:pt x="471" y="446"/>
                      </a:lnTo>
                      <a:lnTo>
                        <a:pt x="470" y="450"/>
                      </a:lnTo>
                      <a:lnTo>
                        <a:pt x="469" y="455"/>
                      </a:lnTo>
                      <a:lnTo>
                        <a:pt x="462" y="475"/>
                      </a:lnTo>
                      <a:lnTo>
                        <a:pt x="462" y="475"/>
                      </a:lnTo>
                      <a:lnTo>
                        <a:pt x="474" y="479"/>
                      </a:lnTo>
                      <a:lnTo>
                        <a:pt x="486" y="484"/>
                      </a:lnTo>
                      <a:lnTo>
                        <a:pt x="497" y="489"/>
                      </a:lnTo>
                      <a:lnTo>
                        <a:pt x="508" y="495"/>
                      </a:lnTo>
                      <a:lnTo>
                        <a:pt x="529" y="508"/>
                      </a:lnTo>
                      <a:lnTo>
                        <a:pt x="547" y="524"/>
                      </a:lnTo>
                      <a:lnTo>
                        <a:pt x="561" y="508"/>
                      </a:lnTo>
                      <a:lnTo>
                        <a:pt x="561" y="508"/>
                      </a:lnTo>
                      <a:lnTo>
                        <a:pt x="565" y="504"/>
                      </a:lnTo>
                      <a:lnTo>
                        <a:pt x="568" y="502"/>
                      </a:lnTo>
                      <a:lnTo>
                        <a:pt x="568" y="502"/>
                      </a:lnTo>
                      <a:lnTo>
                        <a:pt x="575" y="500"/>
                      </a:lnTo>
                      <a:lnTo>
                        <a:pt x="581" y="499"/>
                      </a:lnTo>
                      <a:lnTo>
                        <a:pt x="587" y="501"/>
                      </a:lnTo>
                      <a:lnTo>
                        <a:pt x="593" y="504"/>
                      </a:lnTo>
                      <a:lnTo>
                        <a:pt x="593" y="504"/>
                      </a:lnTo>
                      <a:lnTo>
                        <a:pt x="593" y="504"/>
                      </a:lnTo>
                      <a:lnTo>
                        <a:pt x="605" y="519"/>
                      </a:lnTo>
                      <a:lnTo>
                        <a:pt x="618" y="533"/>
                      </a:lnTo>
                      <a:lnTo>
                        <a:pt x="628" y="549"/>
                      </a:lnTo>
                      <a:lnTo>
                        <a:pt x="639" y="566"/>
                      </a:lnTo>
                      <a:lnTo>
                        <a:pt x="639" y="566"/>
                      </a:lnTo>
                      <a:lnTo>
                        <a:pt x="647" y="582"/>
                      </a:lnTo>
                      <a:lnTo>
                        <a:pt x="656" y="600"/>
                      </a:lnTo>
                      <a:lnTo>
                        <a:pt x="663" y="618"/>
                      </a:lnTo>
                      <a:lnTo>
                        <a:pt x="668" y="635"/>
                      </a:lnTo>
                      <a:lnTo>
                        <a:pt x="668" y="635"/>
                      </a:lnTo>
                      <a:lnTo>
                        <a:pt x="668" y="635"/>
                      </a:lnTo>
                      <a:lnTo>
                        <a:pt x="669" y="642"/>
                      </a:lnTo>
                      <a:lnTo>
                        <a:pt x="667" y="649"/>
                      </a:lnTo>
                      <a:lnTo>
                        <a:pt x="664" y="654"/>
                      </a:lnTo>
                      <a:lnTo>
                        <a:pt x="658" y="658"/>
                      </a:lnTo>
                      <a:lnTo>
                        <a:pt x="658" y="658"/>
                      </a:lnTo>
                      <a:lnTo>
                        <a:pt x="655" y="660"/>
                      </a:lnTo>
                      <a:lnTo>
                        <a:pt x="649" y="661"/>
                      </a:lnTo>
                      <a:lnTo>
                        <a:pt x="629" y="665"/>
                      </a:lnTo>
                      <a:lnTo>
                        <a:pt x="629" y="665"/>
                      </a:lnTo>
                      <a:lnTo>
                        <a:pt x="633" y="690"/>
                      </a:lnTo>
                      <a:lnTo>
                        <a:pt x="634" y="702"/>
                      </a:lnTo>
                      <a:lnTo>
                        <a:pt x="634" y="714"/>
                      </a:lnTo>
                      <a:lnTo>
                        <a:pt x="634" y="714"/>
                      </a:lnTo>
                      <a:close/>
                      <a:moveTo>
                        <a:pt x="689" y="359"/>
                      </a:moveTo>
                      <a:lnTo>
                        <a:pt x="676" y="344"/>
                      </a:lnTo>
                      <a:lnTo>
                        <a:pt x="676" y="344"/>
                      </a:lnTo>
                      <a:lnTo>
                        <a:pt x="665" y="353"/>
                      </a:lnTo>
                      <a:lnTo>
                        <a:pt x="652" y="360"/>
                      </a:lnTo>
                      <a:lnTo>
                        <a:pt x="639" y="367"/>
                      </a:lnTo>
                      <a:lnTo>
                        <a:pt x="626" y="372"/>
                      </a:lnTo>
                      <a:lnTo>
                        <a:pt x="632" y="392"/>
                      </a:lnTo>
                      <a:lnTo>
                        <a:pt x="632" y="392"/>
                      </a:lnTo>
                      <a:lnTo>
                        <a:pt x="634" y="397"/>
                      </a:lnTo>
                      <a:lnTo>
                        <a:pt x="634" y="397"/>
                      </a:lnTo>
                      <a:lnTo>
                        <a:pt x="633" y="401"/>
                      </a:lnTo>
                      <a:lnTo>
                        <a:pt x="631" y="404"/>
                      </a:lnTo>
                      <a:lnTo>
                        <a:pt x="628" y="407"/>
                      </a:lnTo>
                      <a:lnTo>
                        <a:pt x="625" y="409"/>
                      </a:lnTo>
                      <a:lnTo>
                        <a:pt x="625" y="409"/>
                      </a:lnTo>
                      <a:lnTo>
                        <a:pt x="625" y="409"/>
                      </a:lnTo>
                      <a:lnTo>
                        <a:pt x="614" y="411"/>
                      </a:lnTo>
                      <a:lnTo>
                        <a:pt x="602" y="413"/>
                      </a:lnTo>
                      <a:lnTo>
                        <a:pt x="590" y="414"/>
                      </a:lnTo>
                      <a:lnTo>
                        <a:pt x="579" y="414"/>
                      </a:lnTo>
                      <a:lnTo>
                        <a:pt x="579" y="414"/>
                      </a:lnTo>
                      <a:lnTo>
                        <a:pt x="567" y="414"/>
                      </a:lnTo>
                      <a:lnTo>
                        <a:pt x="555" y="413"/>
                      </a:lnTo>
                      <a:lnTo>
                        <a:pt x="544" y="411"/>
                      </a:lnTo>
                      <a:lnTo>
                        <a:pt x="533" y="409"/>
                      </a:lnTo>
                      <a:lnTo>
                        <a:pt x="533" y="409"/>
                      </a:lnTo>
                      <a:lnTo>
                        <a:pt x="533" y="409"/>
                      </a:lnTo>
                      <a:lnTo>
                        <a:pt x="529" y="407"/>
                      </a:lnTo>
                      <a:lnTo>
                        <a:pt x="526" y="404"/>
                      </a:lnTo>
                      <a:lnTo>
                        <a:pt x="525" y="401"/>
                      </a:lnTo>
                      <a:lnTo>
                        <a:pt x="524" y="397"/>
                      </a:lnTo>
                      <a:lnTo>
                        <a:pt x="524" y="397"/>
                      </a:lnTo>
                      <a:lnTo>
                        <a:pt x="525" y="392"/>
                      </a:lnTo>
                      <a:lnTo>
                        <a:pt x="531" y="372"/>
                      </a:lnTo>
                      <a:lnTo>
                        <a:pt x="531" y="372"/>
                      </a:lnTo>
                      <a:lnTo>
                        <a:pt x="517" y="367"/>
                      </a:lnTo>
                      <a:lnTo>
                        <a:pt x="504" y="360"/>
                      </a:lnTo>
                      <a:lnTo>
                        <a:pt x="493" y="353"/>
                      </a:lnTo>
                      <a:lnTo>
                        <a:pt x="482" y="344"/>
                      </a:lnTo>
                      <a:lnTo>
                        <a:pt x="468" y="359"/>
                      </a:lnTo>
                      <a:lnTo>
                        <a:pt x="468" y="359"/>
                      </a:lnTo>
                      <a:lnTo>
                        <a:pt x="466" y="361"/>
                      </a:lnTo>
                      <a:lnTo>
                        <a:pt x="464" y="362"/>
                      </a:lnTo>
                      <a:lnTo>
                        <a:pt x="464" y="362"/>
                      </a:lnTo>
                      <a:lnTo>
                        <a:pt x="460" y="364"/>
                      </a:lnTo>
                      <a:lnTo>
                        <a:pt x="456" y="364"/>
                      </a:lnTo>
                      <a:lnTo>
                        <a:pt x="452" y="363"/>
                      </a:lnTo>
                      <a:lnTo>
                        <a:pt x="449" y="361"/>
                      </a:lnTo>
                      <a:lnTo>
                        <a:pt x="449" y="361"/>
                      </a:lnTo>
                      <a:lnTo>
                        <a:pt x="441" y="352"/>
                      </a:lnTo>
                      <a:lnTo>
                        <a:pt x="434" y="344"/>
                      </a:lnTo>
                      <a:lnTo>
                        <a:pt x="427" y="334"/>
                      </a:lnTo>
                      <a:lnTo>
                        <a:pt x="421" y="324"/>
                      </a:lnTo>
                      <a:lnTo>
                        <a:pt x="421" y="324"/>
                      </a:lnTo>
                      <a:lnTo>
                        <a:pt x="415" y="313"/>
                      </a:lnTo>
                      <a:lnTo>
                        <a:pt x="410" y="303"/>
                      </a:lnTo>
                      <a:lnTo>
                        <a:pt x="406" y="292"/>
                      </a:lnTo>
                      <a:lnTo>
                        <a:pt x="403" y="281"/>
                      </a:lnTo>
                      <a:lnTo>
                        <a:pt x="403" y="281"/>
                      </a:lnTo>
                      <a:lnTo>
                        <a:pt x="403" y="281"/>
                      </a:lnTo>
                      <a:lnTo>
                        <a:pt x="403" y="277"/>
                      </a:lnTo>
                      <a:lnTo>
                        <a:pt x="404" y="273"/>
                      </a:lnTo>
                      <a:lnTo>
                        <a:pt x="406" y="270"/>
                      </a:lnTo>
                      <a:lnTo>
                        <a:pt x="409" y="267"/>
                      </a:lnTo>
                      <a:lnTo>
                        <a:pt x="409" y="267"/>
                      </a:lnTo>
                      <a:lnTo>
                        <a:pt x="414" y="265"/>
                      </a:lnTo>
                      <a:lnTo>
                        <a:pt x="434" y="262"/>
                      </a:lnTo>
                      <a:lnTo>
                        <a:pt x="434" y="262"/>
                      </a:lnTo>
                      <a:lnTo>
                        <a:pt x="432" y="248"/>
                      </a:lnTo>
                      <a:lnTo>
                        <a:pt x="431" y="232"/>
                      </a:lnTo>
                      <a:lnTo>
                        <a:pt x="431" y="232"/>
                      </a:lnTo>
                      <a:lnTo>
                        <a:pt x="432" y="218"/>
                      </a:lnTo>
                      <a:lnTo>
                        <a:pt x="434" y="204"/>
                      </a:lnTo>
                      <a:lnTo>
                        <a:pt x="414" y="201"/>
                      </a:lnTo>
                      <a:lnTo>
                        <a:pt x="414" y="201"/>
                      </a:lnTo>
                      <a:lnTo>
                        <a:pt x="409" y="199"/>
                      </a:lnTo>
                      <a:lnTo>
                        <a:pt x="409" y="199"/>
                      </a:lnTo>
                      <a:lnTo>
                        <a:pt x="406" y="196"/>
                      </a:lnTo>
                      <a:lnTo>
                        <a:pt x="404" y="192"/>
                      </a:lnTo>
                      <a:lnTo>
                        <a:pt x="403" y="188"/>
                      </a:lnTo>
                      <a:lnTo>
                        <a:pt x="403" y="184"/>
                      </a:lnTo>
                      <a:lnTo>
                        <a:pt x="403" y="185"/>
                      </a:lnTo>
                      <a:lnTo>
                        <a:pt x="403" y="185"/>
                      </a:lnTo>
                      <a:lnTo>
                        <a:pt x="406" y="174"/>
                      </a:lnTo>
                      <a:lnTo>
                        <a:pt x="410" y="163"/>
                      </a:lnTo>
                      <a:lnTo>
                        <a:pt x="415" y="153"/>
                      </a:lnTo>
                      <a:lnTo>
                        <a:pt x="421" y="142"/>
                      </a:lnTo>
                      <a:lnTo>
                        <a:pt x="421" y="142"/>
                      </a:lnTo>
                      <a:lnTo>
                        <a:pt x="427" y="132"/>
                      </a:lnTo>
                      <a:lnTo>
                        <a:pt x="434" y="122"/>
                      </a:lnTo>
                      <a:lnTo>
                        <a:pt x="441" y="114"/>
                      </a:lnTo>
                      <a:lnTo>
                        <a:pt x="449" y="104"/>
                      </a:lnTo>
                      <a:lnTo>
                        <a:pt x="449" y="104"/>
                      </a:lnTo>
                      <a:lnTo>
                        <a:pt x="452" y="102"/>
                      </a:lnTo>
                      <a:lnTo>
                        <a:pt x="456" y="101"/>
                      </a:lnTo>
                      <a:lnTo>
                        <a:pt x="460" y="101"/>
                      </a:lnTo>
                      <a:lnTo>
                        <a:pt x="464" y="103"/>
                      </a:lnTo>
                      <a:lnTo>
                        <a:pt x="464" y="103"/>
                      </a:lnTo>
                      <a:lnTo>
                        <a:pt x="466" y="104"/>
                      </a:lnTo>
                      <a:lnTo>
                        <a:pt x="468" y="107"/>
                      </a:lnTo>
                      <a:lnTo>
                        <a:pt x="482" y="122"/>
                      </a:lnTo>
                      <a:lnTo>
                        <a:pt x="482" y="122"/>
                      </a:lnTo>
                      <a:lnTo>
                        <a:pt x="493" y="113"/>
                      </a:lnTo>
                      <a:lnTo>
                        <a:pt x="504" y="106"/>
                      </a:lnTo>
                      <a:lnTo>
                        <a:pt x="517" y="98"/>
                      </a:lnTo>
                      <a:lnTo>
                        <a:pt x="531" y="93"/>
                      </a:lnTo>
                      <a:lnTo>
                        <a:pt x="525" y="74"/>
                      </a:lnTo>
                      <a:lnTo>
                        <a:pt x="525" y="74"/>
                      </a:lnTo>
                      <a:lnTo>
                        <a:pt x="524" y="69"/>
                      </a:lnTo>
                      <a:lnTo>
                        <a:pt x="524" y="69"/>
                      </a:lnTo>
                      <a:lnTo>
                        <a:pt x="525" y="65"/>
                      </a:lnTo>
                      <a:lnTo>
                        <a:pt x="526" y="62"/>
                      </a:lnTo>
                      <a:lnTo>
                        <a:pt x="529" y="58"/>
                      </a:lnTo>
                      <a:lnTo>
                        <a:pt x="533" y="56"/>
                      </a:lnTo>
                      <a:lnTo>
                        <a:pt x="533" y="56"/>
                      </a:lnTo>
                      <a:lnTo>
                        <a:pt x="533" y="56"/>
                      </a:lnTo>
                      <a:lnTo>
                        <a:pt x="544" y="54"/>
                      </a:lnTo>
                      <a:lnTo>
                        <a:pt x="555" y="52"/>
                      </a:lnTo>
                      <a:lnTo>
                        <a:pt x="567" y="51"/>
                      </a:lnTo>
                      <a:lnTo>
                        <a:pt x="579" y="51"/>
                      </a:lnTo>
                      <a:lnTo>
                        <a:pt x="579" y="51"/>
                      </a:lnTo>
                      <a:lnTo>
                        <a:pt x="590" y="51"/>
                      </a:lnTo>
                      <a:lnTo>
                        <a:pt x="602" y="52"/>
                      </a:lnTo>
                      <a:lnTo>
                        <a:pt x="614" y="54"/>
                      </a:lnTo>
                      <a:lnTo>
                        <a:pt x="625" y="56"/>
                      </a:lnTo>
                      <a:lnTo>
                        <a:pt x="625" y="56"/>
                      </a:lnTo>
                      <a:lnTo>
                        <a:pt x="625" y="56"/>
                      </a:lnTo>
                      <a:lnTo>
                        <a:pt x="628" y="58"/>
                      </a:lnTo>
                      <a:lnTo>
                        <a:pt x="631" y="62"/>
                      </a:lnTo>
                      <a:lnTo>
                        <a:pt x="633" y="65"/>
                      </a:lnTo>
                      <a:lnTo>
                        <a:pt x="634" y="69"/>
                      </a:lnTo>
                      <a:lnTo>
                        <a:pt x="634" y="69"/>
                      </a:lnTo>
                      <a:lnTo>
                        <a:pt x="632" y="74"/>
                      </a:lnTo>
                      <a:lnTo>
                        <a:pt x="626" y="93"/>
                      </a:lnTo>
                      <a:lnTo>
                        <a:pt x="626" y="93"/>
                      </a:lnTo>
                      <a:lnTo>
                        <a:pt x="639" y="98"/>
                      </a:lnTo>
                      <a:lnTo>
                        <a:pt x="652" y="106"/>
                      </a:lnTo>
                      <a:lnTo>
                        <a:pt x="665" y="113"/>
                      </a:lnTo>
                      <a:lnTo>
                        <a:pt x="676" y="122"/>
                      </a:lnTo>
                      <a:lnTo>
                        <a:pt x="689" y="107"/>
                      </a:lnTo>
                      <a:lnTo>
                        <a:pt x="689" y="107"/>
                      </a:lnTo>
                      <a:lnTo>
                        <a:pt x="693" y="103"/>
                      </a:lnTo>
                      <a:lnTo>
                        <a:pt x="693" y="103"/>
                      </a:lnTo>
                      <a:lnTo>
                        <a:pt x="696" y="101"/>
                      </a:lnTo>
                      <a:lnTo>
                        <a:pt x="701" y="101"/>
                      </a:lnTo>
                      <a:lnTo>
                        <a:pt x="705" y="102"/>
                      </a:lnTo>
                      <a:lnTo>
                        <a:pt x="708" y="104"/>
                      </a:lnTo>
                      <a:lnTo>
                        <a:pt x="708" y="104"/>
                      </a:lnTo>
                      <a:lnTo>
                        <a:pt x="708" y="104"/>
                      </a:lnTo>
                      <a:lnTo>
                        <a:pt x="716" y="114"/>
                      </a:lnTo>
                      <a:lnTo>
                        <a:pt x="723" y="122"/>
                      </a:lnTo>
                      <a:lnTo>
                        <a:pt x="730" y="132"/>
                      </a:lnTo>
                      <a:lnTo>
                        <a:pt x="736" y="142"/>
                      </a:lnTo>
                      <a:lnTo>
                        <a:pt x="736" y="142"/>
                      </a:lnTo>
                      <a:lnTo>
                        <a:pt x="741" y="153"/>
                      </a:lnTo>
                      <a:lnTo>
                        <a:pt x="747" y="163"/>
                      </a:lnTo>
                      <a:lnTo>
                        <a:pt x="751" y="174"/>
                      </a:lnTo>
                      <a:lnTo>
                        <a:pt x="754" y="184"/>
                      </a:lnTo>
                      <a:lnTo>
                        <a:pt x="755" y="184"/>
                      </a:lnTo>
                      <a:lnTo>
                        <a:pt x="755" y="184"/>
                      </a:lnTo>
                      <a:lnTo>
                        <a:pt x="755" y="188"/>
                      </a:lnTo>
                      <a:lnTo>
                        <a:pt x="754" y="192"/>
                      </a:lnTo>
                      <a:lnTo>
                        <a:pt x="752" y="196"/>
                      </a:lnTo>
                      <a:lnTo>
                        <a:pt x="748" y="199"/>
                      </a:lnTo>
                      <a:lnTo>
                        <a:pt x="748" y="199"/>
                      </a:lnTo>
                      <a:lnTo>
                        <a:pt x="743" y="201"/>
                      </a:lnTo>
                      <a:lnTo>
                        <a:pt x="723" y="204"/>
                      </a:lnTo>
                      <a:lnTo>
                        <a:pt x="723" y="204"/>
                      </a:lnTo>
                      <a:lnTo>
                        <a:pt x="725" y="218"/>
                      </a:lnTo>
                      <a:lnTo>
                        <a:pt x="726" y="232"/>
                      </a:lnTo>
                      <a:lnTo>
                        <a:pt x="726" y="232"/>
                      </a:lnTo>
                      <a:lnTo>
                        <a:pt x="725" y="248"/>
                      </a:lnTo>
                      <a:lnTo>
                        <a:pt x="723" y="262"/>
                      </a:lnTo>
                      <a:lnTo>
                        <a:pt x="743" y="265"/>
                      </a:lnTo>
                      <a:lnTo>
                        <a:pt x="743" y="265"/>
                      </a:lnTo>
                      <a:lnTo>
                        <a:pt x="748" y="267"/>
                      </a:lnTo>
                      <a:lnTo>
                        <a:pt x="748" y="267"/>
                      </a:lnTo>
                      <a:lnTo>
                        <a:pt x="752" y="270"/>
                      </a:lnTo>
                      <a:lnTo>
                        <a:pt x="754" y="273"/>
                      </a:lnTo>
                      <a:lnTo>
                        <a:pt x="755" y="277"/>
                      </a:lnTo>
                      <a:lnTo>
                        <a:pt x="755" y="281"/>
                      </a:lnTo>
                      <a:lnTo>
                        <a:pt x="754" y="281"/>
                      </a:lnTo>
                      <a:lnTo>
                        <a:pt x="754" y="281"/>
                      </a:lnTo>
                      <a:lnTo>
                        <a:pt x="751" y="292"/>
                      </a:lnTo>
                      <a:lnTo>
                        <a:pt x="747" y="303"/>
                      </a:lnTo>
                      <a:lnTo>
                        <a:pt x="741" y="313"/>
                      </a:lnTo>
                      <a:lnTo>
                        <a:pt x="736" y="323"/>
                      </a:lnTo>
                      <a:lnTo>
                        <a:pt x="736" y="323"/>
                      </a:lnTo>
                      <a:lnTo>
                        <a:pt x="730" y="334"/>
                      </a:lnTo>
                      <a:lnTo>
                        <a:pt x="723" y="344"/>
                      </a:lnTo>
                      <a:lnTo>
                        <a:pt x="716" y="352"/>
                      </a:lnTo>
                      <a:lnTo>
                        <a:pt x="708" y="361"/>
                      </a:lnTo>
                      <a:lnTo>
                        <a:pt x="708" y="361"/>
                      </a:lnTo>
                      <a:lnTo>
                        <a:pt x="708" y="361"/>
                      </a:lnTo>
                      <a:lnTo>
                        <a:pt x="705" y="363"/>
                      </a:lnTo>
                      <a:lnTo>
                        <a:pt x="701" y="364"/>
                      </a:lnTo>
                      <a:lnTo>
                        <a:pt x="696" y="364"/>
                      </a:lnTo>
                      <a:lnTo>
                        <a:pt x="693" y="362"/>
                      </a:lnTo>
                      <a:lnTo>
                        <a:pt x="693" y="362"/>
                      </a:lnTo>
                      <a:lnTo>
                        <a:pt x="689" y="359"/>
                      </a:lnTo>
                      <a:lnTo>
                        <a:pt x="689" y="359"/>
                      </a:lnTo>
                      <a:close/>
                      <a:moveTo>
                        <a:pt x="1086" y="540"/>
                      </a:moveTo>
                      <a:lnTo>
                        <a:pt x="1086" y="540"/>
                      </a:lnTo>
                      <a:lnTo>
                        <a:pt x="1085" y="553"/>
                      </a:lnTo>
                      <a:lnTo>
                        <a:pt x="1083" y="566"/>
                      </a:lnTo>
                      <a:lnTo>
                        <a:pt x="1081" y="577"/>
                      </a:lnTo>
                      <a:lnTo>
                        <a:pt x="1078" y="589"/>
                      </a:lnTo>
                      <a:lnTo>
                        <a:pt x="1078" y="589"/>
                      </a:lnTo>
                      <a:lnTo>
                        <a:pt x="1078" y="589"/>
                      </a:lnTo>
                      <a:lnTo>
                        <a:pt x="1076" y="593"/>
                      </a:lnTo>
                      <a:lnTo>
                        <a:pt x="1073" y="595"/>
                      </a:lnTo>
                      <a:lnTo>
                        <a:pt x="1069" y="597"/>
                      </a:lnTo>
                      <a:lnTo>
                        <a:pt x="1065" y="598"/>
                      </a:lnTo>
                      <a:lnTo>
                        <a:pt x="1065" y="598"/>
                      </a:lnTo>
                      <a:lnTo>
                        <a:pt x="1062" y="597"/>
                      </a:lnTo>
                      <a:lnTo>
                        <a:pt x="1059" y="596"/>
                      </a:lnTo>
                      <a:lnTo>
                        <a:pt x="1039" y="589"/>
                      </a:lnTo>
                      <a:lnTo>
                        <a:pt x="1039" y="589"/>
                      </a:lnTo>
                      <a:lnTo>
                        <a:pt x="1033" y="603"/>
                      </a:lnTo>
                      <a:lnTo>
                        <a:pt x="1025" y="616"/>
                      </a:lnTo>
                      <a:lnTo>
                        <a:pt x="1025" y="616"/>
                      </a:lnTo>
                      <a:lnTo>
                        <a:pt x="1016" y="629"/>
                      </a:lnTo>
                      <a:lnTo>
                        <a:pt x="1006" y="640"/>
                      </a:lnTo>
                      <a:lnTo>
                        <a:pt x="1022" y="655"/>
                      </a:lnTo>
                      <a:lnTo>
                        <a:pt x="1022" y="655"/>
                      </a:lnTo>
                      <a:lnTo>
                        <a:pt x="1024" y="657"/>
                      </a:lnTo>
                      <a:lnTo>
                        <a:pt x="1025" y="660"/>
                      </a:lnTo>
                      <a:lnTo>
                        <a:pt x="1025" y="660"/>
                      </a:lnTo>
                      <a:lnTo>
                        <a:pt x="1026" y="664"/>
                      </a:lnTo>
                      <a:lnTo>
                        <a:pt x="1026" y="668"/>
                      </a:lnTo>
                      <a:lnTo>
                        <a:pt x="1025" y="672"/>
                      </a:lnTo>
                      <a:lnTo>
                        <a:pt x="1023" y="675"/>
                      </a:lnTo>
                      <a:lnTo>
                        <a:pt x="1023" y="675"/>
                      </a:lnTo>
                      <a:lnTo>
                        <a:pt x="1023" y="675"/>
                      </a:lnTo>
                      <a:lnTo>
                        <a:pt x="1014" y="683"/>
                      </a:lnTo>
                      <a:lnTo>
                        <a:pt x="1003" y="691"/>
                      </a:lnTo>
                      <a:lnTo>
                        <a:pt x="993" y="698"/>
                      </a:lnTo>
                      <a:lnTo>
                        <a:pt x="982" y="704"/>
                      </a:lnTo>
                      <a:lnTo>
                        <a:pt x="982" y="704"/>
                      </a:lnTo>
                      <a:lnTo>
                        <a:pt x="971" y="709"/>
                      </a:lnTo>
                      <a:lnTo>
                        <a:pt x="958" y="714"/>
                      </a:lnTo>
                      <a:lnTo>
                        <a:pt x="947" y="718"/>
                      </a:lnTo>
                      <a:lnTo>
                        <a:pt x="935" y="721"/>
                      </a:lnTo>
                      <a:lnTo>
                        <a:pt x="935" y="721"/>
                      </a:lnTo>
                      <a:lnTo>
                        <a:pt x="935" y="721"/>
                      </a:lnTo>
                      <a:lnTo>
                        <a:pt x="931" y="721"/>
                      </a:lnTo>
                      <a:lnTo>
                        <a:pt x="927" y="719"/>
                      </a:lnTo>
                      <a:lnTo>
                        <a:pt x="924" y="717"/>
                      </a:lnTo>
                      <a:lnTo>
                        <a:pt x="921" y="713"/>
                      </a:lnTo>
                      <a:lnTo>
                        <a:pt x="921" y="713"/>
                      </a:lnTo>
                      <a:lnTo>
                        <a:pt x="919" y="708"/>
                      </a:lnTo>
                      <a:lnTo>
                        <a:pt x="916" y="686"/>
                      </a:lnTo>
                      <a:lnTo>
                        <a:pt x="916" y="686"/>
                      </a:lnTo>
                      <a:lnTo>
                        <a:pt x="901" y="688"/>
                      </a:lnTo>
                      <a:lnTo>
                        <a:pt x="886" y="688"/>
                      </a:lnTo>
                      <a:lnTo>
                        <a:pt x="870" y="687"/>
                      </a:lnTo>
                      <a:lnTo>
                        <a:pt x="855" y="684"/>
                      </a:lnTo>
                      <a:lnTo>
                        <a:pt x="850" y="705"/>
                      </a:lnTo>
                      <a:lnTo>
                        <a:pt x="850" y="705"/>
                      </a:lnTo>
                      <a:lnTo>
                        <a:pt x="848" y="710"/>
                      </a:lnTo>
                      <a:lnTo>
                        <a:pt x="848" y="710"/>
                      </a:lnTo>
                      <a:lnTo>
                        <a:pt x="845" y="713"/>
                      </a:lnTo>
                      <a:lnTo>
                        <a:pt x="842" y="715"/>
                      </a:lnTo>
                      <a:lnTo>
                        <a:pt x="837" y="716"/>
                      </a:lnTo>
                      <a:lnTo>
                        <a:pt x="833" y="716"/>
                      </a:lnTo>
                      <a:lnTo>
                        <a:pt x="833" y="716"/>
                      </a:lnTo>
                      <a:lnTo>
                        <a:pt x="833" y="716"/>
                      </a:lnTo>
                      <a:lnTo>
                        <a:pt x="821" y="712"/>
                      </a:lnTo>
                      <a:lnTo>
                        <a:pt x="810" y="707"/>
                      </a:lnTo>
                      <a:lnTo>
                        <a:pt x="799" y="701"/>
                      </a:lnTo>
                      <a:lnTo>
                        <a:pt x="789" y="695"/>
                      </a:lnTo>
                      <a:lnTo>
                        <a:pt x="789" y="695"/>
                      </a:lnTo>
                      <a:lnTo>
                        <a:pt x="777" y="687"/>
                      </a:lnTo>
                      <a:lnTo>
                        <a:pt x="768" y="680"/>
                      </a:lnTo>
                      <a:lnTo>
                        <a:pt x="759" y="672"/>
                      </a:lnTo>
                      <a:lnTo>
                        <a:pt x="750" y="663"/>
                      </a:lnTo>
                      <a:lnTo>
                        <a:pt x="750" y="663"/>
                      </a:lnTo>
                      <a:lnTo>
                        <a:pt x="750" y="663"/>
                      </a:lnTo>
                      <a:lnTo>
                        <a:pt x="748" y="660"/>
                      </a:lnTo>
                      <a:lnTo>
                        <a:pt x="747" y="655"/>
                      </a:lnTo>
                      <a:lnTo>
                        <a:pt x="748" y="651"/>
                      </a:lnTo>
                      <a:lnTo>
                        <a:pt x="750" y="647"/>
                      </a:lnTo>
                      <a:lnTo>
                        <a:pt x="750" y="647"/>
                      </a:lnTo>
                      <a:lnTo>
                        <a:pt x="751" y="645"/>
                      </a:lnTo>
                      <a:lnTo>
                        <a:pt x="753" y="642"/>
                      </a:lnTo>
                      <a:lnTo>
                        <a:pt x="770" y="629"/>
                      </a:lnTo>
                      <a:lnTo>
                        <a:pt x="770" y="629"/>
                      </a:lnTo>
                      <a:lnTo>
                        <a:pt x="761" y="617"/>
                      </a:lnTo>
                      <a:lnTo>
                        <a:pt x="753" y="604"/>
                      </a:lnTo>
                      <a:lnTo>
                        <a:pt x="747" y="589"/>
                      </a:lnTo>
                      <a:lnTo>
                        <a:pt x="741" y="575"/>
                      </a:lnTo>
                      <a:lnTo>
                        <a:pt x="721" y="581"/>
                      </a:lnTo>
                      <a:lnTo>
                        <a:pt x="721" y="581"/>
                      </a:lnTo>
                      <a:lnTo>
                        <a:pt x="719" y="582"/>
                      </a:lnTo>
                      <a:lnTo>
                        <a:pt x="716" y="582"/>
                      </a:lnTo>
                      <a:lnTo>
                        <a:pt x="716" y="582"/>
                      </a:lnTo>
                      <a:lnTo>
                        <a:pt x="711" y="581"/>
                      </a:lnTo>
                      <a:lnTo>
                        <a:pt x="708" y="579"/>
                      </a:lnTo>
                      <a:lnTo>
                        <a:pt x="705" y="576"/>
                      </a:lnTo>
                      <a:lnTo>
                        <a:pt x="703" y="572"/>
                      </a:lnTo>
                      <a:lnTo>
                        <a:pt x="703" y="572"/>
                      </a:lnTo>
                      <a:lnTo>
                        <a:pt x="701" y="560"/>
                      </a:lnTo>
                      <a:lnTo>
                        <a:pt x="700" y="547"/>
                      </a:lnTo>
                      <a:lnTo>
                        <a:pt x="699" y="535"/>
                      </a:lnTo>
                      <a:lnTo>
                        <a:pt x="700" y="523"/>
                      </a:lnTo>
                      <a:lnTo>
                        <a:pt x="700" y="523"/>
                      </a:lnTo>
                      <a:lnTo>
                        <a:pt x="701" y="511"/>
                      </a:lnTo>
                      <a:lnTo>
                        <a:pt x="702" y="497"/>
                      </a:lnTo>
                      <a:lnTo>
                        <a:pt x="705" y="486"/>
                      </a:lnTo>
                      <a:lnTo>
                        <a:pt x="708" y="474"/>
                      </a:lnTo>
                      <a:lnTo>
                        <a:pt x="708" y="474"/>
                      </a:lnTo>
                      <a:lnTo>
                        <a:pt x="708" y="474"/>
                      </a:lnTo>
                      <a:lnTo>
                        <a:pt x="710" y="470"/>
                      </a:lnTo>
                      <a:lnTo>
                        <a:pt x="713" y="468"/>
                      </a:lnTo>
                      <a:lnTo>
                        <a:pt x="717" y="466"/>
                      </a:lnTo>
                      <a:lnTo>
                        <a:pt x="721" y="465"/>
                      </a:lnTo>
                      <a:lnTo>
                        <a:pt x="721" y="465"/>
                      </a:lnTo>
                      <a:lnTo>
                        <a:pt x="726" y="467"/>
                      </a:lnTo>
                      <a:lnTo>
                        <a:pt x="747" y="474"/>
                      </a:lnTo>
                      <a:lnTo>
                        <a:pt x="747" y="474"/>
                      </a:lnTo>
                      <a:lnTo>
                        <a:pt x="753" y="460"/>
                      </a:lnTo>
                      <a:lnTo>
                        <a:pt x="760" y="447"/>
                      </a:lnTo>
                      <a:lnTo>
                        <a:pt x="760" y="447"/>
                      </a:lnTo>
                      <a:lnTo>
                        <a:pt x="769" y="434"/>
                      </a:lnTo>
                      <a:lnTo>
                        <a:pt x="779" y="423"/>
                      </a:lnTo>
                      <a:lnTo>
                        <a:pt x="764" y="408"/>
                      </a:lnTo>
                      <a:lnTo>
                        <a:pt x="764" y="408"/>
                      </a:lnTo>
                      <a:lnTo>
                        <a:pt x="760" y="403"/>
                      </a:lnTo>
                      <a:lnTo>
                        <a:pt x="760" y="403"/>
                      </a:lnTo>
                      <a:lnTo>
                        <a:pt x="759" y="399"/>
                      </a:lnTo>
                      <a:lnTo>
                        <a:pt x="759" y="395"/>
                      </a:lnTo>
                      <a:lnTo>
                        <a:pt x="760" y="391"/>
                      </a:lnTo>
                      <a:lnTo>
                        <a:pt x="763" y="388"/>
                      </a:lnTo>
                      <a:lnTo>
                        <a:pt x="763" y="388"/>
                      </a:lnTo>
                      <a:lnTo>
                        <a:pt x="763" y="388"/>
                      </a:lnTo>
                      <a:lnTo>
                        <a:pt x="772" y="380"/>
                      </a:lnTo>
                      <a:lnTo>
                        <a:pt x="782" y="372"/>
                      </a:lnTo>
                      <a:lnTo>
                        <a:pt x="793" y="365"/>
                      </a:lnTo>
                      <a:lnTo>
                        <a:pt x="804" y="359"/>
                      </a:lnTo>
                      <a:lnTo>
                        <a:pt x="804" y="359"/>
                      </a:lnTo>
                      <a:lnTo>
                        <a:pt x="815" y="354"/>
                      </a:lnTo>
                      <a:lnTo>
                        <a:pt x="826" y="349"/>
                      </a:lnTo>
                      <a:lnTo>
                        <a:pt x="839" y="346"/>
                      </a:lnTo>
                      <a:lnTo>
                        <a:pt x="850" y="343"/>
                      </a:lnTo>
                      <a:lnTo>
                        <a:pt x="850" y="343"/>
                      </a:lnTo>
                      <a:lnTo>
                        <a:pt x="854" y="343"/>
                      </a:lnTo>
                      <a:lnTo>
                        <a:pt x="858" y="344"/>
                      </a:lnTo>
                      <a:lnTo>
                        <a:pt x="862" y="346"/>
                      </a:lnTo>
                      <a:lnTo>
                        <a:pt x="864" y="350"/>
                      </a:lnTo>
                      <a:lnTo>
                        <a:pt x="864" y="350"/>
                      </a:lnTo>
                      <a:lnTo>
                        <a:pt x="865" y="352"/>
                      </a:lnTo>
                      <a:lnTo>
                        <a:pt x="866" y="355"/>
                      </a:lnTo>
                      <a:lnTo>
                        <a:pt x="869" y="377"/>
                      </a:lnTo>
                      <a:lnTo>
                        <a:pt x="869" y="377"/>
                      </a:lnTo>
                      <a:lnTo>
                        <a:pt x="885" y="374"/>
                      </a:lnTo>
                      <a:lnTo>
                        <a:pt x="900" y="374"/>
                      </a:lnTo>
                      <a:lnTo>
                        <a:pt x="915" y="377"/>
                      </a:lnTo>
                      <a:lnTo>
                        <a:pt x="931" y="379"/>
                      </a:lnTo>
                      <a:lnTo>
                        <a:pt x="936" y="358"/>
                      </a:lnTo>
                      <a:lnTo>
                        <a:pt x="936" y="358"/>
                      </a:lnTo>
                      <a:lnTo>
                        <a:pt x="936" y="356"/>
                      </a:lnTo>
                      <a:lnTo>
                        <a:pt x="938" y="353"/>
                      </a:lnTo>
                      <a:lnTo>
                        <a:pt x="938" y="353"/>
                      </a:lnTo>
                      <a:lnTo>
                        <a:pt x="940" y="350"/>
                      </a:lnTo>
                      <a:lnTo>
                        <a:pt x="944" y="348"/>
                      </a:lnTo>
                      <a:lnTo>
                        <a:pt x="948" y="347"/>
                      </a:lnTo>
                      <a:lnTo>
                        <a:pt x="952" y="347"/>
                      </a:lnTo>
                      <a:lnTo>
                        <a:pt x="952" y="347"/>
                      </a:lnTo>
                      <a:lnTo>
                        <a:pt x="952" y="347"/>
                      </a:lnTo>
                      <a:lnTo>
                        <a:pt x="963" y="351"/>
                      </a:lnTo>
                      <a:lnTo>
                        <a:pt x="976" y="356"/>
                      </a:lnTo>
                      <a:lnTo>
                        <a:pt x="986" y="362"/>
                      </a:lnTo>
                      <a:lnTo>
                        <a:pt x="997" y="368"/>
                      </a:lnTo>
                      <a:lnTo>
                        <a:pt x="997" y="368"/>
                      </a:lnTo>
                      <a:lnTo>
                        <a:pt x="1007" y="376"/>
                      </a:lnTo>
                      <a:lnTo>
                        <a:pt x="1018" y="384"/>
                      </a:lnTo>
                      <a:lnTo>
                        <a:pt x="1027" y="392"/>
                      </a:lnTo>
                      <a:lnTo>
                        <a:pt x="1035" y="400"/>
                      </a:lnTo>
                      <a:lnTo>
                        <a:pt x="1035" y="400"/>
                      </a:lnTo>
                      <a:lnTo>
                        <a:pt x="1035" y="400"/>
                      </a:lnTo>
                      <a:lnTo>
                        <a:pt x="1037" y="404"/>
                      </a:lnTo>
                      <a:lnTo>
                        <a:pt x="1038" y="408"/>
                      </a:lnTo>
                      <a:lnTo>
                        <a:pt x="1038" y="412"/>
                      </a:lnTo>
                      <a:lnTo>
                        <a:pt x="1036" y="416"/>
                      </a:lnTo>
                      <a:lnTo>
                        <a:pt x="1036" y="416"/>
                      </a:lnTo>
                      <a:lnTo>
                        <a:pt x="1032" y="421"/>
                      </a:lnTo>
                      <a:lnTo>
                        <a:pt x="1016" y="434"/>
                      </a:lnTo>
                      <a:lnTo>
                        <a:pt x="1016" y="434"/>
                      </a:lnTo>
                      <a:lnTo>
                        <a:pt x="1025" y="446"/>
                      </a:lnTo>
                      <a:lnTo>
                        <a:pt x="1032" y="459"/>
                      </a:lnTo>
                      <a:lnTo>
                        <a:pt x="1038" y="474"/>
                      </a:lnTo>
                      <a:lnTo>
                        <a:pt x="1043" y="488"/>
                      </a:lnTo>
                      <a:lnTo>
                        <a:pt x="1064" y="482"/>
                      </a:lnTo>
                      <a:lnTo>
                        <a:pt x="1064" y="482"/>
                      </a:lnTo>
                      <a:lnTo>
                        <a:pt x="1067" y="481"/>
                      </a:lnTo>
                      <a:lnTo>
                        <a:pt x="1070" y="481"/>
                      </a:lnTo>
                      <a:lnTo>
                        <a:pt x="1070" y="481"/>
                      </a:lnTo>
                      <a:lnTo>
                        <a:pt x="1074" y="482"/>
                      </a:lnTo>
                      <a:lnTo>
                        <a:pt x="1078" y="484"/>
                      </a:lnTo>
                      <a:lnTo>
                        <a:pt x="1081" y="487"/>
                      </a:lnTo>
                      <a:lnTo>
                        <a:pt x="1082" y="491"/>
                      </a:lnTo>
                      <a:lnTo>
                        <a:pt x="1082" y="491"/>
                      </a:lnTo>
                      <a:lnTo>
                        <a:pt x="1082" y="491"/>
                      </a:lnTo>
                      <a:lnTo>
                        <a:pt x="1084" y="503"/>
                      </a:lnTo>
                      <a:lnTo>
                        <a:pt x="1086" y="516"/>
                      </a:lnTo>
                      <a:lnTo>
                        <a:pt x="1086" y="528"/>
                      </a:lnTo>
                      <a:lnTo>
                        <a:pt x="1086" y="540"/>
                      </a:lnTo>
                      <a:lnTo>
                        <a:pt x="1086" y="5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514264">
                    <a:defRPr/>
                  </a:pPr>
                  <a:endParaRPr lang="en-US" sz="600" kern="0">
                    <a:solidFill>
                      <a:srgbClr val="1A315D">
                        <a:lumMod val="50000"/>
                      </a:srgbClr>
                    </a:solidFill>
                  </a:endParaRPr>
                </a:p>
              </p:txBody>
            </p:sp>
          </p:grpSp>
        </p:grpSp>
      </p:grpSp>
      <p:sp>
        <p:nvSpPr>
          <p:cNvPr id="97" name="Rectangle 96" hidden="1"/>
          <p:cNvSpPr/>
          <p:nvPr/>
        </p:nvSpPr>
        <p:spPr>
          <a:xfrm>
            <a:off x="404612" y="1256217"/>
            <a:ext cx="2550394" cy="1160729"/>
          </a:xfrm>
          <a:prstGeom prst="rect">
            <a:avLst/>
          </a:prstGeom>
          <a:solidFill>
            <a:schemeClr val="bg1">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IN" dirty="0" smtClean="0">
              <a:solidFill>
                <a:srgbClr val="FFFFFF"/>
              </a:solidFill>
            </a:endParaRPr>
          </a:p>
        </p:txBody>
      </p:sp>
      <p:sp>
        <p:nvSpPr>
          <p:cNvPr id="86" name="Rectangle 85"/>
          <p:cNvSpPr/>
          <p:nvPr/>
        </p:nvSpPr>
        <p:spPr>
          <a:xfrm>
            <a:off x="3472378" y="3259510"/>
            <a:ext cx="849392" cy="237239"/>
          </a:xfrm>
          <a:prstGeom prst="rect">
            <a:avLst/>
          </a:prstGeom>
          <a:solidFill>
            <a:srgbClr val="F2F2F2"/>
          </a:solidFill>
          <a:ln>
            <a:noFill/>
          </a:ln>
          <a:effectLst/>
        </p:spPr>
        <p:style>
          <a:lnRef idx="1">
            <a:schemeClr val="accent4"/>
          </a:lnRef>
          <a:fillRef idx="3">
            <a:schemeClr val="accent4"/>
          </a:fillRef>
          <a:effectRef idx="2">
            <a:schemeClr val="accent4"/>
          </a:effectRef>
          <a:fontRef idx="minor">
            <a:schemeClr val="lt1"/>
          </a:fontRef>
        </p:style>
        <p:txBody>
          <a:bodyPr lIns="0" tIns="0" rIns="0" bIns="0" rtlCol="0" anchor="ctr"/>
          <a:lstStyle/>
          <a:p>
            <a:pPr algn="ctr" defTabSz="457178">
              <a:defRPr/>
            </a:pPr>
            <a:r>
              <a:rPr lang="ja-JP" altLang="en-US" sz="900" b="1" kern="0" dirty="0">
                <a:solidFill>
                  <a:srgbClr val="1A315D"/>
                </a:solidFill>
                <a:latin typeface="CiscoSansTT Light"/>
              </a:rPr>
              <a:t>ファイル</a:t>
            </a:r>
            <a:r>
              <a:rPr lang="en-US" altLang="ja-JP" sz="900" b="1" kern="0" dirty="0">
                <a:solidFill>
                  <a:srgbClr val="1A315D"/>
                </a:solidFill>
                <a:latin typeface="CiscoSansTT Light"/>
              </a:rPr>
              <a:t/>
            </a:r>
            <a:br>
              <a:rPr lang="en-US" altLang="ja-JP" sz="900" b="1" kern="0" dirty="0">
                <a:solidFill>
                  <a:srgbClr val="1A315D"/>
                </a:solidFill>
                <a:latin typeface="CiscoSansTT Light"/>
              </a:rPr>
            </a:br>
            <a:r>
              <a:rPr lang="ja-JP" altLang="en-US" sz="900" b="1" kern="0" dirty="0">
                <a:solidFill>
                  <a:srgbClr val="1A315D"/>
                </a:solidFill>
                <a:latin typeface="CiscoSansTT Light"/>
              </a:rPr>
              <a:t>レピュテーション</a:t>
            </a:r>
            <a:endParaRPr lang="en-US" sz="900" b="1" kern="0" dirty="0">
              <a:solidFill>
                <a:srgbClr val="1A315D"/>
              </a:solidFill>
              <a:latin typeface="CiscoSansTT Light"/>
            </a:endParaRPr>
          </a:p>
        </p:txBody>
      </p:sp>
      <p:sp>
        <p:nvSpPr>
          <p:cNvPr id="90" name="malware"/>
          <p:cNvSpPr>
            <a:spLocks noChangeAspect="1" noEditPoints="1"/>
          </p:cNvSpPr>
          <p:nvPr/>
        </p:nvSpPr>
        <p:spPr bwMode="auto">
          <a:xfrm>
            <a:off x="3504754" y="3381906"/>
            <a:ext cx="290252" cy="308610"/>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grpSp>
        <p:nvGrpSpPr>
          <p:cNvPr id="109" name="Group 36"/>
          <p:cNvGrpSpPr/>
          <p:nvPr/>
        </p:nvGrpSpPr>
        <p:grpSpPr>
          <a:xfrm>
            <a:off x="4760332" y="1212663"/>
            <a:ext cx="289958" cy="362711"/>
            <a:chOff x="7439195" y="4481576"/>
            <a:chExt cx="386611" cy="483615"/>
          </a:xfrm>
          <a:solidFill>
            <a:schemeClr val="accent6"/>
          </a:solidFill>
        </p:grpSpPr>
        <p:sp>
          <p:nvSpPr>
            <p:cNvPr id="110" name="Freeform 135"/>
            <p:cNvSpPr>
              <a:spLocks noEditPoints="1"/>
            </p:cNvSpPr>
            <p:nvPr/>
          </p:nvSpPr>
          <p:spPr bwMode="auto">
            <a:xfrm>
              <a:off x="7474341" y="4518128"/>
              <a:ext cx="316318" cy="64669"/>
            </a:xfrm>
            <a:custGeom>
              <a:avLst/>
              <a:gdLst>
                <a:gd name="T0" fmla="*/ 428 w 451"/>
                <a:gd name="T1" fmla="*/ 0 h 93"/>
                <a:gd name="T2" fmla="*/ 437 w 451"/>
                <a:gd name="T3" fmla="*/ 3 h 93"/>
                <a:gd name="T4" fmla="*/ 447 w 451"/>
                <a:gd name="T5" fmla="*/ 11 h 93"/>
                <a:gd name="T6" fmla="*/ 449 w 451"/>
                <a:gd name="T7" fmla="*/ 18 h 93"/>
                <a:gd name="T8" fmla="*/ 451 w 451"/>
                <a:gd name="T9" fmla="*/ 72 h 93"/>
                <a:gd name="T10" fmla="*/ 449 w 451"/>
                <a:gd name="T11" fmla="*/ 76 h 93"/>
                <a:gd name="T12" fmla="*/ 444 w 451"/>
                <a:gd name="T13" fmla="*/ 88 h 93"/>
                <a:gd name="T14" fmla="*/ 433 w 451"/>
                <a:gd name="T15" fmla="*/ 93 h 93"/>
                <a:gd name="T16" fmla="*/ 22 w 451"/>
                <a:gd name="T17" fmla="*/ 93 h 93"/>
                <a:gd name="T18" fmla="*/ 18 w 451"/>
                <a:gd name="T19" fmla="*/ 93 h 93"/>
                <a:gd name="T20" fmla="*/ 7 w 451"/>
                <a:gd name="T21" fmla="*/ 88 h 93"/>
                <a:gd name="T22" fmla="*/ 0 w 451"/>
                <a:gd name="T23" fmla="*/ 76 h 93"/>
                <a:gd name="T24" fmla="*/ 0 w 451"/>
                <a:gd name="T25" fmla="*/ 23 h 93"/>
                <a:gd name="T26" fmla="*/ 0 w 451"/>
                <a:gd name="T27" fmla="*/ 18 h 93"/>
                <a:gd name="T28" fmla="*/ 7 w 451"/>
                <a:gd name="T29" fmla="*/ 7 h 93"/>
                <a:gd name="T30" fmla="*/ 18 w 451"/>
                <a:gd name="T31" fmla="*/ 2 h 93"/>
                <a:gd name="T32" fmla="*/ 428 w 451"/>
                <a:gd name="T33" fmla="*/ 0 h 93"/>
                <a:gd name="T34" fmla="*/ 219 w 451"/>
                <a:gd name="T35" fmla="*/ 39 h 93"/>
                <a:gd name="T36" fmla="*/ 211 w 451"/>
                <a:gd name="T37" fmla="*/ 42 h 93"/>
                <a:gd name="T38" fmla="*/ 208 w 451"/>
                <a:gd name="T39" fmla="*/ 50 h 93"/>
                <a:gd name="T40" fmla="*/ 208 w 451"/>
                <a:gd name="T41" fmla="*/ 54 h 93"/>
                <a:gd name="T42" fmla="*/ 215 w 451"/>
                <a:gd name="T43" fmla="*/ 60 h 93"/>
                <a:gd name="T44" fmla="*/ 391 w 451"/>
                <a:gd name="T45" fmla="*/ 61 h 93"/>
                <a:gd name="T46" fmla="*/ 395 w 451"/>
                <a:gd name="T47" fmla="*/ 60 h 93"/>
                <a:gd name="T48" fmla="*/ 401 w 451"/>
                <a:gd name="T49" fmla="*/ 54 h 93"/>
                <a:gd name="T50" fmla="*/ 402 w 451"/>
                <a:gd name="T51" fmla="*/ 50 h 93"/>
                <a:gd name="T52" fmla="*/ 400 w 451"/>
                <a:gd name="T53" fmla="*/ 42 h 93"/>
                <a:gd name="T54" fmla="*/ 391 w 451"/>
                <a:gd name="T55" fmla="*/ 39 h 93"/>
                <a:gd name="T56" fmla="*/ 57 w 451"/>
                <a:gd name="T57" fmla="*/ 39 h 93"/>
                <a:gd name="T58" fmla="*/ 53 w 451"/>
                <a:gd name="T59" fmla="*/ 39 h 93"/>
                <a:gd name="T60" fmla="*/ 48 w 451"/>
                <a:gd name="T61" fmla="*/ 46 h 93"/>
                <a:gd name="T62" fmla="*/ 46 w 451"/>
                <a:gd name="T63" fmla="*/ 50 h 93"/>
                <a:gd name="T64" fmla="*/ 50 w 451"/>
                <a:gd name="T65" fmla="*/ 57 h 93"/>
                <a:gd name="T66" fmla="*/ 57 w 451"/>
                <a:gd name="T67" fmla="*/ 61 h 93"/>
                <a:gd name="T68" fmla="*/ 62 w 451"/>
                <a:gd name="T69" fmla="*/ 60 h 93"/>
                <a:gd name="T70" fmla="*/ 68 w 451"/>
                <a:gd name="T71" fmla="*/ 54 h 93"/>
                <a:gd name="T72" fmla="*/ 68 w 451"/>
                <a:gd name="T73" fmla="*/ 50 h 93"/>
                <a:gd name="T74" fmla="*/ 65 w 451"/>
                <a:gd name="T75" fmla="*/ 42 h 93"/>
                <a:gd name="T76" fmla="*/ 57 w 451"/>
                <a:gd name="T77"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2"/>
                  </a:lnTo>
                  <a:lnTo>
                    <a:pt x="437" y="3"/>
                  </a:lnTo>
                  <a:lnTo>
                    <a:pt x="444" y="7"/>
                  </a:lnTo>
                  <a:lnTo>
                    <a:pt x="447" y="11"/>
                  </a:lnTo>
                  <a:lnTo>
                    <a:pt x="448" y="14"/>
                  </a:lnTo>
                  <a:lnTo>
                    <a:pt x="449" y="18"/>
                  </a:lnTo>
                  <a:lnTo>
                    <a:pt x="451" y="23"/>
                  </a:lnTo>
                  <a:lnTo>
                    <a:pt x="451" y="72"/>
                  </a:lnTo>
                  <a:lnTo>
                    <a:pt x="451" y="72"/>
                  </a:lnTo>
                  <a:lnTo>
                    <a:pt x="449" y="76"/>
                  </a:lnTo>
                  <a:lnTo>
                    <a:pt x="448" y="80"/>
                  </a:lnTo>
                  <a:lnTo>
                    <a:pt x="444" y="88"/>
                  </a:lnTo>
                  <a:lnTo>
                    <a:pt x="437" y="92"/>
                  </a:lnTo>
                  <a:lnTo>
                    <a:pt x="433" y="93"/>
                  </a:lnTo>
                  <a:lnTo>
                    <a:pt x="428" y="93"/>
                  </a:lnTo>
                  <a:lnTo>
                    <a:pt x="22" y="93"/>
                  </a:lnTo>
                  <a:lnTo>
                    <a:pt x="22" y="93"/>
                  </a:lnTo>
                  <a:lnTo>
                    <a:pt x="18" y="93"/>
                  </a:lnTo>
                  <a:lnTo>
                    <a:pt x="14" y="92"/>
                  </a:lnTo>
                  <a:lnTo>
                    <a:pt x="7" y="88"/>
                  </a:lnTo>
                  <a:lnTo>
                    <a:pt x="2" y="80"/>
                  </a:lnTo>
                  <a:lnTo>
                    <a:pt x="0" y="76"/>
                  </a:lnTo>
                  <a:lnTo>
                    <a:pt x="0" y="72"/>
                  </a:lnTo>
                  <a:lnTo>
                    <a:pt x="0" y="23"/>
                  </a:lnTo>
                  <a:lnTo>
                    <a:pt x="0" y="23"/>
                  </a:lnTo>
                  <a:lnTo>
                    <a:pt x="0" y="18"/>
                  </a:lnTo>
                  <a:lnTo>
                    <a:pt x="2" y="14"/>
                  </a:lnTo>
                  <a:lnTo>
                    <a:pt x="7" y="7"/>
                  </a:lnTo>
                  <a:lnTo>
                    <a:pt x="14" y="3"/>
                  </a:lnTo>
                  <a:lnTo>
                    <a:pt x="18" y="2"/>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7"/>
                  </a:lnTo>
                  <a:lnTo>
                    <a:pt x="215" y="60"/>
                  </a:lnTo>
                  <a:lnTo>
                    <a:pt x="219" y="61"/>
                  </a:lnTo>
                  <a:lnTo>
                    <a:pt x="391" y="61"/>
                  </a:lnTo>
                  <a:lnTo>
                    <a:pt x="391" y="61"/>
                  </a:lnTo>
                  <a:lnTo>
                    <a:pt x="395" y="60"/>
                  </a:lnTo>
                  <a:lnTo>
                    <a:pt x="400" y="57"/>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60"/>
                  </a:lnTo>
                  <a:lnTo>
                    <a:pt x="57" y="61"/>
                  </a:lnTo>
                  <a:lnTo>
                    <a:pt x="57" y="61"/>
                  </a:lnTo>
                  <a:lnTo>
                    <a:pt x="62" y="60"/>
                  </a:lnTo>
                  <a:lnTo>
                    <a:pt x="65" y="57"/>
                  </a:lnTo>
                  <a:lnTo>
                    <a:pt x="68" y="54"/>
                  </a:lnTo>
                  <a:lnTo>
                    <a:pt x="68" y="50"/>
                  </a:lnTo>
                  <a:lnTo>
                    <a:pt x="68" y="50"/>
                  </a:lnTo>
                  <a:lnTo>
                    <a:pt x="68" y="46"/>
                  </a:lnTo>
                  <a:lnTo>
                    <a:pt x="65" y="42"/>
                  </a:lnTo>
                  <a:lnTo>
                    <a:pt x="62" y="39"/>
                  </a:lnTo>
                  <a:lnTo>
                    <a:pt x="57" y="39"/>
                  </a:lnTo>
                  <a:lnTo>
                    <a:pt x="5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1" name="Freeform 136"/>
            <p:cNvSpPr>
              <a:spLocks noEditPoints="1"/>
            </p:cNvSpPr>
            <p:nvPr/>
          </p:nvSpPr>
          <p:spPr bwMode="auto">
            <a:xfrm>
              <a:off x="7474341" y="4601074"/>
              <a:ext cx="316318" cy="64669"/>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2" name="Freeform 137"/>
            <p:cNvSpPr>
              <a:spLocks noEditPoints="1"/>
            </p:cNvSpPr>
            <p:nvPr/>
          </p:nvSpPr>
          <p:spPr bwMode="auto">
            <a:xfrm>
              <a:off x="7474341" y="4685426"/>
              <a:ext cx="316318" cy="64669"/>
            </a:xfrm>
            <a:custGeom>
              <a:avLst/>
              <a:gdLst>
                <a:gd name="T0" fmla="*/ 428 w 451"/>
                <a:gd name="T1" fmla="*/ 0 h 93"/>
                <a:gd name="T2" fmla="*/ 437 w 451"/>
                <a:gd name="T3" fmla="*/ 1 h 93"/>
                <a:gd name="T4" fmla="*/ 447 w 451"/>
                <a:gd name="T5" fmla="*/ 9 h 93"/>
                <a:gd name="T6" fmla="*/ 449 w 451"/>
                <a:gd name="T7" fmla="*/ 17 h 93"/>
                <a:gd name="T8" fmla="*/ 451 w 451"/>
                <a:gd name="T9" fmla="*/ 70 h 93"/>
                <a:gd name="T10" fmla="*/ 449 w 451"/>
                <a:gd name="T11" fmla="*/ 74 h 93"/>
                <a:gd name="T12" fmla="*/ 444 w 451"/>
                <a:gd name="T13" fmla="*/ 86 h 93"/>
                <a:gd name="T14" fmla="*/ 433 w 451"/>
                <a:gd name="T15" fmla="*/ 92 h 93"/>
                <a:gd name="T16" fmla="*/ 22 w 451"/>
                <a:gd name="T17" fmla="*/ 93 h 93"/>
                <a:gd name="T18" fmla="*/ 18 w 451"/>
                <a:gd name="T19" fmla="*/ 92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8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8 h 93"/>
                <a:gd name="T56" fmla="*/ 57 w 451"/>
                <a:gd name="T57" fmla="*/ 38 h 93"/>
                <a:gd name="T58" fmla="*/ 53 w 451"/>
                <a:gd name="T59" fmla="*/ 38 h 93"/>
                <a:gd name="T60" fmla="*/ 48 w 451"/>
                <a:gd name="T61" fmla="*/ 44 h 93"/>
                <a:gd name="T62" fmla="*/ 46 w 451"/>
                <a:gd name="T63" fmla="*/ 48 h 93"/>
                <a:gd name="T64" fmla="*/ 50 w 451"/>
                <a:gd name="T65" fmla="*/ 57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7" y="9"/>
                  </a:lnTo>
                  <a:lnTo>
                    <a:pt x="448" y="13"/>
                  </a:lnTo>
                  <a:lnTo>
                    <a:pt x="449" y="17"/>
                  </a:lnTo>
                  <a:lnTo>
                    <a:pt x="451" y="21"/>
                  </a:lnTo>
                  <a:lnTo>
                    <a:pt x="451" y="70"/>
                  </a:lnTo>
                  <a:lnTo>
                    <a:pt x="451" y="70"/>
                  </a:lnTo>
                  <a:lnTo>
                    <a:pt x="449" y="74"/>
                  </a:lnTo>
                  <a:lnTo>
                    <a:pt x="448" y="78"/>
                  </a:lnTo>
                  <a:lnTo>
                    <a:pt x="444" y="86"/>
                  </a:lnTo>
                  <a:lnTo>
                    <a:pt x="437" y="90"/>
                  </a:lnTo>
                  <a:lnTo>
                    <a:pt x="433" y="92"/>
                  </a:lnTo>
                  <a:lnTo>
                    <a:pt x="428" y="93"/>
                  </a:lnTo>
                  <a:lnTo>
                    <a:pt x="22" y="93"/>
                  </a:lnTo>
                  <a:lnTo>
                    <a:pt x="22" y="93"/>
                  </a:lnTo>
                  <a:lnTo>
                    <a:pt x="18" y="92"/>
                  </a:lnTo>
                  <a:lnTo>
                    <a:pt x="14" y="90"/>
                  </a:lnTo>
                  <a:lnTo>
                    <a:pt x="7" y="86"/>
                  </a:lnTo>
                  <a:lnTo>
                    <a:pt x="2" y="78"/>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8"/>
                  </a:moveTo>
                  <a:lnTo>
                    <a:pt x="219" y="38"/>
                  </a:lnTo>
                  <a:lnTo>
                    <a:pt x="215" y="38"/>
                  </a:lnTo>
                  <a:lnTo>
                    <a:pt x="211" y="40"/>
                  </a:lnTo>
                  <a:lnTo>
                    <a:pt x="208" y="44"/>
                  </a:lnTo>
                  <a:lnTo>
                    <a:pt x="208" y="48"/>
                  </a:lnTo>
                  <a:lnTo>
                    <a:pt x="208" y="48"/>
                  </a:lnTo>
                  <a:lnTo>
                    <a:pt x="208" y="52"/>
                  </a:lnTo>
                  <a:lnTo>
                    <a:pt x="211" y="57"/>
                  </a:lnTo>
                  <a:lnTo>
                    <a:pt x="215" y="58"/>
                  </a:lnTo>
                  <a:lnTo>
                    <a:pt x="219" y="59"/>
                  </a:lnTo>
                  <a:lnTo>
                    <a:pt x="391" y="59"/>
                  </a:lnTo>
                  <a:lnTo>
                    <a:pt x="391" y="59"/>
                  </a:lnTo>
                  <a:lnTo>
                    <a:pt x="395" y="58"/>
                  </a:lnTo>
                  <a:lnTo>
                    <a:pt x="400" y="57"/>
                  </a:lnTo>
                  <a:lnTo>
                    <a:pt x="401" y="52"/>
                  </a:lnTo>
                  <a:lnTo>
                    <a:pt x="402" y="48"/>
                  </a:lnTo>
                  <a:lnTo>
                    <a:pt x="402" y="48"/>
                  </a:lnTo>
                  <a:lnTo>
                    <a:pt x="401" y="44"/>
                  </a:lnTo>
                  <a:lnTo>
                    <a:pt x="400" y="40"/>
                  </a:lnTo>
                  <a:lnTo>
                    <a:pt x="395" y="38"/>
                  </a:lnTo>
                  <a:lnTo>
                    <a:pt x="391" y="38"/>
                  </a:lnTo>
                  <a:lnTo>
                    <a:pt x="219" y="38"/>
                  </a:lnTo>
                  <a:close/>
                  <a:moveTo>
                    <a:pt x="57" y="38"/>
                  </a:moveTo>
                  <a:lnTo>
                    <a:pt x="57" y="38"/>
                  </a:lnTo>
                  <a:lnTo>
                    <a:pt x="53" y="38"/>
                  </a:lnTo>
                  <a:lnTo>
                    <a:pt x="50" y="40"/>
                  </a:lnTo>
                  <a:lnTo>
                    <a:pt x="48" y="44"/>
                  </a:lnTo>
                  <a:lnTo>
                    <a:pt x="46" y="48"/>
                  </a:lnTo>
                  <a:lnTo>
                    <a:pt x="46" y="48"/>
                  </a:lnTo>
                  <a:lnTo>
                    <a:pt x="48" y="52"/>
                  </a:lnTo>
                  <a:lnTo>
                    <a:pt x="50" y="57"/>
                  </a:lnTo>
                  <a:lnTo>
                    <a:pt x="53" y="58"/>
                  </a:lnTo>
                  <a:lnTo>
                    <a:pt x="57" y="59"/>
                  </a:lnTo>
                  <a:lnTo>
                    <a:pt x="57" y="59"/>
                  </a:lnTo>
                  <a:lnTo>
                    <a:pt x="62" y="58"/>
                  </a:lnTo>
                  <a:lnTo>
                    <a:pt x="65" y="57"/>
                  </a:lnTo>
                  <a:lnTo>
                    <a:pt x="68" y="52"/>
                  </a:lnTo>
                  <a:lnTo>
                    <a:pt x="68" y="48"/>
                  </a:lnTo>
                  <a:lnTo>
                    <a:pt x="68" y="48"/>
                  </a:lnTo>
                  <a:lnTo>
                    <a:pt x="68" y="44"/>
                  </a:lnTo>
                  <a:lnTo>
                    <a:pt x="65" y="40"/>
                  </a:lnTo>
                  <a:lnTo>
                    <a:pt x="62" y="38"/>
                  </a:lnTo>
                  <a:lnTo>
                    <a:pt x="57" y="38"/>
                  </a:lnTo>
                  <a:lnTo>
                    <a:pt x="5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3" name="Freeform 138"/>
            <p:cNvSpPr>
              <a:spLocks noEditPoints="1"/>
            </p:cNvSpPr>
            <p:nvPr/>
          </p:nvSpPr>
          <p:spPr bwMode="auto">
            <a:xfrm>
              <a:off x="7474341" y="4768371"/>
              <a:ext cx="316318" cy="66076"/>
            </a:xfrm>
            <a:custGeom>
              <a:avLst/>
              <a:gdLst>
                <a:gd name="T0" fmla="*/ 428 w 451"/>
                <a:gd name="T1" fmla="*/ 0 h 93"/>
                <a:gd name="T2" fmla="*/ 437 w 451"/>
                <a:gd name="T3" fmla="*/ 1 h 93"/>
                <a:gd name="T4" fmla="*/ 448 w 451"/>
                <a:gd name="T5" fmla="*/ 13 h 93"/>
                <a:gd name="T6" fmla="*/ 451 w 451"/>
                <a:gd name="T7" fmla="*/ 21 h 93"/>
                <a:gd name="T8" fmla="*/ 451 w 451"/>
                <a:gd name="T9" fmla="*/ 70 h 93"/>
                <a:gd name="T10" fmla="*/ 448 w 451"/>
                <a:gd name="T11" fmla="*/ 79 h 93"/>
                <a:gd name="T12" fmla="*/ 441 w 451"/>
                <a:gd name="T13" fmla="*/ 89 h 93"/>
                <a:gd name="T14" fmla="*/ 433 w 451"/>
                <a:gd name="T15" fmla="*/ 91 h 93"/>
                <a:gd name="T16" fmla="*/ 22 w 451"/>
                <a:gd name="T17" fmla="*/ 93 h 93"/>
                <a:gd name="T18" fmla="*/ 18 w 451"/>
                <a:gd name="T19" fmla="*/ 91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7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7 h 93"/>
                <a:gd name="T56" fmla="*/ 57 w 451"/>
                <a:gd name="T57" fmla="*/ 37 h 93"/>
                <a:gd name="T58" fmla="*/ 53 w 451"/>
                <a:gd name="T59" fmla="*/ 37 h 93"/>
                <a:gd name="T60" fmla="*/ 48 w 451"/>
                <a:gd name="T61" fmla="*/ 44 h 93"/>
                <a:gd name="T62" fmla="*/ 46 w 451"/>
                <a:gd name="T63" fmla="*/ 48 h 93"/>
                <a:gd name="T64" fmla="*/ 50 w 451"/>
                <a:gd name="T65" fmla="*/ 56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8" y="13"/>
                  </a:lnTo>
                  <a:lnTo>
                    <a:pt x="449" y="17"/>
                  </a:lnTo>
                  <a:lnTo>
                    <a:pt x="451" y="21"/>
                  </a:lnTo>
                  <a:lnTo>
                    <a:pt x="451" y="70"/>
                  </a:lnTo>
                  <a:lnTo>
                    <a:pt x="451" y="70"/>
                  </a:lnTo>
                  <a:lnTo>
                    <a:pt x="449" y="74"/>
                  </a:lnTo>
                  <a:lnTo>
                    <a:pt x="448" y="79"/>
                  </a:lnTo>
                  <a:lnTo>
                    <a:pt x="444" y="86"/>
                  </a:lnTo>
                  <a:lnTo>
                    <a:pt x="441" y="89"/>
                  </a:lnTo>
                  <a:lnTo>
                    <a:pt x="437" y="90"/>
                  </a:lnTo>
                  <a:lnTo>
                    <a:pt x="433" y="91"/>
                  </a:lnTo>
                  <a:lnTo>
                    <a:pt x="428" y="93"/>
                  </a:lnTo>
                  <a:lnTo>
                    <a:pt x="22" y="93"/>
                  </a:lnTo>
                  <a:lnTo>
                    <a:pt x="22" y="93"/>
                  </a:lnTo>
                  <a:lnTo>
                    <a:pt x="18" y="91"/>
                  </a:lnTo>
                  <a:lnTo>
                    <a:pt x="14" y="90"/>
                  </a:lnTo>
                  <a:lnTo>
                    <a:pt x="7" y="86"/>
                  </a:lnTo>
                  <a:lnTo>
                    <a:pt x="2" y="79"/>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7"/>
                  </a:moveTo>
                  <a:lnTo>
                    <a:pt x="219" y="37"/>
                  </a:lnTo>
                  <a:lnTo>
                    <a:pt x="215" y="37"/>
                  </a:lnTo>
                  <a:lnTo>
                    <a:pt x="211" y="40"/>
                  </a:lnTo>
                  <a:lnTo>
                    <a:pt x="208" y="44"/>
                  </a:lnTo>
                  <a:lnTo>
                    <a:pt x="208" y="48"/>
                  </a:lnTo>
                  <a:lnTo>
                    <a:pt x="208" y="48"/>
                  </a:lnTo>
                  <a:lnTo>
                    <a:pt x="208" y="52"/>
                  </a:lnTo>
                  <a:lnTo>
                    <a:pt x="211" y="56"/>
                  </a:lnTo>
                  <a:lnTo>
                    <a:pt x="215" y="58"/>
                  </a:lnTo>
                  <a:lnTo>
                    <a:pt x="219" y="59"/>
                  </a:lnTo>
                  <a:lnTo>
                    <a:pt x="391" y="59"/>
                  </a:lnTo>
                  <a:lnTo>
                    <a:pt x="391" y="59"/>
                  </a:lnTo>
                  <a:lnTo>
                    <a:pt x="395" y="58"/>
                  </a:lnTo>
                  <a:lnTo>
                    <a:pt x="400" y="56"/>
                  </a:lnTo>
                  <a:lnTo>
                    <a:pt x="401" y="52"/>
                  </a:lnTo>
                  <a:lnTo>
                    <a:pt x="402" y="48"/>
                  </a:lnTo>
                  <a:lnTo>
                    <a:pt x="402" y="48"/>
                  </a:lnTo>
                  <a:lnTo>
                    <a:pt x="401" y="44"/>
                  </a:lnTo>
                  <a:lnTo>
                    <a:pt x="400" y="40"/>
                  </a:lnTo>
                  <a:lnTo>
                    <a:pt x="395" y="37"/>
                  </a:lnTo>
                  <a:lnTo>
                    <a:pt x="391" y="37"/>
                  </a:lnTo>
                  <a:lnTo>
                    <a:pt x="219" y="37"/>
                  </a:lnTo>
                  <a:close/>
                  <a:moveTo>
                    <a:pt x="57" y="37"/>
                  </a:moveTo>
                  <a:lnTo>
                    <a:pt x="57" y="37"/>
                  </a:lnTo>
                  <a:lnTo>
                    <a:pt x="53" y="37"/>
                  </a:lnTo>
                  <a:lnTo>
                    <a:pt x="50" y="40"/>
                  </a:lnTo>
                  <a:lnTo>
                    <a:pt x="48" y="44"/>
                  </a:lnTo>
                  <a:lnTo>
                    <a:pt x="46" y="48"/>
                  </a:lnTo>
                  <a:lnTo>
                    <a:pt x="46" y="48"/>
                  </a:lnTo>
                  <a:lnTo>
                    <a:pt x="48" y="52"/>
                  </a:lnTo>
                  <a:lnTo>
                    <a:pt x="50" y="56"/>
                  </a:lnTo>
                  <a:lnTo>
                    <a:pt x="53" y="58"/>
                  </a:lnTo>
                  <a:lnTo>
                    <a:pt x="57" y="59"/>
                  </a:lnTo>
                  <a:lnTo>
                    <a:pt x="57" y="59"/>
                  </a:lnTo>
                  <a:lnTo>
                    <a:pt x="62" y="58"/>
                  </a:lnTo>
                  <a:lnTo>
                    <a:pt x="65" y="56"/>
                  </a:lnTo>
                  <a:lnTo>
                    <a:pt x="68" y="52"/>
                  </a:lnTo>
                  <a:lnTo>
                    <a:pt x="68" y="48"/>
                  </a:lnTo>
                  <a:lnTo>
                    <a:pt x="68" y="48"/>
                  </a:lnTo>
                  <a:lnTo>
                    <a:pt x="68" y="44"/>
                  </a:lnTo>
                  <a:lnTo>
                    <a:pt x="65" y="40"/>
                  </a:lnTo>
                  <a:lnTo>
                    <a:pt x="62" y="37"/>
                  </a:lnTo>
                  <a:lnTo>
                    <a:pt x="57" y="37"/>
                  </a:lnTo>
                  <a:lnTo>
                    <a:pt x="5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4" name="Freeform 139"/>
            <p:cNvSpPr>
              <a:spLocks noEditPoints="1"/>
            </p:cNvSpPr>
            <p:nvPr/>
          </p:nvSpPr>
          <p:spPr bwMode="auto">
            <a:xfrm>
              <a:off x="7474341" y="4852722"/>
              <a:ext cx="316318" cy="64669"/>
            </a:xfrm>
            <a:custGeom>
              <a:avLst/>
              <a:gdLst>
                <a:gd name="T0" fmla="*/ 428 w 451"/>
                <a:gd name="T1" fmla="*/ 0 h 93"/>
                <a:gd name="T2" fmla="*/ 437 w 451"/>
                <a:gd name="T3" fmla="*/ 2 h 93"/>
                <a:gd name="T4" fmla="*/ 448 w 451"/>
                <a:gd name="T5" fmla="*/ 14 h 93"/>
                <a:gd name="T6" fmla="*/ 451 w 451"/>
                <a:gd name="T7" fmla="*/ 22 h 93"/>
                <a:gd name="T8" fmla="*/ 451 w 451"/>
                <a:gd name="T9" fmla="*/ 70 h 93"/>
                <a:gd name="T10" fmla="*/ 448 w 451"/>
                <a:gd name="T11" fmla="*/ 80 h 93"/>
                <a:gd name="T12" fmla="*/ 444 w 451"/>
                <a:gd name="T13" fmla="*/ 86 h 93"/>
                <a:gd name="T14" fmla="*/ 437 w 451"/>
                <a:gd name="T15" fmla="*/ 91 h 93"/>
                <a:gd name="T16" fmla="*/ 428 w 451"/>
                <a:gd name="T17" fmla="*/ 93 h 93"/>
                <a:gd name="T18" fmla="*/ 22 w 451"/>
                <a:gd name="T19" fmla="*/ 93 h 93"/>
                <a:gd name="T20" fmla="*/ 14 w 451"/>
                <a:gd name="T21" fmla="*/ 91 h 93"/>
                <a:gd name="T22" fmla="*/ 4 w 451"/>
                <a:gd name="T23" fmla="*/ 82 h 93"/>
                <a:gd name="T24" fmla="*/ 0 w 451"/>
                <a:gd name="T25" fmla="*/ 76 h 93"/>
                <a:gd name="T26" fmla="*/ 0 w 451"/>
                <a:gd name="T27" fmla="*/ 22 h 93"/>
                <a:gd name="T28" fmla="*/ 0 w 451"/>
                <a:gd name="T29" fmla="*/ 18 h 93"/>
                <a:gd name="T30" fmla="*/ 7 w 451"/>
                <a:gd name="T31" fmla="*/ 6 h 93"/>
                <a:gd name="T32" fmla="*/ 18 w 451"/>
                <a:gd name="T33" fmla="*/ 0 h 93"/>
                <a:gd name="T34" fmla="*/ 428 w 451"/>
                <a:gd name="T35" fmla="*/ 0 h 93"/>
                <a:gd name="T36" fmla="*/ 219 w 451"/>
                <a:gd name="T37" fmla="*/ 38 h 93"/>
                <a:gd name="T38" fmla="*/ 211 w 451"/>
                <a:gd name="T39" fmla="*/ 41 h 93"/>
                <a:gd name="T40" fmla="*/ 208 w 451"/>
                <a:gd name="T41" fmla="*/ 49 h 93"/>
                <a:gd name="T42" fmla="*/ 208 w 451"/>
                <a:gd name="T43" fmla="*/ 53 h 93"/>
                <a:gd name="T44" fmla="*/ 215 w 451"/>
                <a:gd name="T45" fmla="*/ 58 h 93"/>
                <a:gd name="T46" fmla="*/ 391 w 451"/>
                <a:gd name="T47" fmla="*/ 60 h 93"/>
                <a:gd name="T48" fmla="*/ 395 w 451"/>
                <a:gd name="T49" fmla="*/ 58 h 93"/>
                <a:gd name="T50" fmla="*/ 401 w 451"/>
                <a:gd name="T51" fmla="*/ 53 h 93"/>
                <a:gd name="T52" fmla="*/ 402 w 451"/>
                <a:gd name="T53" fmla="*/ 49 h 93"/>
                <a:gd name="T54" fmla="*/ 400 w 451"/>
                <a:gd name="T55" fmla="*/ 41 h 93"/>
                <a:gd name="T56" fmla="*/ 391 w 451"/>
                <a:gd name="T57" fmla="*/ 38 h 93"/>
                <a:gd name="T58" fmla="*/ 57 w 451"/>
                <a:gd name="T59" fmla="*/ 38 h 93"/>
                <a:gd name="T60" fmla="*/ 53 w 451"/>
                <a:gd name="T61" fmla="*/ 38 h 93"/>
                <a:gd name="T62" fmla="*/ 48 w 451"/>
                <a:gd name="T63" fmla="*/ 45 h 93"/>
                <a:gd name="T64" fmla="*/ 46 w 451"/>
                <a:gd name="T65" fmla="*/ 49 h 93"/>
                <a:gd name="T66" fmla="*/ 50 w 451"/>
                <a:gd name="T67" fmla="*/ 57 h 93"/>
                <a:gd name="T68" fmla="*/ 57 w 451"/>
                <a:gd name="T69" fmla="*/ 60 h 93"/>
                <a:gd name="T70" fmla="*/ 62 w 451"/>
                <a:gd name="T71" fmla="*/ 58 h 93"/>
                <a:gd name="T72" fmla="*/ 68 w 451"/>
                <a:gd name="T73" fmla="*/ 53 h 93"/>
                <a:gd name="T74" fmla="*/ 68 w 451"/>
                <a:gd name="T75" fmla="*/ 49 h 93"/>
                <a:gd name="T76" fmla="*/ 65 w 451"/>
                <a:gd name="T77" fmla="*/ 41 h 93"/>
                <a:gd name="T78" fmla="*/ 57 w 451"/>
                <a:gd name="T7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93">
                  <a:moveTo>
                    <a:pt x="428" y="0"/>
                  </a:moveTo>
                  <a:lnTo>
                    <a:pt x="428" y="0"/>
                  </a:lnTo>
                  <a:lnTo>
                    <a:pt x="433" y="0"/>
                  </a:lnTo>
                  <a:lnTo>
                    <a:pt x="437" y="2"/>
                  </a:lnTo>
                  <a:lnTo>
                    <a:pt x="444" y="6"/>
                  </a:lnTo>
                  <a:lnTo>
                    <a:pt x="448" y="14"/>
                  </a:lnTo>
                  <a:lnTo>
                    <a:pt x="449" y="18"/>
                  </a:lnTo>
                  <a:lnTo>
                    <a:pt x="451" y="22"/>
                  </a:lnTo>
                  <a:lnTo>
                    <a:pt x="451" y="70"/>
                  </a:lnTo>
                  <a:lnTo>
                    <a:pt x="451" y="70"/>
                  </a:lnTo>
                  <a:lnTo>
                    <a:pt x="449" y="76"/>
                  </a:lnTo>
                  <a:lnTo>
                    <a:pt x="448" y="80"/>
                  </a:lnTo>
                  <a:lnTo>
                    <a:pt x="447" y="82"/>
                  </a:lnTo>
                  <a:lnTo>
                    <a:pt x="444" y="86"/>
                  </a:lnTo>
                  <a:lnTo>
                    <a:pt x="441" y="89"/>
                  </a:lnTo>
                  <a:lnTo>
                    <a:pt x="437" y="91"/>
                  </a:lnTo>
                  <a:lnTo>
                    <a:pt x="433" y="92"/>
                  </a:lnTo>
                  <a:lnTo>
                    <a:pt x="428" y="93"/>
                  </a:lnTo>
                  <a:lnTo>
                    <a:pt x="22" y="93"/>
                  </a:lnTo>
                  <a:lnTo>
                    <a:pt x="22" y="93"/>
                  </a:lnTo>
                  <a:lnTo>
                    <a:pt x="18" y="92"/>
                  </a:lnTo>
                  <a:lnTo>
                    <a:pt x="14" y="91"/>
                  </a:lnTo>
                  <a:lnTo>
                    <a:pt x="7" y="86"/>
                  </a:lnTo>
                  <a:lnTo>
                    <a:pt x="4" y="82"/>
                  </a:lnTo>
                  <a:lnTo>
                    <a:pt x="2" y="80"/>
                  </a:lnTo>
                  <a:lnTo>
                    <a:pt x="0" y="76"/>
                  </a:lnTo>
                  <a:lnTo>
                    <a:pt x="0" y="70"/>
                  </a:lnTo>
                  <a:lnTo>
                    <a:pt x="0" y="22"/>
                  </a:lnTo>
                  <a:lnTo>
                    <a:pt x="0" y="22"/>
                  </a:lnTo>
                  <a:lnTo>
                    <a:pt x="0" y="18"/>
                  </a:lnTo>
                  <a:lnTo>
                    <a:pt x="2" y="14"/>
                  </a:lnTo>
                  <a:lnTo>
                    <a:pt x="7" y="6"/>
                  </a:lnTo>
                  <a:lnTo>
                    <a:pt x="14" y="2"/>
                  </a:lnTo>
                  <a:lnTo>
                    <a:pt x="18" y="0"/>
                  </a:lnTo>
                  <a:lnTo>
                    <a:pt x="22" y="0"/>
                  </a:lnTo>
                  <a:lnTo>
                    <a:pt x="428" y="0"/>
                  </a:lnTo>
                  <a:close/>
                  <a:moveTo>
                    <a:pt x="219" y="38"/>
                  </a:moveTo>
                  <a:lnTo>
                    <a:pt x="219" y="38"/>
                  </a:lnTo>
                  <a:lnTo>
                    <a:pt x="215" y="38"/>
                  </a:lnTo>
                  <a:lnTo>
                    <a:pt x="211" y="41"/>
                  </a:lnTo>
                  <a:lnTo>
                    <a:pt x="208" y="45"/>
                  </a:lnTo>
                  <a:lnTo>
                    <a:pt x="208" y="49"/>
                  </a:lnTo>
                  <a:lnTo>
                    <a:pt x="208" y="49"/>
                  </a:lnTo>
                  <a:lnTo>
                    <a:pt x="208" y="53"/>
                  </a:lnTo>
                  <a:lnTo>
                    <a:pt x="211" y="57"/>
                  </a:lnTo>
                  <a:lnTo>
                    <a:pt x="215" y="58"/>
                  </a:lnTo>
                  <a:lnTo>
                    <a:pt x="219" y="60"/>
                  </a:lnTo>
                  <a:lnTo>
                    <a:pt x="391" y="60"/>
                  </a:lnTo>
                  <a:lnTo>
                    <a:pt x="391" y="60"/>
                  </a:lnTo>
                  <a:lnTo>
                    <a:pt x="395" y="58"/>
                  </a:lnTo>
                  <a:lnTo>
                    <a:pt x="400" y="57"/>
                  </a:lnTo>
                  <a:lnTo>
                    <a:pt x="401" y="53"/>
                  </a:lnTo>
                  <a:lnTo>
                    <a:pt x="402" y="49"/>
                  </a:lnTo>
                  <a:lnTo>
                    <a:pt x="402" y="49"/>
                  </a:lnTo>
                  <a:lnTo>
                    <a:pt x="401" y="45"/>
                  </a:lnTo>
                  <a:lnTo>
                    <a:pt x="400" y="41"/>
                  </a:lnTo>
                  <a:lnTo>
                    <a:pt x="395" y="38"/>
                  </a:lnTo>
                  <a:lnTo>
                    <a:pt x="391" y="38"/>
                  </a:lnTo>
                  <a:lnTo>
                    <a:pt x="219" y="38"/>
                  </a:lnTo>
                  <a:close/>
                  <a:moveTo>
                    <a:pt x="57" y="38"/>
                  </a:moveTo>
                  <a:lnTo>
                    <a:pt x="57" y="38"/>
                  </a:lnTo>
                  <a:lnTo>
                    <a:pt x="53" y="38"/>
                  </a:lnTo>
                  <a:lnTo>
                    <a:pt x="50" y="41"/>
                  </a:lnTo>
                  <a:lnTo>
                    <a:pt x="48" y="45"/>
                  </a:lnTo>
                  <a:lnTo>
                    <a:pt x="46" y="49"/>
                  </a:lnTo>
                  <a:lnTo>
                    <a:pt x="46" y="49"/>
                  </a:lnTo>
                  <a:lnTo>
                    <a:pt x="48" y="53"/>
                  </a:lnTo>
                  <a:lnTo>
                    <a:pt x="50" y="57"/>
                  </a:lnTo>
                  <a:lnTo>
                    <a:pt x="53" y="58"/>
                  </a:lnTo>
                  <a:lnTo>
                    <a:pt x="57" y="60"/>
                  </a:lnTo>
                  <a:lnTo>
                    <a:pt x="57" y="60"/>
                  </a:lnTo>
                  <a:lnTo>
                    <a:pt x="62" y="58"/>
                  </a:lnTo>
                  <a:lnTo>
                    <a:pt x="65" y="57"/>
                  </a:lnTo>
                  <a:lnTo>
                    <a:pt x="68" y="53"/>
                  </a:lnTo>
                  <a:lnTo>
                    <a:pt x="68" y="49"/>
                  </a:lnTo>
                  <a:lnTo>
                    <a:pt x="68" y="49"/>
                  </a:lnTo>
                  <a:lnTo>
                    <a:pt x="68" y="45"/>
                  </a:lnTo>
                  <a:lnTo>
                    <a:pt x="65" y="41"/>
                  </a:lnTo>
                  <a:lnTo>
                    <a:pt x="62" y="38"/>
                  </a:lnTo>
                  <a:lnTo>
                    <a:pt x="57" y="38"/>
                  </a:lnTo>
                  <a:lnTo>
                    <a:pt x="5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5" name="Freeform 140"/>
            <p:cNvSpPr>
              <a:spLocks noEditPoints="1"/>
            </p:cNvSpPr>
            <p:nvPr/>
          </p:nvSpPr>
          <p:spPr bwMode="auto">
            <a:xfrm>
              <a:off x="7439195" y="4481576"/>
              <a:ext cx="386611" cy="483615"/>
            </a:xfrm>
            <a:custGeom>
              <a:avLst/>
              <a:gdLst>
                <a:gd name="T0" fmla="*/ 531 w 550"/>
                <a:gd name="T1" fmla="*/ 20 h 689"/>
                <a:gd name="T2" fmla="*/ 508 w 550"/>
                <a:gd name="T3" fmla="*/ 5 h 689"/>
                <a:gd name="T4" fmla="*/ 482 w 550"/>
                <a:gd name="T5" fmla="*/ 0 h 689"/>
                <a:gd name="T6" fmla="*/ 67 w 550"/>
                <a:gd name="T7" fmla="*/ 0 h 689"/>
                <a:gd name="T8" fmla="*/ 40 w 550"/>
                <a:gd name="T9" fmla="*/ 5 h 689"/>
                <a:gd name="T10" fmla="*/ 18 w 550"/>
                <a:gd name="T11" fmla="*/ 20 h 689"/>
                <a:gd name="T12" fmla="*/ 10 w 550"/>
                <a:gd name="T13" fmla="*/ 30 h 689"/>
                <a:gd name="T14" fmla="*/ 1 w 550"/>
                <a:gd name="T15" fmla="*/ 54 h 689"/>
                <a:gd name="T16" fmla="*/ 0 w 550"/>
                <a:gd name="T17" fmla="*/ 601 h 689"/>
                <a:gd name="T18" fmla="*/ 0 w 550"/>
                <a:gd name="T19" fmla="*/ 611 h 689"/>
                <a:gd name="T20" fmla="*/ 4 w 550"/>
                <a:gd name="T21" fmla="*/ 627 h 689"/>
                <a:gd name="T22" fmla="*/ 12 w 550"/>
                <a:gd name="T23" fmla="*/ 642 h 689"/>
                <a:gd name="T24" fmla="*/ 24 w 550"/>
                <a:gd name="T25" fmla="*/ 654 h 689"/>
                <a:gd name="T26" fmla="*/ 31 w 550"/>
                <a:gd name="T27" fmla="*/ 658 h 689"/>
                <a:gd name="T28" fmla="*/ 31 w 550"/>
                <a:gd name="T29" fmla="*/ 659 h 689"/>
                <a:gd name="T30" fmla="*/ 32 w 550"/>
                <a:gd name="T31" fmla="*/ 670 h 689"/>
                <a:gd name="T32" fmla="*/ 39 w 550"/>
                <a:gd name="T33" fmla="*/ 680 h 689"/>
                <a:gd name="T34" fmla="*/ 48 w 550"/>
                <a:gd name="T35" fmla="*/ 686 h 689"/>
                <a:gd name="T36" fmla="*/ 60 w 550"/>
                <a:gd name="T37" fmla="*/ 689 h 689"/>
                <a:gd name="T38" fmla="*/ 98 w 550"/>
                <a:gd name="T39" fmla="*/ 689 h 689"/>
                <a:gd name="T40" fmla="*/ 115 w 550"/>
                <a:gd name="T41" fmla="*/ 684 h 689"/>
                <a:gd name="T42" fmla="*/ 125 w 550"/>
                <a:gd name="T43" fmla="*/ 669 h 689"/>
                <a:gd name="T44" fmla="*/ 423 w 550"/>
                <a:gd name="T45" fmla="*/ 669 h 689"/>
                <a:gd name="T46" fmla="*/ 434 w 550"/>
                <a:gd name="T47" fmla="*/ 684 h 689"/>
                <a:gd name="T48" fmla="*/ 451 w 550"/>
                <a:gd name="T49" fmla="*/ 689 h 689"/>
                <a:gd name="T50" fmla="*/ 489 w 550"/>
                <a:gd name="T51" fmla="*/ 689 h 689"/>
                <a:gd name="T52" fmla="*/ 501 w 550"/>
                <a:gd name="T53" fmla="*/ 686 h 689"/>
                <a:gd name="T54" fmla="*/ 511 w 550"/>
                <a:gd name="T55" fmla="*/ 680 h 689"/>
                <a:gd name="T56" fmla="*/ 517 w 550"/>
                <a:gd name="T57" fmla="*/ 670 h 689"/>
                <a:gd name="T58" fmla="*/ 519 w 550"/>
                <a:gd name="T59" fmla="*/ 659 h 689"/>
                <a:gd name="T60" fmla="*/ 519 w 550"/>
                <a:gd name="T61" fmla="*/ 658 h 689"/>
                <a:gd name="T62" fmla="*/ 525 w 550"/>
                <a:gd name="T63" fmla="*/ 654 h 689"/>
                <a:gd name="T64" fmla="*/ 538 w 550"/>
                <a:gd name="T65" fmla="*/ 642 h 689"/>
                <a:gd name="T66" fmla="*/ 546 w 550"/>
                <a:gd name="T67" fmla="*/ 627 h 689"/>
                <a:gd name="T68" fmla="*/ 550 w 550"/>
                <a:gd name="T69" fmla="*/ 611 h 689"/>
                <a:gd name="T70" fmla="*/ 550 w 550"/>
                <a:gd name="T71" fmla="*/ 67 h 689"/>
                <a:gd name="T72" fmla="*/ 548 w 550"/>
                <a:gd name="T73" fmla="*/ 54 h 689"/>
                <a:gd name="T74" fmla="*/ 539 w 550"/>
                <a:gd name="T75" fmla="*/ 30 h 689"/>
                <a:gd name="T76" fmla="*/ 531 w 550"/>
                <a:gd name="T77" fmla="*/ 20 h 689"/>
                <a:gd name="T78" fmla="*/ 528 w 550"/>
                <a:gd name="T79" fmla="*/ 601 h 689"/>
                <a:gd name="T80" fmla="*/ 524 w 550"/>
                <a:gd name="T81" fmla="*/ 619 h 689"/>
                <a:gd name="T82" fmla="*/ 515 w 550"/>
                <a:gd name="T83" fmla="*/ 634 h 689"/>
                <a:gd name="T84" fmla="*/ 500 w 550"/>
                <a:gd name="T85" fmla="*/ 643 h 689"/>
                <a:gd name="T86" fmla="*/ 482 w 550"/>
                <a:gd name="T87" fmla="*/ 647 h 689"/>
                <a:gd name="T88" fmla="*/ 67 w 550"/>
                <a:gd name="T89" fmla="*/ 647 h 689"/>
                <a:gd name="T90" fmla="*/ 48 w 550"/>
                <a:gd name="T91" fmla="*/ 643 h 689"/>
                <a:gd name="T92" fmla="*/ 35 w 550"/>
                <a:gd name="T93" fmla="*/ 634 h 689"/>
                <a:gd name="T94" fmla="*/ 24 w 550"/>
                <a:gd name="T95" fmla="*/ 619 h 689"/>
                <a:gd name="T96" fmla="*/ 21 w 550"/>
                <a:gd name="T97" fmla="*/ 601 h 689"/>
                <a:gd name="T98" fmla="*/ 21 w 550"/>
                <a:gd name="T99" fmla="*/ 67 h 689"/>
                <a:gd name="T100" fmla="*/ 24 w 550"/>
                <a:gd name="T101" fmla="*/ 50 h 689"/>
                <a:gd name="T102" fmla="*/ 35 w 550"/>
                <a:gd name="T103" fmla="*/ 35 h 689"/>
                <a:gd name="T104" fmla="*/ 41 w 550"/>
                <a:gd name="T105" fmla="*/ 30 h 689"/>
                <a:gd name="T106" fmla="*/ 58 w 550"/>
                <a:gd name="T107" fmla="*/ 23 h 689"/>
                <a:gd name="T108" fmla="*/ 482 w 550"/>
                <a:gd name="T109" fmla="*/ 22 h 689"/>
                <a:gd name="T110" fmla="*/ 492 w 550"/>
                <a:gd name="T111" fmla="*/ 23 h 689"/>
                <a:gd name="T112" fmla="*/ 508 w 550"/>
                <a:gd name="T113" fmla="*/ 30 h 689"/>
                <a:gd name="T114" fmla="*/ 515 w 550"/>
                <a:gd name="T115" fmla="*/ 35 h 689"/>
                <a:gd name="T116" fmla="*/ 524 w 550"/>
                <a:gd name="T117" fmla="*/ 50 h 689"/>
                <a:gd name="T118" fmla="*/ 528 w 550"/>
                <a:gd name="T119" fmla="*/ 6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0" h="689">
                  <a:moveTo>
                    <a:pt x="531" y="20"/>
                  </a:moveTo>
                  <a:lnTo>
                    <a:pt x="531" y="20"/>
                  </a:lnTo>
                  <a:lnTo>
                    <a:pt x="520" y="11"/>
                  </a:lnTo>
                  <a:lnTo>
                    <a:pt x="508" y="5"/>
                  </a:lnTo>
                  <a:lnTo>
                    <a:pt x="496" y="1"/>
                  </a:lnTo>
                  <a:lnTo>
                    <a:pt x="482" y="0"/>
                  </a:lnTo>
                  <a:lnTo>
                    <a:pt x="67" y="0"/>
                  </a:lnTo>
                  <a:lnTo>
                    <a:pt x="67" y="0"/>
                  </a:lnTo>
                  <a:lnTo>
                    <a:pt x="53" y="1"/>
                  </a:lnTo>
                  <a:lnTo>
                    <a:pt x="40" y="5"/>
                  </a:lnTo>
                  <a:lnTo>
                    <a:pt x="29" y="11"/>
                  </a:lnTo>
                  <a:lnTo>
                    <a:pt x="18" y="20"/>
                  </a:lnTo>
                  <a:lnTo>
                    <a:pt x="18" y="20"/>
                  </a:lnTo>
                  <a:lnTo>
                    <a:pt x="10" y="30"/>
                  </a:lnTo>
                  <a:lnTo>
                    <a:pt x="4" y="42"/>
                  </a:lnTo>
                  <a:lnTo>
                    <a:pt x="1" y="54"/>
                  </a:lnTo>
                  <a:lnTo>
                    <a:pt x="0" y="67"/>
                  </a:lnTo>
                  <a:lnTo>
                    <a:pt x="0" y="601"/>
                  </a:lnTo>
                  <a:lnTo>
                    <a:pt x="0" y="601"/>
                  </a:lnTo>
                  <a:lnTo>
                    <a:pt x="0" y="611"/>
                  </a:lnTo>
                  <a:lnTo>
                    <a:pt x="1" y="619"/>
                  </a:lnTo>
                  <a:lnTo>
                    <a:pt x="4" y="627"/>
                  </a:lnTo>
                  <a:lnTo>
                    <a:pt x="8" y="634"/>
                  </a:lnTo>
                  <a:lnTo>
                    <a:pt x="12" y="642"/>
                  </a:lnTo>
                  <a:lnTo>
                    <a:pt x="17" y="647"/>
                  </a:lnTo>
                  <a:lnTo>
                    <a:pt x="24" y="654"/>
                  </a:lnTo>
                  <a:lnTo>
                    <a:pt x="31" y="658"/>
                  </a:lnTo>
                  <a:lnTo>
                    <a:pt x="31" y="658"/>
                  </a:lnTo>
                  <a:lnTo>
                    <a:pt x="31" y="659"/>
                  </a:lnTo>
                  <a:lnTo>
                    <a:pt x="31" y="659"/>
                  </a:lnTo>
                  <a:lnTo>
                    <a:pt x="31" y="665"/>
                  </a:lnTo>
                  <a:lnTo>
                    <a:pt x="32" y="670"/>
                  </a:lnTo>
                  <a:lnTo>
                    <a:pt x="35" y="676"/>
                  </a:lnTo>
                  <a:lnTo>
                    <a:pt x="39" y="680"/>
                  </a:lnTo>
                  <a:lnTo>
                    <a:pt x="43" y="684"/>
                  </a:lnTo>
                  <a:lnTo>
                    <a:pt x="48" y="686"/>
                  </a:lnTo>
                  <a:lnTo>
                    <a:pt x="53" y="688"/>
                  </a:lnTo>
                  <a:lnTo>
                    <a:pt x="60" y="689"/>
                  </a:lnTo>
                  <a:lnTo>
                    <a:pt x="98" y="689"/>
                  </a:lnTo>
                  <a:lnTo>
                    <a:pt x="98" y="689"/>
                  </a:lnTo>
                  <a:lnTo>
                    <a:pt x="107" y="688"/>
                  </a:lnTo>
                  <a:lnTo>
                    <a:pt x="115" y="684"/>
                  </a:lnTo>
                  <a:lnTo>
                    <a:pt x="121" y="677"/>
                  </a:lnTo>
                  <a:lnTo>
                    <a:pt x="125" y="669"/>
                  </a:lnTo>
                  <a:lnTo>
                    <a:pt x="423" y="669"/>
                  </a:lnTo>
                  <a:lnTo>
                    <a:pt x="423" y="669"/>
                  </a:lnTo>
                  <a:lnTo>
                    <a:pt x="428" y="677"/>
                  </a:lnTo>
                  <a:lnTo>
                    <a:pt x="434" y="684"/>
                  </a:lnTo>
                  <a:lnTo>
                    <a:pt x="442" y="688"/>
                  </a:lnTo>
                  <a:lnTo>
                    <a:pt x="451" y="689"/>
                  </a:lnTo>
                  <a:lnTo>
                    <a:pt x="489" y="689"/>
                  </a:lnTo>
                  <a:lnTo>
                    <a:pt x="489" y="689"/>
                  </a:lnTo>
                  <a:lnTo>
                    <a:pt x="496" y="688"/>
                  </a:lnTo>
                  <a:lnTo>
                    <a:pt x="501" y="686"/>
                  </a:lnTo>
                  <a:lnTo>
                    <a:pt x="507" y="684"/>
                  </a:lnTo>
                  <a:lnTo>
                    <a:pt x="511" y="680"/>
                  </a:lnTo>
                  <a:lnTo>
                    <a:pt x="515" y="676"/>
                  </a:lnTo>
                  <a:lnTo>
                    <a:pt x="517" y="670"/>
                  </a:lnTo>
                  <a:lnTo>
                    <a:pt x="519" y="665"/>
                  </a:lnTo>
                  <a:lnTo>
                    <a:pt x="519" y="659"/>
                  </a:lnTo>
                  <a:lnTo>
                    <a:pt x="519" y="659"/>
                  </a:lnTo>
                  <a:lnTo>
                    <a:pt x="519" y="658"/>
                  </a:lnTo>
                  <a:lnTo>
                    <a:pt x="519" y="658"/>
                  </a:lnTo>
                  <a:lnTo>
                    <a:pt x="525" y="654"/>
                  </a:lnTo>
                  <a:lnTo>
                    <a:pt x="532" y="647"/>
                  </a:lnTo>
                  <a:lnTo>
                    <a:pt x="538" y="642"/>
                  </a:lnTo>
                  <a:lnTo>
                    <a:pt x="542" y="634"/>
                  </a:lnTo>
                  <a:lnTo>
                    <a:pt x="546" y="627"/>
                  </a:lnTo>
                  <a:lnTo>
                    <a:pt x="548" y="619"/>
                  </a:lnTo>
                  <a:lnTo>
                    <a:pt x="550" y="611"/>
                  </a:lnTo>
                  <a:lnTo>
                    <a:pt x="550" y="601"/>
                  </a:lnTo>
                  <a:lnTo>
                    <a:pt x="550" y="67"/>
                  </a:lnTo>
                  <a:lnTo>
                    <a:pt x="550" y="67"/>
                  </a:lnTo>
                  <a:lnTo>
                    <a:pt x="548" y="54"/>
                  </a:lnTo>
                  <a:lnTo>
                    <a:pt x="544" y="42"/>
                  </a:lnTo>
                  <a:lnTo>
                    <a:pt x="539" y="30"/>
                  </a:lnTo>
                  <a:lnTo>
                    <a:pt x="531" y="20"/>
                  </a:lnTo>
                  <a:lnTo>
                    <a:pt x="531" y="20"/>
                  </a:lnTo>
                  <a:close/>
                  <a:moveTo>
                    <a:pt x="528" y="601"/>
                  </a:moveTo>
                  <a:lnTo>
                    <a:pt x="528" y="601"/>
                  </a:lnTo>
                  <a:lnTo>
                    <a:pt x="527" y="611"/>
                  </a:lnTo>
                  <a:lnTo>
                    <a:pt x="524" y="619"/>
                  </a:lnTo>
                  <a:lnTo>
                    <a:pt x="520" y="627"/>
                  </a:lnTo>
                  <a:lnTo>
                    <a:pt x="515" y="634"/>
                  </a:lnTo>
                  <a:lnTo>
                    <a:pt x="508" y="639"/>
                  </a:lnTo>
                  <a:lnTo>
                    <a:pt x="500" y="643"/>
                  </a:lnTo>
                  <a:lnTo>
                    <a:pt x="492" y="646"/>
                  </a:lnTo>
                  <a:lnTo>
                    <a:pt x="482" y="647"/>
                  </a:lnTo>
                  <a:lnTo>
                    <a:pt x="67" y="647"/>
                  </a:lnTo>
                  <a:lnTo>
                    <a:pt x="67" y="647"/>
                  </a:lnTo>
                  <a:lnTo>
                    <a:pt x="58" y="646"/>
                  </a:lnTo>
                  <a:lnTo>
                    <a:pt x="48" y="643"/>
                  </a:lnTo>
                  <a:lnTo>
                    <a:pt x="41" y="639"/>
                  </a:lnTo>
                  <a:lnTo>
                    <a:pt x="35" y="634"/>
                  </a:lnTo>
                  <a:lnTo>
                    <a:pt x="29" y="627"/>
                  </a:lnTo>
                  <a:lnTo>
                    <a:pt x="24" y="619"/>
                  </a:lnTo>
                  <a:lnTo>
                    <a:pt x="22" y="611"/>
                  </a:lnTo>
                  <a:lnTo>
                    <a:pt x="21" y="601"/>
                  </a:lnTo>
                  <a:lnTo>
                    <a:pt x="21" y="67"/>
                  </a:lnTo>
                  <a:lnTo>
                    <a:pt x="21" y="67"/>
                  </a:lnTo>
                  <a:lnTo>
                    <a:pt x="21" y="58"/>
                  </a:lnTo>
                  <a:lnTo>
                    <a:pt x="24" y="50"/>
                  </a:lnTo>
                  <a:lnTo>
                    <a:pt x="29" y="42"/>
                  </a:lnTo>
                  <a:lnTo>
                    <a:pt x="35" y="35"/>
                  </a:lnTo>
                  <a:lnTo>
                    <a:pt x="35" y="35"/>
                  </a:lnTo>
                  <a:lnTo>
                    <a:pt x="41" y="30"/>
                  </a:lnTo>
                  <a:lnTo>
                    <a:pt x="49" y="26"/>
                  </a:lnTo>
                  <a:lnTo>
                    <a:pt x="58" y="23"/>
                  </a:lnTo>
                  <a:lnTo>
                    <a:pt x="67" y="22"/>
                  </a:lnTo>
                  <a:lnTo>
                    <a:pt x="482" y="22"/>
                  </a:lnTo>
                  <a:lnTo>
                    <a:pt x="482" y="22"/>
                  </a:lnTo>
                  <a:lnTo>
                    <a:pt x="492" y="23"/>
                  </a:lnTo>
                  <a:lnTo>
                    <a:pt x="500" y="26"/>
                  </a:lnTo>
                  <a:lnTo>
                    <a:pt x="508" y="30"/>
                  </a:lnTo>
                  <a:lnTo>
                    <a:pt x="515" y="35"/>
                  </a:lnTo>
                  <a:lnTo>
                    <a:pt x="515" y="35"/>
                  </a:lnTo>
                  <a:lnTo>
                    <a:pt x="520" y="42"/>
                  </a:lnTo>
                  <a:lnTo>
                    <a:pt x="524" y="50"/>
                  </a:lnTo>
                  <a:lnTo>
                    <a:pt x="527" y="58"/>
                  </a:lnTo>
                  <a:lnTo>
                    <a:pt x="528" y="67"/>
                  </a:lnTo>
                  <a:lnTo>
                    <a:pt x="528" y="6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grpSp>
        <p:nvGrpSpPr>
          <p:cNvPr id="116" name="Group 58"/>
          <p:cNvGrpSpPr/>
          <p:nvPr/>
        </p:nvGrpSpPr>
        <p:grpSpPr>
          <a:xfrm>
            <a:off x="5072855" y="1212663"/>
            <a:ext cx="289958" cy="362711"/>
            <a:chOff x="7439195" y="4481576"/>
            <a:chExt cx="386611" cy="483615"/>
          </a:xfrm>
          <a:solidFill>
            <a:schemeClr val="accent6"/>
          </a:solidFill>
        </p:grpSpPr>
        <p:sp>
          <p:nvSpPr>
            <p:cNvPr id="117" name="Freeform 135"/>
            <p:cNvSpPr>
              <a:spLocks noEditPoints="1"/>
            </p:cNvSpPr>
            <p:nvPr/>
          </p:nvSpPr>
          <p:spPr bwMode="auto">
            <a:xfrm>
              <a:off x="7474341" y="4518128"/>
              <a:ext cx="316318" cy="64669"/>
            </a:xfrm>
            <a:custGeom>
              <a:avLst/>
              <a:gdLst>
                <a:gd name="T0" fmla="*/ 428 w 451"/>
                <a:gd name="T1" fmla="*/ 0 h 93"/>
                <a:gd name="T2" fmla="*/ 437 w 451"/>
                <a:gd name="T3" fmla="*/ 3 h 93"/>
                <a:gd name="T4" fmla="*/ 447 w 451"/>
                <a:gd name="T5" fmla="*/ 11 h 93"/>
                <a:gd name="T6" fmla="*/ 449 w 451"/>
                <a:gd name="T7" fmla="*/ 18 h 93"/>
                <a:gd name="T8" fmla="*/ 451 w 451"/>
                <a:gd name="T9" fmla="*/ 72 h 93"/>
                <a:gd name="T10" fmla="*/ 449 w 451"/>
                <a:gd name="T11" fmla="*/ 76 h 93"/>
                <a:gd name="T12" fmla="*/ 444 w 451"/>
                <a:gd name="T13" fmla="*/ 88 h 93"/>
                <a:gd name="T14" fmla="*/ 433 w 451"/>
                <a:gd name="T15" fmla="*/ 93 h 93"/>
                <a:gd name="T16" fmla="*/ 22 w 451"/>
                <a:gd name="T17" fmla="*/ 93 h 93"/>
                <a:gd name="T18" fmla="*/ 18 w 451"/>
                <a:gd name="T19" fmla="*/ 93 h 93"/>
                <a:gd name="T20" fmla="*/ 7 w 451"/>
                <a:gd name="T21" fmla="*/ 88 h 93"/>
                <a:gd name="T22" fmla="*/ 0 w 451"/>
                <a:gd name="T23" fmla="*/ 76 h 93"/>
                <a:gd name="T24" fmla="*/ 0 w 451"/>
                <a:gd name="T25" fmla="*/ 23 h 93"/>
                <a:gd name="T26" fmla="*/ 0 w 451"/>
                <a:gd name="T27" fmla="*/ 18 h 93"/>
                <a:gd name="T28" fmla="*/ 7 w 451"/>
                <a:gd name="T29" fmla="*/ 7 h 93"/>
                <a:gd name="T30" fmla="*/ 18 w 451"/>
                <a:gd name="T31" fmla="*/ 2 h 93"/>
                <a:gd name="T32" fmla="*/ 428 w 451"/>
                <a:gd name="T33" fmla="*/ 0 h 93"/>
                <a:gd name="T34" fmla="*/ 219 w 451"/>
                <a:gd name="T35" fmla="*/ 39 h 93"/>
                <a:gd name="T36" fmla="*/ 211 w 451"/>
                <a:gd name="T37" fmla="*/ 42 h 93"/>
                <a:gd name="T38" fmla="*/ 208 w 451"/>
                <a:gd name="T39" fmla="*/ 50 h 93"/>
                <a:gd name="T40" fmla="*/ 208 w 451"/>
                <a:gd name="T41" fmla="*/ 54 h 93"/>
                <a:gd name="T42" fmla="*/ 215 w 451"/>
                <a:gd name="T43" fmla="*/ 60 h 93"/>
                <a:gd name="T44" fmla="*/ 391 w 451"/>
                <a:gd name="T45" fmla="*/ 61 h 93"/>
                <a:gd name="T46" fmla="*/ 395 w 451"/>
                <a:gd name="T47" fmla="*/ 60 h 93"/>
                <a:gd name="T48" fmla="*/ 401 w 451"/>
                <a:gd name="T49" fmla="*/ 54 h 93"/>
                <a:gd name="T50" fmla="*/ 402 w 451"/>
                <a:gd name="T51" fmla="*/ 50 h 93"/>
                <a:gd name="T52" fmla="*/ 400 w 451"/>
                <a:gd name="T53" fmla="*/ 42 h 93"/>
                <a:gd name="T54" fmla="*/ 391 w 451"/>
                <a:gd name="T55" fmla="*/ 39 h 93"/>
                <a:gd name="T56" fmla="*/ 57 w 451"/>
                <a:gd name="T57" fmla="*/ 39 h 93"/>
                <a:gd name="T58" fmla="*/ 53 w 451"/>
                <a:gd name="T59" fmla="*/ 39 h 93"/>
                <a:gd name="T60" fmla="*/ 48 w 451"/>
                <a:gd name="T61" fmla="*/ 46 h 93"/>
                <a:gd name="T62" fmla="*/ 46 w 451"/>
                <a:gd name="T63" fmla="*/ 50 h 93"/>
                <a:gd name="T64" fmla="*/ 50 w 451"/>
                <a:gd name="T65" fmla="*/ 57 h 93"/>
                <a:gd name="T66" fmla="*/ 57 w 451"/>
                <a:gd name="T67" fmla="*/ 61 h 93"/>
                <a:gd name="T68" fmla="*/ 62 w 451"/>
                <a:gd name="T69" fmla="*/ 60 h 93"/>
                <a:gd name="T70" fmla="*/ 68 w 451"/>
                <a:gd name="T71" fmla="*/ 54 h 93"/>
                <a:gd name="T72" fmla="*/ 68 w 451"/>
                <a:gd name="T73" fmla="*/ 50 h 93"/>
                <a:gd name="T74" fmla="*/ 65 w 451"/>
                <a:gd name="T75" fmla="*/ 42 h 93"/>
                <a:gd name="T76" fmla="*/ 57 w 451"/>
                <a:gd name="T77"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2"/>
                  </a:lnTo>
                  <a:lnTo>
                    <a:pt x="437" y="3"/>
                  </a:lnTo>
                  <a:lnTo>
                    <a:pt x="444" y="7"/>
                  </a:lnTo>
                  <a:lnTo>
                    <a:pt x="447" y="11"/>
                  </a:lnTo>
                  <a:lnTo>
                    <a:pt x="448" y="14"/>
                  </a:lnTo>
                  <a:lnTo>
                    <a:pt x="449" y="18"/>
                  </a:lnTo>
                  <a:lnTo>
                    <a:pt x="451" y="23"/>
                  </a:lnTo>
                  <a:lnTo>
                    <a:pt x="451" y="72"/>
                  </a:lnTo>
                  <a:lnTo>
                    <a:pt x="451" y="72"/>
                  </a:lnTo>
                  <a:lnTo>
                    <a:pt x="449" y="76"/>
                  </a:lnTo>
                  <a:lnTo>
                    <a:pt x="448" y="80"/>
                  </a:lnTo>
                  <a:lnTo>
                    <a:pt x="444" y="88"/>
                  </a:lnTo>
                  <a:lnTo>
                    <a:pt x="437" y="92"/>
                  </a:lnTo>
                  <a:lnTo>
                    <a:pt x="433" y="93"/>
                  </a:lnTo>
                  <a:lnTo>
                    <a:pt x="428" y="93"/>
                  </a:lnTo>
                  <a:lnTo>
                    <a:pt x="22" y="93"/>
                  </a:lnTo>
                  <a:lnTo>
                    <a:pt x="22" y="93"/>
                  </a:lnTo>
                  <a:lnTo>
                    <a:pt x="18" y="93"/>
                  </a:lnTo>
                  <a:lnTo>
                    <a:pt x="14" y="92"/>
                  </a:lnTo>
                  <a:lnTo>
                    <a:pt x="7" y="88"/>
                  </a:lnTo>
                  <a:lnTo>
                    <a:pt x="2" y="80"/>
                  </a:lnTo>
                  <a:lnTo>
                    <a:pt x="0" y="76"/>
                  </a:lnTo>
                  <a:lnTo>
                    <a:pt x="0" y="72"/>
                  </a:lnTo>
                  <a:lnTo>
                    <a:pt x="0" y="23"/>
                  </a:lnTo>
                  <a:lnTo>
                    <a:pt x="0" y="23"/>
                  </a:lnTo>
                  <a:lnTo>
                    <a:pt x="0" y="18"/>
                  </a:lnTo>
                  <a:lnTo>
                    <a:pt x="2" y="14"/>
                  </a:lnTo>
                  <a:lnTo>
                    <a:pt x="7" y="7"/>
                  </a:lnTo>
                  <a:lnTo>
                    <a:pt x="14" y="3"/>
                  </a:lnTo>
                  <a:lnTo>
                    <a:pt x="18" y="2"/>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7"/>
                  </a:lnTo>
                  <a:lnTo>
                    <a:pt x="215" y="60"/>
                  </a:lnTo>
                  <a:lnTo>
                    <a:pt x="219" y="61"/>
                  </a:lnTo>
                  <a:lnTo>
                    <a:pt x="391" y="61"/>
                  </a:lnTo>
                  <a:lnTo>
                    <a:pt x="391" y="61"/>
                  </a:lnTo>
                  <a:lnTo>
                    <a:pt x="395" y="60"/>
                  </a:lnTo>
                  <a:lnTo>
                    <a:pt x="400" y="57"/>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60"/>
                  </a:lnTo>
                  <a:lnTo>
                    <a:pt x="57" y="61"/>
                  </a:lnTo>
                  <a:lnTo>
                    <a:pt x="57" y="61"/>
                  </a:lnTo>
                  <a:lnTo>
                    <a:pt x="62" y="60"/>
                  </a:lnTo>
                  <a:lnTo>
                    <a:pt x="65" y="57"/>
                  </a:lnTo>
                  <a:lnTo>
                    <a:pt x="68" y="54"/>
                  </a:lnTo>
                  <a:lnTo>
                    <a:pt x="68" y="50"/>
                  </a:lnTo>
                  <a:lnTo>
                    <a:pt x="68" y="50"/>
                  </a:lnTo>
                  <a:lnTo>
                    <a:pt x="68" y="46"/>
                  </a:lnTo>
                  <a:lnTo>
                    <a:pt x="65" y="42"/>
                  </a:lnTo>
                  <a:lnTo>
                    <a:pt x="62" y="39"/>
                  </a:lnTo>
                  <a:lnTo>
                    <a:pt x="57" y="39"/>
                  </a:lnTo>
                  <a:lnTo>
                    <a:pt x="5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8" name="Freeform 136"/>
            <p:cNvSpPr>
              <a:spLocks noEditPoints="1"/>
            </p:cNvSpPr>
            <p:nvPr/>
          </p:nvSpPr>
          <p:spPr bwMode="auto">
            <a:xfrm>
              <a:off x="7474341" y="4601074"/>
              <a:ext cx="316318" cy="64669"/>
            </a:xfrm>
            <a:custGeom>
              <a:avLst/>
              <a:gdLst>
                <a:gd name="T0" fmla="*/ 428 w 451"/>
                <a:gd name="T1" fmla="*/ 0 h 93"/>
                <a:gd name="T2" fmla="*/ 437 w 451"/>
                <a:gd name="T3" fmla="*/ 3 h 93"/>
                <a:gd name="T4" fmla="*/ 444 w 451"/>
                <a:gd name="T5" fmla="*/ 7 h 93"/>
                <a:gd name="T6" fmla="*/ 448 w 451"/>
                <a:gd name="T7" fmla="*/ 13 h 93"/>
                <a:gd name="T8" fmla="*/ 451 w 451"/>
                <a:gd name="T9" fmla="*/ 23 h 93"/>
                <a:gd name="T10" fmla="*/ 451 w 451"/>
                <a:gd name="T11" fmla="*/ 71 h 93"/>
                <a:gd name="T12" fmla="*/ 448 w 451"/>
                <a:gd name="T13" fmla="*/ 79 h 93"/>
                <a:gd name="T14" fmla="*/ 444 w 451"/>
                <a:gd name="T15" fmla="*/ 88 h 93"/>
                <a:gd name="T16" fmla="*/ 437 w 451"/>
                <a:gd name="T17" fmla="*/ 92 h 93"/>
                <a:gd name="T18" fmla="*/ 428 w 451"/>
                <a:gd name="T19" fmla="*/ 93 h 93"/>
                <a:gd name="T20" fmla="*/ 22 w 451"/>
                <a:gd name="T21" fmla="*/ 93 h 93"/>
                <a:gd name="T22" fmla="*/ 14 w 451"/>
                <a:gd name="T23" fmla="*/ 92 h 93"/>
                <a:gd name="T24" fmla="*/ 2 w 451"/>
                <a:gd name="T25" fmla="*/ 79 h 93"/>
                <a:gd name="T26" fmla="*/ 0 w 451"/>
                <a:gd name="T27" fmla="*/ 71 h 93"/>
                <a:gd name="T28" fmla="*/ 0 w 451"/>
                <a:gd name="T29" fmla="*/ 23 h 93"/>
                <a:gd name="T30" fmla="*/ 2 w 451"/>
                <a:gd name="T31" fmla="*/ 13 h 93"/>
                <a:gd name="T32" fmla="*/ 14 w 451"/>
                <a:gd name="T33" fmla="*/ 3 h 93"/>
                <a:gd name="T34" fmla="*/ 22 w 451"/>
                <a:gd name="T35" fmla="*/ 0 h 93"/>
                <a:gd name="T36" fmla="*/ 219 w 451"/>
                <a:gd name="T37" fmla="*/ 39 h 93"/>
                <a:gd name="T38" fmla="*/ 215 w 451"/>
                <a:gd name="T39" fmla="*/ 39 h 93"/>
                <a:gd name="T40" fmla="*/ 208 w 451"/>
                <a:gd name="T41" fmla="*/ 46 h 93"/>
                <a:gd name="T42" fmla="*/ 208 w 451"/>
                <a:gd name="T43" fmla="*/ 50 h 93"/>
                <a:gd name="T44" fmla="*/ 211 w 451"/>
                <a:gd name="T45" fmla="*/ 58 h 93"/>
                <a:gd name="T46" fmla="*/ 219 w 451"/>
                <a:gd name="T47" fmla="*/ 61 h 93"/>
                <a:gd name="T48" fmla="*/ 391 w 451"/>
                <a:gd name="T49" fmla="*/ 61 h 93"/>
                <a:gd name="T50" fmla="*/ 400 w 451"/>
                <a:gd name="T51" fmla="*/ 58 h 93"/>
                <a:gd name="T52" fmla="*/ 402 w 451"/>
                <a:gd name="T53" fmla="*/ 50 h 93"/>
                <a:gd name="T54" fmla="*/ 401 w 451"/>
                <a:gd name="T55" fmla="*/ 46 h 93"/>
                <a:gd name="T56" fmla="*/ 395 w 451"/>
                <a:gd name="T57" fmla="*/ 39 h 93"/>
                <a:gd name="T58" fmla="*/ 219 w 451"/>
                <a:gd name="T59" fmla="*/ 39 h 93"/>
                <a:gd name="T60" fmla="*/ 57 w 451"/>
                <a:gd name="T61" fmla="*/ 39 h 93"/>
                <a:gd name="T62" fmla="*/ 50 w 451"/>
                <a:gd name="T63" fmla="*/ 42 h 93"/>
                <a:gd name="T64" fmla="*/ 46 w 451"/>
                <a:gd name="T65" fmla="*/ 50 h 93"/>
                <a:gd name="T66" fmla="*/ 48 w 451"/>
                <a:gd name="T67" fmla="*/ 54 h 93"/>
                <a:gd name="T68" fmla="*/ 53 w 451"/>
                <a:gd name="T69" fmla="*/ 59 h 93"/>
                <a:gd name="T70" fmla="*/ 57 w 451"/>
                <a:gd name="T71" fmla="*/ 61 h 93"/>
                <a:gd name="T72" fmla="*/ 65 w 451"/>
                <a:gd name="T73" fmla="*/ 57 h 93"/>
                <a:gd name="T74" fmla="*/ 68 w 451"/>
                <a:gd name="T75" fmla="*/ 50 h 93"/>
                <a:gd name="T76" fmla="*/ 68 w 451"/>
                <a:gd name="T77" fmla="*/ 46 h 93"/>
                <a:gd name="T78" fmla="*/ 62 w 451"/>
                <a:gd name="T79" fmla="*/ 39 h 93"/>
                <a:gd name="T80" fmla="*/ 57 w 451"/>
                <a:gd name="T81" fmla="*/ 3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1" h="93">
                  <a:moveTo>
                    <a:pt x="428" y="0"/>
                  </a:moveTo>
                  <a:lnTo>
                    <a:pt x="428" y="0"/>
                  </a:lnTo>
                  <a:lnTo>
                    <a:pt x="433" y="1"/>
                  </a:lnTo>
                  <a:lnTo>
                    <a:pt x="437" y="3"/>
                  </a:lnTo>
                  <a:lnTo>
                    <a:pt x="441" y="4"/>
                  </a:lnTo>
                  <a:lnTo>
                    <a:pt x="444" y="7"/>
                  </a:lnTo>
                  <a:lnTo>
                    <a:pt x="447" y="11"/>
                  </a:lnTo>
                  <a:lnTo>
                    <a:pt x="448" y="13"/>
                  </a:lnTo>
                  <a:lnTo>
                    <a:pt x="449" y="19"/>
                  </a:lnTo>
                  <a:lnTo>
                    <a:pt x="451" y="23"/>
                  </a:lnTo>
                  <a:lnTo>
                    <a:pt x="451" y="71"/>
                  </a:lnTo>
                  <a:lnTo>
                    <a:pt x="451" y="71"/>
                  </a:lnTo>
                  <a:lnTo>
                    <a:pt x="449" y="75"/>
                  </a:lnTo>
                  <a:lnTo>
                    <a:pt x="448" y="79"/>
                  </a:lnTo>
                  <a:lnTo>
                    <a:pt x="447" y="83"/>
                  </a:lnTo>
                  <a:lnTo>
                    <a:pt x="444" y="88"/>
                  </a:lnTo>
                  <a:lnTo>
                    <a:pt x="441" y="90"/>
                  </a:lnTo>
                  <a:lnTo>
                    <a:pt x="437" y="92"/>
                  </a:lnTo>
                  <a:lnTo>
                    <a:pt x="433" y="93"/>
                  </a:lnTo>
                  <a:lnTo>
                    <a:pt x="428" y="93"/>
                  </a:lnTo>
                  <a:lnTo>
                    <a:pt x="22" y="93"/>
                  </a:lnTo>
                  <a:lnTo>
                    <a:pt x="22" y="93"/>
                  </a:lnTo>
                  <a:lnTo>
                    <a:pt x="18" y="93"/>
                  </a:lnTo>
                  <a:lnTo>
                    <a:pt x="14" y="92"/>
                  </a:lnTo>
                  <a:lnTo>
                    <a:pt x="7" y="88"/>
                  </a:lnTo>
                  <a:lnTo>
                    <a:pt x="2" y="79"/>
                  </a:lnTo>
                  <a:lnTo>
                    <a:pt x="0" y="75"/>
                  </a:lnTo>
                  <a:lnTo>
                    <a:pt x="0" y="71"/>
                  </a:lnTo>
                  <a:lnTo>
                    <a:pt x="0" y="23"/>
                  </a:lnTo>
                  <a:lnTo>
                    <a:pt x="0" y="23"/>
                  </a:lnTo>
                  <a:lnTo>
                    <a:pt x="0" y="19"/>
                  </a:lnTo>
                  <a:lnTo>
                    <a:pt x="2" y="13"/>
                  </a:lnTo>
                  <a:lnTo>
                    <a:pt x="7" y="7"/>
                  </a:lnTo>
                  <a:lnTo>
                    <a:pt x="14" y="3"/>
                  </a:lnTo>
                  <a:lnTo>
                    <a:pt x="18" y="1"/>
                  </a:lnTo>
                  <a:lnTo>
                    <a:pt x="22" y="0"/>
                  </a:lnTo>
                  <a:lnTo>
                    <a:pt x="428" y="0"/>
                  </a:lnTo>
                  <a:close/>
                  <a:moveTo>
                    <a:pt x="219" y="39"/>
                  </a:moveTo>
                  <a:lnTo>
                    <a:pt x="219" y="39"/>
                  </a:lnTo>
                  <a:lnTo>
                    <a:pt x="215" y="39"/>
                  </a:lnTo>
                  <a:lnTo>
                    <a:pt x="211" y="42"/>
                  </a:lnTo>
                  <a:lnTo>
                    <a:pt x="208" y="46"/>
                  </a:lnTo>
                  <a:lnTo>
                    <a:pt x="208" y="50"/>
                  </a:lnTo>
                  <a:lnTo>
                    <a:pt x="208" y="50"/>
                  </a:lnTo>
                  <a:lnTo>
                    <a:pt x="208" y="54"/>
                  </a:lnTo>
                  <a:lnTo>
                    <a:pt x="211" y="58"/>
                  </a:lnTo>
                  <a:lnTo>
                    <a:pt x="215" y="59"/>
                  </a:lnTo>
                  <a:lnTo>
                    <a:pt x="219" y="61"/>
                  </a:lnTo>
                  <a:lnTo>
                    <a:pt x="391" y="61"/>
                  </a:lnTo>
                  <a:lnTo>
                    <a:pt x="391" y="61"/>
                  </a:lnTo>
                  <a:lnTo>
                    <a:pt x="395" y="59"/>
                  </a:lnTo>
                  <a:lnTo>
                    <a:pt x="400" y="58"/>
                  </a:lnTo>
                  <a:lnTo>
                    <a:pt x="401" y="54"/>
                  </a:lnTo>
                  <a:lnTo>
                    <a:pt x="402" y="50"/>
                  </a:lnTo>
                  <a:lnTo>
                    <a:pt x="402" y="50"/>
                  </a:lnTo>
                  <a:lnTo>
                    <a:pt x="401" y="46"/>
                  </a:lnTo>
                  <a:lnTo>
                    <a:pt x="400" y="42"/>
                  </a:lnTo>
                  <a:lnTo>
                    <a:pt x="395" y="39"/>
                  </a:lnTo>
                  <a:lnTo>
                    <a:pt x="391" y="39"/>
                  </a:lnTo>
                  <a:lnTo>
                    <a:pt x="219" y="39"/>
                  </a:lnTo>
                  <a:close/>
                  <a:moveTo>
                    <a:pt x="57" y="39"/>
                  </a:moveTo>
                  <a:lnTo>
                    <a:pt x="57" y="39"/>
                  </a:lnTo>
                  <a:lnTo>
                    <a:pt x="53" y="39"/>
                  </a:lnTo>
                  <a:lnTo>
                    <a:pt x="50" y="42"/>
                  </a:lnTo>
                  <a:lnTo>
                    <a:pt x="48" y="46"/>
                  </a:lnTo>
                  <a:lnTo>
                    <a:pt x="46" y="50"/>
                  </a:lnTo>
                  <a:lnTo>
                    <a:pt x="46" y="50"/>
                  </a:lnTo>
                  <a:lnTo>
                    <a:pt x="48" y="54"/>
                  </a:lnTo>
                  <a:lnTo>
                    <a:pt x="50" y="57"/>
                  </a:lnTo>
                  <a:lnTo>
                    <a:pt x="53" y="59"/>
                  </a:lnTo>
                  <a:lnTo>
                    <a:pt x="57" y="61"/>
                  </a:lnTo>
                  <a:lnTo>
                    <a:pt x="57" y="61"/>
                  </a:lnTo>
                  <a:lnTo>
                    <a:pt x="62" y="59"/>
                  </a:lnTo>
                  <a:lnTo>
                    <a:pt x="65" y="57"/>
                  </a:lnTo>
                  <a:lnTo>
                    <a:pt x="68" y="54"/>
                  </a:lnTo>
                  <a:lnTo>
                    <a:pt x="68" y="50"/>
                  </a:lnTo>
                  <a:lnTo>
                    <a:pt x="68" y="50"/>
                  </a:lnTo>
                  <a:lnTo>
                    <a:pt x="68" y="46"/>
                  </a:lnTo>
                  <a:lnTo>
                    <a:pt x="65" y="42"/>
                  </a:lnTo>
                  <a:lnTo>
                    <a:pt x="62" y="39"/>
                  </a:lnTo>
                  <a:lnTo>
                    <a:pt x="57" y="39"/>
                  </a:lnTo>
                  <a:lnTo>
                    <a:pt x="57"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19" name="Freeform 137"/>
            <p:cNvSpPr>
              <a:spLocks noEditPoints="1"/>
            </p:cNvSpPr>
            <p:nvPr/>
          </p:nvSpPr>
          <p:spPr bwMode="auto">
            <a:xfrm>
              <a:off x="7474341" y="4685426"/>
              <a:ext cx="316318" cy="64669"/>
            </a:xfrm>
            <a:custGeom>
              <a:avLst/>
              <a:gdLst>
                <a:gd name="T0" fmla="*/ 428 w 451"/>
                <a:gd name="T1" fmla="*/ 0 h 93"/>
                <a:gd name="T2" fmla="*/ 437 w 451"/>
                <a:gd name="T3" fmla="*/ 1 h 93"/>
                <a:gd name="T4" fmla="*/ 447 w 451"/>
                <a:gd name="T5" fmla="*/ 9 h 93"/>
                <a:gd name="T6" fmla="*/ 449 w 451"/>
                <a:gd name="T7" fmla="*/ 17 h 93"/>
                <a:gd name="T8" fmla="*/ 451 w 451"/>
                <a:gd name="T9" fmla="*/ 70 h 93"/>
                <a:gd name="T10" fmla="*/ 449 w 451"/>
                <a:gd name="T11" fmla="*/ 74 h 93"/>
                <a:gd name="T12" fmla="*/ 444 w 451"/>
                <a:gd name="T13" fmla="*/ 86 h 93"/>
                <a:gd name="T14" fmla="*/ 433 w 451"/>
                <a:gd name="T15" fmla="*/ 92 h 93"/>
                <a:gd name="T16" fmla="*/ 22 w 451"/>
                <a:gd name="T17" fmla="*/ 93 h 93"/>
                <a:gd name="T18" fmla="*/ 18 w 451"/>
                <a:gd name="T19" fmla="*/ 92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8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8 h 93"/>
                <a:gd name="T56" fmla="*/ 57 w 451"/>
                <a:gd name="T57" fmla="*/ 38 h 93"/>
                <a:gd name="T58" fmla="*/ 53 w 451"/>
                <a:gd name="T59" fmla="*/ 38 h 93"/>
                <a:gd name="T60" fmla="*/ 48 w 451"/>
                <a:gd name="T61" fmla="*/ 44 h 93"/>
                <a:gd name="T62" fmla="*/ 46 w 451"/>
                <a:gd name="T63" fmla="*/ 48 h 93"/>
                <a:gd name="T64" fmla="*/ 50 w 451"/>
                <a:gd name="T65" fmla="*/ 57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7" y="9"/>
                  </a:lnTo>
                  <a:lnTo>
                    <a:pt x="448" y="13"/>
                  </a:lnTo>
                  <a:lnTo>
                    <a:pt x="449" y="17"/>
                  </a:lnTo>
                  <a:lnTo>
                    <a:pt x="451" y="21"/>
                  </a:lnTo>
                  <a:lnTo>
                    <a:pt x="451" y="70"/>
                  </a:lnTo>
                  <a:lnTo>
                    <a:pt x="451" y="70"/>
                  </a:lnTo>
                  <a:lnTo>
                    <a:pt x="449" y="74"/>
                  </a:lnTo>
                  <a:lnTo>
                    <a:pt x="448" y="78"/>
                  </a:lnTo>
                  <a:lnTo>
                    <a:pt x="444" y="86"/>
                  </a:lnTo>
                  <a:lnTo>
                    <a:pt x="437" y="90"/>
                  </a:lnTo>
                  <a:lnTo>
                    <a:pt x="433" y="92"/>
                  </a:lnTo>
                  <a:lnTo>
                    <a:pt x="428" y="93"/>
                  </a:lnTo>
                  <a:lnTo>
                    <a:pt x="22" y="93"/>
                  </a:lnTo>
                  <a:lnTo>
                    <a:pt x="22" y="93"/>
                  </a:lnTo>
                  <a:lnTo>
                    <a:pt x="18" y="92"/>
                  </a:lnTo>
                  <a:lnTo>
                    <a:pt x="14" y="90"/>
                  </a:lnTo>
                  <a:lnTo>
                    <a:pt x="7" y="86"/>
                  </a:lnTo>
                  <a:lnTo>
                    <a:pt x="2" y="78"/>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8"/>
                  </a:moveTo>
                  <a:lnTo>
                    <a:pt x="219" y="38"/>
                  </a:lnTo>
                  <a:lnTo>
                    <a:pt x="215" y="38"/>
                  </a:lnTo>
                  <a:lnTo>
                    <a:pt x="211" y="40"/>
                  </a:lnTo>
                  <a:lnTo>
                    <a:pt x="208" y="44"/>
                  </a:lnTo>
                  <a:lnTo>
                    <a:pt x="208" y="48"/>
                  </a:lnTo>
                  <a:lnTo>
                    <a:pt x="208" y="48"/>
                  </a:lnTo>
                  <a:lnTo>
                    <a:pt x="208" y="52"/>
                  </a:lnTo>
                  <a:lnTo>
                    <a:pt x="211" y="57"/>
                  </a:lnTo>
                  <a:lnTo>
                    <a:pt x="215" y="58"/>
                  </a:lnTo>
                  <a:lnTo>
                    <a:pt x="219" y="59"/>
                  </a:lnTo>
                  <a:lnTo>
                    <a:pt x="391" y="59"/>
                  </a:lnTo>
                  <a:lnTo>
                    <a:pt x="391" y="59"/>
                  </a:lnTo>
                  <a:lnTo>
                    <a:pt x="395" y="58"/>
                  </a:lnTo>
                  <a:lnTo>
                    <a:pt x="400" y="57"/>
                  </a:lnTo>
                  <a:lnTo>
                    <a:pt x="401" y="52"/>
                  </a:lnTo>
                  <a:lnTo>
                    <a:pt x="402" y="48"/>
                  </a:lnTo>
                  <a:lnTo>
                    <a:pt x="402" y="48"/>
                  </a:lnTo>
                  <a:lnTo>
                    <a:pt x="401" y="44"/>
                  </a:lnTo>
                  <a:lnTo>
                    <a:pt x="400" y="40"/>
                  </a:lnTo>
                  <a:lnTo>
                    <a:pt x="395" y="38"/>
                  </a:lnTo>
                  <a:lnTo>
                    <a:pt x="391" y="38"/>
                  </a:lnTo>
                  <a:lnTo>
                    <a:pt x="219" y="38"/>
                  </a:lnTo>
                  <a:close/>
                  <a:moveTo>
                    <a:pt x="57" y="38"/>
                  </a:moveTo>
                  <a:lnTo>
                    <a:pt x="57" y="38"/>
                  </a:lnTo>
                  <a:lnTo>
                    <a:pt x="53" y="38"/>
                  </a:lnTo>
                  <a:lnTo>
                    <a:pt x="50" y="40"/>
                  </a:lnTo>
                  <a:lnTo>
                    <a:pt x="48" y="44"/>
                  </a:lnTo>
                  <a:lnTo>
                    <a:pt x="46" y="48"/>
                  </a:lnTo>
                  <a:lnTo>
                    <a:pt x="46" y="48"/>
                  </a:lnTo>
                  <a:lnTo>
                    <a:pt x="48" y="52"/>
                  </a:lnTo>
                  <a:lnTo>
                    <a:pt x="50" y="57"/>
                  </a:lnTo>
                  <a:lnTo>
                    <a:pt x="53" y="58"/>
                  </a:lnTo>
                  <a:lnTo>
                    <a:pt x="57" y="59"/>
                  </a:lnTo>
                  <a:lnTo>
                    <a:pt x="57" y="59"/>
                  </a:lnTo>
                  <a:lnTo>
                    <a:pt x="62" y="58"/>
                  </a:lnTo>
                  <a:lnTo>
                    <a:pt x="65" y="57"/>
                  </a:lnTo>
                  <a:lnTo>
                    <a:pt x="68" y="52"/>
                  </a:lnTo>
                  <a:lnTo>
                    <a:pt x="68" y="48"/>
                  </a:lnTo>
                  <a:lnTo>
                    <a:pt x="68" y="48"/>
                  </a:lnTo>
                  <a:lnTo>
                    <a:pt x="68" y="44"/>
                  </a:lnTo>
                  <a:lnTo>
                    <a:pt x="65" y="40"/>
                  </a:lnTo>
                  <a:lnTo>
                    <a:pt x="62" y="38"/>
                  </a:lnTo>
                  <a:lnTo>
                    <a:pt x="57" y="38"/>
                  </a:lnTo>
                  <a:lnTo>
                    <a:pt x="5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20" name="Freeform 138"/>
            <p:cNvSpPr>
              <a:spLocks noEditPoints="1"/>
            </p:cNvSpPr>
            <p:nvPr/>
          </p:nvSpPr>
          <p:spPr bwMode="auto">
            <a:xfrm>
              <a:off x="7474341" y="4768371"/>
              <a:ext cx="316318" cy="66076"/>
            </a:xfrm>
            <a:custGeom>
              <a:avLst/>
              <a:gdLst>
                <a:gd name="T0" fmla="*/ 428 w 451"/>
                <a:gd name="T1" fmla="*/ 0 h 93"/>
                <a:gd name="T2" fmla="*/ 437 w 451"/>
                <a:gd name="T3" fmla="*/ 1 h 93"/>
                <a:gd name="T4" fmla="*/ 448 w 451"/>
                <a:gd name="T5" fmla="*/ 13 h 93"/>
                <a:gd name="T6" fmla="*/ 451 w 451"/>
                <a:gd name="T7" fmla="*/ 21 h 93"/>
                <a:gd name="T8" fmla="*/ 451 w 451"/>
                <a:gd name="T9" fmla="*/ 70 h 93"/>
                <a:gd name="T10" fmla="*/ 448 w 451"/>
                <a:gd name="T11" fmla="*/ 79 h 93"/>
                <a:gd name="T12" fmla="*/ 441 w 451"/>
                <a:gd name="T13" fmla="*/ 89 h 93"/>
                <a:gd name="T14" fmla="*/ 433 w 451"/>
                <a:gd name="T15" fmla="*/ 91 h 93"/>
                <a:gd name="T16" fmla="*/ 22 w 451"/>
                <a:gd name="T17" fmla="*/ 93 h 93"/>
                <a:gd name="T18" fmla="*/ 18 w 451"/>
                <a:gd name="T19" fmla="*/ 91 h 93"/>
                <a:gd name="T20" fmla="*/ 7 w 451"/>
                <a:gd name="T21" fmla="*/ 86 h 93"/>
                <a:gd name="T22" fmla="*/ 0 w 451"/>
                <a:gd name="T23" fmla="*/ 74 h 93"/>
                <a:gd name="T24" fmla="*/ 0 w 451"/>
                <a:gd name="T25" fmla="*/ 21 h 93"/>
                <a:gd name="T26" fmla="*/ 0 w 451"/>
                <a:gd name="T27" fmla="*/ 17 h 93"/>
                <a:gd name="T28" fmla="*/ 7 w 451"/>
                <a:gd name="T29" fmla="*/ 5 h 93"/>
                <a:gd name="T30" fmla="*/ 18 w 451"/>
                <a:gd name="T31" fmla="*/ 0 h 93"/>
                <a:gd name="T32" fmla="*/ 428 w 451"/>
                <a:gd name="T33" fmla="*/ 0 h 93"/>
                <a:gd name="T34" fmla="*/ 219 w 451"/>
                <a:gd name="T35" fmla="*/ 37 h 93"/>
                <a:gd name="T36" fmla="*/ 211 w 451"/>
                <a:gd name="T37" fmla="*/ 40 h 93"/>
                <a:gd name="T38" fmla="*/ 208 w 451"/>
                <a:gd name="T39" fmla="*/ 48 h 93"/>
                <a:gd name="T40" fmla="*/ 208 w 451"/>
                <a:gd name="T41" fmla="*/ 52 h 93"/>
                <a:gd name="T42" fmla="*/ 215 w 451"/>
                <a:gd name="T43" fmla="*/ 58 h 93"/>
                <a:gd name="T44" fmla="*/ 391 w 451"/>
                <a:gd name="T45" fmla="*/ 59 h 93"/>
                <a:gd name="T46" fmla="*/ 395 w 451"/>
                <a:gd name="T47" fmla="*/ 58 h 93"/>
                <a:gd name="T48" fmla="*/ 401 w 451"/>
                <a:gd name="T49" fmla="*/ 52 h 93"/>
                <a:gd name="T50" fmla="*/ 402 w 451"/>
                <a:gd name="T51" fmla="*/ 48 h 93"/>
                <a:gd name="T52" fmla="*/ 400 w 451"/>
                <a:gd name="T53" fmla="*/ 40 h 93"/>
                <a:gd name="T54" fmla="*/ 391 w 451"/>
                <a:gd name="T55" fmla="*/ 37 h 93"/>
                <a:gd name="T56" fmla="*/ 57 w 451"/>
                <a:gd name="T57" fmla="*/ 37 h 93"/>
                <a:gd name="T58" fmla="*/ 53 w 451"/>
                <a:gd name="T59" fmla="*/ 37 h 93"/>
                <a:gd name="T60" fmla="*/ 48 w 451"/>
                <a:gd name="T61" fmla="*/ 44 h 93"/>
                <a:gd name="T62" fmla="*/ 46 w 451"/>
                <a:gd name="T63" fmla="*/ 48 h 93"/>
                <a:gd name="T64" fmla="*/ 50 w 451"/>
                <a:gd name="T65" fmla="*/ 56 h 93"/>
                <a:gd name="T66" fmla="*/ 57 w 451"/>
                <a:gd name="T67" fmla="*/ 59 h 93"/>
                <a:gd name="T68" fmla="*/ 62 w 451"/>
                <a:gd name="T69" fmla="*/ 58 h 93"/>
                <a:gd name="T70" fmla="*/ 68 w 451"/>
                <a:gd name="T71" fmla="*/ 52 h 93"/>
                <a:gd name="T72" fmla="*/ 68 w 451"/>
                <a:gd name="T73" fmla="*/ 48 h 93"/>
                <a:gd name="T74" fmla="*/ 65 w 451"/>
                <a:gd name="T75" fmla="*/ 40 h 93"/>
                <a:gd name="T76" fmla="*/ 57 w 451"/>
                <a:gd name="T77" fmla="*/ 3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1" h="93">
                  <a:moveTo>
                    <a:pt x="428" y="0"/>
                  </a:moveTo>
                  <a:lnTo>
                    <a:pt x="428" y="0"/>
                  </a:lnTo>
                  <a:lnTo>
                    <a:pt x="433" y="0"/>
                  </a:lnTo>
                  <a:lnTo>
                    <a:pt x="437" y="1"/>
                  </a:lnTo>
                  <a:lnTo>
                    <a:pt x="444" y="5"/>
                  </a:lnTo>
                  <a:lnTo>
                    <a:pt x="448" y="13"/>
                  </a:lnTo>
                  <a:lnTo>
                    <a:pt x="449" y="17"/>
                  </a:lnTo>
                  <a:lnTo>
                    <a:pt x="451" y="21"/>
                  </a:lnTo>
                  <a:lnTo>
                    <a:pt x="451" y="70"/>
                  </a:lnTo>
                  <a:lnTo>
                    <a:pt x="451" y="70"/>
                  </a:lnTo>
                  <a:lnTo>
                    <a:pt x="449" y="74"/>
                  </a:lnTo>
                  <a:lnTo>
                    <a:pt x="448" y="79"/>
                  </a:lnTo>
                  <a:lnTo>
                    <a:pt x="444" y="86"/>
                  </a:lnTo>
                  <a:lnTo>
                    <a:pt x="441" y="89"/>
                  </a:lnTo>
                  <a:lnTo>
                    <a:pt x="437" y="90"/>
                  </a:lnTo>
                  <a:lnTo>
                    <a:pt x="433" y="91"/>
                  </a:lnTo>
                  <a:lnTo>
                    <a:pt x="428" y="93"/>
                  </a:lnTo>
                  <a:lnTo>
                    <a:pt x="22" y="93"/>
                  </a:lnTo>
                  <a:lnTo>
                    <a:pt x="22" y="93"/>
                  </a:lnTo>
                  <a:lnTo>
                    <a:pt x="18" y="91"/>
                  </a:lnTo>
                  <a:lnTo>
                    <a:pt x="14" y="90"/>
                  </a:lnTo>
                  <a:lnTo>
                    <a:pt x="7" y="86"/>
                  </a:lnTo>
                  <a:lnTo>
                    <a:pt x="2" y="79"/>
                  </a:lnTo>
                  <a:lnTo>
                    <a:pt x="0" y="74"/>
                  </a:lnTo>
                  <a:lnTo>
                    <a:pt x="0" y="70"/>
                  </a:lnTo>
                  <a:lnTo>
                    <a:pt x="0" y="21"/>
                  </a:lnTo>
                  <a:lnTo>
                    <a:pt x="0" y="21"/>
                  </a:lnTo>
                  <a:lnTo>
                    <a:pt x="0" y="17"/>
                  </a:lnTo>
                  <a:lnTo>
                    <a:pt x="2" y="13"/>
                  </a:lnTo>
                  <a:lnTo>
                    <a:pt x="7" y="5"/>
                  </a:lnTo>
                  <a:lnTo>
                    <a:pt x="14" y="1"/>
                  </a:lnTo>
                  <a:lnTo>
                    <a:pt x="18" y="0"/>
                  </a:lnTo>
                  <a:lnTo>
                    <a:pt x="22" y="0"/>
                  </a:lnTo>
                  <a:lnTo>
                    <a:pt x="428" y="0"/>
                  </a:lnTo>
                  <a:close/>
                  <a:moveTo>
                    <a:pt x="219" y="37"/>
                  </a:moveTo>
                  <a:lnTo>
                    <a:pt x="219" y="37"/>
                  </a:lnTo>
                  <a:lnTo>
                    <a:pt x="215" y="37"/>
                  </a:lnTo>
                  <a:lnTo>
                    <a:pt x="211" y="40"/>
                  </a:lnTo>
                  <a:lnTo>
                    <a:pt x="208" y="44"/>
                  </a:lnTo>
                  <a:lnTo>
                    <a:pt x="208" y="48"/>
                  </a:lnTo>
                  <a:lnTo>
                    <a:pt x="208" y="48"/>
                  </a:lnTo>
                  <a:lnTo>
                    <a:pt x="208" y="52"/>
                  </a:lnTo>
                  <a:lnTo>
                    <a:pt x="211" y="56"/>
                  </a:lnTo>
                  <a:lnTo>
                    <a:pt x="215" y="58"/>
                  </a:lnTo>
                  <a:lnTo>
                    <a:pt x="219" y="59"/>
                  </a:lnTo>
                  <a:lnTo>
                    <a:pt x="391" y="59"/>
                  </a:lnTo>
                  <a:lnTo>
                    <a:pt x="391" y="59"/>
                  </a:lnTo>
                  <a:lnTo>
                    <a:pt x="395" y="58"/>
                  </a:lnTo>
                  <a:lnTo>
                    <a:pt x="400" y="56"/>
                  </a:lnTo>
                  <a:lnTo>
                    <a:pt x="401" y="52"/>
                  </a:lnTo>
                  <a:lnTo>
                    <a:pt x="402" y="48"/>
                  </a:lnTo>
                  <a:lnTo>
                    <a:pt x="402" y="48"/>
                  </a:lnTo>
                  <a:lnTo>
                    <a:pt x="401" y="44"/>
                  </a:lnTo>
                  <a:lnTo>
                    <a:pt x="400" y="40"/>
                  </a:lnTo>
                  <a:lnTo>
                    <a:pt x="395" y="37"/>
                  </a:lnTo>
                  <a:lnTo>
                    <a:pt x="391" y="37"/>
                  </a:lnTo>
                  <a:lnTo>
                    <a:pt x="219" y="37"/>
                  </a:lnTo>
                  <a:close/>
                  <a:moveTo>
                    <a:pt x="57" y="37"/>
                  </a:moveTo>
                  <a:lnTo>
                    <a:pt x="57" y="37"/>
                  </a:lnTo>
                  <a:lnTo>
                    <a:pt x="53" y="37"/>
                  </a:lnTo>
                  <a:lnTo>
                    <a:pt x="50" y="40"/>
                  </a:lnTo>
                  <a:lnTo>
                    <a:pt x="48" y="44"/>
                  </a:lnTo>
                  <a:lnTo>
                    <a:pt x="46" y="48"/>
                  </a:lnTo>
                  <a:lnTo>
                    <a:pt x="46" y="48"/>
                  </a:lnTo>
                  <a:lnTo>
                    <a:pt x="48" y="52"/>
                  </a:lnTo>
                  <a:lnTo>
                    <a:pt x="50" y="56"/>
                  </a:lnTo>
                  <a:lnTo>
                    <a:pt x="53" y="58"/>
                  </a:lnTo>
                  <a:lnTo>
                    <a:pt x="57" y="59"/>
                  </a:lnTo>
                  <a:lnTo>
                    <a:pt x="57" y="59"/>
                  </a:lnTo>
                  <a:lnTo>
                    <a:pt x="62" y="58"/>
                  </a:lnTo>
                  <a:lnTo>
                    <a:pt x="65" y="56"/>
                  </a:lnTo>
                  <a:lnTo>
                    <a:pt x="68" y="52"/>
                  </a:lnTo>
                  <a:lnTo>
                    <a:pt x="68" y="48"/>
                  </a:lnTo>
                  <a:lnTo>
                    <a:pt x="68" y="48"/>
                  </a:lnTo>
                  <a:lnTo>
                    <a:pt x="68" y="44"/>
                  </a:lnTo>
                  <a:lnTo>
                    <a:pt x="65" y="40"/>
                  </a:lnTo>
                  <a:lnTo>
                    <a:pt x="62" y="37"/>
                  </a:lnTo>
                  <a:lnTo>
                    <a:pt x="57" y="37"/>
                  </a:lnTo>
                  <a:lnTo>
                    <a:pt x="57"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21" name="Freeform 139"/>
            <p:cNvSpPr>
              <a:spLocks noEditPoints="1"/>
            </p:cNvSpPr>
            <p:nvPr/>
          </p:nvSpPr>
          <p:spPr bwMode="auto">
            <a:xfrm>
              <a:off x="7474341" y="4852722"/>
              <a:ext cx="316318" cy="64669"/>
            </a:xfrm>
            <a:custGeom>
              <a:avLst/>
              <a:gdLst>
                <a:gd name="T0" fmla="*/ 428 w 451"/>
                <a:gd name="T1" fmla="*/ 0 h 93"/>
                <a:gd name="T2" fmla="*/ 437 w 451"/>
                <a:gd name="T3" fmla="*/ 2 h 93"/>
                <a:gd name="T4" fmla="*/ 448 w 451"/>
                <a:gd name="T5" fmla="*/ 14 h 93"/>
                <a:gd name="T6" fmla="*/ 451 w 451"/>
                <a:gd name="T7" fmla="*/ 22 h 93"/>
                <a:gd name="T8" fmla="*/ 451 w 451"/>
                <a:gd name="T9" fmla="*/ 70 h 93"/>
                <a:gd name="T10" fmla="*/ 448 w 451"/>
                <a:gd name="T11" fmla="*/ 80 h 93"/>
                <a:gd name="T12" fmla="*/ 444 w 451"/>
                <a:gd name="T13" fmla="*/ 86 h 93"/>
                <a:gd name="T14" fmla="*/ 437 w 451"/>
                <a:gd name="T15" fmla="*/ 91 h 93"/>
                <a:gd name="T16" fmla="*/ 428 w 451"/>
                <a:gd name="T17" fmla="*/ 93 h 93"/>
                <a:gd name="T18" fmla="*/ 22 w 451"/>
                <a:gd name="T19" fmla="*/ 93 h 93"/>
                <a:gd name="T20" fmla="*/ 14 w 451"/>
                <a:gd name="T21" fmla="*/ 91 h 93"/>
                <a:gd name="T22" fmla="*/ 4 w 451"/>
                <a:gd name="T23" fmla="*/ 82 h 93"/>
                <a:gd name="T24" fmla="*/ 0 w 451"/>
                <a:gd name="T25" fmla="*/ 76 h 93"/>
                <a:gd name="T26" fmla="*/ 0 w 451"/>
                <a:gd name="T27" fmla="*/ 22 h 93"/>
                <a:gd name="T28" fmla="*/ 0 w 451"/>
                <a:gd name="T29" fmla="*/ 18 h 93"/>
                <a:gd name="T30" fmla="*/ 7 w 451"/>
                <a:gd name="T31" fmla="*/ 6 h 93"/>
                <a:gd name="T32" fmla="*/ 18 w 451"/>
                <a:gd name="T33" fmla="*/ 0 h 93"/>
                <a:gd name="T34" fmla="*/ 428 w 451"/>
                <a:gd name="T35" fmla="*/ 0 h 93"/>
                <a:gd name="T36" fmla="*/ 219 w 451"/>
                <a:gd name="T37" fmla="*/ 38 h 93"/>
                <a:gd name="T38" fmla="*/ 211 w 451"/>
                <a:gd name="T39" fmla="*/ 41 h 93"/>
                <a:gd name="T40" fmla="*/ 208 w 451"/>
                <a:gd name="T41" fmla="*/ 49 h 93"/>
                <a:gd name="T42" fmla="*/ 208 w 451"/>
                <a:gd name="T43" fmla="*/ 53 h 93"/>
                <a:gd name="T44" fmla="*/ 215 w 451"/>
                <a:gd name="T45" fmla="*/ 58 h 93"/>
                <a:gd name="T46" fmla="*/ 391 w 451"/>
                <a:gd name="T47" fmla="*/ 60 h 93"/>
                <a:gd name="T48" fmla="*/ 395 w 451"/>
                <a:gd name="T49" fmla="*/ 58 h 93"/>
                <a:gd name="T50" fmla="*/ 401 w 451"/>
                <a:gd name="T51" fmla="*/ 53 h 93"/>
                <a:gd name="T52" fmla="*/ 402 w 451"/>
                <a:gd name="T53" fmla="*/ 49 h 93"/>
                <a:gd name="T54" fmla="*/ 400 w 451"/>
                <a:gd name="T55" fmla="*/ 41 h 93"/>
                <a:gd name="T56" fmla="*/ 391 w 451"/>
                <a:gd name="T57" fmla="*/ 38 h 93"/>
                <a:gd name="T58" fmla="*/ 57 w 451"/>
                <a:gd name="T59" fmla="*/ 38 h 93"/>
                <a:gd name="T60" fmla="*/ 53 w 451"/>
                <a:gd name="T61" fmla="*/ 38 h 93"/>
                <a:gd name="T62" fmla="*/ 48 w 451"/>
                <a:gd name="T63" fmla="*/ 45 h 93"/>
                <a:gd name="T64" fmla="*/ 46 w 451"/>
                <a:gd name="T65" fmla="*/ 49 h 93"/>
                <a:gd name="T66" fmla="*/ 50 w 451"/>
                <a:gd name="T67" fmla="*/ 57 h 93"/>
                <a:gd name="T68" fmla="*/ 57 w 451"/>
                <a:gd name="T69" fmla="*/ 60 h 93"/>
                <a:gd name="T70" fmla="*/ 62 w 451"/>
                <a:gd name="T71" fmla="*/ 58 h 93"/>
                <a:gd name="T72" fmla="*/ 68 w 451"/>
                <a:gd name="T73" fmla="*/ 53 h 93"/>
                <a:gd name="T74" fmla="*/ 68 w 451"/>
                <a:gd name="T75" fmla="*/ 49 h 93"/>
                <a:gd name="T76" fmla="*/ 65 w 451"/>
                <a:gd name="T77" fmla="*/ 41 h 93"/>
                <a:gd name="T78" fmla="*/ 57 w 451"/>
                <a:gd name="T79" fmla="*/ 3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1" h="93">
                  <a:moveTo>
                    <a:pt x="428" y="0"/>
                  </a:moveTo>
                  <a:lnTo>
                    <a:pt x="428" y="0"/>
                  </a:lnTo>
                  <a:lnTo>
                    <a:pt x="433" y="0"/>
                  </a:lnTo>
                  <a:lnTo>
                    <a:pt x="437" y="2"/>
                  </a:lnTo>
                  <a:lnTo>
                    <a:pt x="444" y="6"/>
                  </a:lnTo>
                  <a:lnTo>
                    <a:pt x="448" y="14"/>
                  </a:lnTo>
                  <a:lnTo>
                    <a:pt x="449" y="18"/>
                  </a:lnTo>
                  <a:lnTo>
                    <a:pt x="451" y="22"/>
                  </a:lnTo>
                  <a:lnTo>
                    <a:pt x="451" y="70"/>
                  </a:lnTo>
                  <a:lnTo>
                    <a:pt x="451" y="70"/>
                  </a:lnTo>
                  <a:lnTo>
                    <a:pt x="449" y="76"/>
                  </a:lnTo>
                  <a:lnTo>
                    <a:pt x="448" y="80"/>
                  </a:lnTo>
                  <a:lnTo>
                    <a:pt x="447" y="82"/>
                  </a:lnTo>
                  <a:lnTo>
                    <a:pt x="444" y="86"/>
                  </a:lnTo>
                  <a:lnTo>
                    <a:pt x="441" y="89"/>
                  </a:lnTo>
                  <a:lnTo>
                    <a:pt x="437" y="91"/>
                  </a:lnTo>
                  <a:lnTo>
                    <a:pt x="433" y="92"/>
                  </a:lnTo>
                  <a:lnTo>
                    <a:pt x="428" y="93"/>
                  </a:lnTo>
                  <a:lnTo>
                    <a:pt x="22" y="93"/>
                  </a:lnTo>
                  <a:lnTo>
                    <a:pt x="22" y="93"/>
                  </a:lnTo>
                  <a:lnTo>
                    <a:pt x="18" y="92"/>
                  </a:lnTo>
                  <a:lnTo>
                    <a:pt x="14" y="91"/>
                  </a:lnTo>
                  <a:lnTo>
                    <a:pt x="7" y="86"/>
                  </a:lnTo>
                  <a:lnTo>
                    <a:pt x="4" y="82"/>
                  </a:lnTo>
                  <a:lnTo>
                    <a:pt x="2" y="80"/>
                  </a:lnTo>
                  <a:lnTo>
                    <a:pt x="0" y="76"/>
                  </a:lnTo>
                  <a:lnTo>
                    <a:pt x="0" y="70"/>
                  </a:lnTo>
                  <a:lnTo>
                    <a:pt x="0" y="22"/>
                  </a:lnTo>
                  <a:lnTo>
                    <a:pt x="0" y="22"/>
                  </a:lnTo>
                  <a:lnTo>
                    <a:pt x="0" y="18"/>
                  </a:lnTo>
                  <a:lnTo>
                    <a:pt x="2" y="14"/>
                  </a:lnTo>
                  <a:lnTo>
                    <a:pt x="7" y="6"/>
                  </a:lnTo>
                  <a:lnTo>
                    <a:pt x="14" y="2"/>
                  </a:lnTo>
                  <a:lnTo>
                    <a:pt x="18" y="0"/>
                  </a:lnTo>
                  <a:lnTo>
                    <a:pt x="22" y="0"/>
                  </a:lnTo>
                  <a:lnTo>
                    <a:pt x="428" y="0"/>
                  </a:lnTo>
                  <a:close/>
                  <a:moveTo>
                    <a:pt x="219" y="38"/>
                  </a:moveTo>
                  <a:lnTo>
                    <a:pt x="219" y="38"/>
                  </a:lnTo>
                  <a:lnTo>
                    <a:pt x="215" y="38"/>
                  </a:lnTo>
                  <a:lnTo>
                    <a:pt x="211" y="41"/>
                  </a:lnTo>
                  <a:lnTo>
                    <a:pt x="208" y="45"/>
                  </a:lnTo>
                  <a:lnTo>
                    <a:pt x="208" y="49"/>
                  </a:lnTo>
                  <a:lnTo>
                    <a:pt x="208" y="49"/>
                  </a:lnTo>
                  <a:lnTo>
                    <a:pt x="208" y="53"/>
                  </a:lnTo>
                  <a:lnTo>
                    <a:pt x="211" y="57"/>
                  </a:lnTo>
                  <a:lnTo>
                    <a:pt x="215" y="58"/>
                  </a:lnTo>
                  <a:lnTo>
                    <a:pt x="219" y="60"/>
                  </a:lnTo>
                  <a:lnTo>
                    <a:pt x="391" y="60"/>
                  </a:lnTo>
                  <a:lnTo>
                    <a:pt x="391" y="60"/>
                  </a:lnTo>
                  <a:lnTo>
                    <a:pt x="395" y="58"/>
                  </a:lnTo>
                  <a:lnTo>
                    <a:pt x="400" y="57"/>
                  </a:lnTo>
                  <a:lnTo>
                    <a:pt x="401" y="53"/>
                  </a:lnTo>
                  <a:lnTo>
                    <a:pt x="402" y="49"/>
                  </a:lnTo>
                  <a:lnTo>
                    <a:pt x="402" y="49"/>
                  </a:lnTo>
                  <a:lnTo>
                    <a:pt x="401" y="45"/>
                  </a:lnTo>
                  <a:lnTo>
                    <a:pt x="400" y="41"/>
                  </a:lnTo>
                  <a:lnTo>
                    <a:pt x="395" y="38"/>
                  </a:lnTo>
                  <a:lnTo>
                    <a:pt x="391" y="38"/>
                  </a:lnTo>
                  <a:lnTo>
                    <a:pt x="219" y="38"/>
                  </a:lnTo>
                  <a:close/>
                  <a:moveTo>
                    <a:pt x="57" y="38"/>
                  </a:moveTo>
                  <a:lnTo>
                    <a:pt x="57" y="38"/>
                  </a:lnTo>
                  <a:lnTo>
                    <a:pt x="53" y="38"/>
                  </a:lnTo>
                  <a:lnTo>
                    <a:pt x="50" y="41"/>
                  </a:lnTo>
                  <a:lnTo>
                    <a:pt x="48" y="45"/>
                  </a:lnTo>
                  <a:lnTo>
                    <a:pt x="46" y="49"/>
                  </a:lnTo>
                  <a:lnTo>
                    <a:pt x="46" y="49"/>
                  </a:lnTo>
                  <a:lnTo>
                    <a:pt x="48" y="53"/>
                  </a:lnTo>
                  <a:lnTo>
                    <a:pt x="50" y="57"/>
                  </a:lnTo>
                  <a:lnTo>
                    <a:pt x="53" y="58"/>
                  </a:lnTo>
                  <a:lnTo>
                    <a:pt x="57" y="60"/>
                  </a:lnTo>
                  <a:lnTo>
                    <a:pt x="57" y="60"/>
                  </a:lnTo>
                  <a:lnTo>
                    <a:pt x="62" y="58"/>
                  </a:lnTo>
                  <a:lnTo>
                    <a:pt x="65" y="57"/>
                  </a:lnTo>
                  <a:lnTo>
                    <a:pt x="68" y="53"/>
                  </a:lnTo>
                  <a:lnTo>
                    <a:pt x="68" y="49"/>
                  </a:lnTo>
                  <a:lnTo>
                    <a:pt x="68" y="49"/>
                  </a:lnTo>
                  <a:lnTo>
                    <a:pt x="68" y="45"/>
                  </a:lnTo>
                  <a:lnTo>
                    <a:pt x="65" y="41"/>
                  </a:lnTo>
                  <a:lnTo>
                    <a:pt x="62" y="38"/>
                  </a:lnTo>
                  <a:lnTo>
                    <a:pt x="57" y="38"/>
                  </a:lnTo>
                  <a:lnTo>
                    <a:pt x="5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127" name="Freeform 140"/>
            <p:cNvSpPr>
              <a:spLocks noEditPoints="1"/>
            </p:cNvSpPr>
            <p:nvPr/>
          </p:nvSpPr>
          <p:spPr bwMode="auto">
            <a:xfrm>
              <a:off x="7439195" y="4481576"/>
              <a:ext cx="386611" cy="483615"/>
            </a:xfrm>
            <a:custGeom>
              <a:avLst/>
              <a:gdLst>
                <a:gd name="T0" fmla="*/ 531 w 550"/>
                <a:gd name="T1" fmla="*/ 20 h 689"/>
                <a:gd name="T2" fmla="*/ 508 w 550"/>
                <a:gd name="T3" fmla="*/ 5 h 689"/>
                <a:gd name="T4" fmla="*/ 482 w 550"/>
                <a:gd name="T5" fmla="*/ 0 h 689"/>
                <a:gd name="T6" fmla="*/ 67 w 550"/>
                <a:gd name="T7" fmla="*/ 0 h 689"/>
                <a:gd name="T8" fmla="*/ 40 w 550"/>
                <a:gd name="T9" fmla="*/ 5 h 689"/>
                <a:gd name="T10" fmla="*/ 18 w 550"/>
                <a:gd name="T11" fmla="*/ 20 h 689"/>
                <a:gd name="T12" fmla="*/ 10 w 550"/>
                <a:gd name="T13" fmla="*/ 30 h 689"/>
                <a:gd name="T14" fmla="*/ 1 w 550"/>
                <a:gd name="T15" fmla="*/ 54 h 689"/>
                <a:gd name="T16" fmla="*/ 0 w 550"/>
                <a:gd name="T17" fmla="*/ 601 h 689"/>
                <a:gd name="T18" fmla="*/ 0 w 550"/>
                <a:gd name="T19" fmla="*/ 611 h 689"/>
                <a:gd name="T20" fmla="*/ 4 w 550"/>
                <a:gd name="T21" fmla="*/ 627 h 689"/>
                <a:gd name="T22" fmla="*/ 12 w 550"/>
                <a:gd name="T23" fmla="*/ 642 h 689"/>
                <a:gd name="T24" fmla="*/ 24 w 550"/>
                <a:gd name="T25" fmla="*/ 654 h 689"/>
                <a:gd name="T26" fmla="*/ 31 w 550"/>
                <a:gd name="T27" fmla="*/ 658 h 689"/>
                <a:gd name="T28" fmla="*/ 31 w 550"/>
                <a:gd name="T29" fmla="*/ 659 h 689"/>
                <a:gd name="T30" fmla="*/ 32 w 550"/>
                <a:gd name="T31" fmla="*/ 670 h 689"/>
                <a:gd name="T32" fmla="*/ 39 w 550"/>
                <a:gd name="T33" fmla="*/ 680 h 689"/>
                <a:gd name="T34" fmla="*/ 48 w 550"/>
                <a:gd name="T35" fmla="*/ 686 h 689"/>
                <a:gd name="T36" fmla="*/ 60 w 550"/>
                <a:gd name="T37" fmla="*/ 689 h 689"/>
                <a:gd name="T38" fmla="*/ 98 w 550"/>
                <a:gd name="T39" fmla="*/ 689 h 689"/>
                <a:gd name="T40" fmla="*/ 115 w 550"/>
                <a:gd name="T41" fmla="*/ 684 h 689"/>
                <a:gd name="T42" fmla="*/ 125 w 550"/>
                <a:gd name="T43" fmla="*/ 669 h 689"/>
                <a:gd name="T44" fmla="*/ 423 w 550"/>
                <a:gd name="T45" fmla="*/ 669 h 689"/>
                <a:gd name="T46" fmla="*/ 434 w 550"/>
                <a:gd name="T47" fmla="*/ 684 h 689"/>
                <a:gd name="T48" fmla="*/ 451 w 550"/>
                <a:gd name="T49" fmla="*/ 689 h 689"/>
                <a:gd name="T50" fmla="*/ 489 w 550"/>
                <a:gd name="T51" fmla="*/ 689 h 689"/>
                <a:gd name="T52" fmla="*/ 501 w 550"/>
                <a:gd name="T53" fmla="*/ 686 h 689"/>
                <a:gd name="T54" fmla="*/ 511 w 550"/>
                <a:gd name="T55" fmla="*/ 680 h 689"/>
                <a:gd name="T56" fmla="*/ 517 w 550"/>
                <a:gd name="T57" fmla="*/ 670 h 689"/>
                <a:gd name="T58" fmla="*/ 519 w 550"/>
                <a:gd name="T59" fmla="*/ 659 h 689"/>
                <a:gd name="T60" fmla="*/ 519 w 550"/>
                <a:gd name="T61" fmla="*/ 658 h 689"/>
                <a:gd name="T62" fmla="*/ 525 w 550"/>
                <a:gd name="T63" fmla="*/ 654 h 689"/>
                <a:gd name="T64" fmla="*/ 538 w 550"/>
                <a:gd name="T65" fmla="*/ 642 h 689"/>
                <a:gd name="T66" fmla="*/ 546 w 550"/>
                <a:gd name="T67" fmla="*/ 627 h 689"/>
                <a:gd name="T68" fmla="*/ 550 w 550"/>
                <a:gd name="T69" fmla="*/ 611 h 689"/>
                <a:gd name="T70" fmla="*/ 550 w 550"/>
                <a:gd name="T71" fmla="*/ 67 h 689"/>
                <a:gd name="T72" fmla="*/ 548 w 550"/>
                <a:gd name="T73" fmla="*/ 54 h 689"/>
                <a:gd name="T74" fmla="*/ 539 w 550"/>
                <a:gd name="T75" fmla="*/ 30 h 689"/>
                <a:gd name="T76" fmla="*/ 531 w 550"/>
                <a:gd name="T77" fmla="*/ 20 h 689"/>
                <a:gd name="T78" fmla="*/ 528 w 550"/>
                <a:gd name="T79" fmla="*/ 601 h 689"/>
                <a:gd name="T80" fmla="*/ 524 w 550"/>
                <a:gd name="T81" fmla="*/ 619 h 689"/>
                <a:gd name="T82" fmla="*/ 515 w 550"/>
                <a:gd name="T83" fmla="*/ 634 h 689"/>
                <a:gd name="T84" fmla="*/ 500 w 550"/>
                <a:gd name="T85" fmla="*/ 643 h 689"/>
                <a:gd name="T86" fmla="*/ 482 w 550"/>
                <a:gd name="T87" fmla="*/ 647 h 689"/>
                <a:gd name="T88" fmla="*/ 67 w 550"/>
                <a:gd name="T89" fmla="*/ 647 h 689"/>
                <a:gd name="T90" fmla="*/ 48 w 550"/>
                <a:gd name="T91" fmla="*/ 643 h 689"/>
                <a:gd name="T92" fmla="*/ 35 w 550"/>
                <a:gd name="T93" fmla="*/ 634 h 689"/>
                <a:gd name="T94" fmla="*/ 24 w 550"/>
                <a:gd name="T95" fmla="*/ 619 h 689"/>
                <a:gd name="T96" fmla="*/ 21 w 550"/>
                <a:gd name="T97" fmla="*/ 601 h 689"/>
                <a:gd name="T98" fmla="*/ 21 w 550"/>
                <a:gd name="T99" fmla="*/ 67 h 689"/>
                <a:gd name="T100" fmla="*/ 24 w 550"/>
                <a:gd name="T101" fmla="*/ 50 h 689"/>
                <a:gd name="T102" fmla="*/ 35 w 550"/>
                <a:gd name="T103" fmla="*/ 35 h 689"/>
                <a:gd name="T104" fmla="*/ 41 w 550"/>
                <a:gd name="T105" fmla="*/ 30 h 689"/>
                <a:gd name="T106" fmla="*/ 58 w 550"/>
                <a:gd name="T107" fmla="*/ 23 h 689"/>
                <a:gd name="T108" fmla="*/ 482 w 550"/>
                <a:gd name="T109" fmla="*/ 22 h 689"/>
                <a:gd name="T110" fmla="*/ 492 w 550"/>
                <a:gd name="T111" fmla="*/ 23 h 689"/>
                <a:gd name="T112" fmla="*/ 508 w 550"/>
                <a:gd name="T113" fmla="*/ 30 h 689"/>
                <a:gd name="T114" fmla="*/ 515 w 550"/>
                <a:gd name="T115" fmla="*/ 35 h 689"/>
                <a:gd name="T116" fmla="*/ 524 w 550"/>
                <a:gd name="T117" fmla="*/ 50 h 689"/>
                <a:gd name="T118" fmla="*/ 528 w 550"/>
                <a:gd name="T119" fmla="*/ 6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0" h="689">
                  <a:moveTo>
                    <a:pt x="531" y="20"/>
                  </a:moveTo>
                  <a:lnTo>
                    <a:pt x="531" y="20"/>
                  </a:lnTo>
                  <a:lnTo>
                    <a:pt x="520" y="11"/>
                  </a:lnTo>
                  <a:lnTo>
                    <a:pt x="508" y="5"/>
                  </a:lnTo>
                  <a:lnTo>
                    <a:pt x="496" y="1"/>
                  </a:lnTo>
                  <a:lnTo>
                    <a:pt x="482" y="0"/>
                  </a:lnTo>
                  <a:lnTo>
                    <a:pt x="67" y="0"/>
                  </a:lnTo>
                  <a:lnTo>
                    <a:pt x="67" y="0"/>
                  </a:lnTo>
                  <a:lnTo>
                    <a:pt x="53" y="1"/>
                  </a:lnTo>
                  <a:lnTo>
                    <a:pt x="40" y="5"/>
                  </a:lnTo>
                  <a:lnTo>
                    <a:pt x="29" y="11"/>
                  </a:lnTo>
                  <a:lnTo>
                    <a:pt x="18" y="20"/>
                  </a:lnTo>
                  <a:lnTo>
                    <a:pt x="18" y="20"/>
                  </a:lnTo>
                  <a:lnTo>
                    <a:pt x="10" y="30"/>
                  </a:lnTo>
                  <a:lnTo>
                    <a:pt x="4" y="42"/>
                  </a:lnTo>
                  <a:lnTo>
                    <a:pt x="1" y="54"/>
                  </a:lnTo>
                  <a:lnTo>
                    <a:pt x="0" y="67"/>
                  </a:lnTo>
                  <a:lnTo>
                    <a:pt x="0" y="601"/>
                  </a:lnTo>
                  <a:lnTo>
                    <a:pt x="0" y="601"/>
                  </a:lnTo>
                  <a:lnTo>
                    <a:pt x="0" y="611"/>
                  </a:lnTo>
                  <a:lnTo>
                    <a:pt x="1" y="619"/>
                  </a:lnTo>
                  <a:lnTo>
                    <a:pt x="4" y="627"/>
                  </a:lnTo>
                  <a:lnTo>
                    <a:pt x="8" y="634"/>
                  </a:lnTo>
                  <a:lnTo>
                    <a:pt x="12" y="642"/>
                  </a:lnTo>
                  <a:lnTo>
                    <a:pt x="17" y="647"/>
                  </a:lnTo>
                  <a:lnTo>
                    <a:pt x="24" y="654"/>
                  </a:lnTo>
                  <a:lnTo>
                    <a:pt x="31" y="658"/>
                  </a:lnTo>
                  <a:lnTo>
                    <a:pt x="31" y="658"/>
                  </a:lnTo>
                  <a:lnTo>
                    <a:pt x="31" y="659"/>
                  </a:lnTo>
                  <a:lnTo>
                    <a:pt x="31" y="659"/>
                  </a:lnTo>
                  <a:lnTo>
                    <a:pt x="31" y="665"/>
                  </a:lnTo>
                  <a:lnTo>
                    <a:pt x="32" y="670"/>
                  </a:lnTo>
                  <a:lnTo>
                    <a:pt x="35" y="676"/>
                  </a:lnTo>
                  <a:lnTo>
                    <a:pt x="39" y="680"/>
                  </a:lnTo>
                  <a:lnTo>
                    <a:pt x="43" y="684"/>
                  </a:lnTo>
                  <a:lnTo>
                    <a:pt x="48" y="686"/>
                  </a:lnTo>
                  <a:lnTo>
                    <a:pt x="53" y="688"/>
                  </a:lnTo>
                  <a:lnTo>
                    <a:pt x="60" y="689"/>
                  </a:lnTo>
                  <a:lnTo>
                    <a:pt x="98" y="689"/>
                  </a:lnTo>
                  <a:lnTo>
                    <a:pt x="98" y="689"/>
                  </a:lnTo>
                  <a:lnTo>
                    <a:pt x="107" y="688"/>
                  </a:lnTo>
                  <a:lnTo>
                    <a:pt x="115" y="684"/>
                  </a:lnTo>
                  <a:lnTo>
                    <a:pt x="121" y="677"/>
                  </a:lnTo>
                  <a:lnTo>
                    <a:pt x="125" y="669"/>
                  </a:lnTo>
                  <a:lnTo>
                    <a:pt x="423" y="669"/>
                  </a:lnTo>
                  <a:lnTo>
                    <a:pt x="423" y="669"/>
                  </a:lnTo>
                  <a:lnTo>
                    <a:pt x="428" y="677"/>
                  </a:lnTo>
                  <a:lnTo>
                    <a:pt x="434" y="684"/>
                  </a:lnTo>
                  <a:lnTo>
                    <a:pt x="442" y="688"/>
                  </a:lnTo>
                  <a:lnTo>
                    <a:pt x="451" y="689"/>
                  </a:lnTo>
                  <a:lnTo>
                    <a:pt x="489" y="689"/>
                  </a:lnTo>
                  <a:lnTo>
                    <a:pt x="489" y="689"/>
                  </a:lnTo>
                  <a:lnTo>
                    <a:pt x="496" y="688"/>
                  </a:lnTo>
                  <a:lnTo>
                    <a:pt x="501" y="686"/>
                  </a:lnTo>
                  <a:lnTo>
                    <a:pt x="507" y="684"/>
                  </a:lnTo>
                  <a:lnTo>
                    <a:pt x="511" y="680"/>
                  </a:lnTo>
                  <a:lnTo>
                    <a:pt x="515" y="676"/>
                  </a:lnTo>
                  <a:lnTo>
                    <a:pt x="517" y="670"/>
                  </a:lnTo>
                  <a:lnTo>
                    <a:pt x="519" y="665"/>
                  </a:lnTo>
                  <a:lnTo>
                    <a:pt x="519" y="659"/>
                  </a:lnTo>
                  <a:lnTo>
                    <a:pt x="519" y="659"/>
                  </a:lnTo>
                  <a:lnTo>
                    <a:pt x="519" y="658"/>
                  </a:lnTo>
                  <a:lnTo>
                    <a:pt x="519" y="658"/>
                  </a:lnTo>
                  <a:lnTo>
                    <a:pt x="525" y="654"/>
                  </a:lnTo>
                  <a:lnTo>
                    <a:pt x="532" y="647"/>
                  </a:lnTo>
                  <a:lnTo>
                    <a:pt x="538" y="642"/>
                  </a:lnTo>
                  <a:lnTo>
                    <a:pt x="542" y="634"/>
                  </a:lnTo>
                  <a:lnTo>
                    <a:pt x="546" y="627"/>
                  </a:lnTo>
                  <a:lnTo>
                    <a:pt x="548" y="619"/>
                  </a:lnTo>
                  <a:lnTo>
                    <a:pt x="550" y="611"/>
                  </a:lnTo>
                  <a:lnTo>
                    <a:pt x="550" y="601"/>
                  </a:lnTo>
                  <a:lnTo>
                    <a:pt x="550" y="67"/>
                  </a:lnTo>
                  <a:lnTo>
                    <a:pt x="550" y="67"/>
                  </a:lnTo>
                  <a:lnTo>
                    <a:pt x="548" y="54"/>
                  </a:lnTo>
                  <a:lnTo>
                    <a:pt x="544" y="42"/>
                  </a:lnTo>
                  <a:lnTo>
                    <a:pt x="539" y="30"/>
                  </a:lnTo>
                  <a:lnTo>
                    <a:pt x="531" y="20"/>
                  </a:lnTo>
                  <a:lnTo>
                    <a:pt x="531" y="20"/>
                  </a:lnTo>
                  <a:close/>
                  <a:moveTo>
                    <a:pt x="528" y="601"/>
                  </a:moveTo>
                  <a:lnTo>
                    <a:pt x="528" y="601"/>
                  </a:lnTo>
                  <a:lnTo>
                    <a:pt x="527" y="611"/>
                  </a:lnTo>
                  <a:lnTo>
                    <a:pt x="524" y="619"/>
                  </a:lnTo>
                  <a:lnTo>
                    <a:pt x="520" y="627"/>
                  </a:lnTo>
                  <a:lnTo>
                    <a:pt x="515" y="634"/>
                  </a:lnTo>
                  <a:lnTo>
                    <a:pt x="508" y="639"/>
                  </a:lnTo>
                  <a:lnTo>
                    <a:pt x="500" y="643"/>
                  </a:lnTo>
                  <a:lnTo>
                    <a:pt x="492" y="646"/>
                  </a:lnTo>
                  <a:lnTo>
                    <a:pt x="482" y="647"/>
                  </a:lnTo>
                  <a:lnTo>
                    <a:pt x="67" y="647"/>
                  </a:lnTo>
                  <a:lnTo>
                    <a:pt x="67" y="647"/>
                  </a:lnTo>
                  <a:lnTo>
                    <a:pt x="58" y="646"/>
                  </a:lnTo>
                  <a:lnTo>
                    <a:pt x="48" y="643"/>
                  </a:lnTo>
                  <a:lnTo>
                    <a:pt x="41" y="639"/>
                  </a:lnTo>
                  <a:lnTo>
                    <a:pt x="35" y="634"/>
                  </a:lnTo>
                  <a:lnTo>
                    <a:pt x="29" y="627"/>
                  </a:lnTo>
                  <a:lnTo>
                    <a:pt x="24" y="619"/>
                  </a:lnTo>
                  <a:lnTo>
                    <a:pt x="22" y="611"/>
                  </a:lnTo>
                  <a:lnTo>
                    <a:pt x="21" y="601"/>
                  </a:lnTo>
                  <a:lnTo>
                    <a:pt x="21" y="67"/>
                  </a:lnTo>
                  <a:lnTo>
                    <a:pt x="21" y="67"/>
                  </a:lnTo>
                  <a:lnTo>
                    <a:pt x="21" y="58"/>
                  </a:lnTo>
                  <a:lnTo>
                    <a:pt x="24" y="50"/>
                  </a:lnTo>
                  <a:lnTo>
                    <a:pt x="29" y="42"/>
                  </a:lnTo>
                  <a:lnTo>
                    <a:pt x="35" y="35"/>
                  </a:lnTo>
                  <a:lnTo>
                    <a:pt x="35" y="35"/>
                  </a:lnTo>
                  <a:lnTo>
                    <a:pt x="41" y="30"/>
                  </a:lnTo>
                  <a:lnTo>
                    <a:pt x="49" y="26"/>
                  </a:lnTo>
                  <a:lnTo>
                    <a:pt x="58" y="23"/>
                  </a:lnTo>
                  <a:lnTo>
                    <a:pt x="67" y="22"/>
                  </a:lnTo>
                  <a:lnTo>
                    <a:pt x="482" y="22"/>
                  </a:lnTo>
                  <a:lnTo>
                    <a:pt x="482" y="22"/>
                  </a:lnTo>
                  <a:lnTo>
                    <a:pt x="492" y="23"/>
                  </a:lnTo>
                  <a:lnTo>
                    <a:pt x="500" y="26"/>
                  </a:lnTo>
                  <a:lnTo>
                    <a:pt x="508" y="30"/>
                  </a:lnTo>
                  <a:lnTo>
                    <a:pt x="515" y="35"/>
                  </a:lnTo>
                  <a:lnTo>
                    <a:pt x="515" y="35"/>
                  </a:lnTo>
                  <a:lnTo>
                    <a:pt x="520" y="42"/>
                  </a:lnTo>
                  <a:lnTo>
                    <a:pt x="524" y="50"/>
                  </a:lnTo>
                  <a:lnTo>
                    <a:pt x="527" y="58"/>
                  </a:lnTo>
                  <a:lnTo>
                    <a:pt x="528" y="67"/>
                  </a:lnTo>
                  <a:lnTo>
                    <a:pt x="528" y="6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135" name="Rectangle 15"/>
          <p:cNvSpPr>
            <a:spLocks/>
          </p:cNvSpPr>
          <p:nvPr/>
        </p:nvSpPr>
        <p:spPr bwMode="auto">
          <a:xfrm rot="10800000">
            <a:off x="3630367" y="4312065"/>
            <a:ext cx="3485330" cy="76944"/>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p>
            <a:r>
              <a:rPr lang="en-US" sz="500" dirty="0">
                <a:solidFill>
                  <a:srgbClr val="676767"/>
                </a:solidFill>
                <a:latin typeface="CiscoSans"/>
                <a:ea typeface="CiscoSans"/>
                <a:cs typeface="CiscoSans"/>
                <a:sym typeface="Arial" charset="0"/>
              </a:rPr>
              <a:t>0I000III  0I00  II 0I I00I II 00 0I00 0II I0I000III 0</a:t>
            </a:r>
          </a:p>
        </p:txBody>
      </p:sp>
      <p:sp>
        <p:nvSpPr>
          <p:cNvPr id="136" name="Rectangle 15"/>
          <p:cNvSpPr>
            <a:spLocks/>
          </p:cNvSpPr>
          <p:nvPr/>
        </p:nvSpPr>
        <p:spPr bwMode="auto">
          <a:xfrm rot="10800000">
            <a:off x="3655190" y="4244335"/>
            <a:ext cx="3485330" cy="76944"/>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p>
            <a:r>
              <a:rPr lang="en-US" sz="500" dirty="0">
                <a:solidFill>
                  <a:srgbClr val="676767"/>
                </a:solidFill>
                <a:latin typeface="CiscoSans"/>
                <a:ea typeface="CiscoSans"/>
                <a:cs typeface="CiscoSans"/>
                <a:sym typeface="Arial" charset="0"/>
              </a:rPr>
              <a:t>I00I 0I0 0I000 0I0I00I0I I0 I00I 0I0 0I000 I00I 0I0</a:t>
            </a:r>
          </a:p>
        </p:txBody>
      </p:sp>
      <p:grpSp>
        <p:nvGrpSpPr>
          <p:cNvPr id="94" name="Group 93"/>
          <p:cNvGrpSpPr/>
          <p:nvPr/>
        </p:nvGrpSpPr>
        <p:grpSpPr>
          <a:xfrm>
            <a:off x="7192259" y="4225597"/>
            <a:ext cx="237299" cy="169092"/>
            <a:chOff x="5152458" y="5408224"/>
            <a:chExt cx="369522" cy="213398"/>
          </a:xfrm>
          <a:solidFill>
            <a:schemeClr val="tx1"/>
          </a:solidFill>
        </p:grpSpPr>
        <p:sp>
          <p:nvSpPr>
            <p:cNvPr id="95" name="Full Process - envelope fly out"/>
            <p:cNvSpPr>
              <a:spLocks noChangeAspect="1"/>
            </p:cNvSpPr>
            <p:nvPr/>
          </p:nvSpPr>
          <p:spPr bwMode="auto">
            <a:xfrm>
              <a:off x="5172670" y="5408224"/>
              <a:ext cx="331620" cy="121070"/>
            </a:xfrm>
            <a:custGeom>
              <a:avLst/>
              <a:gdLst>
                <a:gd name="T0" fmla="*/ 854 w 1896"/>
                <a:gd name="T1" fmla="*/ 657 h 689"/>
                <a:gd name="T2" fmla="*/ 854 w 1896"/>
                <a:gd name="T3" fmla="*/ 657 h 689"/>
                <a:gd name="T4" fmla="*/ 864 w 1896"/>
                <a:gd name="T5" fmla="*/ 664 h 689"/>
                <a:gd name="T6" fmla="*/ 875 w 1896"/>
                <a:gd name="T7" fmla="*/ 671 h 689"/>
                <a:gd name="T8" fmla="*/ 886 w 1896"/>
                <a:gd name="T9" fmla="*/ 676 h 689"/>
                <a:gd name="T10" fmla="*/ 898 w 1896"/>
                <a:gd name="T11" fmla="*/ 681 h 689"/>
                <a:gd name="T12" fmla="*/ 911 w 1896"/>
                <a:gd name="T13" fmla="*/ 684 h 689"/>
                <a:gd name="T14" fmla="*/ 923 w 1896"/>
                <a:gd name="T15" fmla="*/ 687 h 689"/>
                <a:gd name="T16" fmla="*/ 936 w 1896"/>
                <a:gd name="T17" fmla="*/ 688 h 689"/>
                <a:gd name="T18" fmla="*/ 949 w 1896"/>
                <a:gd name="T19" fmla="*/ 689 h 689"/>
                <a:gd name="T20" fmla="*/ 949 w 1896"/>
                <a:gd name="T21" fmla="*/ 689 h 689"/>
                <a:gd name="T22" fmla="*/ 961 w 1896"/>
                <a:gd name="T23" fmla="*/ 688 h 689"/>
                <a:gd name="T24" fmla="*/ 975 w 1896"/>
                <a:gd name="T25" fmla="*/ 687 h 689"/>
                <a:gd name="T26" fmla="*/ 988 w 1896"/>
                <a:gd name="T27" fmla="*/ 683 h 689"/>
                <a:gd name="T28" fmla="*/ 1001 w 1896"/>
                <a:gd name="T29" fmla="*/ 680 h 689"/>
                <a:gd name="T30" fmla="*/ 1012 w 1896"/>
                <a:gd name="T31" fmla="*/ 675 h 689"/>
                <a:gd name="T32" fmla="*/ 1025 w 1896"/>
                <a:gd name="T33" fmla="*/ 668 h 689"/>
                <a:gd name="T34" fmla="*/ 1036 w 1896"/>
                <a:gd name="T35" fmla="*/ 661 h 689"/>
                <a:gd name="T36" fmla="*/ 1047 w 1896"/>
                <a:gd name="T37" fmla="*/ 653 h 689"/>
                <a:gd name="T38" fmla="*/ 1896 w 1896"/>
                <a:gd name="T39" fmla="*/ 6 h 689"/>
                <a:gd name="T40" fmla="*/ 1896 w 1896"/>
                <a:gd name="T41" fmla="*/ 6 h 689"/>
                <a:gd name="T42" fmla="*/ 1878 w 1896"/>
                <a:gd name="T43" fmla="*/ 2 h 689"/>
                <a:gd name="T44" fmla="*/ 1867 w 1896"/>
                <a:gd name="T45" fmla="*/ 1 h 689"/>
                <a:gd name="T46" fmla="*/ 1858 w 1896"/>
                <a:gd name="T47" fmla="*/ 0 h 689"/>
                <a:gd name="T48" fmla="*/ 38 w 1896"/>
                <a:gd name="T49" fmla="*/ 0 h 689"/>
                <a:gd name="T50" fmla="*/ 38 w 1896"/>
                <a:gd name="T51" fmla="*/ 0 h 689"/>
                <a:gd name="T52" fmla="*/ 28 w 1896"/>
                <a:gd name="T53" fmla="*/ 1 h 689"/>
                <a:gd name="T54" fmla="*/ 19 w 1896"/>
                <a:gd name="T55" fmla="*/ 2 h 689"/>
                <a:gd name="T56" fmla="*/ 0 w 1896"/>
                <a:gd name="T57" fmla="*/ 6 h 689"/>
                <a:gd name="T58" fmla="*/ 853 w 1896"/>
                <a:gd name="T59" fmla="*/ 657 h 689"/>
                <a:gd name="T60" fmla="*/ 853 w 1896"/>
                <a:gd name="T61" fmla="*/ 657 h 689"/>
                <a:gd name="T62" fmla="*/ 854 w 1896"/>
                <a:gd name="T63" fmla="*/ 657 h 689"/>
                <a:gd name="T64" fmla="*/ 854 w 1896"/>
                <a:gd name="T65" fmla="*/ 65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6" h="689">
                  <a:moveTo>
                    <a:pt x="854" y="657"/>
                  </a:moveTo>
                  <a:lnTo>
                    <a:pt x="854" y="657"/>
                  </a:lnTo>
                  <a:lnTo>
                    <a:pt x="864" y="664"/>
                  </a:lnTo>
                  <a:lnTo>
                    <a:pt x="875" y="671"/>
                  </a:lnTo>
                  <a:lnTo>
                    <a:pt x="886" y="676"/>
                  </a:lnTo>
                  <a:lnTo>
                    <a:pt x="898" y="681"/>
                  </a:lnTo>
                  <a:lnTo>
                    <a:pt x="911" y="684"/>
                  </a:lnTo>
                  <a:lnTo>
                    <a:pt x="923" y="687"/>
                  </a:lnTo>
                  <a:lnTo>
                    <a:pt x="936" y="688"/>
                  </a:lnTo>
                  <a:lnTo>
                    <a:pt x="949" y="689"/>
                  </a:lnTo>
                  <a:lnTo>
                    <a:pt x="949" y="689"/>
                  </a:lnTo>
                  <a:lnTo>
                    <a:pt x="961" y="688"/>
                  </a:lnTo>
                  <a:lnTo>
                    <a:pt x="975" y="687"/>
                  </a:lnTo>
                  <a:lnTo>
                    <a:pt x="988" y="683"/>
                  </a:lnTo>
                  <a:lnTo>
                    <a:pt x="1001" y="680"/>
                  </a:lnTo>
                  <a:lnTo>
                    <a:pt x="1012" y="675"/>
                  </a:lnTo>
                  <a:lnTo>
                    <a:pt x="1025" y="668"/>
                  </a:lnTo>
                  <a:lnTo>
                    <a:pt x="1036" y="661"/>
                  </a:lnTo>
                  <a:lnTo>
                    <a:pt x="1047" y="653"/>
                  </a:lnTo>
                  <a:lnTo>
                    <a:pt x="1896" y="6"/>
                  </a:lnTo>
                  <a:lnTo>
                    <a:pt x="1896" y="6"/>
                  </a:lnTo>
                  <a:lnTo>
                    <a:pt x="1878" y="2"/>
                  </a:lnTo>
                  <a:lnTo>
                    <a:pt x="1867" y="1"/>
                  </a:lnTo>
                  <a:lnTo>
                    <a:pt x="1858" y="0"/>
                  </a:lnTo>
                  <a:lnTo>
                    <a:pt x="38" y="0"/>
                  </a:lnTo>
                  <a:lnTo>
                    <a:pt x="38" y="0"/>
                  </a:lnTo>
                  <a:lnTo>
                    <a:pt x="28" y="1"/>
                  </a:lnTo>
                  <a:lnTo>
                    <a:pt x="19" y="2"/>
                  </a:lnTo>
                  <a:lnTo>
                    <a:pt x="0" y="6"/>
                  </a:lnTo>
                  <a:lnTo>
                    <a:pt x="853" y="657"/>
                  </a:lnTo>
                  <a:lnTo>
                    <a:pt x="853" y="657"/>
                  </a:lnTo>
                  <a:lnTo>
                    <a:pt x="854" y="657"/>
                  </a:lnTo>
                  <a:lnTo>
                    <a:pt x="854" y="657"/>
                  </a:lnTo>
                  <a:close/>
                </a:path>
              </a:pathLst>
            </a:custGeom>
            <a:grp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0000"/>
                </a:solidFill>
              </a:endParaRPr>
            </a:p>
          </p:txBody>
        </p:sp>
        <p:sp>
          <p:nvSpPr>
            <p:cNvPr id="129" name="Full Process - envelope"/>
            <p:cNvSpPr>
              <a:spLocks noChangeAspect="1"/>
            </p:cNvSpPr>
            <p:nvPr/>
          </p:nvSpPr>
          <p:spPr bwMode="auto">
            <a:xfrm>
              <a:off x="5152458" y="5424751"/>
              <a:ext cx="369522" cy="196871"/>
            </a:xfrm>
            <a:custGeom>
              <a:avLst/>
              <a:gdLst>
                <a:gd name="T0" fmla="*/ 1218 w 2105"/>
                <a:gd name="T1" fmla="*/ 664 h 1120"/>
                <a:gd name="T2" fmla="*/ 1181 w 2105"/>
                <a:gd name="T3" fmla="*/ 689 h 1120"/>
                <a:gd name="T4" fmla="*/ 1140 w 2105"/>
                <a:gd name="T5" fmla="*/ 706 h 1120"/>
                <a:gd name="T6" fmla="*/ 1096 w 2105"/>
                <a:gd name="T7" fmla="*/ 718 h 1120"/>
                <a:gd name="T8" fmla="*/ 1053 w 2105"/>
                <a:gd name="T9" fmla="*/ 721 h 1120"/>
                <a:gd name="T10" fmla="*/ 1031 w 2105"/>
                <a:gd name="T11" fmla="*/ 720 h 1120"/>
                <a:gd name="T12" fmla="*/ 988 w 2105"/>
                <a:gd name="T13" fmla="*/ 713 h 1120"/>
                <a:gd name="T14" fmla="*/ 948 w 2105"/>
                <a:gd name="T15" fmla="*/ 700 h 1120"/>
                <a:gd name="T16" fmla="*/ 910 w 2105"/>
                <a:gd name="T17" fmla="*/ 680 h 1120"/>
                <a:gd name="T18" fmla="*/ 891 w 2105"/>
                <a:gd name="T19" fmla="*/ 668 h 1120"/>
                <a:gd name="T20" fmla="*/ 14 w 2105"/>
                <a:gd name="T21" fmla="*/ 0 h 1120"/>
                <a:gd name="T22" fmla="*/ 8 w 2105"/>
                <a:gd name="T23" fmla="*/ 14 h 1120"/>
                <a:gd name="T24" fmla="*/ 1 w 2105"/>
                <a:gd name="T25" fmla="*/ 45 h 1120"/>
                <a:gd name="T26" fmla="*/ 1 w 2105"/>
                <a:gd name="T27" fmla="*/ 979 h 1120"/>
                <a:gd name="T28" fmla="*/ 1 w 2105"/>
                <a:gd name="T29" fmla="*/ 990 h 1120"/>
                <a:gd name="T30" fmla="*/ 6 w 2105"/>
                <a:gd name="T31" fmla="*/ 1012 h 1120"/>
                <a:gd name="T32" fmla="*/ 13 w 2105"/>
                <a:gd name="T33" fmla="*/ 1034 h 1120"/>
                <a:gd name="T34" fmla="*/ 23 w 2105"/>
                <a:gd name="T35" fmla="*/ 1054 h 1120"/>
                <a:gd name="T36" fmla="*/ 562 w 2105"/>
                <a:gd name="T37" fmla="*/ 658 h 1120"/>
                <a:gd name="T38" fmla="*/ 568 w 2105"/>
                <a:gd name="T39" fmla="*/ 654 h 1120"/>
                <a:gd name="T40" fmla="*/ 578 w 2105"/>
                <a:gd name="T41" fmla="*/ 652 h 1120"/>
                <a:gd name="T42" fmla="*/ 590 w 2105"/>
                <a:gd name="T43" fmla="*/ 653 h 1120"/>
                <a:gd name="T44" fmla="*/ 600 w 2105"/>
                <a:gd name="T45" fmla="*/ 659 h 1120"/>
                <a:gd name="T46" fmla="*/ 604 w 2105"/>
                <a:gd name="T47" fmla="*/ 664 h 1120"/>
                <a:gd name="T48" fmla="*/ 610 w 2105"/>
                <a:gd name="T49" fmla="*/ 674 h 1120"/>
                <a:gd name="T50" fmla="*/ 610 w 2105"/>
                <a:gd name="T51" fmla="*/ 685 h 1120"/>
                <a:gd name="T52" fmla="*/ 606 w 2105"/>
                <a:gd name="T53" fmla="*/ 696 h 1120"/>
                <a:gd name="T54" fmla="*/ 598 w 2105"/>
                <a:gd name="T55" fmla="*/ 705 h 1120"/>
                <a:gd name="T56" fmla="*/ 74 w 2105"/>
                <a:gd name="T57" fmla="*/ 1102 h 1120"/>
                <a:gd name="T58" fmla="*/ 108 w 2105"/>
                <a:gd name="T59" fmla="*/ 1116 h 1120"/>
                <a:gd name="T60" fmla="*/ 143 w 2105"/>
                <a:gd name="T61" fmla="*/ 1120 h 1120"/>
                <a:gd name="T62" fmla="*/ 1963 w 2105"/>
                <a:gd name="T63" fmla="*/ 1120 h 1120"/>
                <a:gd name="T64" fmla="*/ 1999 w 2105"/>
                <a:gd name="T65" fmla="*/ 1116 h 1120"/>
                <a:gd name="T66" fmla="*/ 2032 w 2105"/>
                <a:gd name="T67" fmla="*/ 1102 h 1120"/>
                <a:gd name="T68" fmla="*/ 1512 w 2105"/>
                <a:gd name="T69" fmla="*/ 705 h 1120"/>
                <a:gd name="T70" fmla="*/ 1504 w 2105"/>
                <a:gd name="T71" fmla="*/ 696 h 1120"/>
                <a:gd name="T72" fmla="*/ 1500 w 2105"/>
                <a:gd name="T73" fmla="*/ 685 h 1120"/>
                <a:gd name="T74" fmla="*/ 1501 w 2105"/>
                <a:gd name="T75" fmla="*/ 674 h 1120"/>
                <a:gd name="T76" fmla="*/ 1506 w 2105"/>
                <a:gd name="T77" fmla="*/ 664 h 1120"/>
                <a:gd name="T78" fmla="*/ 1511 w 2105"/>
                <a:gd name="T79" fmla="*/ 659 h 1120"/>
                <a:gd name="T80" fmla="*/ 1521 w 2105"/>
                <a:gd name="T81" fmla="*/ 653 h 1120"/>
                <a:gd name="T82" fmla="*/ 1531 w 2105"/>
                <a:gd name="T83" fmla="*/ 652 h 1120"/>
                <a:gd name="T84" fmla="*/ 1543 w 2105"/>
                <a:gd name="T85" fmla="*/ 654 h 1120"/>
                <a:gd name="T86" fmla="*/ 2077 w 2105"/>
                <a:gd name="T87" fmla="*/ 1062 h 1120"/>
                <a:gd name="T88" fmla="*/ 2083 w 2105"/>
                <a:gd name="T89" fmla="*/ 1052 h 1120"/>
                <a:gd name="T90" fmla="*/ 2093 w 2105"/>
                <a:gd name="T91" fmla="*/ 1034 h 1120"/>
                <a:gd name="T92" fmla="*/ 2100 w 2105"/>
                <a:gd name="T93" fmla="*/ 1012 h 1120"/>
                <a:gd name="T94" fmla="*/ 2104 w 2105"/>
                <a:gd name="T95" fmla="*/ 990 h 1120"/>
                <a:gd name="T96" fmla="*/ 2104 w 2105"/>
                <a:gd name="T97" fmla="*/ 60 h 1120"/>
                <a:gd name="T98" fmla="*/ 2103 w 2105"/>
                <a:gd name="T99" fmla="*/ 44 h 1120"/>
                <a:gd name="T100" fmla="*/ 2096 w 2105"/>
                <a:gd name="T101" fmla="*/ 14 h 1120"/>
                <a:gd name="T102" fmla="*/ 1220 w 2105"/>
                <a:gd name="T103" fmla="*/ 664 h 1120"/>
                <a:gd name="T104" fmla="*/ 1218 w 2105"/>
                <a:gd name="T105" fmla="*/ 6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5" h="1120">
                  <a:moveTo>
                    <a:pt x="1218" y="664"/>
                  </a:moveTo>
                  <a:lnTo>
                    <a:pt x="1218" y="664"/>
                  </a:lnTo>
                  <a:lnTo>
                    <a:pt x="1199" y="677"/>
                  </a:lnTo>
                  <a:lnTo>
                    <a:pt x="1181" y="689"/>
                  </a:lnTo>
                  <a:lnTo>
                    <a:pt x="1161" y="698"/>
                  </a:lnTo>
                  <a:lnTo>
                    <a:pt x="1140" y="706"/>
                  </a:lnTo>
                  <a:lnTo>
                    <a:pt x="1118" y="713"/>
                  </a:lnTo>
                  <a:lnTo>
                    <a:pt x="1096" y="718"/>
                  </a:lnTo>
                  <a:lnTo>
                    <a:pt x="1075" y="720"/>
                  </a:lnTo>
                  <a:lnTo>
                    <a:pt x="1053" y="721"/>
                  </a:lnTo>
                  <a:lnTo>
                    <a:pt x="1053" y="721"/>
                  </a:lnTo>
                  <a:lnTo>
                    <a:pt x="1031" y="720"/>
                  </a:lnTo>
                  <a:lnTo>
                    <a:pt x="1009" y="718"/>
                  </a:lnTo>
                  <a:lnTo>
                    <a:pt x="988" y="713"/>
                  </a:lnTo>
                  <a:lnTo>
                    <a:pt x="967" y="707"/>
                  </a:lnTo>
                  <a:lnTo>
                    <a:pt x="948" y="700"/>
                  </a:lnTo>
                  <a:lnTo>
                    <a:pt x="928" y="691"/>
                  </a:lnTo>
                  <a:lnTo>
                    <a:pt x="910" y="680"/>
                  </a:lnTo>
                  <a:lnTo>
                    <a:pt x="891" y="668"/>
                  </a:lnTo>
                  <a:lnTo>
                    <a:pt x="891" y="668"/>
                  </a:lnTo>
                  <a:lnTo>
                    <a:pt x="890" y="667"/>
                  </a:lnTo>
                  <a:lnTo>
                    <a:pt x="14" y="0"/>
                  </a:lnTo>
                  <a:lnTo>
                    <a:pt x="14" y="0"/>
                  </a:lnTo>
                  <a:lnTo>
                    <a:pt x="8" y="14"/>
                  </a:lnTo>
                  <a:lnTo>
                    <a:pt x="4" y="29"/>
                  </a:lnTo>
                  <a:lnTo>
                    <a:pt x="1" y="45"/>
                  </a:lnTo>
                  <a:lnTo>
                    <a:pt x="0" y="60"/>
                  </a:lnTo>
                  <a:lnTo>
                    <a:pt x="1" y="979"/>
                  </a:lnTo>
                  <a:lnTo>
                    <a:pt x="1" y="979"/>
                  </a:lnTo>
                  <a:lnTo>
                    <a:pt x="1" y="990"/>
                  </a:lnTo>
                  <a:lnTo>
                    <a:pt x="4" y="1002"/>
                  </a:lnTo>
                  <a:lnTo>
                    <a:pt x="6" y="1012"/>
                  </a:lnTo>
                  <a:lnTo>
                    <a:pt x="8" y="1024"/>
                  </a:lnTo>
                  <a:lnTo>
                    <a:pt x="13" y="1034"/>
                  </a:lnTo>
                  <a:lnTo>
                    <a:pt x="18" y="1043"/>
                  </a:lnTo>
                  <a:lnTo>
                    <a:pt x="23" y="1054"/>
                  </a:lnTo>
                  <a:lnTo>
                    <a:pt x="29" y="1062"/>
                  </a:lnTo>
                  <a:lnTo>
                    <a:pt x="562" y="658"/>
                  </a:lnTo>
                  <a:lnTo>
                    <a:pt x="562" y="658"/>
                  </a:lnTo>
                  <a:lnTo>
                    <a:pt x="568" y="654"/>
                  </a:lnTo>
                  <a:lnTo>
                    <a:pt x="573" y="653"/>
                  </a:lnTo>
                  <a:lnTo>
                    <a:pt x="578" y="652"/>
                  </a:lnTo>
                  <a:lnTo>
                    <a:pt x="584" y="652"/>
                  </a:lnTo>
                  <a:lnTo>
                    <a:pt x="590" y="653"/>
                  </a:lnTo>
                  <a:lnTo>
                    <a:pt x="596" y="655"/>
                  </a:lnTo>
                  <a:lnTo>
                    <a:pt x="600" y="659"/>
                  </a:lnTo>
                  <a:lnTo>
                    <a:pt x="604" y="664"/>
                  </a:lnTo>
                  <a:lnTo>
                    <a:pt x="604" y="664"/>
                  </a:lnTo>
                  <a:lnTo>
                    <a:pt x="607" y="668"/>
                  </a:lnTo>
                  <a:lnTo>
                    <a:pt x="610" y="674"/>
                  </a:lnTo>
                  <a:lnTo>
                    <a:pt x="610" y="680"/>
                  </a:lnTo>
                  <a:lnTo>
                    <a:pt x="610" y="685"/>
                  </a:lnTo>
                  <a:lnTo>
                    <a:pt x="608" y="691"/>
                  </a:lnTo>
                  <a:lnTo>
                    <a:pt x="606" y="696"/>
                  </a:lnTo>
                  <a:lnTo>
                    <a:pt x="603" y="700"/>
                  </a:lnTo>
                  <a:lnTo>
                    <a:pt x="598" y="705"/>
                  </a:lnTo>
                  <a:lnTo>
                    <a:pt x="74" y="1102"/>
                  </a:lnTo>
                  <a:lnTo>
                    <a:pt x="74" y="1102"/>
                  </a:lnTo>
                  <a:lnTo>
                    <a:pt x="90" y="1110"/>
                  </a:lnTo>
                  <a:lnTo>
                    <a:pt x="108" y="1116"/>
                  </a:lnTo>
                  <a:lnTo>
                    <a:pt x="125" y="1119"/>
                  </a:lnTo>
                  <a:lnTo>
                    <a:pt x="143" y="1120"/>
                  </a:lnTo>
                  <a:lnTo>
                    <a:pt x="1963" y="1120"/>
                  </a:lnTo>
                  <a:lnTo>
                    <a:pt x="1963" y="1120"/>
                  </a:lnTo>
                  <a:lnTo>
                    <a:pt x="1982" y="1119"/>
                  </a:lnTo>
                  <a:lnTo>
                    <a:pt x="1999" y="1116"/>
                  </a:lnTo>
                  <a:lnTo>
                    <a:pt x="2016" y="1109"/>
                  </a:lnTo>
                  <a:lnTo>
                    <a:pt x="2032" y="1102"/>
                  </a:lnTo>
                  <a:lnTo>
                    <a:pt x="1512" y="705"/>
                  </a:lnTo>
                  <a:lnTo>
                    <a:pt x="1512" y="705"/>
                  </a:lnTo>
                  <a:lnTo>
                    <a:pt x="1507" y="700"/>
                  </a:lnTo>
                  <a:lnTo>
                    <a:pt x="1504" y="696"/>
                  </a:lnTo>
                  <a:lnTo>
                    <a:pt x="1501" y="691"/>
                  </a:lnTo>
                  <a:lnTo>
                    <a:pt x="1500" y="685"/>
                  </a:lnTo>
                  <a:lnTo>
                    <a:pt x="1500" y="680"/>
                  </a:lnTo>
                  <a:lnTo>
                    <a:pt x="1501" y="674"/>
                  </a:lnTo>
                  <a:lnTo>
                    <a:pt x="1504" y="668"/>
                  </a:lnTo>
                  <a:lnTo>
                    <a:pt x="1506" y="664"/>
                  </a:lnTo>
                  <a:lnTo>
                    <a:pt x="1506" y="664"/>
                  </a:lnTo>
                  <a:lnTo>
                    <a:pt x="1511" y="659"/>
                  </a:lnTo>
                  <a:lnTo>
                    <a:pt x="1515" y="655"/>
                  </a:lnTo>
                  <a:lnTo>
                    <a:pt x="1521" y="653"/>
                  </a:lnTo>
                  <a:lnTo>
                    <a:pt x="1526" y="652"/>
                  </a:lnTo>
                  <a:lnTo>
                    <a:pt x="1531" y="652"/>
                  </a:lnTo>
                  <a:lnTo>
                    <a:pt x="1537" y="653"/>
                  </a:lnTo>
                  <a:lnTo>
                    <a:pt x="1543" y="654"/>
                  </a:lnTo>
                  <a:lnTo>
                    <a:pt x="1548" y="658"/>
                  </a:lnTo>
                  <a:lnTo>
                    <a:pt x="2077" y="1062"/>
                  </a:lnTo>
                  <a:lnTo>
                    <a:pt x="2077" y="1062"/>
                  </a:lnTo>
                  <a:lnTo>
                    <a:pt x="2083" y="1052"/>
                  </a:lnTo>
                  <a:lnTo>
                    <a:pt x="2089" y="1043"/>
                  </a:lnTo>
                  <a:lnTo>
                    <a:pt x="2093" y="1034"/>
                  </a:lnTo>
                  <a:lnTo>
                    <a:pt x="2097" y="1024"/>
                  </a:lnTo>
                  <a:lnTo>
                    <a:pt x="2100" y="1012"/>
                  </a:lnTo>
                  <a:lnTo>
                    <a:pt x="2103" y="1002"/>
                  </a:lnTo>
                  <a:lnTo>
                    <a:pt x="2104" y="990"/>
                  </a:lnTo>
                  <a:lnTo>
                    <a:pt x="2105" y="979"/>
                  </a:lnTo>
                  <a:lnTo>
                    <a:pt x="2104" y="60"/>
                  </a:lnTo>
                  <a:lnTo>
                    <a:pt x="2104" y="60"/>
                  </a:lnTo>
                  <a:lnTo>
                    <a:pt x="2103" y="44"/>
                  </a:lnTo>
                  <a:lnTo>
                    <a:pt x="2099" y="29"/>
                  </a:lnTo>
                  <a:lnTo>
                    <a:pt x="2096" y="14"/>
                  </a:lnTo>
                  <a:lnTo>
                    <a:pt x="2090" y="0"/>
                  </a:lnTo>
                  <a:lnTo>
                    <a:pt x="1220" y="664"/>
                  </a:lnTo>
                  <a:lnTo>
                    <a:pt x="1220" y="664"/>
                  </a:lnTo>
                  <a:lnTo>
                    <a:pt x="1218" y="664"/>
                  </a:lnTo>
                  <a:lnTo>
                    <a:pt x="1218" y="664"/>
                  </a:lnTo>
                  <a:close/>
                </a:path>
              </a:pathLst>
            </a:custGeom>
            <a:grp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0000"/>
                </a:solidFill>
              </a:endParaRPr>
            </a:p>
          </p:txBody>
        </p:sp>
      </p:grpSp>
      <p:sp>
        <p:nvSpPr>
          <p:cNvPr id="87" name="malware"/>
          <p:cNvSpPr>
            <a:spLocks noChangeAspect="1" noEditPoints="1"/>
          </p:cNvSpPr>
          <p:nvPr/>
        </p:nvSpPr>
        <p:spPr bwMode="auto">
          <a:xfrm>
            <a:off x="3504754" y="1421066"/>
            <a:ext cx="290252" cy="308610"/>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146" name="Rectangle 15"/>
          <p:cNvSpPr>
            <a:spLocks/>
          </p:cNvSpPr>
          <p:nvPr/>
        </p:nvSpPr>
        <p:spPr bwMode="auto">
          <a:xfrm rot="16200000">
            <a:off x="4294754" y="2789144"/>
            <a:ext cx="2462213" cy="125484"/>
          </a:xfrm>
          <a:prstGeom prst="rect">
            <a:avLst/>
          </a:prstGeom>
          <a:noFill/>
          <a:ln w="12700" cap="flat">
            <a:noFill/>
            <a:miter lim="800000"/>
            <a:headEnd type="none" w="med" len="med"/>
            <a:tailEnd type="none" w="med" len="med"/>
          </a:ln>
          <a:effectLst/>
        </p:spPr>
        <p:txBody>
          <a:bodyPr vert="vert270" wrap="square" lIns="0" tIns="0" rIns="0" bIns="0">
            <a:prstTxWarp prst="textNoShape">
              <a:avLst/>
            </a:prstTxWarp>
            <a:spAutoFit/>
          </a:bodyPr>
          <a:lstStyle/>
          <a:p>
            <a:r>
              <a:rPr lang="en-US" sz="500" dirty="0">
                <a:solidFill>
                  <a:srgbClr val="676767"/>
                </a:solidFill>
                <a:latin typeface="CiscoSans"/>
                <a:ea typeface="CiscoSans"/>
                <a:cs typeface="CiscoSans"/>
                <a:sym typeface="Arial" charset="0"/>
              </a:rPr>
              <a:t>0I0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I 0I 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I0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0 I00</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II</a:t>
            </a:r>
          </a:p>
          <a:p>
            <a:r>
              <a:rPr lang="en-US" sz="500" dirty="0">
                <a:solidFill>
                  <a:srgbClr val="676767"/>
                </a:solidFill>
                <a:latin typeface="CiscoSans"/>
                <a:ea typeface="CiscoSans"/>
                <a:cs typeface="CiscoSans"/>
                <a:sym typeface="Arial" charset="0"/>
              </a:rPr>
              <a:t>II0I 000 0I000I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0</a:t>
            </a:r>
          </a:p>
          <a:p>
            <a:r>
              <a:rPr lang="en-US" sz="500" dirty="0">
                <a:solidFill>
                  <a:srgbClr val="676767"/>
                </a:solidFill>
                <a:latin typeface="CiscoSans"/>
                <a:ea typeface="CiscoSans"/>
                <a:cs typeface="CiscoSans"/>
                <a:sym typeface="Arial" charset="0"/>
              </a:rPr>
              <a:t>I0I0</a:t>
            </a:r>
          </a:p>
          <a:p>
            <a:r>
              <a:rPr lang="en-US" sz="500" dirty="0">
                <a:solidFill>
                  <a:srgbClr val="676767"/>
                </a:solidFill>
                <a:latin typeface="CiscoSans"/>
                <a:ea typeface="CiscoSans"/>
                <a:cs typeface="CiscoSans"/>
                <a:sym typeface="Arial" charset="0"/>
              </a:rPr>
              <a:t>0I0 000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I0</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 I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I I 00I</a:t>
            </a:r>
          </a:p>
          <a:p>
            <a:r>
              <a:rPr lang="en-US" sz="500" dirty="0">
                <a:solidFill>
                  <a:srgbClr val="676767"/>
                </a:solidFill>
                <a:latin typeface="CiscoSans"/>
                <a:ea typeface="CiscoSans"/>
                <a:cs typeface="CiscoSans"/>
                <a:sym typeface="Arial" charset="0"/>
              </a:rPr>
              <a:t>0I0</a:t>
            </a:r>
          </a:p>
          <a:p>
            <a:r>
              <a:rPr lang="en-US" sz="500" dirty="0">
                <a:solidFill>
                  <a:srgbClr val="676767"/>
                </a:solidFill>
                <a:latin typeface="CiscoSans"/>
                <a:ea typeface="CiscoSans"/>
                <a:cs typeface="CiscoSans"/>
                <a:sym typeface="Arial" charset="0"/>
              </a:rPr>
              <a:t>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II 00I 00II   0I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 0  0I II   </a:t>
            </a:r>
          </a:p>
          <a:p>
            <a:r>
              <a:rPr lang="en-US" sz="500" dirty="0">
                <a:solidFill>
                  <a:srgbClr val="676767"/>
                </a:solidFill>
                <a:latin typeface="CiscoSans"/>
                <a:ea typeface="CiscoSans"/>
                <a:cs typeface="CiscoSans"/>
                <a:sym typeface="Arial" charset="0"/>
              </a:rPr>
              <a:t>I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0II</a:t>
            </a:r>
          </a:p>
        </p:txBody>
      </p:sp>
      <p:sp>
        <p:nvSpPr>
          <p:cNvPr id="147" name="Rectangle 15"/>
          <p:cNvSpPr>
            <a:spLocks/>
          </p:cNvSpPr>
          <p:nvPr/>
        </p:nvSpPr>
        <p:spPr bwMode="auto">
          <a:xfrm rot="16200000">
            <a:off x="3676168" y="2812004"/>
            <a:ext cx="2462213" cy="125484"/>
          </a:xfrm>
          <a:prstGeom prst="rect">
            <a:avLst/>
          </a:prstGeom>
          <a:noFill/>
          <a:ln w="12700" cap="flat">
            <a:noFill/>
            <a:miter lim="800000"/>
            <a:headEnd type="none" w="med" len="med"/>
            <a:tailEnd type="none" w="med" len="med"/>
          </a:ln>
          <a:effectLst/>
        </p:spPr>
        <p:txBody>
          <a:bodyPr vert="vert270" wrap="square" lIns="0" tIns="0" rIns="0" bIns="0">
            <a:prstTxWarp prst="textNoShape">
              <a:avLst/>
            </a:prstTxWarp>
            <a:spAutoFit/>
          </a:bodyPr>
          <a:lstStyle/>
          <a:p>
            <a:r>
              <a:rPr lang="en-US" sz="500" dirty="0">
                <a:solidFill>
                  <a:srgbClr val="676767"/>
                </a:solidFill>
                <a:latin typeface="CiscoSans"/>
                <a:ea typeface="CiscoSans"/>
                <a:cs typeface="CiscoSans"/>
                <a:sym typeface="Arial" charset="0"/>
              </a:rPr>
              <a:t>0I0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I 0I 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I0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0 I00</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II</a:t>
            </a:r>
          </a:p>
          <a:p>
            <a:r>
              <a:rPr lang="en-US" sz="500" dirty="0">
                <a:solidFill>
                  <a:srgbClr val="676767"/>
                </a:solidFill>
                <a:latin typeface="CiscoSans"/>
                <a:ea typeface="CiscoSans"/>
                <a:cs typeface="CiscoSans"/>
                <a:sym typeface="Arial" charset="0"/>
              </a:rPr>
              <a:t>II0I 000 0I000I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0</a:t>
            </a:r>
          </a:p>
          <a:p>
            <a:r>
              <a:rPr lang="en-US" sz="500" dirty="0">
                <a:solidFill>
                  <a:srgbClr val="676767"/>
                </a:solidFill>
                <a:latin typeface="CiscoSans"/>
                <a:ea typeface="CiscoSans"/>
                <a:cs typeface="CiscoSans"/>
                <a:sym typeface="Arial" charset="0"/>
              </a:rPr>
              <a:t>I0I0</a:t>
            </a:r>
          </a:p>
          <a:p>
            <a:r>
              <a:rPr lang="en-US" sz="500" dirty="0">
                <a:solidFill>
                  <a:srgbClr val="676767"/>
                </a:solidFill>
                <a:latin typeface="CiscoSans"/>
                <a:ea typeface="CiscoSans"/>
                <a:cs typeface="CiscoSans"/>
                <a:sym typeface="Arial" charset="0"/>
              </a:rPr>
              <a:t>0I0 000  </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II0</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 I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I I 00I</a:t>
            </a:r>
          </a:p>
          <a:p>
            <a:r>
              <a:rPr lang="en-US" sz="500" dirty="0">
                <a:solidFill>
                  <a:srgbClr val="676767"/>
                </a:solidFill>
                <a:latin typeface="CiscoSans"/>
                <a:ea typeface="CiscoSans"/>
                <a:cs typeface="CiscoSans"/>
                <a:sym typeface="Arial" charset="0"/>
              </a:rPr>
              <a:t>0I0</a:t>
            </a:r>
          </a:p>
          <a:p>
            <a:r>
              <a:rPr lang="en-US" sz="500" dirty="0">
                <a:solidFill>
                  <a:srgbClr val="676767"/>
                </a:solidFill>
                <a:latin typeface="CiscoSans"/>
                <a:ea typeface="CiscoSans"/>
                <a:cs typeface="CiscoSans"/>
                <a:sym typeface="Arial" charset="0"/>
              </a:rPr>
              <a:t>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I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II 00I 00II   0I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I0 0  0I II   </a:t>
            </a:r>
          </a:p>
          <a:p>
            <a:r>
              <a:rPr lang="en-US" sz="500" dirty="0">
                <a:solidFill>
                  <a:srgbClr val="676767"/>
                </a:solidFill>
                <a:latin typeface="CiscoSans"/>
                <a:ea typeface="CiscoSans"/>
                <a:cs typeface="CiscoSans"/>
                <a:sym typeface="Arial" charset="0"/>
              </a:rPr>
              <a:t>I00I</a:t>
            </a:r>
            <a:br>
              <a:rPr lang="en-US" sz="500" dirty="0">
                <a:solidFill>
                  <a:srgbClr val="676767"/>
                </a:solidFill>
                <a:latin typeface="CiscoSans"/>
                <a:ea typeface="CiscoSans"/>
                <a:cs typeface="CiscoSans"/>
                <a:sym typeface="Arial" charset="0"/>
              </a:rPr>
            </a:br>
            <a:r>
              <a:rPr lang="en-US" sz="500" dirty="0">
                <a:solidFill>
                  <a:srgbClr val="676767"/>
                </a:solidFill>
                <a:latin typeface="CiscoSans"/>
                <a:ea typeface="CiscoSans"/>
                <a:cs typeface="CiscoSans"/>
                <a:sym typeface="Arial" charset="0"/>
              </a:rPr>
              <a:t>00II</a:t>
            </a:r>
          </a:p>
        </p:txBody>
      </p:sp>
      <p:sp>
        <p:nvSpPr>
          <p:cNvPr id="85" name="Rectangle 84"/>
          <p:cNvSpPr/>
          <p:nvPr/>
        </p:nvSpPr>
        <p:spPr>
          <a:xfrm>
            <a:off x="4383577" y="2493817"/>
            <a:ext cx="1034408" cy="240030"/>
          </a:xfrm>
          <a:prstGeom prst="rect">
            <a:avLst/>
          </a:prstGeom>
          <a:solidFill>
            <a:srgbClr val="F2F2F2"/>
          </a:solidFill>
          <a:ln>
            <a:noFill/>
          </a:ln>
          <a:effectLst/>
        </p:spPr>
        <p:style>
          <a:lnRef idx="1">
            <a:schemeClr val="accent4"/>
          </a:lnRef>
          <a:fillRef idx="3">
            <a:schemeClr val="accent4"/>
          </a:fillRef>
          <a:effectRef idx="2">
            <a:schemeClr val="accent4"/>
          </a:effectRef>
          <a:fontRef idx="minor">
            <a:schemeClr val="lt1"/>
          </a:fontRef>
        </p:style>
        <p:txBody>
          <a:bodyPr wrap="square" lIns="68580" tIns="34290" rIns="68580" bIns="34290" rtlCol="0" anchor="ctr">
            <a:noAutofit/>
          </a:bodyPr>
          <a:lstStyle/>
          <a:p>
            <a:pPr algn="ctr" defTabSz="457178">
              <a:defRPr/>
            </a:pPr>
            <a:r>
              <a:rPr lang="ja-JP" altLang="en-US" sz="900" b="1" kern="0" dirty="0">
                <a:solidFill>
                  <a:srgbClr val="217EA8"/>
                </a:solidFill>
                <a:latin typeface="CiscoSansTT Light"/>
              </a:rPr>
              <a:t>ウェブ</a:t>
            </a:r>
            <a:r>
              <a:rPr lang="en-US" altLang="ja-JP" sz="900" b="1" kern="0" dirty="0">
                <a:solidFill>
                  <a:srgbClr val="217EA8"/>
                </a:solidFill>
                <a:latin typeface="CiscoSansTT Light"/>
              </a:rPr>
              <a:t/>
            </a:r>
            <a:br>
              <a:rPr lang="en-US" altLang="ja-JP" sz="900" b="1" kern="0" dirty="0">
                <a:solidFill>
                  <a:srgbClr val="217EA8"/>
                </a:solidFill>
                <a:latin typeface="CiscoSansTT Light"/>
              </a:rPr>
            </a:br>
            <a:r>
              <a:rPr lang="ja-JP" altLang="en-US" sz="900" b="1" kern="0" dirty="0">
                <a:solidFill>
                  <a:srgbClr val="217EA8"/>
                </a:solidFill>
                <a:latin typeface="CiscoSansTT Light"/>
              </a:rPr>
              <a:t>レピュテーション</a:t>
            </a:r>
            <a:endParaRPr lang="en-US" sz="900" b="1" kern="0" dirty="0">
              <a:solidFill>
                <a:srgbClr val="217EA8"/>
              </a:solidFill>
              <a:latin typeface="CiscoSansTT Light"/>
            </a:endParaRPr>
          </a:p>
        </p:txBody>
      </p:sp>
      <p:grpSp>
        <p:nvGrpSpPr>
          <p:cNvPr id="78" name="Group 77"/>
          <p:cNvGrpSpPr/>
          <p:nvPr/>
        </p:nvGrpSpPr>
        <p:grpSpPr>
          <a:xfrm>
            <a:off x="4799646" y="2162854"/>
            <a:ext cx="256032" cy="256032"/>
            <a:chOff x="2546889" y="1510755"/>
            <a:chExt cx="256032" cy="256032"/>
          </a:xfrm>
        </p:grpSpPr>
        <p:sp>
          <p:nvSpPr>
            <p:cNvPr id="79" name="Oval 78"/>
            <p:cNvSpPr/>
            <p:nvPr/>
          </p:nvSpPr>
          <p:spPr bwMode="auto">
            <a:xfrm>
              <a:off x="2546889" y="1510755"/>
              <a:ext cx="256032" cy="256032"/>
            </a:xfrm>
            <a:prstGeom prst="ellipse">
              <a:avLst/>
            </a:prstGeom>
            <a:noFill/>
            <a:ln w="12700" cap="flat">
              <a:noFill/>
              <a:miter lim="800000"/>
              <a:headEnd type="none" w="med" len="med"/>
              <a:tailEnd type="none" w="med" len="med"/>
            </a:ln>
          </p:spPr>
          <p:txBody>
            <a:bodyPr lIns="91440" tIns="45720" rIns="91440" bIns="45720" rtlCol="0" anchor="ctr"/>
            <a:lstStyle/>
            <a:p>
              <a:pPr algn="ctr" defTabSz="514337"/>
              <a:endParaRPr lang="en-US" sz="1400" dirty="0" err="1">
                <a:solidFill>
                  <a:srgbClr val="FFFFFF"/>
                </a:solidFill>
                <a:ea typeface="Arial" pitchFamily="-107" charset="0"/>
                <a:cs typeface="Arial" pitchFamily="-107" charset="0"/>
                <a:sym typeface="Arial" pitchFamily="-107" charset="0"/>
              </a:endParaRPr>
            </a:p>
          </p:txBody>
        </p:sp>
        <p:sp>
          <p:nvSpPr>
            <p:cNvPr id="80" name="&quot;No&quot; Symbol 79"/>
            <p:cNvSpPr/>
            <p:nvPr/>
          </p:nvSpPr>
          <p:spPr bwMode="auto">
            <a:xfrm>
              <a:off x="2546889" y="1510755"/>
              <a:ext cx="256032" cy="256032"/>
            </a:xfrm>
            <a:prstGeom prst="noSmoking">
              <a:avLst>
                <a:gd name="adj" fmla="val 11424"/>
              </a:avLst>
            </a:prstGeom>
            <a:solidFill>
              <a:srgbClr val="D81F28"/>
            </a:solidFill>
            <a:ln w="12700" cap="flat">
              <a:noFill/>
              <a:miter lim="800000"/>
              <a:headEnd type="none" w="med" len="med"/>
              <a:tailEnd type="none" w="med" len="med"/>
            </a:ln>
          </p:spPr>
          <p:txBody>
            <a:bodyPr lIns="91440" tIns="45720" rIns="91440" bIns="45720" rtlCol="0" anchor="ctr"/>
            <a:lstStyle/>
            <a:p>
              <a:pPr algn="ctr" defTabSz="514337"/>
              <a:endParaRPr lang="en-US" sz="1400" dirty="0" err="1">
                <a:solidFill>
                  <a:srgbClr val="FFFFFF"/>
                </a:solidFill>
                <a:ea typeface="Arial" pitchFamily="-107" charset="0"/>
                <a:cs typeface="Arial" pitchFamily="-107" charset="0"/>
                <a:sym typeface="Arial" pitchFamily="-107" charset="0"/>
              </a:endParaRPr>
            </a:p>
          </p:txBody>
        </p:sp>
      </p:grpSp>
      <p:grpSp>
        <p:nvGrpSpPr>
          <p:cNvPr id="28" name="Group 27"/>
          <p:cNvGrpSpPr/>
          <p:nvPr/>
        </p:nvGrpSpPr>
        <p:grpSpPr>
          <a:xfrm>
            <a:off x="7198807" y="4129658"/>
            <a:ext cx="222072" cy="69134"/>
            <a:chOff x="9598409" y="5506210"/>
            <a:chExt cx="296096" cy="92179"/>
          </a:xfrm>
        </p:grpSpPr>
        <p:sp>
          <p:nvSpPr>
            <p:cNvPr id="25" name="Rectangle 24"/>
            <p:cNvSpPr/>
            <p:nvPr/>
          </p:nvSpPr>
          <p:spPr>
            <a:xfrm>
              <a:off x="9659617" y="5506210"/>
              <a:ext cx="234888" cy="92179"/>
            </a:xfrm>
            <a:prstGeom prst="rect">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6" name="Rectangle 25"/>
            <p:cNvSpPr/>
            <p:nvPr/>
          </p:nvSpPr>
          <p:spPr>
            <a:xfrm>
              <a:off x="9598409" y="5517962"/>
              <a:ext cx="54954" cy="68675"/>
            </a:xfrm>
            <a:prstGeom prst="rect">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nvGrpSpPr>
          <p:cNvPr id="34" name="Group 319"/>
          <p:cNvGrpSpPr/>
          <p:nvPr/>
        </p:nvGrpSpPr>
        <p:grpSpPr>
          <a:xfrm>
            <a:off x="5289248" y="3011503"/>
            <a:ext cx="344483" cy="277856"/>
            <a:chOff x="8438466" y="4660424"/>
            <a:chExt cx="418048" cy="331055"/>
          </a:xfrm>
        </p:grpSpPr>
        <p:sp>
          <p:nvSpPr>
            <p:cNvPr id="32" name="Flowchart: Manual Operation 31"/>
            <p:cNvSpPr/>
            <p:nvPr/>
          </p:nvSpPr>
          <p:spPr>
            <a:xfrm>
              <a:off x="8438466" y="4693770"/>
              <a:ext cx="418048" cy="29770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221"/>
                <a:gd name="connsiteX1" fmla="*/ 10000 w 10000"/>
                <a:gd name="connsiteY1" fmla="*/ 0 h 10221"/>
                <a:gd name="connsiteX2" fmla="*/ 8000 w 10000"/>
                <a:gd name="connsiteY2" fmla="*/ 10000 h 10221"/>
                <a:gd name="connsiteX3" fmla="*/ 2000 w 10000"/>
                <a:gd name="connsiteY3" fmla="*/ 10000 h 10221"/>
                <a:gd name="connsiteX4" fmla="*/ 0 w 10000"/>
                <a:gd name="connsiteY4" fmla="*/ 0 h 10221"/>
                <a:gd name="connsiteX0" fmla="*/ 0 w 10000"/>
                <a:gd name="connsiteY0" fmla="*/ 0 h 10405"/>
                <a:gd name="connsiteX1" fmla="*/ 10000 w 10000"/>
                <a:gd name="connsiteY1" fmla="*/ 0 h 10405"/>
                <a:gd name="connsiteX2" fmla="*/ 8000 w 10000"/>
                <a:gd name="connsiteY2" fmla="*/ 10000 h 10405"/>
                <a:gd name="connsiteX3" fmla="*/ 2000 w 10000"/>
                <a:gd name="connsiteY3" fmla="*/ 10000 h 10405"/>
                <a:gd name="connsiteX4" fmla="*/ 0 w 10000"/>
                <a:gd name="connsiteY4" fmla="*/ 0 h 10405"/>
                <a:gd name="connsiteX0" fmla="*/ 0 w 10000"/>
                <a:gd name="connsiteY0" fmla="*/ 0 h 10467"/>
                <a:gd name="connsiteX1" fmla="*/ 10000 w 10000"/>
                <a:gd name="connsiteY1" fmla="*/ 0 h 10467"/>
                <a:gd name="connsiteX2" fmla="*/ 8000 w 10000"/>
                <a:gd name="connsiteY2" fmla="*/ 10000 h 10467"/>
                <a:gd name="connsiteX3" fmla="*/ 2000 w 10000"/>
                <a:gd name="connsiteY3" fmla="*/ 10000 h 10467"/>
                <a:gd name="connsiteX4" fmla="*/ 0 w 10000"/>
                <a:gd name="connsiteY4" fmla="*/ 0 h 10467"/>
                <a:gd name="connsiteX0" fmla="*/ 0 w 10000"/>
                <a:gd name="connsiteY0" fmla="*/ 0 h 10535"/>
                <a:gd name="connsiteX1" fmla="*/ 10000 w 10000"/>
                <a:gd name="connsiteY1" fmla="*/ 0 h 10535"/>
                <a:gd name="connsiteX2" fmla="*/ 8000 w 10000"/>
                <a:gd name="connsiteY2" fmla="*/ 10000 h 10535"/>
                <a:gd name="connsiteX3" fmla="*/ 2000 w 10000"/>
                <a:gd name="connsiteY3" fmla="*/ 10000 h 10535"/>
                <a:gd name="connsiteX4" fmla="*/ 0 w 10000"/>
                <a:gd name="connsiteY4" fmla="*/ 0 h 10535"/>
                <a:gd name="connsiteX0" fmla="*/ 0 w 10000"/>
                <a:gd name="connsiteY0" fmla="*/ 0 h 10569"/>
                <a:gd name="connsiteX1" fmla="*/ 10000 w 10000"/>
                <a:gd name="connsiteY1" fmla="*/ 0 h 10569"/>
                <a:gd name="connsiteX2" fmla="*/ 8000 w 10000"/>
                <a:gd name="connsiteY2" fmla="*/ 10000 h 10569"/>
                <a:gd name="connsiteX3" fmla="*/ 2000 w 10000"/>
                <a:gd name="connsiteY3" fmla="*/ 10000 h 10569"/>
                <a:gd name="connsiteX4" fmla="*/ 0 w 10000"/>
                <a:gd name="connsiteY4" fmla="*/ 0 h 10569"/>
                <a:gd name="connsiteX0" fmla="*/ 0 w 10000"/>
                <a:gd name="connsiteY0" fmla="*/ 0 h 10639"/>
                <a:gd name="connsiteX1" fmla="*/ 10000 w 10000"/>
                <a:gd name="connsiteY1" fmla="*/ 0 h 10639"/>
                <a:gd name="connsiteX2" fmla="*/ 8000 w 10000"/>
                <a:gd name="connsiteY2" fmla="*/ 10000 h 10639"/>
                <a:gd name="connsiteX3" fmla="*/ 2000 w 10000"/>
                <a:gd name="connsiteY3" fmla="*/ 10000 h 10639"/>
                <a:gd name="connsiteX4" fmla="*/ 0 w 10000"/>
                <a:gd name="connsiteY4" fmla="*/ 0 h 1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639">
                  <a:moveTo>
                    <a:pt x="0" y="0"/>
                  </a:moveTo>
                  <a:lnTo>
                    <a:pt x="10000" y="0"/>
                  </a:lnTo>
                  <a:lnTo>
                    <a:pt x="8000" y="10000"/>
                  </a:lnTo>
                  <a:cubicBezTo>
                    <a:pt x="6055" y="10937"/>
                    <a:pt x="4122" y="10763"/>
                    <a:pt x="2000" y="10000"/>
                  </a:cubicBezTo>
                  <a:lnTo>
                    <a:pt x="0" y="0"/>
                  </a:lnTo>
                  <a:close/>
                </a:path>
              </a:pathLst>
            </a:cu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FF"/>
                </a:solidFill>
              </a:endParaRPr>
            </a:p>
          </p:txBody>
        </p:sp>
        <p:sp>
          <p:nvSpPr>
            <p:cNvPr id="33" name="Oval 321"/>
            <p:cNvSpPr/>
            <p:nvPr/>
          </p:nvSpPr>
          <p:spPr>
            <a:xfrm>
              <a:off x="8438466" y="4660424"/>
              <a:ext cx="417879" cy="63532"/>
            </a:xfrm>
            <a:prstGeom prst="ellips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FF"/>
                </a:solidFill>
              </a:endParaRPr>
            </a:p>
          </p:txBody>
        </p:sp>
      </p:grpSp>
      <p:sp>
        <p:nvSpPr>
          <p:cNvPr id="92" name="Rectangle 91"/>
          <p:cNvSpPr/>
          <p:nvPr/>
        </p:nvSpPr>
        <p:spPr>
          <a:xfrm>
            <a:off x="5295831" y="3064826"/>
            <a:ext cx="381013" cy="193637"/>
          </a:xfrm>
          <a:prstGeom prst="rect">
            <a:avLst/>
          </a:prstGeom>
          <a:noFill/>
          <a:ln>
            <a:noFill/>
          </a:ln>
          <a:effectLst/>
        </p:spPr>
        <p:style>
          <a:lnRef idx="1">
            <a:schemeClr val="accent3"/>
          </a:lnRef>
          <a:fillRef idx="3">
            <a:schemeClr val="accent3"/>
          </a:fillRef>
          <a:effectRef idx="2">
            <a:schemeClr val="accent3"/>
          </a:effectRef>
          <a:fontRef idx="minor">
            <a:schemeClr val="lt1"/>
          </a:fontRef>
        </p:style>
        <p:txBody>
          <a:bodyPr lIns="54864" tIns="34290" rIns="54864" bIns="34290" rtlCol="0" anchor="ctr">
            <a:noAutofit/>
          </a:bodyPr>
          <a:lstStyle/>
          <a:p>
            <a:pPr defTabSz="457178"/>
            <a:r>
              <a:rPr lang="en-US" sz="400" kern="0" dirty="0">
                <a:solidFill>
                  <a:srgbClr val="676767">
                    <a:lumMod val="75000"/>
                  </a:srgbClr>
                </a:solidFill>
                <a:latin typeface="CiscoSansTT Light"/>
              </a:rPr>
              <a:t>Command </a:t>
            </a:r>
            <a:br>
              <a:rPr lang="en-US" sz="400" kern="0" dirty="0">
                <a:solidFill>
                  <a:srgbClr val="676767">
                    <a:lumMod val="75000"/>
                  </a:srgbClr>
                </a:solidFill>
                <a:latin typeface="CiscoSansTT Light"/>
              </a:rPr>
            </a:br>
            <a:r>
              <a:rPr lang="en-US" sz="400" kern="0" dirty="0">
                <a:solidFill>
                  <a:srgbClr val="676767">
                    <a:lumMod val="75000"/>
                  </a:srgbClr>
                </a:solidFill>
                <a:latin typeface="CiscoSansTT Light"/>
              </a:rPr>
              <a:t>&amp; Control</a:t>
            </a:r>
          </a:p>
        </p:txBody>
      </p:sp>
      <p:grpSp>
        <p:nvGrpSpPr>
          <p:cNvPr id="163" name="Group 162"/>
          <p:cNvGrpSpPr/>
          <p:nvPr/>
        </p:nvGrpSpPr>
        <p:grpSpPr>
          <a:xfrm>
            <a:off x="5166264" y="2716174"/>
            <a:ext cx="344483" cy="277856"/>
            <a:chOff x="8438466" y="4660424"/>
            <a:chExt cx="418048" cy="331055"/>
          </a:xfrm>
        </p:grpSpPr>
        <p:sp>
          <p:nvSpPr>
            <p:cNvPr id="164" name="Flowchart: Manual Operation 31"/>
            <p:cNvSpPr/>
            <p:nvPr/>
          </p:nvSpPr>
          <p:spPr>
            <a:xfrm>
              <a:off x="8438466" y="4693770"/>
              <a:ext cx="418048" cy="29770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221"/>
                <a:gd name="connsiteX1" fmla="*/ 10000 w 10000"/>
                <a:gd name="connsiteY1" fmla="*/ 0 h 10221"/>
                <a:gd name="connsiteX2" fmla="*/ 8000 w 10000"/>
                <a:gd name="connsiteY2" fmla="*/ 10000 h 10221"/>
                <a:gd name="connsiteX3" fmla="*/ 2000 w 10000"/>
                <a:gd name="connsiteY3" fmla="*/ 10000 h 10221"/>
                <a:gd name="connsiteX4" fmla="*/ 0 w 10000"/>
                <a:gd name="connsiteY4" fmla="*/ 0 h 10221"/>
                <a:gd name="connsiteX0" fmla="*/ 0 w 10000"/>
                <a:gd name="connsiteY0" fmla="*/ 0 h 10405"/>
                <a:gd name="connsiteX1" fmla="*/ 10000 w 10000"/>
                <a:gd name="connsiteY1" fmla="*/ 0 h 10405"/>
                <a:gd name="connsiteX2" fmla="*/ 8000 w 10000"/>
                <a:gd name="connsiteY2" fmla="*/ 10000 h 10405"/>
                <a:gd name="connsiteX3" fmla="*/ 2000 w 10000"/>
                <a:gd name="connsiteY3" fmla="*/ 10000 h 10405"/>
                <a:gd name="connsiteX4" fmla="*/ 0 w 10000"/>
                <a:gd name="connsiteY4" fmla="*/ 0 h 10405"/>
                <a:gd name="connsiteX0" fmla="*/ 0 w 10000"/>
                <a:gd name="connsiteY0" fmla="*/ 0 h 10467"/>
                <a:gd name="connsiteX1" fmla="*/ 10000 w 10000"/>
                <a:gd name="connsiteY1" fmla="*/ 0 h 10467"/>
                <a:gd name="connsiteX2" fmla="*/ 8000 w 10000"/>
                <a:gd name="connsiteY2" fmla="*/ 10000 h 10467"/>
                <a:gd name="connsiteX3" fmla="*/ 2000 w 10000"/>
                <a:gd name="connsiteY3" fmla="*/ 10000 h 10467"/>
                <a:gd name="connsiteX4" fmla="*/ 0 w 10000"/>
                <a:gd name="connsiteY4" fmla="*/ 0 h 10467"/>
                <a:gd name="connsiteX0" fmla="*/ 0 w 10000"/>
                <a:gd name="connsiteY0" fmla="*/ 0 h 10535"/>
                <a:gd name="connsiteX1" fmla="*/ 10000 w 10000"/>
                <a:gd name="connsiteY1" fmla="*/ 0 h 10535"/>
                <a:gd name="connsiteX2" fmla="*/ 8000 w 10000"/>
                <a:gd name="connsiteY2" fmla="*/ 10000 h 10535"/>
                <a:gd name="connsiteX3" fmla="*/ 2000 w 10000"/>
                <a:gd name="connsiteY3" fmla="*/ 10000 h 10535"/>
                <a:gd name="connsiteX4" fmla="*/ 0 w 10000"/>
                <a:gd name="connsiteY4" fmla="*/ 0 h 10535"/>
                <a:gd name="connsiteX0" fmla="*/ 0 w 10000"/>
                <a:gd name="connsiteY0" fmla="*/ 0 h 10569"/>
                <a:gd name="connsiteX1" fmla="*/ 10000 w 10000"/>
                <a:gd name="connsiteY1" fmla="*/ 0 h 10569"/>
                <a:gd name="connsiteX2" fmla="*/ 8000 w 10000"/>
                <a:gd name="connsiteY2" fmla="*/ 10000 h 10569"/>
                <a:gd name="connsiteX3" fmla="*/ 2000 w 10000"/>
                <a:gd name="connsiteY3" fmla="*/ 10000 h 10569"/>
                <a:gd name="connsiteX4" fmla="*/ 0 w 10000"/>
                <a:gd name="connsiteY4" fmla="*/ 0 h 10569"/>
                <a:gd name="connsiteX0" fmla="*/ 0 w 10000"/>
                <a:gd name="connsiteY0" fmla="*/ 0 h 10639"/>
                <a:gd name="connsiteX1" fmla="*/ 10000 w 10000"/>
                <a:gd name="connsiteY1" fmla="*/ 0 h 10639"/>
                <a:gd name="connsiteX2" fmla="*/ 8000 w 10000"/>
                <a:gd name="connsiteY2" fmla="*/ 10000 h 10639"/>
                <a:gd name="connsiteX3" fmla="*/ 2000 w 10000"/>
                <a:gd name="connsiteY3" fmla="*/ 10000 h 10639"/>
                <a:gd name="connsiteX4" fmla="*/ 0 w 10000"/>
                <a:gd name="connsiteY4" fmla="*/ 0 h 1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639">
                  <a:moveTo>
                    <a:pt x="0" y="0"/>
                  </a:moveTo>
                  <a:lnTo>
                    <a:pt x="10000" y="0"/>
                  </a:lnTo>
                  <a:lnTo>
                    <a:pt x="8000" y="10000"/>
                  </a:lnTo>
                  <a:cubicBezTo>
                    <a:pt x="6055" y="10937"/>
                    <a:pt x="4122" y="10763"/>
                    <a:pt x="2000" y="10000"/>
                  </a:cubicBezTo>
                  <a:lnTo>
                    <a:pt x="0" y="0"/>
                  </a:lnTo>
                  <a:close/>
                </a:path>
              </a:pathLst>
            </a:cu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FF"/>
                </a:solidFill>
              </a:endParaRPr>
            </a:p>
          </p:txBody>
        </p:sp>
        <p:sp>
          <p:nvSpPr>
            <p:cNvPr id="165" name="Oval 164"/>
            <p:cNvSpPr/>
            <p:nvPr/>
          </p:nvSpPr>
          <p:spPr>
            <a:xfrm>
              <a:off x="8438466" y="4660424"/>
              <a:ext cx="417879" cy="63532"/>
            </a:xfrm>
            <a:prstGeom prst="ellips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FF"/>
                </a:solidFill>
              </a:endParaRPr>
            </a:p>
          </p:txBody>
        </p:sp>
      </p:grpSp>
      <p:sp>
        <p:nvSpPr>
          <p:cNvPr id="89" name="Rectangle 88"/>
          <p:cNvSpPr/>
          <p:nvPr/>
        </p:nvSpPr>
        <p:spPr>
          <a:xfrm>
            <a:off x="5185301" y="2710555"/>
            <a:ext cx="384857" cy="321476"/>
          </a:xfrm>
          <a:prstGeom prst="rect">
            <a:avLst/>
          </a:prstGeom>
          <a:noFill/>
          <a:ln>
            <a:noFill/>
          </a:ln>
          <a:effectLst/>
        </p:spPr>
        <p:style>
          <a:lnRef idx="1">
            <a:schemeClr val="accent3"/>
          </a:lnRef>
          <a:fillRef idx="3">
            <a:schemeClr val="accent3"/>
          </a:fillRef>
          <a:effectRef idx="2">
            <a:schemeClr val="accent3"/>
          </a:effectRef>
          <a:fontRef idx="minor">
            <a:schemeClr val="lt1"/>
          </a:fontRef>
        </p:style>
        <p:txBody>
          <a:bodyPr lIns="54864" tIns="34290" rIns="54864" bIns="34290" rtlCol="0" anchor="ctr">
            <a:noAutofit/>
          </a:bodyPr>
          <a:lstStyle/>
          <a:p>
            <a:pPr defTabSz="457178">
              <a:defRPr/>
            </a:pPr>
            <a:r>
              <a:rPr lang="en-US" sz="400" kern="0" dirty="0">
                <a:solidFill>
                  <a:srgbClr val="676767">
                    <a:lumMod val="75000"/>
                  </a:srgbClr>
                </a:solidFill>
                <a:latin typeface="CiscoSansTT Light"/>
              </a:rPr>
              <a:t>Domain </a:t>
            </a:r>
            <a:br>
              <a:rPr lang="en-US" sz="400" kern="0" dirty="0">
                <a:solidFill>
                  <a:srgbClr val="676767">
                    <a:lumMod val="75000"/>
                  </a:srgbClr>
                </a:solidFill>
                <a:latin typeface="CiscoSansTT Light"/>
              </a:rPr>
            </a:br>
            <a:r>
              <a:rPr lang="en-US" sz="400" kern="0" dirty="0">
                <a:solidFill>
                  <a:srgbClr val="676767">
                    <a:lumMod val="75000"/>
                  </a:srgbClr>
                </a:solidFill>
                <a:latin typeface="CiscoSansTT Light"/>
              </a:rPr>
              <a:t>Generated </a:t>
            </a:r>
            <a:br>
              <a:rPr lang="en-US" sz="400" kern="0" dirty="0">
                <a:solidFill>
                  <a:srgbClr val="676767">
                    <a:lumMod val="75000"/>
                  </a:srgbClr>
                </a:solidFill>
                <a:latin typeface="CiscoSansTT Light"/>
              </a:rPr>
            </a:br>
            <a:r>
              <a:rPr lang="en-US" sz="400" kern="0" dirty="0">
                <a:solidFill>
                  <a:srgbClr val="676767">
                    <a:lumMod val="75000"/>
                  </a:srgbClr>
                </a:solidFill>
                <a:latin typeface="CiscoSansTT Light"/>
              </a:rPr>
              <a:t>Algorithm</a:t>
            </a:r>
          </a:p>
        </p:txBody>
      </p:sp>
      <p:sp>
        <p:nvSpPr>
          <p:cNvPr id="73" name="Rectangle 72"/>
          <p:cNvSpPr/>
          <p:nvPr/>
        </p:nvSpPr>
        <p:spPr>
          <a:xfrm>
            <a:off x="5179298" y="3350888"/>
            <a:ext cx="699516" cy="165184"/>
          </a:xfrm>
          <a:prstGeom prst="rect">
            <a:avLst/>
          </a:prstGeom>
          <a:solidFill>
            <a:srgbClr val="F2F2F2"/>
          </a:solidFill>
          <a:ln>
            <a:noFill/>
          </a:ln>
          <a:effectLst/>
        </p:spPr>
        <p:style>
          <a:lnRef idx="1">
            <a:schemeClr val="accent3"/>
          </a:lnRef>
          <a:fillRef idx="3">
            <a:schemeClr val="accent3"/>
          </a:fillRef>
          <a:effectRef idx="2">
            <a:schemeClr val="accent3"/>
          </a:effectRef>
          <a:fontRef idx="minor">
            <a:schemeClr val="lt1"/>
          </a:fontRef>
        </p:style>
        <p:txBody>
          <a:bodyPr lIns="91438" tIns="45719" rIns="91438" bIns="45719" rtlCol="0" anchor="ctr">
            <a:noAutofit/>
          </a:bodyPr>
          <a:lstStyle/>
          <a:p>
            <a:pPr algn="ctr"/>
            <a:r>
              <a:rPr lang="en-US" sz="1200" b="1" dirty="0">
                <a:solidFill>
                  <a:srgbClr val="217EA8"/>
                </a:solidFill>
              </a:rPr>
              <a:t>CTA</a:t>
            </a:r>
          </a:p>
        </p:txBody>
      </p:sp>
      <p:grpSp>
        <p:nvGrpSpPr>
          <p:cNvPr id="160" name="Group 325"/>
          <p:cNvGrpSpPr/>
          <p:nvPr/>
        </p:nvGrpSpPr>
        <p:grpSpPr>
          <a:xfrm>
            <a:off x="5575130" y="2761345"/>
            <a:ext cx="344483" cy="277856"/>
            <a:chOff x="8438466" y="4660424"/>
            <a:chExt cx="418048" cy="331055"/>
          </a:xfrm>
        </p:grpSpPr>
        <p:sp>
          <p:nvSpPr>
            <p:cNvPr id="161" name="Flowchart: Manual Operation 31"/>
            <p:cNvSpPr/>
            <p:nvPr/>
          </p:nvSpPr>
          <p:spPr>
            <a:xfrm>
              <a:off x="8438466" y="4693770"/>
              <a:ext cx="418048" cy="29770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221"/>
                <a:gd name="connsiteX1" fmla="*/ 10000 w 10000"/>
                <a:gd name="connsiteY1" fmla="*/ 0 h 10221"/>
                <a:gd name="connsiteX2" fmla="*/ 8000 w 10000"/>
                <a:gd name="connsiteY2" fmla="*/ 10000 h 10221"/>
                <a:gd name="connsiteX3" fmla="*/ 2000 w 10000"/>
                <a:gd name="connsiteY3" fmla="*/ 10000 h 10221"/>
                <a:gd name="connsiteX4" fmla="*/ 0 w 10000"/>
                <a:gd name="connsiteY4" fmla="*/ 0 h 10221"/>
                <a:gd name="connsiteX0" fmla="*/ 0 w 10000"/>
                <a:gd name="connsiteY0" fmla="*/ 0 h 10405"/>
                <a:gd name="connsiteX1" fmla="*/ 10000 w 10000"/>
                <a:gd name="connsiteY1" fmla="*/ 0 h 10405"/>
                <a:gd name="connsiteX2" fmla="*/ 8000 w 10000"/>
                <a:gd name="connsiteY2" fmla="*/ 10000 h 10405"/>
                <a:gd name="connsiteX3" fmla="*/ 2000 w 10000"/>
                <a:gd name="connsiteY3" fmla="*/ 10000 h 10405"/>
                <a:gd name="connsiteX4" fmla="*/ 0 w 10000"/>
                <a:gd name="connsiteY4" fmla="*/ 0 h 10405"/>
                <a:gd name="connsiteX0" fmla="*/ 0 w 10000"/>
                <a:gd name="connsiteY0" fmla="*/ 0 h 10467"/>
                <a:gd name="connsiteX1" fmla="*/ 10000 w 10000"/>
                <a:gd name="connsiteY1" fmla="*/ 0 h 10467"/>
                <a:gd name="connsiteX2" fmla="*/ 8000 w 10000"/>
                <a:gd name="connsiteY2" fmla="*/ 10000 h 10467"/>
                <a:gd name="connsiteX3" fmla="*/ 2000 w 10000"/>
                <a:gd name="connsiteY3" fmla="*/ 10000 h 10467"/>
                <a:gd name="connsiteX4" fmla="*/ 0 w 10000"/>
                <a:gd name="connsiteY4" fmla="*/ 0 h 10467"/>
                <a:gd name="connsiteX0" fmla="*/ 0 w 10000"/>
                <a:gd name="connsiteY0" fmla="*/ 0 h 10535"/>
                <a:gd name="connsiteX1" fmla="*/ 10000 w 10000"/>
                <a:gd name="connsiteY1" fmla="*/ 0 h 10535"/>
                <a:gd name="connsiteX2" fmla="*/ 8000 w 10000"/>
                <a:gd name="connsiteY2" fmla="*/ 10000 h 10535"/>
                <a:gd name="connsiteX3" fmla="*/ 2000 w 10000"/>
                <a:gd name="connsiteY3" fmla="*/ 10000 h 10535"/>
                <a:gd name="connsiteX4" fmla="*/ 0 w 10000"/>
                <a:gd name="connsiteY4" fmla="*/ 0 h 10535"/>
                <a:gd name="connsiteX0" fmla="*/ 0 w 10000"/>
                <a:gd name="connsiteY0" fmla="*/ 0 h 10569"/>
                <a:gd name="connsiteX1" fmla="*/ 10000 w 10000"/>
                <a:gd name="connsiteY1" fmla="*/ 0 h 10569"/>
                <a:gd name="connsiteX2" fmla="*/ 8000 w 10000"/>
                <a:gd name="connsiteY2" fmla="*/ 10000 h 10569"/>
                <a:gd name="connsiteX3" fmla="*/ 2000 w 10000"/>
                <a:gd name="connsiteY3" fmla="*/ 10000 h 10569"/>
                <a:gd name="connsiteX4" fmla="*/ 0 w 10000"/>
                <a:gd name="connsiteY4" fmla="*/ 0 h 10569"/>
                <a:gd name="connsiteX0" fmla="*/ 0 w 10000"/>
                <a:gd name="connsiteY0" fmla="*/ 0 h 10639"/>
                <a:gd name="connsiteX1" fmla="*/ 10000 w 10000"/>
                <a:gd name="connsiteY1" fmla="*/ 0 h 10639"/>
                <a:gd name="connsiteX2" fmla="*/ 8000 w 10000"/>
                <a:gd name="connsiteY2" fmla="*/ 10000 h 10639"/>
                <a:gd name="connsiteX3" fmla="*/ 2000 w 10000"/>
                <a:gd name="connsiteY3" fmla="*/ 10000 h 10639"/>
                <a:gd name="connsiteX4" fmla="*/ 0 w 10000"/>
                <a:gd name="connsiteY4" fmla="*/ 0 h 106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639">
                  <a:moveTo>
                    <a:pt x="0" y="0"/>
                  </a:moveTo>
                  <a:lnTo>
                    <a:pt x="10000" y="0"/>
                  </a:lnTo>
                  <a:lnTo>
                    <a:pt x="8000" y="10000"/>
                  </a:lnTo>
                  <a:cubicBezTo>
                    <a:pt x="6055" y="10937"/>
                    <a:pt x="4122" y="10763"/>
                    <a:pt x="2000" y="10000"/>
                  </a:cubicBezTo>
                  <a:lnTo>
                    <a:pt x="0" y="0"/>
                  </a:lnTo>
                  <a:close/>
                </a:path>
              </a:pathLst>
            </a:cu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FF"/>
                </a:solidFill>
              </a:endParaRPr>
            </a:p>
          </p:txBody>
        </p:sp>
        <p:sp>
          <p:nvSpPr>
            <p:cNvPr id="162" name="Oval 327"/>
            <p:cNvSpPr/>
            <p:nvPr/>
          </p:nvSpPr>
          <p:spPr>
            <a:xfrm>
              <a:off x="8438466" y="4660424"/>
              <a:ext cx="417879" cy="63532"/>
            </a:xfrm>
            <a:prstGeom prst="ellips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solidFill>
                  <a:srgbClr val="FFFFFF"/>
                </a:solidFill>
              </a:endParaRPr>
            </a:p>
          </p:txBody>
        </p:sp>
      </p:grpSp>
      <p:sp>
        <p:nvSpPr>
          <p:cNvPr id="91" name="Rectangle 90"/>
          <p:cNvSpPr/>
          <p:nvPr/>
        </p:nvSpPr>
        <p:spPr>
          <a:xfrm>
            <a:off x="5579562" y="2817408"/>
            <a:ext cx="363927" cy="177551"/>
          </a:xfrm>
          <a:prstGeom prst="rect">
            <a:avLst/>
          </a:prstGeom>
          <a:noFill/>
          <a:ln>
            <a:noFill/>
          </a:ln>
          <a:effectLst/>
        </p:spPr>
        <p:style>
          <a:lnRef idx="1">
            <a:schemeClr val="accent3"/>
          </a:lnRef>
          <a:fillRef idx="3">
            <a:schemeClr val="accent3"/>
          </a:fillRef>
          <a:effectRef idx="2">
            <a:schemeClr val="accent3"/>
          </a:effectRef>
          <a:fontRef idx="minor">
            <a:schemeClr val="lt1"/>
          </a:fontRef>
        </p:style>
        <p:txBody>
          <a:bodyPr lIns="54864" tIns="34290" rIns="54864" bIns="34290" rtlCol="0" anchor="ctr">
            <a:noAutofit/>
          </a:bodyPr>
          <a:lstStyle/>
          <a:p>
            <a:pPr defTabSz="457178"/>
            <a:r>
              <a:rPr lang="en-US" sz="400" kern="0" dirty="0">
                <a:solidFill>
                  <a:srgbClr val="676767">
                    <a:lumMod val="75000"/>
                  </a:srgbClr>
                </a:solidFill>
                <a:latin typeface="CiscoSansTT Light"/>
              </a:rPr>
              <a:t>Tunneling</a:t>
            </a:r>
          </a:p>
        </p:txBody>
      </p:sp>
      <p:sp>
        <p:nvSpPr>
          <p:cNvPr id="145" name="Rectangle 15"/>
          <p:cNvSpPr>
            <a:spLocks/>
          </p:cNvSpPr>
          <p:nvPr/>
        </p:nvSpPr>
        <p:spPr bwMode="auto">
          <a:xfrm>
            <a:off x="5741669" y="3430934"/>
            <a:ext cx="1832615" cy="76944"/>
          </a:xfrm>
          <a:prstGeom prst="rect">
            <a:avLst/>
          </a:prstGeom>
          <a:noFill/>
          <a:ln w="12700" cap="flat">
            <a:noFill/>
            <a:miter lim="800000"/>
            <a:headEnd type="none" w="med" len="med"/>
            <a:tailEnd type="none" w="med" len="med"/>
          </a:ln>
          <a:effectLst/>
        </p:spPr>
        <p:txBody>
          <a:bodyPr wrap="square" lIns="0" tIns="0" rIns="0" bIns="0">
            <a:prstTxWarp prst="textNoShape">
              <a:avLst/>
            </a:prstTxWarp>
            <a:spAutoFit/>
          </a:bodyPr>
          <a:lstStyle/>
          <a:p>
            <a:r>
              <a:rPr lang="en-US" sz="500" dirty="0">
                <a:solidFill>
                  <a:srgbClr val="676767"/>
                </a:solidFill>
                <a:latin typeface="CiscoSans"/>
                <a:ea typeface="CiscoSans"/>
                <a:cs typeface="CiscoSans"/>
                <a:sym typeface="Arial" charset="0"/>
              </a:rPr>
              <a:t>0I000III  0I00  II 0I I0000 III000II0 0II0I 00I 0I00 00II 0000I </a:t>
            </a:r>
          </a:p>
        </p:txBody>
      </p:sp>
      <p:sp>
        <p:nvSpPr>
          <p:cNvPr id="167" name="Rectangle 166" hidden="1"/>
          <p:cNvSpPr/>
          <p:nvPr/>
        </p:nvSpPr>
        <p:spPr>
          <a:xfrm>
            <a:off x="404614" y="2583421"/>
            <a:ext cx="2550394" cy="1961520"/>
          </a:xfrm>
          <a:prstGeom prst="rect">
            <a:avLst/>
          </a:prstGeom>
          <a:solidFill>
            <a:schemeClr val="bg1">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IN" dirty="0" smtClean="0">
              <a:solidFill>
                <a:srgbClr val="FFFFFF"/>
              </a:solidFill>
            </a:endParaRPr>
          </a:p>
        </p:txBody>
      </p:sp>
      <p:sp>
        <p:nvSpPr>
          <p:cNvPr id="335" name="malware"/>
          <p:cNvSpPr>
            <a:spLocks noChangeAspect="1" noEditPoints="1"/>
          </p:cNvSpPr>
          <p:nvPr/>
        </p:nvSpPr>
        <p:spPr bwMode="auto">
          <a:xfrm>
            <a:off x="5166908" y="3228263"/>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336" name="malware"/>
          <p:cNvSpPr>
            <a:spLocks noChangeAspect="1" noEditPoints="1"/>
          </p:cNvSpPr>
          <p:nvPr/>
        </p:nvSpPr>
        <p:spPr bwMode="auto">
          <a:xfrm>
            <a:off x="5658299" y="3212740"/>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337" name="malware"/>
          <p:cNvSpPr>
            <a:spLocks noChangeAspect="1" noEditPoints="1"/>
          </p:cNvSpPr>
          <p:nvPr/>
        </p:nvSpPr>
        <p:spPr bwMode="auto">
          <a:xfrm>
            <a:off x="5424038" y="3227480"/>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126" name="malware"/>
          <p:cNvSpPr>
            <a:spLocks noChangeAspect="1" noEditPoints="1"/>
          </p:cNvSpPr>
          <p:nvPr/>
        </p:nvSpPr>
        <p:spPr bwMode="auto">
          <a:xfrm>
            <a:off x="5453936" y="4212482"/>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333" name="malware"/>
          <p:cNvSpPr>
            <a:spLocks noChangeAspect="1" noEditPoints="1"/>
          </p:cNvSpPr>
          <p:nvPr/>
        </p:nvSpPr>
        <p:spPr bwMode="auto">
          <a:xfrm>
            <a:off x="5453936" y="4212482"/>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334" name="malware"/>
          <p:cNvSpPr>
            <a:spLocks noChangeAspect="1" noEditPoints="1"/>
          </p:cNvSpPr>
          <p:nvPr/>
        </p:nvSpPr>
        <p:spPr bwMode="auto">
          <a:xfrm>
            <a:off x="5453936" y="4212482"/>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grpSp>
        <p:nvGrpSpPr>
          <p:cNvPr id="171" name="Group 170"/>
          <p:cNvGrpSpPr/>
          <p:nvPr/>
        </p:nvGrpSpPr>
        <p:grpSpPr>
          <a:xfrm>
            <a:off x="7192259" y="4225597"/>
            <a:ext cx="237299" cy="169092"/>
            <a:chOff x="5152458" y="5408224"/>
            <a:chExt cx="369522" cy="213398"/>
          </a:xfrm>
          <a:solidFill>
            <a:schemeClr val="tx1"/>
          </a:solidFill>
        </p:grpSpPr>
        <p:sp>
          <p:nvSpPr>
            <p:cNvPr id="172" name="Full Process - envelope fly out"/>
            <p:cNvSpPr>
              <a:spLocks noChangeAspect="1"/>
            </p:cNvSpPr>
            <p:nvPr/>
          </p:nvSpPr>
          <p:spPr bwMode="auto">
            <a:xfrm>
              <a:off x="5172670" y="5408224"/>
              <a:ext cx="331620" cy="121070"/>
            </a:xfrm>
            <a:custGeom>
              <a:avLst/>
              <a:gdLst>
                <a:gd name="T0" fmla="*/ 854 w 1896"/>
                <a:gd name="T1" fmla="*/ 657 h 689"/>
                <a:gd name="T2" fmla="*/ 854 w 1896"/>
                <a:gd name="T3" fmla="*/ 657 h 689"/>
                <a:gd name="T4" fmla="*/ 864 w 1896"/>
                <a:gd name="T5" fmla="*/ 664 h 689"/>
                <a:gd name="T6" fmla="*/ 875 w 1896"/>
                <a:gd name="T7" fmla="*/ 671 h 689"/>
                <a:gd name="T8" fmla="*/ 886 w 1896"/>
                <a:gd name="T9" fmla="*/ 676 h 689"/>
                <a:gd name="T10" fmla="*/ 898 w 1896"/>
                <a:gd name="T11" fmla="*/ 681 h 689"/>
                <a:gd name="T12" fmla="*/ 911 w 1896"/>
                <a:gd name="T13" fmla="*/ 684 h 689"/>
                <a:gd name="T14" fmla="*/ 923 w 1896"/>
                <a:gd name="T15" fmla="*/ 687 h 689"/>
                <a:gd name="T16" fmla="*/ 936 w 1896"/>
                <a:gd name="T17" fmla="*/ 688 h 689"/>
                <a:gd name="T18" fmla="*/ 949 w 1896"/>
                <a:gd name="T19" fmla="*/ 689 h 689"/>
                <a:gd name="T20" fmla="*/ 949 w 1896"/>
                <a:gd name="T21" fmla="*/ 689 h 689"/>
                <a:gd name="T22" fmla="*/ 961 w 1896"/>
                <a:gd name="T23" fmla="*/ 688 h 689"/>
                <a:gd name="T24" fmla="*/ 975 w 1896"/>
                <a:gd name="T25" fmla="*/ 687 h 689"/>
                <a:gd name="T26" fmla="*/ 988 w 1896"/>
                <a:gd name="T27" fmla="*/ 683 h 689"/>
                <a:gd name="T28" fmla="*/ 1001 w 1896"/>
                <a:gd name="T29" fmla="*/ 680 h 689"/>
                <a:gd name="T30" fmla="*/ 1012 w 1896"/>
                <a:gd name="T31" fmla="*/ 675 h 689"/>
                <a:gd name="T32" fmla="*/ 1025 w 1896"/>
                <a:gd name="T33" fmla="*/ 668 h 689"/>
                <a:gd name="T34" fmla="*/ 1036 w 1896"/>
                <a:gd name="T35" fmla="*/ 661 h 689"/>
                <a:gd name="T36" fmla="*/ 1047 w 1896"/>
                <a:gd name="T37" fmla="*/ 653 h 689"/>
                <a:gd name="T38" fmla="*/ 1896 w 1896"/>
                <a:gd name="T39" fmla="*/ 6 h 689"/>
                <a:gd name="T40" fmla="*/ 1896 w 1896"/>
                <a:gd name="T41" fmla="*/ 6 h 689"/>
                <a:gd name="T42" fmla="*/ 1878 w 1896"/>
                <a:gd name="T43" fmla="*/ 2 h 689"/>
                <a:gd name="T44" fmla="*/ 1867 w 1896"/>
                <a:gd name="T45" fmla="*/ 1 h 689"/>
                <a:gd name="T46" fmla="*/ 1858 w 1896"/>
                <a:gd name="T47" fmla="*/ 0 h 689"/>
                <a:gd name="T48" fmla="*/ 38 w 1896"/>
                <a:gd name="T49" fmla="*/ 0 h 689"/>
                <a:gd name="T50" fmla="*/ 38 w 1896"/>
                <a:gd name="T51" fmla="*/ 0 h 689"/>
                <a:gd name="T52" fmla="*/ 28 w 1896"/>
                <a:gd name="T53" fmla="*/ 1 h 689"/>
                <a:gd name="T54" fmla="*/ 19 w 1896"/>
                <a:gd name="T55" fmla="*/ 2 h 689"/>
                <a:gd name="T56" fmla="*/ 0 w 1896"/>
                <a:gd name="T57" fmla="*/ 6 h 689"/>
                <a:gd name="T58" fmla="*/ 853 w 1896"/>
                <a:gd name="T59" fmla="*/ 657 h 689"/>
                <a:gd name="T60" fmla="*/ 853 w 1896"/>
                <a:gd name="T61" fmla="*/ 657 h 689"/>
                <a:gd name="T62" fmla="*/ 854 w 1896"/>
                <a:gd name="T63" fmla="*/ 657 h 689"/>
                <a:gd name="T64" fmla="*/ 854 w 1896"/>
                <a:gd name="T65" fmla="*/ 657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96" h="689">
                  <a:moveTo>
                    <a:pt x="854" y="657"/>
                  </a:moveTo>
                  <a:lnTo>
                    <a:pt x="854" y="657"/>
                  </a:lnTo>
                  <a:lnTo>
                    <a:pt x="864" y="664"/>
                  </a:lnTo>
                  <a:lnTo>
                    <a:pt x="875" y="671"/>
                  </a:lnTo>
                  <a:lnTo>
                    <a:pt x="886" y="676"/>
                  </a:lnTo>
                  <a:lnTo>
                    <a:pt x="898" y="681"/>
                  </a:lnTo>
                  <a:lnTo>
                    <a:pt x="911" y="684"/>
                  </a:lnTo>
                  <a:lnTo>
                    <a:pt x="923" y="687"/>
                  </a:lnTo>
                  <a:lnTo>
                    <a:pt x="936" y="688"/>
                  </a:lnTo>
                  <a:lnTo>
                    <a:pt x="949" y="689"/>
                  </a:lnTo>
                  <a:lnTo>
                    <a:pt x="949" y="689"/>
                  </a:lnTo>
                  <a:lnTo>
                    <a:pt x="961" y="688"/>
                  </a:lnTo>
                  <a:lnTo>
                    <a:pt x="975" y="687"/>
                  </a:lnTo>
                  <a:lnTo>
                    <a:pt x="988" y="683"/>
                  </a:lnTo>
                  <a:lnTo>
                    <a:pt x="1001" y="680"/>
                  </a:lnTo>
                  <a:lnTo>
                    <a:pt x="1012" y="675"/>
                  </a:lnTo>
                  <a:lnTo>
                    <a:pt x="1025" y="668"/>
                  </a:lnTo>
                  <a:lnTo>
                    <a:pt x="1036" y="661"/>
                  </a:lnTo>
                  <a:lnTo>
                    <a:pt x="1047" y="653"/>
                  </a:lnTo>
                  <a:lnTo>
                    <a:pt x="1896" y="6"/>
                  </a:lnTo>
                  <a:lnTo>
                    <a:pt x="1896" y="6"/>
                  </a:lnTo>
                  <a:lnTo>
                    <a:pt x="1878" y="2"/>
                  </a:lnTo>
                  <a:lnTo>
                    <a:pt x="1867" y="1"/>
                  </a:lnTo>
                  <a:lnTo>
                    <a:pt x="1858" y="0"/>
                  </a:lnTo>
                  <a:lnTo>
                    <a:pt x="38" y="0"/>
                  </a:lnTo>
                  <a:lnTo>
                    <a:pt x="38" y="0"/>
                  </a:lnTo>
                  <a:lnTo>
                    <a:pt x="28" y="1"/>
                  </a:lnTo>
                  <a:lnTo>
                    <a:pt x="19" y="2"/>
                  </a:lnTo>
                  <a:lnTo>
                    <a:pt x="0" y="6"/>
                  </a:lnTo>
                  <a:lnTo>
                    <a:pt x="853" y="657"/>
                  </a:lnTo>
                  <a:lnTo>
                    <a:pt x="853" y="657"/>
                  </a:lnTo>
                  <a:lnTo>
                    <a:pt x="854" y="657"/>
                  </a:lnTo>
                  <a:lnTo>
                    <a:pt x="854" y="657"/>
                  </a:lnTo>
                  <a:close/>
                </a:path>
              </a:pathLst>
            </a:custGeom>
            <a:grp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0000"/>
                </a:solidFill>
              </a:endParaRPr>
            </a:p>
          </p:txBody>
        </p:sp>
        <p:sp>
          <p:nvSpPr>
            <p:cNvPr id="173" name="Full Process - envelope"/>
            <p:cNvSpPr>
              <a:spLocks noChangeAspect="1"/>
            </p:cNvSpPr>
            <p:nvPr/>
          </p:nvSpPr>
          <p:spPr bwMode="auto">
            <a:xfrm>
              <a:off x="5152458" y="5424751"/>
              <a:ext cx="369522" cy="196871"/>
            </a:xfrm>
            <a:custGeom>
              <a:avLst/>
              <a:gdLst>
                <a:gd name="T0" fmla="*/ 1218 w 2105"/>
                <a:gd name="T1" fmla="*/ 664 h 1120"/>
                <a:gd name="T2" fmla="*/ 1181 w 2105"/>
                <a:gd name="T3" fmla="*/ 689 h 1120"/>
                <a:gd name="T4" fmla="*/ 1140 w 2105"/>
                <a:gd name="T5" fmla="*/ 706 h 1120"/>
                <a:gd name="T6" fmla="*/ 1096 w 2105"/>
                <a:gd name="T7" fmla="*/ 718 h 1120"/>
                <a:gd name="T8" fmla="*/ 1053 w 2105"/>
                <a:gd name="T9" fmla="*/ 721 h 1120"/>
                <a:gd name="T10" fmla="*/ 1031 w 2105"/>
                <a:gd name="T11" fmla="*/ 720 h 1120"/>
                <a:gd name="T12" fmla="*/ 988 w 2105"/>
                <a:gd name="T13" fmla="*/ 713 h 1120"/>
                <a:gd name="T14" fmla="*/ 948 w 2105"/>
                <a:gd name="T15" fmla="*/ 700 h 1120"/>
                <a:gd name="T16" fmla="*/ 910 w 2105"/>
                <a:gd name="T17" fmla="*/ 680 h 1120"/>
                <a:gd name="T18" fmla="*/ 891 w 2105"/>
                <a:gd name="T19" fmla="*/ 668 h 1120"/>
                <a:gd name="T20" fmla="*/ 14 w 2105"/>
                <a:gd name="T21" fmla="*/ 0 h 1120"/>
                <a:gd name="T22" fmla="*/ 8 w 2105"/>
                <a:gd name="T23" fmla="*/ 14 h 1120"/>
                <a:gd name="T24" fmla="*/ 1 w 2105"/>
                <a:gd name="T25" fmla="*/ 45 h 1120"/>
                <a:gd name="T26" fmla="*/ 1 w 2105"/>
                <a:gd name="T27" fmla="*/ 979 h 1120"/>
                <a:gd name="T28" fmla="*/ 1 w 2105"/>
                <a:gd name="T29" fmla="*/ 990 h 1120"/>
                <a:gd name="T30" fmla="*/ 6 w 2105"/>
                <a:gd name="T31" fmla="*/ 1012 h 1120"/>
                <a:gd name="T32" fmla="*/ 13 w 2105"/>
                <a:gd name="T33" fmla="*/ 1034 h 1120"/>
                <a:gd name="T34" fmla="*/ 23 w 2105"/>
                <a:gd name="T35" fmla="*/ 1054 h 1120"/>
                <a:gd name="T36" fmla="*/ 562 w 2105"/>
                <a:gd name="T37" fmla="*/ 658 h 1120"/>
                <a:gd name="T38" fmla="*/ 568 w 2105"/>
                <a:gd name="T39" fmla="*/ 654 h 1120"/>
                <a:gd name="T40" fmla="*/ 578 w 2105"/>
                <a:gd name="T41" fmla="*/ 652 h 1120"/>
                <a:gd name="T42" fmla="*/ 590 w 2105"/>
                <a:gd name="T43" fmla="*/ 653 h 1120"/>
                <a:gd name="T44" fmla="*/ 600 w 2105"/>
                <a:gd name="T45" fmla="*/ 659 h 1120"/>
                <a:gd name="T46" fmla="*/ 604 w 2105"/>
                <a:gd name="T47" fmla="*/ 664 h 1120"/>
                <a:gd name="T48" fmla="*/ 610 w 2105"/>
                <a:gd name="T49" fmla="*/ 674 h 1120"/>
                <a:gd name="T50" fmla="*/ 610 w 2105"/>
                <a:gd name="T51" fmla="*/ 685 h 1120"/>
                <a:gd name="T52" fmla="*/ 606 w 2105"/>
                <a:gd name="T53" fmla="*/ 696 h 1120"/>
                <a:gd name="T54" fmla="*/ 598 w 2105"/>
                <a:gd name="T55" fmla="*/ 705 h 1120"/>
                <a:gd name="T56" fmla="*/ 74 w 2105"/>
                <a:gd name="T57" fmla="*/ 1102 h 1120"/>
                <a:gd name="T58" fmla="*/ 108 w 2105"/>
                <a:gd name="T59" fmla="*/ 1116 h 1120"/>
                <a:gd name="T60" fmla="*/ 143 w 2105"/>
                <a:gd name="T61" fmla="*/ 1120 h 1120"/>
                <a:gd name="T62" fmla="*/ 1963 w 2105"/>
                <a:gd name="T63" fmla="*/ 1120 h 1120"/>
                <a:gd name="T64" fmla="*/ 1999 w 2105"/>
                <a:gd name="T65" fmla="*/ 1116 h 1120"/>
                <a:gd name="T66" fmla="*/ 2032 w 2105"/>
                <a:gd name="T67" fmla="*/ 1102 h 1120"/>
                <a:gd name="T68" fmla="*/ 1512 w 2105"/>
                <a:gd name="T69" fmla="*/ 705 h 1120"/>
                <a:gd name="T70" fmla="*/ 1504 w 2105"/>
                <a:gd name="T71" fmla="*/ 696 h 1120"/>
                <a:gd name="T72" fmla="*/ 1500 w 2105"/>
                <a:gd name="T73" fmla="*/ 685 h 1120"/>
                <a:gd name="T74" fmla="*/ 1501 w 2105"/>
                <a:gd name="T75" fmla="*/ 674 h 1120"/>
                <a:gd name="T76" fmla="*/ 1506 w 2105"/>
                <a:gd name="T77" fmla="*/ 664 h 1120"/>
                <a:gd name="T78" fmla="*/ 1511 w 2105"/>
                <a:gd name="T79" fmla="*/ 659 h 1120"/>
                <a:gd name="T80" fmla="*/ 1521 w 2105"/>
                <a:gd name="T81" fmla="*/ 653 h 1120"/>
                <a:gd name="T82" fmla="*/ 1531 w 2105"/>
                <a:gd name="T83" fmla="*/ 652 h 1120"/>
                <a:gd name="T84" fmla="*/ 1543 w 2105"/>
                <a:gd name="T85" fmla="*/ 654 h 1120"/>
                <a:gd name="T86" fmla="*/ 2077 w 2105"/>
                <a:gd name="T87" fmla="*/ 1062 h 1120"/>
                <a:gd name="T88" fmla="*/ 2083 w 2105"/>
                <a:gd name="T89" fmla="*/ 1052 h 1120"/>
                <a:gd name="T90" fmla="*/ 2093 w 2105"/>
                <a:gd name="T91" fmla="*/ 1034 h 1120"/>
                <a:gd name="T92" fmla="*/ 2100 w 2105"/>
                <a:gd name="T93" fmla="*/ 1012 h 1120"/>
                <a:gd name="T94" fmla="*/ 2104 w 2105"/>
                <a:gd name="T95" fmla="*/ 990 h 1120"/>
                <a:gd name="T96" fmla="*/ 2104 w 2105"/>
                <a:gd name="T97" fmla="*/ 60 h 1120"/>
                <a:gd name="T98" fmla="*/ 2103 w 2105"/>
                <a:gd name="T99" fmla="*/ 44 h 1120"/>
                <a:gd name="T100" fmla="*/ 2096 w 2105"/>
                <a:gd name="T101" fmla="*/ 14 h 1120"/>
                <a:gd name="T102" fmla="*/ 1220 w 2105"/>
                <a:gd name="T103" fmla="*/ 664 h 1120"/>
                <a:gd name="T104" fmla="*/ 1218 w 2105"/>
                <a:gd name="T105" fmla="*/ 664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05" h="1120">
                  <a:moveTo>
                    <a:pt x="1218" y="664"/>
                  </a:moveTo>
                  <a:lnTo>
                    <a:pt x="1218" y="664"/>
                  </a:lnTo>
                  <a:lnTo>
                    <a:pt x="1199" y="677"/>
                  </a:lnTo>
                  <a:lnTo>
                    <a:pt x="1181" y="689"/>
                  </a:lnTo>
                  <a:lnTo>
                    <a:pt x="1161" y="698"/>
                  </a:lnTo>
                  <a:lnTo>
                    <a:pt x="1140" y="706"/>
                  </a:lnTo>
                  <a:lnTo>
                    <a:pt x="1118" y="713"/>
                  </a:lnTo>
                  <a:lnTo>
                    <a:pt x="1096" y="718"/>
                  </a:lnTo>
                  <a:lnTo>
                    <a:pt x="1075" y="720"/>
                  </a:lnTo>
                  <a:lnTo>
                    <a:pt x="1053" y="721"/>
                  </a:lnTo>
                  <a:lnTo>
                    <a:pt x="1053" y="721"/>
                  </a:lnTo>
                  <a:lnTo>
                    <a:pt x="1031" y="720"/>
                  </a:lnTo>
                  <a:lnTo>
                    <a:pt x="1009" y="718"/>
                  </a:lnTo>
                  <a:lnTo>
                    <a:pt x="988" y="713"/>
                  </a:lnTo>
                  <a:lnTo>
                    <a:pt x="967" y="707"/>
                  </a:lnTo>
                  <a:lnTo>
                    <a:pt x="948" y="700"/>
                  </a:lnTo>
                  <a:lnTo>
                    <a:pt x="928" y="691"/>
                  </a:lnTo>
                  <a:lnTo>
                    <a:pt x="910" y="680"/>
                  </a:lnTo>
                  <a:lnTo>
                    <a:pt x="891" y="668"/>
                  </a:lnTo>
                  <a:lnTo>
                    <a:pt x="891" y="668"/>
                  </a:lnTo>
                  <a:lnTo>
                    <a:pt x="890" y="667"/>
                  </a:lnTo>
                  <a:lnTo>
                    <a:pt x="14" y="0"/>
                  </a:lnTo>
                  <a:lnTo>
                    <a:pt x="14" y="0"/>
                  </a:lnTo>
                  <a:lnTo>
                    <a:pt x="8" y="14"/>
                  </a:lnTo>
                  <a:lnTo>
                    <a:pt x="4" y="29"/>
                  </a:lnTo>
                  <a:lnTo>
                    <a:pt x="1" y="45"/>
                  </a:lnTo>
                  <a:lnTo>
                    <a:pt x="0" y="60"/>
                  </a:lnTo>
                  <a:lnTo>
                    <a:pt x="1" y="979"/>
                  </a:lnTo>
                  <a:lnTo>
                    <a:pt x="1" y="979"/>
                  </a:lnTo>
                  <a:lnTo>
                    <a:pt x="1" y="990"/>
                  </a:lnTo>
                  <a:lnTo>
                    <a:pt x="4" y="1002"/>
                  </a:lnTo>
                  <a:lnTo>
                    <a:pt x="6" y="1012"/>
                  </a:lnTo>
                  <a:lnTo>
                    <a:pt x="8" y="1024"/>
                  </a:lnTo>
                  <a:lnTo>
                    <a:pt x="13" y="1034"/>
                  </a:lnTo>
                  <a:lnTo>
                    <a:pt x="18" y="1043"/>
                  </a:lnTo>
                  <a:lnTo>
                    <a:pt x="23" y="1054"/>
                  </a:lnTo>
                  <a:lnTo>
                    <a:pt x="29" y="1062"/>
                  </a:lnTo>
                  <a:lnTo>
                    <a:pt x="562" y="658"/>
                  </a:lnTo>
                  <a:lnTo>
                    <a:pt x="562" y="658"/>
                  </a:lnTo>
                  <a:lnTo>
                    <a:pt x="568" y="654"/>
                  </a:lnTo>
                  <a:lnTo>
                    <a:pt x="573" y="653"/>
                  </a:lnTo>
                  <a:lnTo>
                    <a:pt x="578" y="652"/>
                  </a:lnTo>
                  <a:lnTo>
                    <a:pt x="584" y="652"/>
                  </a:lnTo>
                  <a:lnTo>
                    <a:pt x="590" y="653"/>
                  </a:lnTo>
                  <a:lnTo>
                    <a:pt x="596" y="655"/>
                  </a:lnTo>
                  <a:lnTo>
                    <a:pt x="600" y="659"/>
                  </a:lnTo>
                  <a:lnTo>
                    <a:pt x="604" y="664"/>
                  </a:lnTo>
                  <a:lnTo>
                    <a:pt x="604" y="664"/>
                  </a:lnTo>
                  <a:lnTo>
                    <a:pt x="607" y="668"/>
                  </a:lnTo>
                  <a:lnTo>
                    <a:pt x="610" y="674"/>
                  </a:lnTo>
                  <a:lnTo>
                    <a:pt x="610" y="680"/>
                  </a:lnTo>
                  <a:lnTo>
                    <a:pt x="610" y="685"/>
                  </a:lnTo>
                  <a:lnTo>
                    <a:pt x="608" y="691"/>
                  </a:lnTo>
                  <a:lnTo>
                    <a:pt x="606" y="696"/>
                  </a:lnTo>
                  <a:lnTo>
                    <a:pt x="603" y="700"/>
                  </a:lnTo>
                  <a:lnTo>
                    <a:pt x="598" y="705"/>
                  </a:lnTo>
                  <a:lnTo>
                    <a:pt x="74" y="1102"/>
                  </a:lnTo>
                  <a:lnTo>
                    <a:pt x="74" y="1102"/>
                  </a:lnTo>
                  <a:lnTo>
                    <a:pt x="90" y="1110"/>
                  </a:lnTo>
                  <a:lnTo>
                    <a:pt x="108" y="1116"/>
                  </a:lnTo>
                  <a:lnTo>
                    <a:pt x="125" y="1119"/>
                  </a:lnTo>
                  <a:lnTo>
                    <a:pt x="143" y="1120"/>
                  </a:lnTo>
                  <a:lnTo>
                    <a:pt x="1963" y="1120"/>
                  </a:lnTo>
                  <a:lnTo>
                    <a:pt x="1963" y="1120"/>
                  </a:lnTo>
                  <a:lnTo>
                    <a:pt x="1982" y="1119"/>
                  </a:lnTo>
                  <a:lnTo>
                    <a:pt x="1999" y="1116"/>
                  </a:lnTo>
                  <a:lnTo>
                    <a:pt x="2016" y="1109"/>
                  </a:lnTo>
                  <a:lnTo>
                    <a:pt x="2032" y="1102"/>
                  </a:lnTo>
                  <a:lnTo>
                    <a:pt x="1512" y="705"/>
                  </a:lnTo>
                  <a:lnTo>
                    <a:pt x="1512" y="705"/>
                  </a:lnTo>
                  <a:lnTo>
                    <a:pt x="1507" y="700"/>
                  </a:lnTo>
                  <a:lnTo>
                    <a:pt x="1504" y="696"/>
                  </a:lnTo>
                  <a:lnTo>
                    <a:pt x="1501" y="691"/>
                  </a:lnTo>
                  <a:lnTo>
                    <a:pt x="1500" y="685"/>
                  </a:lnTo>
                  <a:lnTo>
                    <a:pt x="1500" y="680"/>
                  </a:lnTo>
                  <a:lnTo>
                    <a:pt x="1501" y="674"/>
                  </a:lnTo>
                  <a:lnTo>
                    <a:pt x="1504" y="668"/>
                  </a:lnTo>
                  <a:lnTo>
                    <a:pt x="1506" y="664"/>
                  </a:lnTo>
                  <a:lnTo>
                    <a:pt x="1506" y="664"/>
                  </a:lnTo>
                  <a:lnTo>
                    <a:pt x="1511" y="659"/>
                  </a:lnTo>
                  <a:lnTo>
                    <a:pt x="1515" y="655"/>
                  </a:lnTo>
                  <a:lnTo>
                    <a:pt x="1521" y="653"/>
                  </a:lnTo>
                  <a:lnTo>
                    <a:pt x="1526" y="652"/>
                  </a:lnTo>
                  <a:lnTo>
                    <a:pt x="1531" y="652"/>
                  </a:lnTo>
                  <a:lnTo>
                    <a:pt x="1537" y="653"/>
                  </a:lnTo>
                  <a:lnTo>
                    <a:pt x="1543" y="654"/>
                  </a:lnTo>
                  <a:lnTo>
                    <a:pt x="1548" y="658"/>
                  </a:lnTo>
                  <a:lnTo>
                    <a:pt x="2077" y="1062"/>
                  </a:lnTo>
                  <a:lnTo>
                    <a:pt x="2077" y="1062"/>
                  </a:lnTo>
                  <a:lnTo>
                    <a:pt x="2083" y="1052"/>
                  </a:lnTo>
                  <a:lnTo>
                    <a:pt x="2089" y="1043"/>
                  </a:lnTo>
                  <a:lnTo>
                    <a:pt x="2093" y="1034"/>
                  </a:lnTo>
                  <a:lnTo>
                    <a:pt x="2097" y="1024"/>
                  </a:lnTo>
                  <a:lnTo>
                    <a:pt x="2100" y="1012"/>
                  </a:lnTo>
                  <a:lnTo>
                    <a:pt x="2103" y="1002"/>
                  </a:lnTo>
                  <a:lnTo>
                    <a:pt x="2104" y="990"/>
                  </a:lnTo>
                  <a:lnTo>
                    <a:pt x="2105" y="979"/>
                  </a:lnTo>
                  <a:lnTo>
                    <a:pt x="2104" y="60"/>
                  </a:lnTo>
                  <a:lnTo>
                    <a:pt x="2104" y="60"/>
                  </a:lnTo>
                  <a:lnTo>
                    <a:pt x="2103" y="44"/>
                  </a:lnTo>
                  <a:lnTo>
                    <a:pt x="2099" y="29"/>
                  </a:lnTo>
                  <a:lnTo>
                    <a:pt x="2096" y="14"/>
                  </a:lnTo>
                  <a:lnTo>
                    <a:pt x="2090" y="0"/>
                  </a:lnTo>
                  <a:lnTo>
                    <a:pt x="1220" y="664"/>
                  </a:lnTo>
                  <a:lnTo>
                    <a:pt x="1220" y="664"/>
                  </a:lnTo>
                  <a:lnTo>
                    <a:pt x="1218" y="664"/>
                  </a:lnTo>
                  <a:lnTo>
                    <a:pt x="1218" y="664"/>
                  </a:lnTo>
                  <a:close/>
                </a:path>
              </a:pathLst>
            </a:custGeom>
            <a:grpFill/>
            <a:ln>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solidFill>
                  <a:srgbClr val="FF0000"/>
                </a:solidFill>
              </a:endParaRPr>
            </a:p>
          </p:txBody>
        </p:sp>
      </p:grpSp>
      <p:sp>
        <p:nvSpPr>
          <p:cNvPr id="177" name="malware"/>
          <p:cNvSpPr>
            <a:spLocks noChangeAspect="1" noEditPoints="1"/>
          </p:cNvSpPr>
          <p:nvPr/>
        </p:nvSpPr>
        <p:spPr bwMode="auto">
          <a:xfrm>
            <a:off x="4953572" y="4212482"/>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
        <p:nvSpPr>
          <p:cNvPr id="179" name="malware"/>
          <p:cNvSpPr>
            <a:spLocks noChangeAspect="1" noEditPoints="1"/>
          </p:cNvSpPr>
          <p:nvPr/>
        </p:nvSpPr>
        <p:spPr bwMode="auto">
          <a:xfrm>
            <a:off x="4998654" y="2323283"/>
            <a:ext cx="133427" cy="141867"/>
          </a:xfrm>
          <a:custGeom>
            <a:avLst/>
            <a:gdLst>
              <a:gd name="T0" fmla="*/ 2694 w 4063"/>
              <a:gd name="T1" fmla="*/ 3028 h 4320"/>
              <a:gd name="T2" fmla="*/ 2638 w 4063"/>
              <a:gd name="T3" fmla="*/ 3095 h 4320"/>
              <a:gd name="T4" fmla="*/ 2370 w 4063"/>
              <a:gd name="T5" fmla="*/ 2866 h 4320"/>
              <a:gd name="T6" fmla="*/ 2129 w 4063"/>
              <a:gd name="T7" fmla="*/ 2916 h 4320"/>
              <a:gd name="T8" fmla="*/ 2290 w 4063"/>
              <a:gd name="T9" fmla="*/ 2618 h 4320"/>
              <a:gd name="T10" fmla="*/ 2091 w 4063"/>
              <a:gd name="T11" fmla="*/ 2240 h 4320"/>
              <a:gd name="T12" fmla="*/ 2399 w 4063"/>
              <a:gd name="T13" fmla="*/ 2571 h 4320"/>
              <a:gd name="T14" fmla="*/ 2366 w 4063"/>
              <a:gd name="T15" fmla="*/ 3137 h 4320"/>
              <a:gd name="T16" fmla="*/ 2283 w 4063"/>
              <a:gd name="T17" fmla="*/ 3144 h 4320"/>
              <a:gd name="T18" fmla="*/ 1130 w 4063"/>
              <a:gd name="T19" fmla="*/ 1159 h 4320"/>
              <a:gd name="T20" fmla="*/ 1843 w 4063"/>
              <a:gd name="T21" fmla="*/ 1477 h 4320"/>
              <a:gd name="T22" fmla="*/ 2964 w 4063"/>
              <a:gd name="T23" fmla="*/ 1276 h 4320"/>
              <a:gd name="T24" fmla="*/ 3146 w 4063"/>
              <a:gd name="T25" fmla="*/ 492 h 4320"/>
              <a:gd name="T26" fmla="*/ 3352 w 4063"/>
              <a:gd name="T27" fmla="*/ 104 h 4320"/>
              <a:gd name="T28" fmla="*/ 2918 w 4063"/>
              <a:gd name="T29" fmla="*/ 146 h 4320"/>
              <a:gd name="T30" fmla="*/ 2168 w 4063"/>
              <a:gd name="T31" fmla="*/ 690 h 4320"/>
              <a:gd name="T32" fmla="*/ 1109 w 4063"/>
              <a:gd name="T33" fmla="*/ 346 h 4320"/>
              <a:gd name="T34" fmla="*/ 967 w 4063"/>
              <a:gd name="T35" fmla="*/ 10 h 4320"/>
              <a:gd name="T36" fmla="*/ 649 w 4063"/>
              <a:gd name="T37" fmla="*/ 296 h 4320"/>
              <a:gd name="T38" fmla="*/ 1907 w 4063"/>
              <a:gd name="T39" fmla="*/ 2784 h 4320"/>
              <a:gd name="T40" fmla="*/ 1865 w 4063"/>
              <a:gd name="T41" fmla="*/ 2314 h 4320"/>
              <a:gd name="T42" fmla="*/ 1724 w 4063"/>
              <a:gd name="T43" fmla="*/ 2394 h 4320"/>
              <a:gd name="T44" fmla="*/ 1574 w 4063"/>
              <a:gd name="T45" fmla="*/ 2768 h 4320"/>
              <a:gd name="T46" fmla="*/ 1369 w 4063"/>
              <a:gd name="T47" fmla="*/ 3180 h 4320"/>
              <a:gd name="T48" fmla="*/ 1463 w 4063"/>
              <a:gd name="T49" fmla="*/ 2994 h 4320"/>
              <a:gd name="T50" fmla="*/ 1800 w 4063"/>
              <a:gd name="T51" fmla="*/ 2889 h 4320"/>
              <a:gd name="T52" fmla="*/ 1985 w 4063"/>
              <a:gd name="T53" fmla="*/ 2848 h 4320"/>
              <a:gd name="T54" fmla="*/ 1895 w 4063"/>
              <a:gd name="T55" fmla="*/ 3259 h 4320"/>
              <a:gd name="T56" fmla="*/ 1647 w 4063"/>
              <a:gd name="T57" fmla="*/ 2918 h 4320"/>
              <a:gd name="T58" fmla="*/ 1463 w 4063"/>
              <a:gd name="T59" fmla="*/ 2131 h 4320"/>
              <a:gd name="T60" fmla="*/ 1453 w 4063"/>
              <a:gd name="T61" fmla="*/ 1595 h 4320"/>
              <a:gd name="T62" fmla="*/ 825 w 4063"/>
              <a:gd name="T63" fmla="*/ 1706 h 4320"/>
              <a:gd name="T64" fmla="*/ 136 w 4063"/>
              <a:gd name="T65" fmla="*/ 1637 h 4320"/>
              <a:gd name="T66" fmla="*/ 147 w 4063"/>
              <a:gd name="T67" fmla="*/ 2421 h 4320"/>
              <a:gd name="T68" fmla="*/ 17 w 4063"/>
              <a:gd name="T69" fmla="*/ 2630 h 4320"/>
              <a:gd name="T70" fmla="*/ 238 w 4063"/>
              <a:gd name="T71" fmla="*/ 3360 h 4320"/>
              <a:gd name="T72" fmla="*/ 233 w 4063"/>
              <a:gd name="T73" fmla="*/ 3633 h 4320"/>
              <a:gd name="T74" fmla="*/ 1036 w 4063"/>
              <a:gd name="T75" fmla="*/ 3727 h 4320"/>
              <a:gd name="T76" fmla="*/ 1944 w 4063"/>
              <a:gd name="T77" fmla="*/ 4320 h 4320"/>
              <a:gd name="T78" fmla="*/ 1232 w 4063"/>
              <a:gd name="T79" fmla="*/ 3377 h 4320"/>
              <a:gd name="T80" fmla="*/ 2490 w 4063"/>
              <a:gd name="T81" fmla="*/ 3388 h 4320"/>
              <a:gd name="T82" fmla="*/ 2105 w 4063"/>
              <a:gd name="T83" fmla="*/ 3227 h 4320"/>
              <a:gd name="T84" fmla="*/ 2034 w 4063"/>
              <a:gd name="T85" fmla="*/ 3025 h 4320"/>
              <a:gd name="T86" fmla="*/ 1944 w 4063"/>
              <a:gd name="T87" fmla="*/ 3260 h 4320"/>
              <a:gd name="T88" fmla="*/ 1542 w 4063"/>
              <a:gd name="T89" fmla="*/ 3367 h 4320"/>
              <a:gd name="T90" fmla="*/ 1710 w 4063"/>
              <a:gd name="T91" fmla="*/ 3472 h 4320"/>
              <a:gd name="T92" fmla="*/ 2092 w 4063"/>
              <a:gd name="T93" fmla="*/ 3379 h 4320"/>
              <a:gd name="T94" fmla="*/ 2544 w 4063"/>
              <a:gd name="T95" fmla="*/ 3403 h 4320"/>
              <a:gd name="T96" fmla="*/ 4063 w 4063"/>
              <a:gd name="T97" fmla="*/ 2566 h 4320"/>
              <a:gd name="T98" fmla="*/ 3365 w 4063"/>
              <a:gd name="T99" fmla="*/ 2195 h 4320"/>
              <a:gd name="T100" fmla="*/ 3892 w 4063"/>
              <a:gd name="T101" fmla="*/ 1584 h 4320"/>
              <a:gd name="T102" fmla="*/ 3198 w 4063"/>
              <a:gd name="T103" fmla="*/ 1583 h 4320"/>
              <a:gd name="T104" fmla="*/ 2436 w 4063"/>
              <a:gd name="T105" fmla="*/ 1629 h 4320"/>
              <a:gd name="T106" fmla="*/ 2695 w 4063"/>
              <a:gd name="T107" fmla="*/ 2222 h 4320"/>
              <a:gd name="T108" fmla="*/ 2946 w 4063"/>
              <a:gd name="T109" fmla="*/ 3098 h 4320"/>
              <a:gd name="T110" fmla="*/ 2293 w 4063"/>
              <a:gd name="T111" fmla="*/ 3773 h 4320"/>
              <a:gd name="T112" fmla="*/ 2774 w 4063"/>
              <a:gd name="T113" fmla="*/ 3982 h 4320"/>
              <a:gd name="T114" fmla="*/ 3755 w 4063"/>
              <a:gd name="T115" fmla="*/ 3647 h 4320"/>
              <a:gd name="T116" fmla="*/ 3900 w 4063"/>
              <a:gd name="T117" fmla="*/ 3461 h 4320"/>
              <a:gd name="T118" fmla="*/ 3892 w 4063"/>
              <a:gd name="T119" fmla="*/ 2712 h 4320"/>
              <a:gd name="T120" fmla="*/ 1816 w 4063"/>
              <a:gd name="T121" fmla="*/ 2607 h 4320"/>
              <a:gd name="T122" fmla="*/ 2221 w 4063"/>
              <a:gd name="T123" fmla="*/ 2666 h 4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3" h="4320">
                <a:moveTo>
                  <a:pt x="2370" y="2739"/>
                </a:moveTo>
                <a:lnTo>
                  <a:pt x="2370" y="2739"/>
                </a:lnTo>
                <a:lnTo>
                  <a:pt x="2395" y="2742"/>
                </a:lnTo>
                <a:lnTo>
                  <a:pt x="2418" y="2746"/>
                </a:lnTo>
                <a:lnTo>
                  <a:pt x="2440" y="2752"/>
                </a:lnTo>
                <a:lnTo>
                  <a:pt x="2462" y="2759"/>
                </a:lnTo>
                <a:lnTo>
                  <a:pt x="2483" y="2767"/>
                </a:lnTo>
                <a:lnTo>
                  <a:pt x="2505" y="2777"/>
                </a:lnTo>
                <a:lnTo>
                  <a:pt x="2524" y="2787"/>
                </a:lnTo>
                <a:lnTo>
                  <a:pt x="2542" y="2799"/>
                </a:lnTo>
                <a:lnTo>
                  <a:pt x="2559" y="2812"/>
                </a:lnTo>
                <a:lnTo>
                  <a:pt x="2576" y="2826"/>
                </a:lnTo>
                <a:lnTo>
                  <a:pt x="2593" y="2841"/>
                </a:lnTo>
                <a:lnTo>
                  <a:pt x="2607" y="2857"/>
                </a:lnTo>
                <a:lnTo>
                  <a:pt x="2621" y="2873"/>
                </a:lnTo>
                <a:lnTo>
                  <a:pt x="2633" y="2890"/>
                </a:lnTo>
                <a:lnTo>
                  <a:pt x="2646" y="2909"/>
                </a:lnTo>
                <a:lnTo>
                  <a:pt x="2657" y="2927"/>
                </a:lnTo>
                <a:lnTo>
                  <a:pt x="2667" y="2946"/>
                </a:lnTo>
                <a:lnTo>
                  <a:pt x="2675" y="2966"/>
                </a:lnTo>
                <a:lnTo>
                  <a:pt x="2683" y="2987"/>
                </a:lnTo>
                <a:lnTo>
                  <a:pt x="2688" y="3007"/>
                </a:lnTo>
                <a:lnTo>
                  <a:pt x="2694" y="3028"/>
                </a:lnTo>
                <a:lnTo>
                  <a:pt x="2698" y="3049"/>
                </a:lnTo>
                <a:lnTo>
                  <a:pt x="2701" y="3071"/>
                </a:lnTo>
                <a:lnTo>
                  <a:pt x="2702" y="3092"/>
                </a:lnTo>
                <a:lnTo>
                  <a:pt x="2702" y="3115"/>
                </a:lnTo>
                <a:lnTo>
                  <a:pt x="2701" y="3137"/>
                </a:lnTo>
                <a:lnTo>
                  <a:pt x="2698" y="3158"/>
                </a:lnTo>
                <a:lnTo>
                  <a:pt x="2694" y="3180"/>
                </a:lnTo>
                <a:lnTo>
                  <a:pt x="2688" y="3201"/>
                </a:lnTo>
                <a:lnTo>
                  <a:pt x="2681" y="3224"/>
                </a:lnTo>
                <a:lnTo>
                  <a:pt x="2674" y="3245"/>
                </a:lnTo>
                <a:lnTo>
                  <a:pt x="2664" y="3266"/>
                </a:lnTo>
                <a:lnTo>
                  <a:pt x="2664" y="3266"/>
                </a:lnTo>
                <a:lnTo>
                  <a:pt x="2622" y="3244"/>
                </a:lnTo>
                <a:lnTo>
                  <a:pt x="2622" y="3244"/>
                </a:lnTo>
                <a:lnTo>
                  <a:pt x="2629" y="3227"/>
                </a:lnTo>
                <a:lnTo>
                  <a:pt x="2633" y="3210"/>
                </a:lnTo>
                <a:lnTo>
                  <a:pt x="2638" y="3194"/>
                </a:lnTo>
                <a:lnTo>
                  <a:pt x="2640" y="3178"/>
                </a:lnTo>
                <a:lnTo>
                  <a:pt x="2642" y="3161"/>
                </a:lnTo>
                <a:lnTo>
                  <a:pt x="2642" y="3144"/>
                </a:lnTo>
                <a:lnTo>
                  <a:pt x="2642" y="3129"/>
                </a:lnTo>
                <a:lnTo>
                  <a:pt x="2640" y="3112"/>
                </a:lnTo>
                <a:lnTo>
                  <a:pt x="2638" y="3095"/>
                </a:lnTo>
                <a:lnTo>
                  <a:pt x="2635" y="3080"/>
                </a:lnTo>
                <a:lnTo>
                  <a:pt x="2631" y="3064"/>
                </a:lnTo>
                <a:lnTo>
                  <a:pt x="2625" y="3049"/>
                </a:lnTo>
                <a:lnTo>
                  <a:pt x="2619" y="3033"/>
                </a:lnTo>
                <a:lnTo>
                  <a:pt x="2612" y="3018"/>
                </a:lnTo>
                <a:lnTo>
                  <a:pt x="2605" y="3004"/>
                </a:lnTo>
                <a:lnTo>
                  <a:pt x="2597" y="2990"/>
                </a:lnTo>
                <a:lnTo>
                  <a:pt x="2587" y="2977"/>
                </a:lnTo>
                <a:lnTo>
                  <a:pt x="2577" y="2965"/>
                </a:lnTo>
                <a:lnTo>
                  <a:pt x="2566" y="2952"/>
                </a:lnTo>
                <a:lnTo>
                  <a:pt x="2555" y="2939"/>
                </a:lnTo>
                <a:lnTo>
                  <a:pt x="2542" y="2930"/>
                </a:lnTo>
                <a:lnTo>
                  <a:pt x="2530" y="2918"/>
                </a:lnTo>
                <a:lnTo>
                  <a:pt x="2517" y="2910"/>
                </a:lnTo>
                <a:lnTo>
                  <a:pt x="2503" y="2900"/>
                </a:lnTo>
                <a:lnTo>
                  <a:pt x="2488" y="2893"/>
                </a:lnTo>
                <a:lnTo>
                  <a:pt x="2472" y="2886"/>
                </a:lnTo>
                <a:lnTo>
                  <a:pt x="2457" y="2880"/>
                </a:lnTo>
                <a:lnTo>
                  <a:pt x="2440" y="2875"/>
                </a:lnTo>
                <a:lnTo>
                  <a:pt x="2423" y="2871"/>
                </a:lnTo>
                <a:lnTo>
                  <a:pt x="2406" y="2868"/>
                </a:lnTo>
                <a:lnTo>
                  <a:pt x="2388" y="2866"/>
                </a:lnTo>
                <a:lnTo>
                  <a:pt x="2370" y="2866"/>
                </a:lnTo>
                <a:lnTo>
                  <a:pt x="2370" y="2866"/>
                </a:lnTo>
                <a:lnTo>
                  <a:pt x="2353" y="2866"/>
                </a:lnTo>
                <a:lnTo>
                  <a:pt x="2336" y="2869"/>
                </a:lnTo>
                <a:lnTo>
                  <a:pt x="2320" y="2872"/>
                </a:lnTo>
                <a:lnTo>
                  <a:pt x="2303" y="2876"/>
                </a:lnTo>
                <a:lnTo>
                  <a:pt x="2287" y="2880"/>
                </a:lnTo>
                <a:lnTo>
                  <a:pt x="2270" y="2886"/>
                </a:lnTo>
                <a:lnTo>
                  <a:pt x="2256" y="2893"/>
                </a:lnTo>
                <a:lnTo>
                  <a:pt x="2241" y="2900"/>
                </a:lnTo>
                <a:lnTo>
                  <a:pt x="2227" y="2907"/>
                </a:lnTo>
                <a:lnTo>
                  <a:pt x="2213" y="2916"/>
                </a:lnTo>
                <a:lnTo>
                  <a:pt x="2200" y="2925"/>
                </a:lnTo>
                <a:lnTo>
                  <a:pt x="2188" y="2935"/>
                </a:lnTo>
                <a:lnTo>
                  <a:pt x="2165" y="2956"/>
                </a:lnTo>
                <a:lnTo>
                  <a:pt x="2144" y="2979"/>
                </a:lnTo>
                <a:lnTo>
                  <a:pt x="2144" y="2979"/>
                </a:lnTo>
                <a:lnTo>
                  <a:pt x="2125" y="2967"/>
                </a:lnTo>
                <a:lnTo>
                  <a:pt x="2125" y="2967"/>
                </a:lnTo>
                <a:lnTo>
                  <a:pt x="2129" y="2951"/>
                </a:lnTo>
                <a:lnTo>
                  <a:pt x="2129" y="2941"/>
                </a:lnTo>
                <a:lnTo>
                  <a:pt x="2130" y="2932"/>
                </a:lnTo>
                <a:lnTo>
                  <a:pt x="2130" y="2932"/>
                </a:lnTo>
                <a:lnTo>
                  <a:pt x="2129" y="2916"/>
                </a:lnTo>
                <a:lnTo>
                  <a:pt x="2123" y="2899"/>
                </a:lnTo>
                <a:lnTo>
                  <a:pt x="2116" y="2885"/>
                </a:lnTo>
                <a:lnTo>
                  <a:pt x="2106" y="2871"/>
                </a:lnTo>
                <a:lnTo>
                  <a:pt x="2095" y="2858"/>
                </a:lnTo>
                <a:lnTo>
                  <a:pt x="2081" y="2848"/>
                </a:lnTo>
                <a:lnTo>
                  <a:pt x="2067" y="2841"/>
                </a:lnTo>
                <a:lnTo>
                  <a:pt x="2050" y="2837"/>
                </a:lnTo>
                <a:lnTo>
                  <a:pt x="2050" y="2837"/>
                </a:lnTo>
                <a:lnTo>
                  <a:pt x="2050" y="2813"/>
                </a:lnTo>
                <a:lnTo>
                  <a:pt x="2050" y="2813"/>
                </a:lnTo>
                <a:lnTo>
                  <a:pt x="2080" y="2810"/>
                </a:lnTo>
                <a:lnTo>
                  <a:pt x="2108" y="2803"/>
                </a:lnTo>
                <a:lnTo>
                  <a:pt x="2133" y="2795"/>
                </a:lnTo>
                <a:lnTo>
                  <a:pt x="2157" y="2784"/>
                </a:lnTo>
                <a:lnTo>
                  <a:pt x="2179" y="2771"/>
                </a:lnTo>
                <a:lnTo>
                  <a:pt x="2200" y="2757"/>
                </a:lnTo>
                <a:lnTo>
                  <a:pt x="2219" y="2742"/>
                </a:lnTo>
                <a:lnTo>
                  <a:pt x="2235" y="2723"/>
                </a:lnTo>
                <a:lnTo>
                  <a:pt x="2249" y="2704"/>
                </a:lnTo>
                <a:lnTo>
                  <a:pt x="2263" y="2684"/>
                </a:lnTo>
                <a:lnTo>
                  <a:pt x="2273" y="2663"/>
                </a:lnTo>
                <a:lnTo>
                  <a:pt x="2283" y="2641"/>
                </a:lnTo>
                <a:lnTo>
                  <a:pt x="2290" y="2618"/>
                </a:lnTo>
                <a:lnTo>
                  <a:pt x="2296" y="2595"/>
                </a:lnTo>
                <a:lnTo>
                  <a:pt x="2300" y="2572"/>
                </a:lnTo>
                <a:lnTo>
                  <a:pt x="2301" y="2548"/>
                </a:lnTo>
                <a:lnTo>
                  <a:pt x="2301" y="2524"/>
                </a:lnTo>
                <a:lnTo>
                  <a:pt x="2300" y="2501"/>
                </a:lnTo>
                <a:lnTo>
                  <a:pt x="2296" y="2477"/>
                </a:lnTo>
                <a:lnTo>
                  <a:pt x="2290" y="2454"/>
                </a:lnTo>
                <a:lnTo>
                  <a:pt x="2282" y="2432"/>
                </a:lnTo>
                <a:lnTo>
                  <a:pt x="2272" y="2410"/>
                </a:lnTo>
                <a:lnTo>
                  <a:pt x="2261" y="2388"/>
                </a:lnTo>
                <a:lnTo>
                  <a:pt x="2247" y="2369"/>
                </a:lnTo>
                <a:lnTo>
                  <a:pt x="2231" y="2351"/>
                </a:lnTo>
                <a:lnTo>
                  <a:pt x="2214" y="2334"/>
                </a:lnTo>
                <a:lnTo>
                  <a:pt x="2195" y="2318"/>
                </a:lnTo>
                <a:lnTo>
                  <a:pt x="2174" y="2304"/>
                </a:lnTo>
                <a:lnTo>
                  <a:pt x="2150" y="2293"/>
                </a:lnTo>
                <a:lnTo>
                  <a:pt x="2125" y="2283"/>
                </a:lnTo>
                <a:lnTo>
                  <a:pt x="2098" y="2276"/>
                </a:lnTo>
                <a:lnTo>
                  <a:pt x="2069" y="2271"/>
                </a:lnTo>
                <a:lnTo>
                  <a:pt x="2069" y="2271"/>
                </a:lnTo>
                <a:lnTo>
                  <a:pt x="2069" y="2236"/>
                </a:lnTo>
                <a:lnTo>
                  <a:pt x="2069" y="2236"/>
                </a:lnTo>
                <a:lnTo>
                  <a:pt x="2091" y="2240"/>
                </a:lnTo>
                <a:lnTo>
                  <a:pt x="2113" y="2243"/>
                </a:lnTo>
                <a:lnTo>
                  <a:pt x="2136" y="2248"/>
                </a:lnTo>
                <a:lnTo>
                  <a:pt x="2157" y="2255"/>
                </a:lnTo>
                <a:lnTo>
                  <a:pt x="2178" y="2264"/>
                </a:lnTo>
                <a:lnTo>
                  <a:pt x="2198" y="2272"/>
                </a:lnTo>
                <a:lnTo>
                  <a:pt x="2216" y="2282"/>
                </a:lnTo>
                <a:lnTo>
                  <a:pt x="2234" y="2293"/>
                </a:lnTo>
                <a:lnTo>
                  <a:pt x="2252" y="2306"/>
                </a:lnTo>
                <a:lnTo>
                  <a:pt x="2269" y="2318"/>
                </a:lnTo>
                <a:lnTo>
                  <a:pt x="2284" y="2332"/>
                </a:lnTo>
                <a:lnTo>
                  <a:pt x="2298" y="2348"/>
                </a:lnTo>
                <a:lnTo>
                  <a:pt x="2313" y="2363"/>
                </a:lnTo>
                <a:lnTo>
                  <a:pt x="2327" y="2379"/>
                </a:lnTo>
                <a:lnTo>
                  <a:pt x="2338" y="2395"/>
                </a:lnTo>
                <a:lnTo>
                  <a:pt x="2349" y="2414"/>
                </a:lnTo>
                <a:lnTo>
                  <a:pt x="2359" y="2432"/>
                </a:lnTo>
                <a:lnTo>
                  <a:pt x="2369" y="2450"/>
                </a:lnTo>
                <a:lnTo>
                  <a:pt x="2377" y="2470"/>
                </a:lnTo>
                <a:lnTo>
                  <a:pt x="2383" y="2488"/>
                </a:lnTo>
                <a:lnTo>
                  <a:pt x="2390" y="2509"/>
                </a:lnTo>
                <a:lnTo>
                  <a:pt x="2394" y="2529"/>
                </a:lnTo>
                <a:lnTo>
                  <a:pt x="2397" y="2550"/>
                </a:lnTo>
                <a:lnTo>
                  <a:pt x="2399" y="2571"/>
                </a:lnTo>
                <a:lnTo>
                  <a:pt x="2401" y="2590"/>
                </a:lnTo>
                <a:lnTo>
                  <a:pt x="2399" y="2611"/>
                </a:lnTo>
                <a:lnTo>
                  <a:pt x="2398" y="2634"/>
                </a:lnTo>
                <a:lnTo>
                  <a:pt x="2395" y="2655"/>
                </a:lnTo>
                <a:lnTo>
                  <a:pt x="2391" y="2676"/>
                </a:lnTo>
                <a:lnTo>
                  <a:pt x="2385" y="2697"/>
                </a:lnTo>
                <a:lnTo>
                  <a:pt x="2378" y="2718"/>
                </a:lnTo>
                <a:lnTo>
                  <a:pt x="2370" y="2739"/>
                </a:lnTo>
                <a:lnTo>
                  <a:pt x="2370" y="2739"/>
                </a:lnTo>
                <a:close/>
                <a:moveTo>
                  <a:pt x="2160" y="3228"/>
                </a:moveTo>
                <a:lnTo>
                  <a:pt x="2160" y="3228"/>
                </a:lnTo>
                <a:lnTo>
                  <a:pt x="2174" y="3259"/>
                </a:lnTo>
                <a:lnTo>
                  <a:pt x="2181" y="3273"/>
                </a:lnTo>
                <a:lnTo>
                  <a:pt x="2189" y="3287"/>
                </a:lnTo>
                <a:lnTo>
                  <a:pt x="2189" y="3287"/>
                </a:lnTo>
                <a:lnTo>
                  <a:pt x="2216" y="3273"/>
                </a:lnTo>
                <a:lnTo>
                  <a:pt x="2242" y="3259"/>
                </a:lnTo>
                <a:lnTo>
                  <a:pt x="2266" y="3242"/>
                </a:lnTo>
                <a:lnTo>
                  <a:pt x="2290" y="3224"/>
                </a:lnTo>
                <a:lnTo>
                  <a:pt x="2311" y="3204"/>
                </a:lnTo>
                <a:lnTo>
                  <a:pt x="2331" y="3183"/>
                </a:lnTo>
                <a:lnTo>
                  <a:pt x="2349" y="3161"/>
                </a:lnTo>
                <a:lnTo>
                  <a:pt x="2366" y="3137"/>
                </a:lnTo>
                <a:lnTo>
                  <a:pt x="2380" y="3112"/>
                </a:lnTo>
                <a:lnTo>
                  <a:pt x="2392" y="3087"/>
                </a:lnTo>
                <a:lnTo>
                  <a:pt x="2404" y="3058"/>
                </a:lnTo>
                <a:lnTo>
                  <a:pt x="2412" y="3032"/>
                </a:lnTo>
                <a:lnTo>
                  <a:pt x="2419" y="3004"/>
                </a:lnTo>
                <a:lnTo>
                  <a:pt x="2423" y="2974"/>
                </a:lnTo>
                <a:lnTo>
                  <a:pt x="2426" y="2945"/>
                </a:lnTo>
                <a:lnTo>
                  <a:pt x="2426" y="2916"/>
                </a:lnTo>
                <a:lnTo>
                  <a:pt x="2426" y="2916"/>
                </a:lnTo>
                <a:lnTo>
                  <a:pt x="2412" y="2911"/>
                </a:lnTo>
                <a:lnTo>
                  <a:pt x="2397" y="2910"/>
                </a:lnTo>
                <a:lnTo>
                  <a:pt x="2362" y="2910"/>
                </a:lnTo>
                <a:lnTo>
                  <a:pt x="2362" y="2910"/>
                </a:lnTo>
                <a:lnTo>
                  <a:pt x="2363" y="2935"/>
                </a:lnTo>
                <a:lnTo>
                  <a:pt x="2362" y="2962"/>
                </a:lnTo>
                <a:lnTo>
                  <a:pt x="2359" y="2987"/>
                </a:lnTo>
                <a:lnTo>
                  <a:pt x="2353" y="3012"/>
                </a:lnTo>
                <a:lnTo>
                  <a:pt x="2346" y="3037"/>
                </a:lnTo>
                <a:lnTo>
                  <a:pt x="2336" y="3060"/>
                </a:lnTo>
                <a:lnTo>
                  <a:pt x="2327" y="3084"/>
                </a:lnTo>
                <a:lnTo>
                  <a:pt x="2314" y="3105"/>
                </a:lnTo>
                <a:lnTo>
                  <a:pt x="2298" y="3126"/>
                </a:lnTo>
                <a:lnTo>
                  <a:pt x="2283" y="3144"/>
                </a:lnTo>
                <a:lnTo>
                  <a:pt x="2266" y="3162"/>
                </a:lnTo>
                <a:lnTo>
                  <a:pt x="2247" y="3179"/>
                </a:lnTo>
                <a:lnTo>
                  <a:pt x="2227" y="3194"/>
                </a:lnTo>
                <a:lnTo>
                  <a:pt x="2206" y="3207"/>
                </a:lnTo>
                <a:lnTo>
                  <a:pt x="2184" y="3218"/>
                </a:lnTo>
                <a:lnTo>
                  <a:pt x="2160" y="3228"/>
                </a:lnTo>
                <a:lnTo>
                  <a:pt x="2160" y="3228"/>
                </a:lnTo>
                <a:close/>
                <a:moveTo>
                  <a:pt x="894" y="492"/>
                </a:moveTo>
                <a:lnTo>
                  <a:pt x="894" y="492"/>
                </a:lnTo>
                <a:lnTo>
                  <a:pt x="904" y="492"/>
                </a:lnTo>
                <a:lnTo>
                  <a:pt x="917" y="491"/>
                </a:lnTo>
                <a:lnTo>
                  <a:pt x="929" y="488"/>
                </a:lnTo>
                <a:lnTo>
                  <a:pt x="935" y="485"/>
                </a:lnTo>
                <a:lnTo>
                  <a:pt x="939" y="481"/>
                </a:lnTo>
                <a:lnTo>
                  <a:pt x="939" y="481"/>
                </a:lnTo>
                <a:lnTo>
                  <a:pt x="1336" y="939"/>
                </a:lnTo>
                <a:lnTo>
                  <a:pt x="1336" y="939"/>
                </a:lnTo>
                <a:lnTo>
                  <a:pt x="1298" y="973"/>
                </a:lnTo>
                <a:lnTo>
                  <a:pt x="1261" y="1008"/>
                </a:lnTo>
                <a:lnTo>
                  <a:pt x="1226" y="1044"/>
                </a:lnTo>
                <a:lnTo>
                  <a:pt x="1193" y="1082"/>
                </a:lnTo>
                <a:lnTo>
                  <a:pt x="1160" y="1120"/>
                </a:lnTo>
                <a:lnTo>
                  <a:pt x="1130" y="1159"/>
                </a:lnTo>
                <a:lnTo>
                  <a:pt x="1102" y="1200"/>
                </a:lnTo>
                <a:lnTo>
                  <a:pt x="1075" y="1240"/>
                </a:lnTo>
                <a:lnTo>
                  <a:pt x="1075" y="1240"/>
                </a:lnTo>
                <a:lnTo>
                  <a:pt x="1083" y="1252"/>
                </a:lnTo>
                <a:lnTo>
                  <a:pt x="1095" y="1263"/>
                </a:lnTo>
                <a:lnTo>
                  <a:pt x="1102" y="1270"/>
                </a:lnTo>
                <a:lnTo>
                  <a:pt x="1110" y="1276"/>
                </a:lnTo>
                <a:lnTo>
                  <a:pt x="1120" y="1281"/>
                </a:lnTo>
                <a:lnTo>
                  <a:pt x="1131" y="1285"/>
                </a:lnTo>
                <a:lnTo>
                  <a:pt x="1131" y="1285"/>
                </a:lnTo>
                <a:lnTo>
                  <a:pt x="1177" y="1306"/>
                </a:lnTo>
                <a:lnTo>
                  <a:pt x="1224" y="1326"/>
                </a:lnTo>
                <a:lnTo>
                  <a:pt x="1273" y="1346"/>
                </a:lnTo>
                <a:lnTo>
                  <a:pt x="1324" y="1364"/>
                </a:lnTo>
                <a:lnTo>
                  <a:pt x="1376" y="1382"/>
                </a:lnTo>
                <a:lnTo>
                  <a:pt x="1430" y="1399"/>
                </a:lnTo>
                <a:lnTo>
                  <a:pt x="1486" y="1414"/>
                </a:lnTo>
                <a:lnTo>
                  <a:pt x="1542" y="1428"/>
                </a:lnTo>
                <a:lnTo>
                  <a:pt x="1599" y="1441"/>
                </a:lnTo>
                <a:lnTo>
                  <a:pt x="1659" y="1452"/>
                </a:lnTo>
                <a:lnTo>
                  <a:pt x="1720" y="1463"/>
                </a:lnTo>
                <a:lnTo>
                  <a:pt x="1781" y="1472"/>
                </a:lnTo>
                <a:lnTo>
                  <a:pt x="1843" y="1477"/>
                </a:lnTo>
                <a:lnTo>
                  <a:pt x="1907" y="1483"/>
                </a:lnTo>
                <a:lnTo>
                  <a:pt x="1972" y="1486"/>
                </a:lnTo>
                <a:lnTo>
                  <a:pt x="2036" y="1487"/>
                </a:lnTo>
                <a:lnTo>
                  <a:pt x="2036" y="1487"/>
                </a:lnTo>
                <a:lnTo>
                  <a:pt x="2102" y="1486"/>
                </a:lnTo>
                <a:lnTo>
                  <a:pt x="2168" y="1483"/>
                </a:lnTo>
                <a:lnTo>
                  <a:pt x="2231" y="1477"/>
                </a:lnTo>
                <a:lnTo>
                  <a:pt x="2294" y="1472"/>
                </a:lnTo>
                <a:lnTo>
                  <a:pt x="2357" y="1463"/>
                </a:lnTo>
                <a:lnTo>
                  <a:pt x="2418" y="1452"/>
                </a:lnTo>
                <a:lnTo>
                  <a:pt x="2478" y="1441"/>
                </a:lnTo>
                <a:lnTo>
                  <a:pt x="2537" y="1428"/>
                </a:lnTo>
                <a:lnTo>
                  <a:pt x="2594" y="1414"/>
                </a:lnTo>
                <a:lnTo>
                  <a:pt x="2649" y="1399"/>
                </a:lnTo>
                <a:lnTo>
                  <a:pt x="2704" y="1382"/>
                </a:lnTo>
                <a:lnTo>
                  <a:pt x="2755" y="1364"/>
                </a:lnTo>
                <a:lnTo>
                  <a:pt x="2806" y="1346"/>
                </a:lnTo>
                <a:lnTo>
                  <a:pt x="2853" y="1326"/>
                </a:lnTo>
                <a:lnTo>
                  <a:pt x="2900" y="1306"/>
                </a:lnTo>
                <a:lnTo>
                  <a:pt x="2943" y="1285"/>
                </a:lnTo>
                <a:lnTo>
                  <a:pt x="2943" y="1285"/>
                </a:lnTo>
                <a:lnTo>
                  <a:pt x="2954" y="1281"/>
                </a:lnTo>
                <a:lnTo>
                  <a:pt x="2964" y="1276"/>
                </a:lnTo>
                <a:lnTo>
                  <a:pt x="2973" y="1270"/>
                </a:lnTo>
                <a:lnTo>
                  <a:pt x="2981" y="1263"/>
                </a:lnTo>
                <a:lnTo>
                  <a:pt x="2995" y="1252"/>
                </a:lnTo>
                <a:lnTo>
                  <a:pt x="3002" y="1246"/>
                </a:lnTo>
                <a:lnTo>
                  <a:pt x="3010" y="1240"/>
                </a:lnTo>
                <a:lnTo>
                  <a:pt x="3010" y="1240"/>
                </a:lnTo>
                <a:lnTo>
                  <a:pt x="2995" y="1217"/>
                </a:lnTo>
                <a:lnTo>
                  <a:pt x="2980" y="1193"/>
                </a:lnTo>
                <a:lnTo>
                  <a:pt x="2947" y="1147"/>
                </a:lnTo>
                <a:lnTo>
                  <a:pt x="2912" y="1103"/>
                </a:lnTo>
                <a:lnTo>
                  <a:pt x="2876" y="1064"/>
                </a:lnTo>
                <a:lnTo>
                  <a:pt x="2838" y="1026"/>
                </a:lnTo>
                <a:lnTo>
                  <a:pt x="2799" y="991"/>
                </a:lnTo>
                <a:lnTo>
                  <a:pt x="2758" y="959"/>
                </a:lnTo>
                <a:lnTo>
                  <a:pt x="2716" y="928"/>
                </a:lnTo>
                <a:lnTo>
                  <a:pt x="2716" y="928"/>
                </a:lnTo>
                <a:lnTo>
                  <a:pt x="3113" y="481"/>
                </a:lnTo>
                <a:lnTo>
                  <a:pt x="3113" y="481"/>
                </a:lnTo>
                <a:lnTo>
                  <a:pt x="3121" y="488"/>
                </a:lnTo>
                <a:lnTo>
                  <a:pt x="3130" y="491"/>
                </a:lnTo>
                <a:lnTo>
                  <a:pt x="3138" y="492"/>
                </a:lnTo>
                <a:lnTo>
                  <a:pt x="3146" y="492"/>
                </a:lnTo>
                <a:lnTo>
                  <a:pt x="3146" y="492"/>
                </a:lnTo>
                <a:lnTo>
                  <a:pt x="3172" y="491"/>
                </a:lnTo>
                <a:lnTo>
                  <a:pt x="3197" y="486"/>
                </a:lnTo>
                <a:lnTo>
                  <a:pt x="3221" y="481"/>
                </a:lnTo>
                <a:lnTo>
                  <a:pt x="3243" y="472"/>
                </a:lnTo>
                <a:lnTo>
                  <a:pt x="3264" y="463"/>
                </a:lnTo>
                <a:lnTo>
                  <a:pt x="3285" y="450"/>
                </a:lnTo>
                <a:lnTo>
                  <a:pt x="3305" y="436"/>
                </a:lnTo>
                <a:lnTo>
                  <a:pt x="3322" y="419"/>
                </a:lnTo>
                <a:lnTo>
                  <a:pt x="3338" y="402"/>
                </a:lnTo>
                <a:lnTo>
                  <a:pt x="3352" y="383"/>
                </a:lnTo>
                <a:lnTo>
                  <a:pt x="3365" y="363"/>
                </a:lnTo>
                <a:lnTo>
                  <a:pt x="3376" y="341"/>
                </a:lnTo>
                <a:lnTo>
                  <a:pt x="3385" y="318"/>
                </a:lnTo>
                <a:lnTo>
                  <a:pt x="3390" y="296"/>
                </a:lnTo>
                <a:lnTo>
                  <a:pt x="3394" y="271"/>
                </a:lnTo>
                <a:lnTo>
                  <a:pt x="3396" y="247"/>
                </a:lnTo>
                <a:lnTo>
                  <a:pt x="3396" y="247"/>
                </a:lnTo>
                <a:lnTo>
                  <a:pt x="3394" y="219"/>
                </a:lnTo>
                <a:lnTo>
                  <a:pt x="3390" y="193"/>
                </a:lnTo>
                <a:lnTo>
                  <a:pt x="3385" y="170"/>
                </a:lnTo>
                <a:lnTo>
                  <a:pt x="3376" y="146"/>
                </a:lnTo>
                <a:lnTo>
                  <a:pt x="3365" y="125"/>
                </a:lnTo>
                <a:lnTo>
                  <a:pt x="3352" y="104"/>
                </a:lnTo>
                <a:lnTo>
                  <a:pt x="3338" y="86"/>
                </a:lnTo>
                <a:lnTo>
                  <a:pt x="3322" y="69"/>
                </a:lnTo>
                <a:lnTo>
                  <a:pt x="3305" y="53"/>
                </a:lnTo>
                <a:lnTo>
                  <a:pt x="3285" y="39"/>
                </a:lnTo>
                <a:lnTo>
                  <a:pt x="3264" y="28"/>
                </a:lnTo>
                <a:lnTo>
                  <a:pt x="3243" y="18"/>
                </a:lnTo>
                <a:lnTo>
                  <a:pt x="3221" y="10"/>
                </a:lnTo>
                <a:lnTo>
                  <a:pt x="3197" y="4"/>
                </a:lnTo>
                <a:lnTo>
                  <a:pt x="3172" y="1"/>
                </a:lnTo>
                <a:lnTo>
                  <a:pt x="3146" y="0"/>
                </a:lnTo>
                <a:lnTo>
                  <a:pt x="3146" y="0"/>
                </a:lnTo>
                <a:lnTo>
                  <a:pt x="3121" y="1"/>
                </a:lnTo>
                <a:lnTo>
                  <a:pt x="3097" y="4"/>
                </a:lnTo>
                <a:lnTo>
                  <a:pt x="3074" y="10"/>
                </a:lnTo>
                <a:lnTo>
                  <a:pt x="3050" y="18"/>
                </a:lnTo>
                <a:lnTo>
                  <a:pt x="3029" y="28"/>
                </a:lnTo>
                <a:lnTo>
                  <a:pt x="3008" y="39"/>
                </a:lnTo>
                <a:lnTo>
                  <a:pt x="2989" y="53"/>
                </a:lnTo>
                <a:lnTo>
                  <a:pt x="2971" y="69"/>
                </a:lnTo>
                <a:lnTo>
                  <a:pt x="2954" y="86"/>
                </a:lnTo>
                <a:lnTo>
                  <a:pt x="2940" y="104"/>
                </a:lnTo>
                <a:lnTo>
                  <a:pt x="2928" y="125"/>
                </a:lnTo>
                <a:lnTo>
                  <a:pt x="2918" y="146"/>
                </a:lnTo>
                <a:lnTo>
                  <a:pt x="2908" y="170"/>
                </a:lnTo>
                <a:lnTo>
                  <a:pt x="2903" y="193"/>
                </a:lnTo>
                <a:lnTo>
                  <a:pt x="2898" y="219"/>
                </a:lnTo>
                <a:lnTo>
                  <a:pt x="2897" y="247"/>
                </a:lnTo>
                <a:lnTo>
                  <a:pt x="2897" y="247"/>
                </a:lnTo>
                <a:lnTo>
                  <a:pt x="2898" y="271"/>
                </a:lnTo>
                <a:lnTo>
                  <a:pt x="2898" y="283"/>
                </a:lnTo>
                <a:lnTo>
                  <a:pt x="2900" y="296"/>
                </a:lnTo>
                <a:lnTo>
                  <a:pt x="2903" y="308"/>
                </a:lnTo>
                <a:lnTo>
                  <a:pt x="2907" y="321"/>
                </a:lnTo>
                <a:lnTo>
                  <a:pt x="2912" y="334"/>
                </a:lnTo>
                <a:lnTo>
                  <a:pt x="2921" y="346"/>
                </a:lnTo>
                <a:lnTo>
                  <a:pt x="2921" y="346"/>
                </a:lnTo>
                <a:lnTo>
                  <a:pt x="2524" y="793"/>
                </a:lnTo>
                <a:lnTo>
                  <a:pt x="2524" y="793"/>
                </a:lnTo>
                <a:lnTo>
                  <a:pt x="2468" y="770"/>
                </a:lnTo>
                <a:lnTo>
                  <a:pt x="2411" y="749"/>
                </a:lnTo>
                <a:lnTo>
                  <a:pt x="2353" y="729"/>
                </a:lnTo>
                <a:lnTo>
                  <a:pt x="2293" y="713"/>
                </a:lnTo>
                <a:lnTo>
                  <a:pt x="2263" y="706"/>
                </a:lnTo>
                <a:lnTo>
                  <a:pt x="2231" y="699"/>
                </a:lnTo>
                <a:lnTo>
                  <a:pt x="2200" y="694"/>
                </a:lnTo>
                <a:lnTo>
                  <a:pt x="2168" y="690"/>
                </a:lnTo>
                <a:lnTo>
                  <a:pt x="2137" y="687"/>
                </a:lnTo>
                <a:lnTo>
                  <a:pt x="2104" y="684"/>
                </a:lnTo>
                <a:lnTo>
                  <a:pt x="2071" y="683"/>
                </a:lnTo>
                <a:lnTo>
                  <a:pt x="2036" y="683"/>
                </a:lnTo>
                <a:lnTo>
                  <a:pt x="2036" y="683"/>
                </a:lnTo>
                <a:lnTo>
                  <a:pt x="2006" y="683"/>
                </a:lnTo>
                <a:lnTo>
                  <a:pt x="1973" y="684"/>
                </a:lnTo>
                <a:lnTo>
                  <a:pt x="1941" y="687"/>
                </a:lnTo>
                <a:lnTo>
                  <a:pt x="1907" y="690"/>
                </a:lnTo>
                <a:lnTo>
                  <a:pt x="1875" y="695"/>
                </a:lnTo>
                <a:lnTo>
                  <a:pt x="1843" y="701"/>
                </a:lnTo>
                <a:lnTo>
                  <a:pt x="1811" y="706"/>
                </a:lnTo>
                <a:lnTo>
                  <a:pt x="1779" y="715"/>
                </a:lnTo>
                <a:lnTo>
                  <a:pt x="1746" y="722"/>
                </a:lnTo>
                <a:lnTo>
                  <a:pt x="1714" y="732"/>
                </a:lnTo>
                <a:lnTo>
                  <a:pt x="1682" y="741"/>
                </a:lnTo>
                <a:lnTo>
                  <a:pt x="1650" y="753"/>
                </a:lnTo>
                <a:lnTo>
                  <a:pt x="1619" y="765"/>
                </a:lnTo>
                <a:lnTo>
                  <a:pt x="1588" y="778"/>
                </a:lnTo>
                <a:lnTo>
                  <a:pt x="1557" y="791"/>
                </a:lnTo>
                <a:lnTo>
                  <a:pt x="1528" y="805"/>
                </a:lnTo>
                <a:lnTo>
                  <a:pt x="1528" y="805"/>
                </a:lnTo>
                <a:lnTo>
                  <a:pt x="1109" y="346"/>
                </a:lnTo>
                <a:lnTo>
                  <a:pt x="1109" y="346"/>
                </a:lnTo>
                <a:lnTo>
                  <a:pt x="1117" y="334"/>
                </a:lnTo>
                <a:lnTo>
                  <a:pt x="1124" y="321"/>
                </a:lnTo>
                <a:lnTo>
                  <a:pt x="1130" y="308"/>
                </a:lnTo>
                <a:lnTo>
                  <a:pt x="1134" y="296"/>
                </a:lnTo>
                <a:lnTo>
                  <a:pt x="1138" y="283"/>
                </a:lnTo>
                <a:lnTo>
                  <a:pt x="1141" y="271"/>
                </a:lnTo>
                <a:lnTo>
                  <a:pt x="1142" y="258"/>
                </a:lnTo>
                <a:lnTo>
                  <a:pt x="1142" y="247"/>
                </a:lnTo>
                <a:lnTo>
                  <a:pt x="1142" y="247"/>
                </a:lnTo>
                <a:lnTo>
                  <a:pt x="1141" y="219"/>
                </a:lnTo>
                <a:lnTo>
                  <a:pt x="1138" y="193"/>
                </a:lnTo>
                <a:lnTo>
                  <a:pt x="1131" y="170"/>
                </a:lnTo>
                <a:lnTo>
                  <a:pt x="1123" y="146"/>
                </a:lnTo>
                <a:lnTo>
                  <a:pt x="1113" y="125"/>
                </a:lnTo>
                <a:lnTo>
                  <a:pt x="1100" y="104"/>
                </a:lnTo>
                <a:lnTo>
                  <a:pt x="1085" y="86"/>
                </a:lnTo>
                <a:lnTo>
                  <a:pt x="1069" y="69"/>
                </a:lnTo>
                <a:lnTo>
                  <a:pt x="1051" y="53"/>
                </a:lnTo>
                <a:lnTo>
                  <a:pt x="1032" y="39"/>
                </a:lnTo>
                <a:lnTo>
                  <a:pt x="1012" y="28"/>
                </a:lnTo>
                <a:lnTo>
                  <a:pt x="989" y="18"/>
                </a:lnTo>
                <a:lnTo>
                  <a:pt x="967" y="10"/>
                </a:lnTo>
                <a:lnTo>
                  <a:pt x="943" y="4"/>
                </a:lnTo>
                <a:lnTo>
                  <a:pt x="919" y="1"/>
                </a:lnTo>
                <a:lnTo>
                  <a:pt x="894" y="0"/>
                </a:lnTo>
                <a:lnTo>
                  <a:pt x="894" y="0"/>
                </a:lnTo>
                <a:lnTo>
                  <a:pt x="866" y="1"/>
                </a:lnTo>
                <a:lnTo>
                  <a:pt x="841" y="4"/>
                </a:lnTo>
                <a:lnTo>
                  <a:pt x="816" y="10"/>
                </a:lnTo>
                <a:lnTo>
                  <a:pt x="793" y="18"/>
                </a:lnTo>
                <a:lnTo>
                  <a:pt x="771" y="28"/>
                </a:lnTo>
                <a:lnTo>
                  <a:pt x="750" y="39"/>
                </a:lnTo>
                <a:lnTo>
                  <a:pt x="732" y="53"/>
                </a:lnTo>
                <a:lnTo>
                  <a:pt x="713" y="69"/>
                </a:lnTo>
                <a:lnTo>
                  <a:pt x="698" y="86"/>
                </a:lnTo>
                <a:lnTo>
                  <a:pt x="684" y="104"/>
                </a:lnTo>
                <a:lnTo>
                  <a:pt x="673" y="125"/>
                </a:lnTo>
                <a:lnTo>
                  <a:pt x="663" y="146"/>
                </a:lnTo>
                <a:lnTo>
                  <a:pt x="655" y="170"/>
                </a:lnTo>
                <a:lnTo>
                  <a:pt x="649" y="193"/>
                </a:lnTo>
                <a:lnTo>
                  <a:pt x="646" y="219"/>
                </a:lnTo>
                <a:lnTo>
                  <a:pt x="645" y="247"/>
                </a:lnTo>
                <a:lnTo>
                  <a:pt x="645" y="247"/>
                </a:lnTo>
                <a:lnTo>
                  <a:pt x="646" y="271"/>
                </a:lnTo>
                <a:lnTo>
                  <a:pt x="649" y="296"/>
                </a:lnTo>
                <a:lnTo>
                  <a:pt x="655" y="318"/>
                </a:lnTo>
                <a:lnTo>
                  <a:pt x="663" y="341"/>
                </a:lnTo>
                <a:lnTo>
                  <a:pt x="673" y="363"/>
                </a:lnTo>
                <a:lnTo>
                  <a:pt x="684" y="383"/>
                </a:lnTo>
                <a:lnTo>
                  <a:pt x="698" y="402"/>
                </a:lnTo>
                <a:lnTo>
                  <a:pt x="713" y="419"/>
                </a:lnTo>
                <a:lnTo>
                  <a:pt x="732" y="436"/>
                </a:lnTo>
                <a:lnTo>
                  <a:pt x="750" y="450"/>
                </a:lnTo>
                <a:lnTo>
                  <a:pt x="771" y="463"/>
                </a:lnTo>
                <a:lnTo>
                  <a:pt x="793" y="472"/>
                </a:lnTo>
                <a:lnTo>
                  <a:pt x="816" y="481"/>
                </a:lnTo>
                <a:lnTo>
                  <a:pt x="841" y="486"/>
                </a:lnTo>
                <a:lnTo>
                  <a:pt x="866" y="491"/>
                </a:lnTo>
                <a:lnTo>
                  <a:pt x="894" y="492"/>
                </a:lnTo>
                <a:lnTo>
                  <a:pt x="894" y="492"/>
                </a:lnTo>
                <a:close/>
                <a:moveTo>
                  <a:pt x="2015" y="2837"/>
                </a:moveTo>
                <a:lnTo>
                  <a:pt x="2015" y="2837"/>
                </a:lnTo>
                <a:lnTo>
                  <a:pt x="2015" y="2813"/>
                </a:lnTo>
                <a:lnTo>
                  <a:pt x="2015" y="2813"/>
                </a:lnTo>
                <a:lnTo>
                  <a:pt x="1986" y="2810"/>
                </a:lnTo>
                <a:lnTo>
                  <a:pt x="1958" y="2803"/>
                </a:lnTo>
                <a:lnTo>
                  <a:pt x="1931" y="2795"/>
                </a:lnTo>
                <a:lnTo>
                  <a:pt x="1907" y="2784"/>
                </a:lnTo>
                <a:lnTo>
                  <a:pt x="1884" y="2771"/>
                </a:lnTo>
                <a:lnTo>
                  <a:pt x="1864" y="2756"/>
                </a:lnTo>
                <a:lnTo>
                  <a:pt x="1844" y="2740"/>
                </a:lnTo>
                <a:lnTo>
                  <a:pt x="1828" y="2722"/>
                </a:lnTo>
                <a:lnTo>
                  <a:pt x="1812" y="2702"/>
                </a:lnTo>
                <a:lnTo>
                  <a:pt x="1798" y="2681"/>
                </a:lnTo>
                <a:lnTo>
                  <a:pt x="1787" y="2660"/>
                </a:lnTo>
                <a:lnTo>
                  <a:pt x="1777" y="2638"/>
                </a:lnTo>
                <a:lnTo>
                  <a:pt x="1770" y="2616"/>
                </a:lnTo>
                <a:lnTo>
                  <a:pt x="1765" y="2592"/>
                </a:lnTo>
                <a:lnTo>
                  <a:pt x="1760" y="2568"/>
                </a:lnTo>
                <a:lnTo>
                  <a:pt x="1758" y="2544"/>
                </a:lnTo>
                <a:lnTo>
                  <a:pt x="1758" y="2519"/>
                </a:lnTo>
                <a:lnTo>
                  <a:pt x="1760" y="2495"/>
                </a:lnTo>
                <a:lnTo>
                  <a:pt x="1763" y="2471"/>
                </a:lnTo>
                <a:lnTo>
                  <a:pt x="1769" y="2449"/>
                </a:lnTo>
                <a:lnTo>
                  <a:pt x="1777" y="2426"/>
                </a:lnTo>
                <a:lnTo>
                  <a:pt x="1787" y="2404"/>
                </a:lnTo>
                <a:lnTo>
                  <a:pt x="1798" y="2384"/>
                </a:lnTo>
                <a:lnTo>
                  <a:pt x="1812" y="2365"/>
                </a:lnTo>
                <a:lnTo>
                  <a:pt x="1828" y="2346"/>
                </a:lnTo>
                <a:lnTo>
                  <a:pt x="1846" y="2330"/>
                </a:lnTo>
                <a:lnTo>
                  <a:pt x="1865" y="2314"/>
                </a:lnTo>
                <a:lnTo>
                  <a:pt x="1888" y="2302"/>
                </a:lnTo>
                <a:lnTo>
                  <a:pt x="1912" y="2290"/>
                </a:lnTo>
                <a:lnTo>
                  <a:pt x="1937" y="2282"/>
                </a:lnTo>
                <a:lnTo>
                  <a:pt x="1965" y="2275"/>
                </a:lnTo>
                <a:lnTo>
                  <a:pt x="1996" y="2271"/>
                </a:lnTo>
                <a:lnTo>
                  <a:pt x="1996" y="2271"/>
                </a:lnTo>
                <a:lnTo>
                  <a:pt x="1996" y="2236"/>
                </a:lnTo>
                <a:lnTo>
                  <a:pt x="1996" y="2236"/>
                </a:lnTo>
                <a:lnTo>
                  <a:pt x="1972" y="2238"/>
                </a:lnTo>
                <a:lnTo>
                  <a:pt x="1950" y="2243"/>
                </a:lnTo>
                <a:lnTo>
                  <a:pt x="1927" y="2247"/>
                </a:lnTo>
                <a:lnTo>
                  <a:pt x="1906" y="2254"/>
                </a:lnTo>
                <a:lnTo>
                  <a:pt x="1886" y="2262"/>
                </a:lnTo>
                <a:lnTo>
                  <a:pt x="1865" y="2271"/>
                </a:lnTo>
                <a:lnTo>
                  <a:pt x="1847" y="2281"/>
                </a:lnTo>
                <a:lnTo>
                  <a:pt x="1829" y="2292"/>
                </a:lnTo>
                <a:lnTo>
                  <a:pt x="1811" y="2303"/>
                </a:lnTo>
                <a:lnTo>
                  <a:pt x="1794" y="2317"/>
                </a:lnTo>
                <a:lnTo>
                  <a:pt x="1779" y="2331"/>
                </a:lnTo>
                <a:lnTo>
                  <a:pt x="1763" y="2345"/>
                </a:lnTo>
                <a:lnTo>
                  <a:pt x="1749" y="2360"/>
                </a:lnTo>
                <a:lnTo>
                  <a:pt x="1736" y="2377"/>
                </a:lnTo>
                <a:lnTo>
                  <a:pt x="1724" y="2394"/>
                </a:lnTo>
                <a:lnTo>
                  <a:pt x="1713" y="2412"/>
                </a:lnTo>
                <a:lnTo>
                  <a:pt x="1703" y="2431"/>
                </a:lnTo>
                <a:lnTo>
                  <a:pt x="1693" y="2449"/>
                </a:lnTo>
                <a:lnTo>
                  <a:pt x="1685" y="2468"/>
                </a:lnTo>
                <a:lnTo>
                  <a:pt x="1678" y="2488"/>
                </a:lnTo>
                <a:lnTo>
                  <a:pt x="1672" y="2509"/>
                </a:lnTo>
                <a:lnTo>
                  <a:pt x="1666" y="2529"/>
                </a:lnTo>
                <a:lnTo>
                  <a:pt x="1664" y="2550"/>
                </a:lnTo>
                <a:lnTo>
                  <a:pt x="1661" y="2571"/>
                </a:lnTo>
                <a:lnTo>
                  <a:pt x="1659" y="2592"/>
                </a:lnTo>
                <a:lnTo>
                  <a:pt x="1659" y="2613"/>
                </a:lnTo>
                <a:lnTo>
                  <a:pt x="1661" y="2634"/>
                </a:lnTo>
                <a:lnTo>
                  <a:pt x="1664" y="2655"/>
                </a:lnTo>
                <a:lnTo>
                  <a:pt x="1668" y="2676"/>
                </a:lnTo>
                <a:lnTo>
                  <a:pt x="1672" y="2697"/>
                </a:lnTo>
                <a:lnTo>
                  <a:pt x="1679" y="2718"/>
                </a:lnTo>
                <a:lnTo>
                  <a:pt x="1687" y="2739"/>
                </a:lnTo>
                <a:lnTo>
                  <a:pt x="1687" y="2739"/>
                </a:lnTo>
                <a:lnTo>
                  <a:pt x="1662" y="2742"/>
                </a:lnTo>
                <a:lnTo>
                  <a:pt x="1640" y="2746"/>
                </a:lnTo>
                <a:lnTo>
                  <a:pt x="1616" y="2752"/>
                </a:lnTo>
                <a:lnTo>
                  <a:pt x="1595" y="2759"/>
                </a:lnTo>
                <a:lnTo>
                  <a:pt x="1574" y="2768"/>
                </a:lnTo>
                <a:lnTo>
                  <a:pt x="1553" y="2778"/>
                </a:lnTo>
                <a:lnTo>
                  <a:pt x="1533" y="2788"/>
                </a:lnTo>
                <a:lnTo>
                  <a:pt x="1515" y="2801"/>
                </a:lnTo>
                <a:lnTo>
                  <a:pt x="1498" y="2813"/>
                </a:lnTo>
                <a:lnTo>
                  <a:pt x="1481" y="2827"/>
                </a:lnTo>
                <a:lnTo>
                  <a:pt x="1466" y="2843"/>
                </a:lnTo>
                <a:lnTo>
                  <a:pt x="1451" y="2858"/>
                </a:lnTo>
                <a:lnTo>
                  <a:pt x="1438" y="2875"/>
                </a:lnTo>
                <a:lnTo>
                  <a:pt x="1425" y="2892"/>
                </a:lnTo>
                <a:lnTo>
                  <a:pt x="1413" y="2910"/>
                </a:lnTo>
                <a:lnTo>
                  <a:pt x="1403" y="2928"/>
                </a:lnTo>
                <a:lnTo>
                  <a:pt x="1393" y="2948"/>
                </a:lnTo>
                <a:lnTo>
                  <a:pt x="1385" y="2967"/>
                </a:lnTo>
                <a:lnTo>
                  <a:pt x="1378" y="2987"/>
                </a:lnTo>
                <a:lnTo>
                  <a:pt x="1372" y="3008"/>
                </a:lnTo>
                <a:lnTo>
                  <a:pt x="1368" y="3029"/>
                </a:lnTo>
                <a:lnTo>
                  <a:pt x="1364" y="3050"/>
                </a:lnTo>
                <a:lnTo>
                  <a:pt x="1362" y="3071"/>
                </a:lnTo>
                <a:lnTo>
                  <a:pt x="1361" y="3094"/>
                </a:lnTo>
                <a:lnTo>
                  <a:pt x="1361" y="3115"/>
                </a:lnTo>
                <a:lnTo>
                  <a:pt x="1362" y="3137"/>
                </a:lnTo>
                <a:lnTo>
                  <a:pt x="1365" y="3158"/>
                </a:lnTo>
                <a:lnTo>
                  <a:pt x="1369" y="3180"/>
                </a:lnTo>
                <a:lnTo>
                  <a:pt x="1375" y="3201"/>
                </a:lnTo>
                <a:lnTo>
                  <a:pt x="1382" y="3224"/>
                </a:lnTo>
                <a:lnTo>
                  <a:pt x="1390" y="3245"/>
                </a:lnTo>
                <a:lnTo>
                  <a:pt x="1400" y="3266"/>
                </a:lnTo>
                <a:lnTo>
                  <a:pt x="1400" y="3266"/>
                </a:lnTo>
                <a:lnTo>
                  <a:pt x="1441" y="3244"/>
                </a:lnTo>
                <a:lnTo>
                  <a:pt x="1441" y="3244"/>
                </a:lnTo>
                <a:lnTo>
                  <a:pt x="1432" y="3227"/>
                </a:lnTo>
                <a:lnTo>
                  <a:pt x="1425" y="3211"/>
                </a:lnTo>
                <a:lnTo>
                  <a:pt x="1420" y="3196"/>
                </a:lnTo>
                <a:lnTo>
                  <a:pt x="1416" y="3179"/>
                </a:lnTo>
                <a:lnTo>
                  <a:pt x="1413" y="3164"/>
                </a:lnTo>
                <a:lnTo>
                  <a:pt x="1411" y="3147"/>
                </a:lnTo>
                <a:lnTo>
                  <a:pt x="1411" y="3131"/>
                </a:lnTo>
                <a:lnTo>
                  <a:pt x="1413" y="3115"/>
                </a:lnTo>
                <a:lnTo>
                  <a:pt x="1416" y="3099"/>
                </a:lnTo>
                <a:lnTo>
                  <a:pt x="1420" y="3082"/>
                </a:lnTo>
                <a:lnTo>
                  <a:pt x="1424" y="3067"/>
                </a:lnTo>
                <a:lnTo>
                  <a:pt x="1430" y="3051"/>
                </a:lnTo>
                <a:lnTo>
                  <a:pt x="1437" y="3037"/>
                </a:lnTo>
                <a:lnTo>
                  <a:pt x="1445" y="3022"/>
                </a:lnTo>
                <a:lnTo>
                  <a:pt x="1453" y="3008"/>
                </a:lnTo>
                <a:lnTo>
                  <a:pt x="1463" y="2994"/>
                </a:lnTo>
                <a:lnTo>
                  <a:pt x="1473" y="2980"/>
                </a:lnTo>
                <a:lnTo>
                  <a:pt x="1484" y="2967"/>
                </a:lnTo>
                <a:lnTo>
                  <a:pt x="1497" y="2955"/>
                </a:lnTo>
                <a:lnTo>
                  <a:pt x="1509" y="2944"/>
                </a:lnTo>
                <a:lnTo>
                  <a:pt x="1522" y="2932"/>
                </a:lnTo>
                <a:lnTo>
                  <a:pt x="1536" y="2923"/>
                </a:lnTo>
                <a:lnTo>
                  <a:pt x="1550" y="2913"/>
                </a:lnTo>
                <a:lnTo>
                  <a:pt x="1565" y="2904"/>
                </a:lnTo>
                <a:lnTo>
                  <a:pt x="1581" y="2896"/>
                </a:lnTo>
                <a:lnTo>
                  <a:pt x="1596" y="2889"/>
                </a:lnTo>
                <a:lnTo>
                  <a:pt x="1612" y="2883"/>
                </a:lnTo>
                <a:lnTo>
                  <a:pt x="1629" y="2878"/>
                </a:lnTo>
                <a:lnTo>
                  <a:pt x="1645" y="2873"/>
                </a:lnTo>
                <a:lnTo>
                  <a:pt x="1662" y="2871"/>
                </a:lnTo>
                <a:lnTo>
                  <a:pt x="1679" y="2869"/>
                </a:lnTo>
                <a:lnTo>
                  <a:pt x="1696" y="2869"/>
                </a:lnTo>
                <a:lnTo>
                  <a:pt x="1696" y="2869"/>
                </a:lnTo>
                <a:lnTo>
                  <a:pt x="1714" y="2869"/>
                </a:lnTo>
                <a:lnTo>
                  <a:pt x="1731" y="2871"/>
                </a:lnTo>
                <a:lnTo>
                  <a:pt x="1749" y="2873"/>
                </a:lnTo>
                <a:lnTo>
                  <a:pt x="1766" y="2878"/>
                </a:lnTo>
                <a:lnTo>
                  <a:pt x="1783" y="2882"/>
                </a:lnTo>
                <a:lnTo>
                  <a:pt x="1800" y="2889"/>
                </a:lnTo>
                <a:lnTo>
                  <a:pt x="1815" y="2896"/>
                </a:lnTo>
                <a:lnTo>
                  <a:pt x="1830" y="2903"/>
                </a:lnTo>
                <a:lnTo>
                  <a:pt x="1830" y="2903"/>
                </a:lnTo>
                <a:lnTo>
                  <a:pt x="1835" y="2907"/>
                </a:lnTo>
                <a:lnTo>
                  <a:pt x="1839" y="2909"/>
                </a:lnTo>
                <a:lnTo>
                  <a:pt x="1843" y="2910"/>
                </a:lnTo>
                <a:lnTo>
                  <a:pt x="1843" y="2910"/>
                </a:lnTo>
                <a:lnTo>
                  <a:pt x="1867" y="2927"/>
                </a:lnTo>
                <a:lnTo>
                  <a:pt x="1888" y="2944"/>
                </a:lnTo>
                <a:lnTo>
                  <a:pt x="1906" y="2962"/>
                </a:lnTo>
                <a:lnTo>
                  <a:pt x="1921" y="2979"/>
                </a:lnTo>
                <a:lnTo>
                  <a:pt x="1921" y="2979"/>
                </a:lnTo>
                <a:lnTo>
                  <a:pt x="1943" y="2965"/>
                </a:lnTo>
                <a:lnTo>
                  <a:pt x="1943" y="2965"/>
                </a:lnTo>
                <a:lnTo>
                  <a:pt x="1938" y="2948"/>
                </a:lnTo>
                <a:lnTo>
                  <a:pt x="1937" y="2932"/>
                </a:lnTo>
                <a:lnTo>
                  <a:pt x="1937" y="2932"/>
                </a:lnTo>
                <a:lnTo>
                  <a:pt x="1938" y="2916"/>
                </a:lnTo>
                <a:lnTo>
                  <a:pt x="1943" y="2899"/>
                </a:lnTo>
                <a:lnTo>
                  <a:pt x="1950" y="2885"/>
                </a:lnTo>
                <a:lnTo>
                  <a:pt x="1959" y="2871"/>
                </a:lnTo>
                <a:lnTo>
                  <a:pt x="1972" y="2858"/>
                </a:lnTo>
                <a:lnTo>
                  <a:pt x="1985" y="2848"/>
                </a:lnTo>
                <a:lnTo>
                  <a:pt x="2000" y="2841"/>
                </a:lnTo>
                <a:lnTo>
                  <a:pt x="2015" y="2837"/>
                </a:lnTo>
                <a:lnTo>
                  <a:pt x="2015" y="2837"/>
                </a:lnTo>
                <a:close/>
                <a:moveTo>
                  <a:pt x="1647" y="2918"/>
                </a:moveTo>
                <a:lnTo>
                  <a:pt x="1647" y="2918"/>
                </a:lnTo>
                <a:lnTo>
                  <a:pt x="1647" y="2948"/>
                </a:lnTo>
                <a:lnTo>
                  <a:pt x="1648" y="2976"/>
                </a:lnTo>
                <a:lnTo>
                  <a:pt x="1652" y="3005"/>
                </a:lnTo>
                <a:lnTo>
                  <a:pt x="1659" y="3033"/>
                </a:lnTo>
                <a:lnTo>
                  <a:pt x="1668" y="3060"/>
                </a:lnTo>
                <a:lnTo>
                  <a:pt x="1678" y="3087"/>
                </a:lnTo>
                <a:lnTo>
                  <a:pt x="1690" y="3112"/>
                </a:lnTo>
                <a:lnTo>
                  <a:pt x="1704" y="3137"/>
                </a:lnTo>
                <a:lnTo>
                  <a:pt x="1720" y="3161"/>
                </a:lnTo>
                <a:lnTo>
                  <a:pt x="1738" y="3183"/>
                </a:lnTo>
                <a:lnTo>
                  <a:pt x="1756" y="3204"/>
                </a:lnTo>
                <a:lnTo>
                  <a:pt x="1777" y="3224"/>
                </a:lnTo>
                <a:lnTo>
                  <a:pt x="1801" y="3242"/>
                </a:lnTo>
                <a:lnTo>
                  <a:pt x="1825" y="3259"/>
                </a:lnTo>
                <a:lnTo>
                  <a:pt x="1850" y="3273"/>
                </a:lnTo>
                <a:lnTo>
                  <a:pt x="1878" y="3287"/>
                </a:lnTo>
                <a:lnTo>
                  <a:pt x="1878" y="3287"/>
                </a:lnTo>
                <a:lnTo>
                  <a:pt x="1895" y="3259"/>
                </a:lnTo>
                <a:lnTo>
                  <a:pt x="1905" y="3245"/>
                </a:lnTo>
                <a:lnTo>
                  <a:pt x="1913" y="3228"/>
                </a:lnTo>
                <a:lnTo>
                  <a:pt x="1913" y="3228"/>
                </a:lnTo>
                <a:lnTo>
                  <a:pt x="1889" y="3218"/>
                </a:lnTo>
                <a:lnTo>
                  <a:pt x="1865" y="3206"/>
                </a:lnTo>
                <a:lnTo>
                  <a:pt x="1844" y="3192"/>
                </a:lnTo>
                <a:lnTo>
                  <a:pt x="1823" y="3176"/>
                </a:lnTo>
                <a:lnTo>
                  <a:pt x="1805" y="3159"/>
                </a:lnTo>
                <a:lnTo>
                  <a:pt x="1787" y="3141"/>
                </a:lnTo>
                <a:lnTo>
                  <a:pt x="1772" y="3122"/>
                </a:lnTo>
                <a:lnTo>
                  <a:pt x="1758" y="3101"/>
                </a:lnTo>
                <a:lnTo>
                  <a:pt x="1745" y="3080"/>
                </a:lnTo>
                <a:lnTo>
                  <a:pt x="1734" y="3057"/>
                </a:lnTo>
                <a:lnTo>
                  <a:pt x="1724" y="3035"/>
                </a:lnTo>
                <a:lnTo>
                  <a:pt x="1717" y="3011"/>
                </a:lnTo>
                <a:lnTo>
                  <a:pt x="1710" y="2987"/>
                </a:lnTo>
                <a:lnTo>
                  <a:pt x="1707" y="2962"/>
                </a:lnTo>
                <a:lnTo>
                  <a:pt x="1704" y="2937"/>
                </a:lnTo>
                <a:lnTo>
                  <a:pt x="1704" y="2913"/>
                </a:lnTo>
                <a:lnTo>
                  <a:pt x="1704" y="2913"/>
                </a:lnTo>
                <a:lnTo>
                  <a:pt x="1675" y="2913"/>
                </a:lnTo>
                <a:lnTo>
                  <a:pt x="1661" y="2914"/>
                </a:lnTo>
                <a:lnTo>
                  <a:pt x="1647" y="2918"/>
                </a:lnTo>
                <a:lnTo>
                  <a:pt x="1647" y="2918"/>
                </a:lnTo>
                <a:close/>
                <a:moveTo>
                  <a:pt x="1085" y="2879"/>
                </a:moveTo>
                <a:lnTo>
                  <a:pt x="1085" y="2879"/>
                </a:lnTo>
                <a:lnTo>
                  <a:pt x="1086" y="2833"/>
                </a:lnTo>
                <a:lnTo>
                  <a:pt x="1090" y="2788"/>
                </a:lnTo>
                <a:lnTo>
                  <a:pt x="1095" y="2743"/>
                </a:lnTo>
                <a:lnTo>
                  <a:pt x="1103" y="2700"/>
                </a:lnTo>
                <a:lnTo>
                  <a:pt x="1113" y="2656"/>
                </a:lnTo>
                <a:lnTo>
                  <a:pt x="1124" y="2614"/>
                </a:lnTo>
                <a:lnTo>
                  <a:pt x="1138" y="2572"/>
                </a:lnTo>
                <a:lnTo>
                  <a:pt x="1153" y="2531"/>
                </a:lnTo>
                <a:lnTo>
                  <a:pt x="1170" y="2492"/>
                </a:lnTo>
                <a:lnTo>
                  <a:pt x="1188" y="2453"/>
                </a:lnTo>
                <a:lnTo>
                  <a:pt x="1210" y="2415"/>
                </a:lnTo>
                <a:lnTo>
                  <a:pt x="1232" y="2379"/>
                </a:lnTo>
                <a:lnTo>
                  <a:pt x="1256" y="2344"/>
                </a:lnTo>
                <a:lnTo>
                  <a:pt x="1281" y="2309"/>
                </a:lnTo>
                <a:lnTo>
                  <a:pt x="1308" y="2276"/>
                </a:lnTo>
                <a:lnTo>
                  <a:pt x="1337" y="2244"/>
                </a:lnTo>
                <a:lnTo>
                  <a:pt x="1366" y="2213"/>
                </a:lnTo>
                <a:lnTo>
                  <a:pt x="1397" y="2184"/>
                </a:lnTo>
                <a:lnTo>
                  <a:pt x="1430" y="2157"/>
                </a:lnTo>
                <a:lnTo>
                  <a:pt x="1463" y="2131"/>
                </a:lnTo>
                <a:lnTo>
                  <a:pt x="1498" y="2105"/>
                </a:lnTo>
                <a:lnTo>
                  <a:pt x="1535" y="2083"/>
                </a:lnTo>
                <a:lnTo>
                  <a:pt x="1571" y="2062"/>
                </a:lnTo>
                <a:lnTo>
                  <a:pt x="1609" y="2042"/>
                </a:lnTo>
                <a:lnTo>
                  <a:pt x="1648" y="2024"/>
                </a:lnTo>
                <a:lnTo>
                  <a:pt x="1689" y="2007"/>
                </a:lnTo>
                <a:lnTo>
                  <a:pt x="1729" y="1993"/>
                </a:lnTo>
                <a:lnTo>
                  <a:pt x="1772" y="1981"/>
                </a:lnTo>
                <a:lnTo>
                  <a:pt x="1814" y="1971"/>
                </a:lnTo>
                <a:lnTo>
                  <a:pt x="1856" y="1962"/>
                </a:lnTo>
                <a:lnTo>
                  <a:pt x="1900" y="1957"/>
                </a:lnTo>
                <a:lnTo>
                  <a:pt x="1944" y="1953"/>
                </a:lnTo>
                <a:lnTo>
                  <a:pt x="1944" y="1953"/>
                </a:lnTo>
                <a:lnTo>
                  <a:pt x="1944" y="1650"/>
                </a:lnTo>
                <a:lnTo>
                  <a:pt x="1944" y="1650"/>
                </a:lnTo>
                <a:lnTo>
                  <a:pt x="1879" y="1650"/>
                </a:lnTo>
                <a:lnTo>
                  <a:pt x="1815" y="1647"/>
                </a:lnTo>
                <a:lnTo>
                  <a:pt x="1752" y="1643"/>
                </a:lnTo>
                <a:lnTo>
                  <a:pt x="1690" y="1636"/>
                </a:lnTo>
                <a:lnTo>
                  <a:pt x="1629" y="1629"/>
                </a:lnTo>
                <a:lnTo>
                  <a:pt x="1570" y="1619"/>
                </a:lnTo>
                <a:lnTo>
                  <a:pt x="1511" y="1608"/>
                </a:lnTo>
                <a:lnTo>
                  <a:pt x="1453" y="1595"/>
                </a:lnTo>
                <a:lnTo>
                  <a:pt x="1397" y="1580"/>
                </a:lnTo>
                <a:lnTo>
                  <a:pt x="1343" y="1564"/>
                </a:lnTo>
                <a:lnTo>
                  <a:pt x="1289" y="1546"/>
                </a:lnTo>
                <a:lnTo>
                  <a:pt x="1238" y="1528"/>
                </a:lnTo>
                <a:lnTo>
                  <a:pt x="1186" y="1507"/>
                </a:lnTo>
                <a:lnTo>
                  <a:pt x="1137" y="1486"/>
                </a:lnTo>
                <a:lnTo>
                  <a:pt x="1088" y="1462"/>
                </a:lnTo>
                <a:lnTo>
                  <a:pt x="1040" y="1438"/>
                </a:lnTo>
                <a:lnTo>
                  <a:pt x="1040" y="1438"/>
                </a:lnTo>
                <a:lnTo>
                  <a:pt x="1027" y="1428"/>
                </a:lnTo>
                <a:lnTo>
                  <a:pt x="1010" y="1416"/>
                </a:lnTo>
                <a:lnTo>
                  <a:pt x="991" y="1403"/>
                </a:lnTo>
                <a:lnTo>
                  <a:pt x="973" y="1393"/>
                </a:lnTo>
                <a:lnTo>
                  <a:pt x="973" y="1393"/>
                </a:lnTo>
                <a:lnTo>
                  <a:pt x="947" y="1431"/>
                </a:lnTo>
                <a:lnTo>
                  <a:pt x="925" y="1469"/>
                </a:lnTo>
                <a:lnTo>
                  <a:pt x="905" y="1507"/>
                </a:lnTo>
                <a:lnTo>
                  <a:pt x="886" y="1546"/>
                </a:lnTo>
                <a:lnTo>
                  <a:pt x="869" y="1585"/>
                </a:lnTo>
                <a:lnTo>
                  <a:pt x="854" y="1625"/>
                </a:lnTo>
                <a:lnTo>
                  <a:pt x="838" y="1665"/>
                </a:lnTo>
                <a:lnTo>
                  <a:pt x="825" y="1706"/>
                </a:lnTo>
                <a:lnTo>
                  <a:pt x="825" y="1706"/>
                </a:lnTo>
                <a:lnTo>
                  <a:pt x="339" y="1505"/>
                </a:lnTo>
                <a:lnTo>
                  <a:pt x="339" y="1505"/>
                </a:lnTo>
                <a:lnTo>
                  <a:pt x="325" y="1501"/>
                </a:lnTo>
                <a:lnTo>
                  <a:pt x="310" y="1498"/>
                </a:lnTo>
                <a:lnTo>
                  <a:pt x="296" y="1497"/>
                </a:lnTo>
                <a:lnTo>
                  <a:pt x="280" y="1497"/>
                </a:lnTo>
                <a:lnTo>
                  <a:pt x="266" y="1497"/>
                </a:lnTo>
                <a:lnTo>
                  <a:pt x="254" y="1500"/>
                </a:lnTo>
                <a:lnTo>
                  <a:pt x="240" y="1503"/>
                </a:lnTo>
                <a:lnTo>
                  <a:pt x="227" y="1507"/>
                </a:lnTo>
                <a:lnTo>
                  <a:pt x="214" y="1512"/>
                </a:lnTo>
                <a:lnTo>
                  <a:pt x="202" y="1518"/>
                </a:lnTo>
                <a:lnTo>
                  <a:pt x="191" y="1526"/>
                </a:lnTo>
                <a:lnTo>
                  <a:pt x="181" y="1535"/>
                </a:lnTo>
                <a:lnTo>
                  <a:pt x="171" y="1545"/>
                </a:lnTo>
                <a:lnTo>
                  <a:pt x="163" y="1556"/>
                </a:lnTo>
                <a:lnTo>
                  <a:pt x="154" y="1570"/>
                </a:lnTo>
                <a:lnTo>
                  <a:pt x="147" y="1584"/>
                </a:lnTo>
                <a:lnTo>
                  <a:pt x="147" y="1584"/>
                </a:lnTo>
                <a:lnTo>
                  <a:pt x="142" y="1597"/>
                </a:lnTo>
                <a:lnTo>
                  <a:pt x="139" y="1609"/>
                </a:lnTo>
                <a:lnTo>
                  <a:pt x="136" y="1623"/>
                </a:lnTo>
                <a:lnTo>
                  <a:pt x="136" y="1637"/>
                </a:lnTo>
                <a:lnTo>
                  <a:pt x="137" y="1650"/>
                </a:lnTo>
                <a:lnTo>
                  <a:pt x="140" y="1664"/>
                </a:lnTo>
                <a:lnTo>
                  <a:pt x="144" y="1678"/>
                </a:lnTo>
                <a:lnTo>
                  <a:pt x="150" y="1690"/>
                </a:lnTo>
                <a:lnTo>
                  <a:pt x="157" y="1703"/>
                </a:lnTo>
                <a:lnTo>
                  <a:pt x="165" y="1716"/>
                </a:lnTo>
                <a:lnTo>
                  <a:pt x="175" y="1728"/>
                </a:lnTo>
                <a:lnTo>
                  <a:pt x="185" y="1739"/>
                </a:lnTo>
                <a:lnTo>
                  <a:pt x="198" y="1749"/>
                </a:lnTo>
                <a:lnTo>
                  <a:pt x="210" y="1758"/>
                </a:lnTo>
                <a:lnTo>
                  <a:pt x="223" y="1766"/>
                </a:lnTo>
                <a:lnTo>
                  <a:pt x="238" y="1773"/>
                </a:lnTo>
                <a:lnTo>
                  <a:pt x="238" y="1773"/>
                </a:lnTo>
                <a:lnTo>
                  <a:pt x="747" y="1985"/>
                </a:lnTo>
                <a:lnTo>
                  <a:pt x="747" y="1985"/>
                </a:lnTo>
                <a:lnTo>
                  <a:pt x="727" y="2094"/>
                </a:lnTo>
                <a:lnTo>
                  <a:pt x="709" y="2203"/>
                </a:lnTo>
                <a:lnTo>
                  <a:pt x="702" y="2258"/>
                </a:lnTo>
                <a:lnTo>
                  <a:pt x="695" y="2313"/>
                </a:lnTo>
                <a:lnTo>
                  <a:pt x="691" y="2366"/>
                </a:lnTo>
                <a:lnTo>
                  <a:pt x="690" y="2421"/>
                </a:lnTo>
                <a:lnTo>
                  <a:pt x="690" y="2421"/>
                </a:lnTo>
                <a:lnTo>
                  <a:pt x="147" y="2421"/>
                </a:lnTo>
                <a:lnTo>
                  <a:pt x="147" y="2421"/>
                </a:lnTo>
                <a:lnTo>
                  <a:pt x="130" y="2422"/>
                </a:lnTo>
                <a:lnTo>
                  <a:pt x="115" y="2424"/>
                </a:lnTo>
                <a:lnTo>
                  <a:pt x="101" y="2426"/>
                </a:lnTo>
                <a:lnTo>
                  <a:pt x="87" y="2432"/>
                </a:lnTo>
                <a:lnTo>
                  <a:pt x="73" y="2438"/>
                </a:lnTo>
                <a:lnTo>
                  <a:pt x="62" y="2443"/>
                </a:lnTo>
                <a:lnTo>
                  <a:pt x="50" y="2452"/>
                </a:lnTo>
                <a:lnTo>
                  <a:pt x="41" y="2460"/>
                </a:lnTo>
                <a:lnTo>
                  <a:pt x="31" y="2470"/>
                </a:lnTo>
                <a:lnTo>
                  <a:pt x="24" y="2481"/>
                </a:lnTo>
                <a:lnTo>
                  <a:pt x="17" y="2494"/>
                </a:lnTo>
                <a:lnTo>
                  <a:pt x="11" y="2506"/>
                </a:lnTo>
                <a:lnTo>
                  <a:pt x="7" y="2520"/>
                </a:lnTo>
                <a:lnTo>
                  <a:pt x="3" y="2534"/>
                </a:lnTo>
                <a:lnTo>
                  <a:pt x="1" y="2550"/>
                </a:lnTo>
                <a:lnTo>
                  <a:pt x="0" y="2566"/>
                </a:lnTo>
                <a:lnTo>
                  <a:pt x="0" y="2566"/>
                </a:lnTo>
                <a:lnTo>
                  <a:pt x="1" y="2579"/>
                </a:lnTo>
                <a:lnTo>
                  <a:pt x="3" y="2592"/>
                </a:lnTo>
                <a:lnTo>
                  <a:pt x="7" y="2604"/>
                </a:lnTo>
                <a:lnTo>
                  <a:pt x="11" y="2617"/>
                </a:lnTo>
                <a:lnTo>
                  <a:pt x="17" y="2630"/>
                </a:lnTo>
                <a:lnTo>
                  <a:pt x="24" y="2642"/>
                </a:lnTo>
                <a:lnTo>
                  <a:pt x="31" y="2653"/>
                </a:lnTo>
                <a:lnTo>
                  <a:pt x="41" y="2665"/>
                </a:lnTo>
                <a:lnTo>
                  <a:pt x="50" y="2674"/>
                </a:lnTo>
                <a:lnTo>
                  <a:pt x="62" y="2683"/>
                </a:lnTo>
                <a:lnTo>
                  <a:pt x="73" y="2691"/>
                </a:lnTo>
                <a:lnTo>
                  <a:pt x="87" y="2698"/>
                </a:lnTo>
                <a:lnTo>
                  <a:pt x="101" y="2704"/>
                </a:lnTo>
                <a:lnTo>
                  <a:pt x="115" y="2708"/>
                </a:lnTo>
                <a:lnTo>
                  <a:pt x="130" y="2711"/>
                </a:lnTo>
                <a:lnTo>
                  <a:pt x="147" y="2712"/>
                </a:lnTo>
                <a:lnTo>
                  <a:pt x="147" y="2712"/>
                </a:lnTo>
                <a:lnTo>
                  <a:pt x="690" y="2712"/>
                </a:lnTo>
                <a:lnTo>
                  <a:pt x="690" y="2712"/>
                </a:lnTo>
                <a:lnTo>
                  <a:pt x="691" y="2770"/>
                </a:lnTo>
                <a:lnTo>
                  <a:pt x="695" y="2827"/>
                </a:lnTo>
                <a:lnTo>
                  <a:pt x="702" y="2882"/>
                </a:lnTo>
                <a:lnTo>
                  <a:pt x="709" y="2937"/>
                </a:lnTo>
                <a:lnTo>
                  <a:pt x="719" y="2988"/>
                </a:lnTo>
                <a:lnTo>
                  <a:pt x="727" y="3040"/>
                </a:lnTo>
                <a:lnTo>
                  <a:pt x="747" y="3136"/>
                </a:lnTo>
                <a:lnTo>
                  <a:pt x="747" y="3136"/>
                </a:lnTo>
                <a:lnTo>
                  <a:pt x="238" y="3360"/>
                </a:lnTo>
                <a:lnTo>
                  <a:pt x="238" y="3360"/>
                </a:lnTo>
                <a:lnTo>
                  <a:pt x="221" y="3368"/>
                </a:lnTo>
                <a:lnTo>
                  <a:pt x="206" y="3378"/>
                </a:lnTo>
                <a:lnTo>
                  <a:pt x="193" y="3388"/>
                </a:lnTo>
                <a:lnTo>
                  <a:pt x="181" y="3399"/>
                </a:lnTo>
                <a:lnTo>
                  <a:pt x="170" y="3410"/>
                </a:lnTo>
                <a:lnTo>
                  <a:pt x="161" y="3423"/>
                </a:lnTo>
                <a:lnTo>
                  <a:pt x="153" y="3434"/>
                </a:lnTo>
                <a:lnTo>
                  <a:pt x="146" y="3448"/>
                </a:lnTo>
                <a:lnTo>
                  <a:pt x="142" y="3461"/>
                </a:lnTo>
                <a:lnTo>
                  <a:pt x="137" y="3475"/>
                </a:lnTo>
                <a:lnTo>
                  <a:pt x="136" y="3489"/>
                </a:lnTo>
                <a:lnTo>
                  <a:pt x="135" y="3503"/>
                </a:lnTo>
                <a:lnTo>
                  <a:pt x="136" y="3517"/>
                </a:lnTo>
                <a:lnTo>
                  <a:pt x="137" y="3531"/>
                </a:lnTo>
                <a:lnTo>
                  <a:pt x="142" y="3546"/>
                </a:lnTo>
                <a:lnTo>
                  <a:pt x="147" y="3560"/>
                </a:lnTo>
                <a:lnTo>
                  <a:pt x="147" y="3560"/>
                </a:lnTo>
                <a:lnTo>
                  <a:pt x="161" y="3577"/>
                </a:lnTo>
                <a:lnTo>
                  <a:pt x="177" y="3594"/>
                </a:lnTo>
                <a:lnTo>
                  <a:pt x="193" y="3608"/>
                </a:lnTo>
                <a:lnTo>
                  <a:pt x="213" y="3622"/>
                </a:lnTo>
                <a:lnTo>
                  <a:pt x="233" y="3633"/>
                </a:lnTo>
                <a:lnTo>
                  <a:pt x="252" y="3643"/>
                </a:lnTo>
                <a:lnTo>
                  <a:pt x="262" y="3646"/>
                </a:lnTo>
                <a:lnTo>
                  <a:pt x="273" y="3649"/>
                </a:lnTo>
                <a:lnTo>
                  <a:pt x="285" y="3650"/>
                </a:lnTo>
                <a:lnTo>
                  <a:pt x="294" y="3650"/>
                </a:lnTo>
                <a:lnTo>
                  <a:pt x="294" y="3650"/>
                </a:lnTo>
                <a:lnTo>
                  <a:pt x="299" y="3649"/>
                </a:lnTo>
                <a:lnTo>
                  <a:pt x="304" y="3647"/>
                </a:lnTo>
                <a:lnTo>
                  <a:pt x="317" y="3639"/>
                </a:lnTo>
                <a:lnTo>
                  <a:pt x="329" y="3632"/>
                </a:lnTo>
                <a:lnTo>
                  <a:pt x="335" y="3629"/>
                </a:lnTo>
                <a:lnTo>
                  <a:pt x="339" y="3628"/>
                </a:lnTo>
                <a:lnTo>
                  <a:pt x="339" y="3628"/>
                </a:lnTo>
                <a:lnTo>
                  <a:pt x="848" y="3416"/>
                </a:lnTo>
                <a:lnTo>
                  <a:pt x="848" y="3416"/>
                </a:lnTo>
                <a:lnTo>
                  <a:pt x="868" y="3458"/>
                </a:lnTo>
                <a:lnTo>
                  <a:pt x="889" y="3499"/>
                </a:lnTo>
                <a:lnTo>
                  <a:pt x="910" y="3539"/>
                </a:lnTo>
                <a:lnTo>
                  <a:pt x="933" y="3579"/>
                </a:lnTo>
                <a:lnTo>
                  <a:pt x="957" y="3618"/>
                </a:lnTo>
                <a:lnTo>
                  <a:pt x="982" y="3654"/>
                </a:lnTo>
                <a:lnTo>
                  <a:pt x="1008" y="3691"/>
                </a:lnTo>
                <a:lnTo>
                  <a:pt x="1036" y="3727"/>
                </a:lnTo>
                <a:lnTo>
                  <a:pt x="1064" y="3761"/>
                </a:lnTo>
                <a:lnTo>
                  <a:pt x="1092" y="3794"/>
                </a:lnTo>
                <a:lnTo>
                  <a:pt x="1123" y="3827"/>
                </a:lnTo>
                <a:lnTo>
                  <a:pt x="1153" y="3859"/>
                </a:lnTo>
                <a:lnTo>
                  <a:pt x="1184" y="3890"/>
                </a:lnTo>
                <a:lnTo>
                  <a:pt x="1218" y="3919"/>
                </a:lnTo>
                <a:lnTo>
                  <a:pt x="1252" y="3949"/>
                </a:lnTo>
                <a:lnTo>
                  <a:pt x="1285" y="3977"/>
                </a:lnTo>
                <a:lnTo>
                  <a:pt x="1322" y="4005"/>
                </a:lnTo>
                <a:lnTo>
                  <a:pt x="1358" y="4031"/>
                </a:lnTo>
                <a:lnTo>
                  <a:pt x="1395" y="4056"/>
                </a:lnTo>
                <a:lnTo>
                  <a:pt x="1432" y="4082"/>
                </a:lnTo>
                <a:lnTo>
                  <a:pt x="1472" y="4106"/>
                </a:lnTo>
                <a:lnTo>
                  <a:pt x="1511" y="4128"/>
                </a:lnTo>
                <a:lnTo>
                  <a:pt x="1550" y="4150"/>
                </a:lnTo>
                <a:lnTo>
                  <a:pt x="1592" y="4173"/>
                </a:lnTo>
                <a:lnTo>
                  <a:pt x="1633" y="4194"/>
                </a:lnTo>
                <a:lnTo>
                  <a:pt x="1676" y="4213"/>
                </a:lnTo>
                <a:lnTo>
                  <a:pt x="1718" y="4233"/>
                </a:lnTo>
                <a:lnTo>
                  <a:pt x="1763" y="4253"/>
                </a:lnTo>
                <a:lnTo>
                  <a:pt x="1807" y="4271"/>
                </a:lnTo>
                <a:lnTo>
                  <a:pt x="1851" y="4288"/>
                </a:lnTo>
                <a:lnTo>
                  <a:pt x="1944" y="4320"/>
                </a:lnTo>
                <a:lnTo>
                  <a:pt x="1944" y="4320"/>
                </a:lnTo>
                <a:lnTo>
                  <a:pt x="1944" y="3807"/>
                </a:lnTo>
                <a:lnTo>
                  <a:pt x="1944" y="3807"/>
                </a:lnTo>
                <a:lnTo>
                  <a:pt x="1900" y="3801"/>
                </a:lnTo>
                <a:lnTo>
                  <a:pt x="1856" y="3794"/>
                </a:lnTo>
                <a:lnTo>
                  <a:pt x="1814" y="3785"/>
                </a:lnTo>
                <a:lnTo>
                  <a:pt x="1772" y="3773"/>
                </a:lnTo>
                <a:lnTo>
                  <a:pt x="1729" y="3761"/>
                </a:lnTo>
                <a:lnTo>
                  <a:pt x="1689" y="3747"/>
                </a:lnTo>
                <a:lnTo>
                  <a:pt x="1648" y="3730"/>
                </a:lnTo>
                <a:lnTo>
                  <a:pt x="1609" y="3712"/>
                </a:lnTo>
                <a:lnTo>
                  <a:pt x="1571" y="3692"/>
                </a:lnTo>
                <a:lnTo>
                  <a:pt x="1535" y="3671"/>
                </a:lnTo>
                <a:lnTo>
                  <a:pt x="1498" y="3647"/>
                </a:lnTo>
                <a:lnTo>
                  <a:pt x="1463" y="3623"/>
                </a:lnTo>
                <a:lnTo>
                  <a:pt x="1430" y="3597"/>
                </a:lnTo>
                <a:lnTo>
                  <a:pt x="1397" y="3570"/>
                </a:lnTo>
                <a:lnTo>
                  <a:pt x="1366" y="3541"/>
                </a:lnTo>
                <a:lnTo>
                  <a:pt x="1337" y="3510"/>
                </a:lnTo>
                <a:lnTo>
                  <a:pt x="1308" y="3479"/>
                </a:lnTo>
                <a:lnTo>
                  <a:pt x="1281" y="3447"/>
                </a:lnTo>
                <a:lnTo>
                  <a:pt x="1256" y="3412"/>
                </a:lnTo>
                <a:lnTo>
                  <a:pt x="1232" y="3377"/>
                </a:lnTo>
                <a:lnTo>
                  <a:pt x="1210" y="3340"/>
                </a:lnTo>
                <a:lnTo>
                  <a:pt x="1188" y="3304"/>
                </a:lnTo>
                <a:lnTo>
                  <a:pt x="1170" y="3265"/>
                </a:lnTo>
                <a:lnTo>
                  <a:pt x="1153" y="3225"/>
                </a:lnTo>
                <a:lnTo>
                  <a:pt x="1138" y="3185"/>
                </a:lnTo>
                <a:lnTo>
                  <a:pt x="1124" y="3144"/>
                </a:lnTo>
                <a:lnTo>
                  <a:pt x="1113" y="3102"/>
                </a:lnTo>
                <a:lnTo>
                  <a:pt x="1103" y="3058"/>
                </a:lnTo>
                <a:lnTo>
                  <a:pt x="1095" y="3015"/>
                </a:lnTo>
                <a:lnTo>
                  <a:pt x="1090" y="2970"/>
                </a:lnTo>
                <a:lnTo>
                  <a:pt x="1086" y="2925"/>
                </a:lnTo>
                <a:lnTo>
                  <a:pt x="1085" y="2879"/>
                </a:lnTo>
                <a:lnTo>
                  <a:pt x="1085" y="2879"/>
                </a:lnTo>
                <a:close/>
                <a:moveTo>
                  <a:pt x="2622" y="3323"/>
                </a:moveTo>
                <a:lnTo>
                  <a:pt x="2622" y="3323"/>
                </a:lnTo>
                <a:lnTo>
                  <a:pt x="2587" y="3307"/>
                </a:lnTo>
                <a:lnTo>
                  <a:pt x="2587" y="3307"/>
                </a:lnTo>
                <a:lnTo>
                  <a:pt x="2573" y="3325"/>
                </a:lnTo>
                <a:lnTo>
                  <a:pt x="2558" y="3340"/>
                </a:lnTo>
                <a:lnTo>
                  <a:pt x="2542" y="3354"/>
                </a:lnTo>
                <a:lnTo>
                  <a:pt x="2526" y="3367"/>
                </a:lnTo>
                <a:lnTo>
                  <a:pt x="2509" y="3378"/>
                </a:lnTo>
                <a:lnTo>
                  <a:pt x="2490" y="3388"/>
                </a:lnTo>
                <a:lnTo>
                  <a:pt x="2471" y="3395"/>
                </a:lnTo>
                <a:lnTo>
                  <a:pt x="2453" y="3402"/>
                </a:lnTo>
                <a:lnTo>
                  <a:pt x="2433" y="3406"/>
                </a:lnTo>
                <a:lnTo>
                  <a:pt x="2413" y="3409"/>
                </a:lnTo>
                <a:lnTo>
                  <a:pt x="2392" y="3412"/>
                </a:lnTo>
                <a:lnTo>
                  <a:pt x="2373" y="3412"/>
                </a:lnTo>
                <a:lnTo>
                  <a:pt x="2353" y="3410"/>
                </a:lnTo>
                <a:lnTo>
                  <a:pt x="2334" y="3409"/>
                </a:lnTo>
                <a:lnTo>
                  <a:pt x="2313" y="3405"/>
                </a:lnTo>
                <a:lnTo>
                  <a:pt x="2293" y="3399"/>
                </a:lnTo>
                <a:lnTo>
                  <a:pt x="2275" y="3393"/>
                </a:lnTo>
                <a:lnTo>
                  <a:pt x="2255" y="3385"/>
                </a:lnTo>
                <a:lnTo>
                  <a:pt x="2237" y="3377"/>
                </a:lnTo>
                <a:lnTo>
                  <a:pt x="2220" y="3367"/>
                </a:lnTo>
                <a:lnTo>
                  <a:pt x="2203" y="3356"/>
                </a:lnTo>
                <a:lnTo>
                  <a:pt x="2186" y="3343"/>
                </a:lnTo>
                <a:lnTo>
                  <a:pt x="2172" y="3329"/>
                </a:lnTo>
                <a:lnTo>
                  <a:pt x="2158" y="3315"/>
                </a:lnTo>
                <a:lnTo>
                  <a:pt x="2144" y="3300"/>
                </a:lnTo>
                <a:lnTo>
                  <a:pt x="2133" y="3283"/>
                </a:lnTo>
                <a:lnTo>
                  <a:pt x="2122" y="3265"/>
                </a:lnTo>
                <a:lnTo>
                  <a:pt x="2113" y="3246"/>
                </a:lnTo>
                <a:lnTo>
                  <a:pt x="2105" y="3227"/>
                </a:lnTo>
                <a:lnTo>
                  <a:pt x="2099" y="3206"/>
                </a:lnTo>
                <a:lnTo>
                  <a:pt x="2095" y="3185"/>
                </a:lnTo>
                <a:lnTo>
                  <a:pt x="2092" y="3162"/>
                </a:lnTo>
                <a:lnTo>
                  <a:pt x="2092" y="3162"/>
                </a:lnTo>
                <a:lnTo>
                  <a:pt x="2091" y="3138"/>
                </a:lnTo>
                <a:lnTo>
                  <a:pt x="2091" y="3119"/>
                </a:lnTo>
                <a:lnTo>
                  <a:pt x="2092" y="3101"/>
                </a:lnTo>
                <a:lnTo>
                  <a:pt x="2095" y="3085"/>
                </a:lnTo>
                <a:lnTo>
                  <a:pt x="2099" y="3068"/>
                </a:lnTo>
                <a:lnTo>
                  <a:pt x="2106" y="3051"/>
                </a:lnTo>
                <a:lnTo>
                  <a:pt x="2115" y="3035"/>
                </a:lnTo>
                <a:lnTo>
                  <a:pt x="2128" y="3014"/>
                </a:lnTo>
                <a:lnTo>
                  <a:pt x="2128" y="3014"/>
                </a:lnTo>
                <a:lnTo>
                  <a:pt x="2101" y="3000"/>
                </a:lnTo>
                <a:lnTo>
                  <a:pt x="2101" y="3000"/>
                </a:lnTo>
                <a:lnTo>
                  <a:pt x="2094" y="3005"/>
                </a:lnTo>
                <a:lnTo>
                  <a:pt x="2087" y="3011"/>
                </a:lnTo>
                <a:lnTo>
                  <a:pt x="2078" y="3015"/>
                </a:lnTo>
                <a:lnTo>
                  <a:pt x="2070" y="3019"/>
                </a:lnTo>
                <a:lnTo>
                  <a:pt x="2062" y="3022"/>
                </a:lnTo>
                <a:lnTo>
                  <a:pt x="2052" y="3023"/>
                </a:lnTo>
                <a:lnTo>
                  <a:pt x="2034" y="3025"/>
                </a:lnTo>
                <a:lnTo>
                  <a:pt x="2034" y="3025"/>
                </a:lnTo>
                <a:lnTo>
                  <a:pt x="2022" y="3025"/>
                </a:lnTo>
                <a:lnTo>
                  <a:pt x="2013" y="3023"/>
                </a:lnTo>
                <a:lnTo>
                  <a:pt x="2001" y="3021"/>
                </a:lnTo>
                <a:lnTo>
                  <a:pt x="1992" y="3016"/>
                </a:lnTo>
                <a:lnTo>
                  <a:pt x="1983" y="3012"/>
                </a:lnTo>
                <a:lnTo>
                  <a:pt x="1975" y="3007"/>
                </a:lnTo>
                <a:lnTo>
                  <a:pt x="1966" y="3001"/>
                </a:lnTo>
                <a:lnTo>
                  <a:pt x="1959" y="2994"/>
                </a:lnTo>
                <a:lnTo>
                  <a:pt x="1959" y="2994"/>
                </a:lnTo>
                <a:lnTo>
                  <a:pt x="1940" y="3008"/>
                </a:lnTo>
                <a:lnTo>
                  <a:pt x="1940" y="3008"/>
                </a:lnTo>
                <a:lnTo>
                  <a:pt x="1947" y="3025"/>
                </a:lnTo>
                <a:lnTo>
                  <a:pt x="1954" y="3043"/>
                </a:lnTo>
                <a:lnTo>
                  <a:pt x="1959" y="3061"/>
                </a:lnTo>
                <a:lnTo>
                  <a:pt x="1964" y="3081"/>
                </a:lnTo>
                <a:lnTo>
                  <a:pt x="1965" y="3099"/>
                </a:lnTo>
                <a:lnTo>
                  <a:pt x="1968" y="3120"/>
                </a:lnTo>
                <a:lnTo>
                  <a:pt x="1969" y="3162"/>
                </a:lnTo>
                <a:lnTo>
                  <a:pt x="1969" y="3162"/>
                </a:lnTo>
                <a:lnTo>
                  <a:pt x="1966" y="3187"/>
                </a:lnTo>
                <a:lnTo>
                  <a:pt x="1961" y="3213"/>
                </a:lnTo>
                <a:lnTo>
                  <a:pt x="1954" y="3236"/>
                </a:lnTo>
                <a:lnTo>
                  <a:pt x="1944" y="3260"/>
                </a:lnTo>
                <a:lnTo>
                  <a:pt x="1931" y="3281"/>
                </a:lnTo>
                <a:lnTo>
                  <a:pt x="1917" y="3302"/>
                </a:lnTo>
                <a:lnTo>
                  <a:pt x="1900" y="3322"/>
                </a:lnTo>
                <a:lnTo>
                  <a:pt x="1884" y="3340"/>
                </a:lnTo>
                <a:lnTo>
                  <a:pt x="1864" y="3357"/>
                </a:lnTo>
                <a:lnTo>
                  <a:pt x="1843" y="3371"/>
                </a:lnTo>
                <a:lnTo>
                  <a:pt x="1821" y="3384"/>
                </a:lnTo>
                <a:lnTo>
                  <a:pt x="1797" y="3395"/>
                </a:lnTo>
                <a:lnTo>
                  <a:pt x="1773" y="3403"/>
                </a:lnTo>
                <a:lnTo>
                  <a:pt x="1748" y="3409"/>
                </a:lnTo>
                <a:lnTo>
                  <a:pt x="1722" y="3413"/>
                </a:lnTo>
                <a:lnTo>
                  <a:pt x="1696" y="3415"/>
                </a:lnTo>
                <a:lnTo>
                  <a:pt x="1696" y="3415"/>
                </a:lnTo>
                <a:lnTo>
                  <a:pt x="1679" y="3413"/>
                </a:lnTo>
                <a:lnTo>
                  <a:pt x="1662" y="3412"/>
                </a:lnTo>
                <a:lnTo>
                  <a:pt x="1645" y="3409"/>
                </a:lnTo>
                <a:lnTo>
                  <a:pt x="1629" y="3406"/>
                </a:lnTo>
                <a:lnTo>
                  <a:pt x="1613" y="3402"/>
                </a:lnTo>
                <a:lnTo>
                  <a:pt x="1598" y="3396"/>
                </a:lnTo>
                <a:lnTo>
                  <a:pt x="1584" y="3391"/>
                </a:lnTo>
                <a:lnTo>
                  <a:pt x="1570" y="3384"/>
                </a:lnTo>
                <a:lnTo>
                  <a:pt x="1556" y="3375"/>
                </a:lnTo>
                <a:lnTo>
                  <a:pt x="1542" y="3367"/>
                </a:lnTo>
                <a:lnTo>
                  <a:pt x="1529" y="3358"/>
                </a:lnTo>
                <a:lnTo>
                  <a:pt x="1516" y="3349"/>
                </a:lnTo>
                <a:lnTo>
                  <a:pt x="1505" y="3337"/>
                </a:lnTo>
                <a:lnTo>
                  <a:pt x="1494" y="3326"/>
                </a:lnTo>
                <a:lnTo>
                  <a:pt x="1473" y="3301"/>
                </a:lnTo>
                <a:lnTo>
                  <a:pt x="1473" y="3301"/>
                </a:lnTo>
                <a:lnTo>
                  <a:pt x="1435" y="3323"/>
                </a:lnTo>
                <a:lnTo>
                  <a:pt x="1435" y="3323"/>
                </a:lnTo>
                <a:lnTo>
                  <a:pt x="1448" y="3340"/>
                </a:lnTo>
                <a:lnTo>
                  <a:pt x="1462" y="3356"/>
                </a:lnTo>
                <a:lnTo>
                  <a:pt x="1477" y="3370"/>
                </a:lnTo>
                <a:lnTo>
                  <a:pt x="1493" y="3384"/>
                </a:lnTo>
                <a:lnTo>
                  <a:pt x="1509" y="3396"/>
                </a:lnTo>
                <a:lnTo>
                  <a:pt x="1528" y="3409"/>
                </a:lnTo>
                <a:lnTo>
                  <a:pt x="1546" y="3420"/>
                </a:lnTo>
                <a:lnTo>
                  <a:pt x="1564" y="3431"/>
                </a:lnTo>
                <a:lnTo>
                  <a:pt x="1584" y="3440"/>
                </a:lnTo>
                <a:lnTo>
                  <a:pt x="1603" y="3448"/>
                </a:lnTo>
                <a:lnTo>
                  <a:pt x="1624" y="3455"/>
                </a:lnTo>
                <a:lnTo>
                  <a:pt x="1645" y="3461"/>
                </a:lnTo>
                <a:lnTo>
                  <a:pt x="1666" y="3466"/>
                </a:lnTo>
                <a:lnTo>
                  <a:pt x="1687" y="3469"/>
                </a:lnTo>
                <a:lnTo>
                  <a:pt x="1710" y="3472"/>
                </a:lnTo>
                <a:lnTo>
                  <a:pt x="1731" y="3472"/>
                </a:lnTo>
                <a:lnTo>
                  <a:pt x="1731" y="3472"/>
                </a:lnTo>
                <a:lnTo>
                  <a:pt x="1755" y="3472"/>
                </a:lnTo>
                <a:lnTo>
                  <a:pt x="1777" y="3469"/>
                </a:lnTo>
                <a:lnTo>
                  <a:pt x="1800" y="3465"/>
                </a:lnTo>
                <a:lnTo>
                  <a:pt x="1822" y="3461"/>
                </a:lnTo>
                <a:lnTo>
                  <a:pt x="1843" y="3454"/>
                </a:lnTo>
                <a:lnTo>
                  <a:pt x="1864" y="3447"/>
                </a:lnTo>
                <a:lnTo>
                  <a:pt x="1884" y="3438"/>
                </a:lnTo>
                <a:lnTo>
                  <a:pt x="1903" y="3429"/>
                </a:lnTo>
                <a:lnTo>
                  <a:pt x="1921" y="3417"/>
                </a:lnTo>
                <a:lnTo>
                  <a:pt x="1940" y="3405"/>
                </a:lnTo>
                <a:lnTo>
                  <a:pt x="1958" y="3392"/>
                </a:lnTo>
                <a:lnTo>
                  <a:pt x="1975" y="3378"/>
                </a:lnTo>
                <a:lnTo>
                  <a:pt x="1990" y="3363"/>
                </a:lnTo>
                <a:lnTo>
                  <a:pt x="2006" y="3347"/>
                </a:lnTo>
                <a:lnTo>
                  <a:pt x="2020" y="3330"/>
                </a:lnTo>
                <a:lnTo>
                  <a:pt x="2034" y="3312"/>
                </a:lnTo>
                <a:lnTo>
                  <a:pt x="2034" y="3312"/>
                </a:lnTo>
                <a:lnTo>
                  <a:pt x="2048" y="3330"/>
                </a:lnTo>
                <a:lnTo>
                  <a:pt x="2062" y="3349"/>
                </a:lnTo>
                <a:lnTo>
                  <a:pt x="2077" y="3364"/>
                </a:lnTo>
                <a:lnTo>
                  <a:pt x="2092" y="3379"/>
                </a:lnTo>
                <a:lnTo>
                  <a:pt x="2109" y="3393"/>
                </a:lnTo>
                <a:lnTo>
                  <a:pt x="2128" y="3406"/>
                </a:lnTo>
                <a:lnTo>
                  <a:pt x="2146" y="3417"/>
                </a:lnTo>
                <a:lnTo>
                  <a:pt x="2164" y="3429"/>
                </a:lnTo>
                <a:lnTo>
                  <a:pt x="2184" y="3437"/>
                </a:lnTo>
                <a:lnTo>
                  <a:pt x="2203" y="3445"/>
                </a:lnTo>
                <a:lnTo>
                  <a:pt x="2223" y="3452"/>
                </a:lnTo>
                <a:lnTo>
                  <a:pt x="2242" y="3458"/>
                </a:lnTo>
                <a:lnTo>
                  <a:pt x="2263" y="3462"/>
                </a:lnTo>
                <a:lnTo>
                  <a:pt x="2284" y="3466"/>
                </a:lnTo>
                <a:lnTo>
                  <a:pt x="2305" y="3468"/>
                </a:lnTo>
                <a:lnTo>
                  <a:pt x="2325" y="3469"/>
                </a:lnTo>
                <a:lnTo>
                  <a:pt x="2346" y="3469"/>
                </a:lnTo>
                <a:lnTo>
                  <a:pt x="2367" y="3468"/>
                </a:lnTo>
                <a:lnTo>
                  <a:pt x="2388" y="3465"/>
                </a:lnTo>
                <a:lnTo>
                  <a:pt x="2409" y="3462"/>
                </a:lnTo>
                <a:lnTo>
                  <a:pt x="2429" y="3457"/>
                </a:lnTo>
                <a:lnTo>
                  <a:pt x="2450" y="3451"/>
                </a:lnTo>
                <a:lnTo>
                  <a:pt x="2469" y="3444"/>
                </a:lnTo>
                <a:lnTo>
                  <a:pt x="2489" y="3436"/>
                </a:lnTo>
                <a:lnTo>
                  <a:pt x="2507" y="3426"/>
                </a:lnTo>
                <a:lnTo>
                  <a:pt x="2526" y="3415"/>
                </a:lnTo>
                <a:lnTo>
                  <a:pt x="2544" y="3403"/>
                </a:lnTo>
                <a:lnTo>
                  <a:pt x="2561" y="3389"/>
                </a:lnTo>
                <a:lnTo>
                  <a:pt x="2577" y="3375"/>
                </a:lnTo>
                <a:lnTo>
                  <a:pt x="2593" y="3360"/>
                </a:lnTo>
                <a:lnTo>
                  <a:pt x="2608" y="3342"/>
                </a:lnTo>
                <a:lnTo>
                  <a:pt x="2622" y="3323"/>
                </a:lnTo>
                <a:lnTo>
                  <a:pt x="2622" y="3323"/>
                </a:lnTo>
                <a:close/>
                <a:moveTo>
                  <a:pt x="3892" y="2712"/>
                </a:moveTo>
                <a:lnTo>
                  <a:pt x="3892" y="2712"/>
                </a:lnTo>
                <a:lnTo>
                  <a:pt x="3909" y="2711"/>
                </a:lnTo>
                <a:lnTo>
                  <a:pt x="3924" y="2708"/>
                </a:lnTo>
                <a:lnTo>
                  <a:pt x="3940" y="2704"/>
                </a:lnTo>
                <a:lnTo>
                  <a:pt x="3954" y="2698"/>
                </a:lnTo>
                <a:lnTo>
                  <a:pt x="3968" y="2691"/>
                </a:lnTo>
                <a:lnTo>
                  <a:pt x="3980" y="2683"/>
                </a:lnTo>
                <a:lnTo>
                  <a:pt x="3992" y="2674"/>
                </a:lnTo>
                <a:lnTo>
                  <a:pt x="4003" y="2665"/>
                </a:lnTo>
                <a:lnTo>
                  <a:pt x="4014" y="2653"/>
                </a:lnTo>
                <a:lnTo>
                  <a:pt x="4022" y="2642"/>
                </a:lnTo>
                <a:lnTo>
                  <a:pt x="4032" y="2630"/>
                </a:lnTo>
                <a:lnTo>
                  <a:pt x="4039" y="2617"/>
                </a:lnTo>
                <a:lnTo>
                  <a:pt x="4053" y="2592"/>
                </a:lnTo>
                <a:lnTo>
                  <a:pt x="4063" y="2566"/>
                </a:lnTo>
                <a:lnTo>
                  <a:pt x="4063" y="2566"/>
                </a:lnTo>
                <a:lnTo>
                  <a:pt x="4062" y="2550"/>
                </a:lnTo>
                <a:lnTo>
                  <a:pt x="4059" y="2534"/>
                </a:lnTo>
                <a:lnTo>
                  <a:pt x="4055" y="2520"/>
                </a:lnTo>
                <a:lnTo>
                  <a:pt x="4049" y="2506"/>
                </a:lnTo>
                <a:lnTo>
                  <a:pt x="4042" y="2494"/>
                </a:lnTo>
                <a:lnTo>
                  <a:pt x="4034" y="2481"/>
                </a:lnTo>
                <a:lnTo>
                  <a:pt x="4025" y="2470"/>
                </a:lnTo>
                <a:lnTo>
                  <a:pt x="4014" y="2460"/>
                </a:lnTo>
                <a:lnTo>
                  <a:pt x="4004" y="2452"/>
                </a:lnTo>
                <a:lnTo>
                  <a:pt x="3992" y="2443"/>
                </a:lnTo>
                <a:lnTo>
                  <a:pt x="3980" y="2438"/>
                </a:lnTo>
                <a:lnTo>
                  <a:pt x="3968" y="2432"/>
                </a:lnTo>
                <a:lnTo>
                  <a:pt x="3954" y="2426"/>
                </a:lnTo>
                <a:lnTo>
                  <a:pt x="3941" y="2424"/>
                </a:lnTo>
                <a:lnTo>
                  <a:pt x="3928" y="2422"/>
                </a:lnTo>
                <a:lnTo>
                  <a:pt x="3914" y="2421"/>
                </a:lnTo>
                <a:lnTo>
                  <a:pt x="3914" y="2421"/>
                </a:lnTo>
                <a:lnTo>
                  <a:pt x="3380" y="2421"/>
                </a:lnTo>
                <a:lnTo>
                  <a:pt x="3380" y="2421"/>
                </a:lnTo>
                <a:lnTo>
                  <a:pt x="3380" y="2363"/>
                </a:lnTo>
                <a:lnTo>
                  <a:pt x="3376" y="2306"/>
                </a:lnTo>
                <a:lnTo>
                  <a:pt x="3372" y="2250"/>
                </a:lnTo>
                <a:lnTo>
                  <a:pt x="3365" y="2195"/>
                </a:lnTo>
                <a:lnTo>
                  <a:pt x="3357" y="2140"/>
                </a:lnTo>
                <a:lnTo>
                  <a:pt x="3347" y="2089"/>
                </a:lnTo>
                <a:lnTo>
                  <a:pt x="3337" y="2037"/>
                </a:lnTo>
                <a:lnTo>
                  <a:pt x="3324" y="1985"/>
                </a:lnTo>
                <a:lnTo>
                  <a:pt x="3324" y="1985"/>
                </a:lnTo>
                <a:lnTo>
                  <a:pt x="3825" y="1773"/>
                </a:lnTo>
                <a:lnTo>
                  <a:pt x="3825" y="1773"/>
                </a:lnTo>
                <a:lnTo>
                  <a:pt x="3836" y="1766"/>
                </a:lnTo>
                <a:lnTo>
                  <a:pt x="3849" y="1758"/>
                </a:lnTo>
                <a:lnTo>
                  <a:pt x="3858" y="1749"/>
                </a:lnTo>
                <a:lnTo>
                  <a:pt x="3868" y="1739"/>
                </a:lnTo>
                <a:lnTo>
                  <a:pt x="3877" y="1728"/>
                </a:lnTo>
                <a:lnTo>
                  <a:pt x="3885" y="1716"/>
                </a:lnTo>
                <a:lnTo>
                  <a:pt x="3892" y="1703"/>
                </a:lnTo>
                <a:lnTo>
                  <a:pt x="3896" y="1690"/>
                </a:lnTo>
                <a:lnTo>
                  <a:pt x="3900" y="1678"/>
                </a:lnTo>
                <a:lnTo>
                  <a:pt x="3903" y="1664"/>
                </a:lnTo>
                <a:lnTo>
                  <a:pt x="3906" y="1650"/>
                </a:lnTo>
                <a:lnTo>
                  <a:pt x="3906" y="1637"/>
                </a:lnTo>
                <a:lnTo>
                  <a:pt x="3905" y="1623"/>
                </a:lnTo>
                <a:lnTo>
                  <a:pt x="3902" y="1609"/>
                </a:lnTo>
                <a:lnTo>
                  <a:pt x="3898" y="1597"/>
                </a:lnTo>
                <a:lnTo>
                  <a:pt x="3892" y="1584"/>
                </a:lnTo>
                <a:lnTo>
                  <a:pt x="3892" y="1584"/>
                </a:lnTo>
                <a:lnTo>
                  <a:pt x="3888" y="1570"/>
                </a:lnTo>
                <a:lnTo>
                  <a:pt x="3881" y="1556"/>
                </a:lnTo>
                <a:lnTo>
                  <a:pt x="3872" y="1545"/>
                </a:lnTo>
                <a:lnTo>
                  <a:pt x="3864" y="1535"/>
                </a:lnTo>
                <a:lnTo>
                  <a:pt x="3854" y="1526"/>
                </a:lnTo>
                <a:lnTo>
                  <a:pt x="3843" y="1518"/>
                </a:lnTo>
                <a:lnTo>
                  <a:pt x="3832" y="1512"/>
                </a:lnTo>
                <a:lnTo>
                  <a:pt x="3819" y="1507"/>
                </a:lnTo>
                <a:lnTo>
                  <a:pt x="3805" y="1503"/>
                </a:lnTo>
                <a:lnTo>
                  <a:pt x="3793" y="1500"/>
                </a:lnTo>
                <a:lnTo>
                  <a:pt x="3778" y="1497"/>
                </a:lnTo>
                <a:lnTo>
                  <a:pt x="3764" y="1497"/>
                </a:lnTo>
                <a:lnTo>
                  <a:pt x="3750" y="1497"/>
                </a:lnTo>
                <a:lnTo>
                  <a:pt x="3736" y="1498"/>
                </a:lnTo>
                <a:lnTo>
                  <a:pt x="3724" y="1501"/>
                </a:lnTo>
                <a:lnTo>
                  <a:pt x="3711" y="1505"/>
                </a:lnTo>
                <a:lnTo>
                  <a:pt x="3711" y="1505"/>
                </a:lnTo>
                <a:lnTo>
                  <a:pt x="3233" y="1695"/>
                </a:lnTo>
                <a:lnTo>
                  <a:pt x="3233" y="1695"/>
                </a:lnTo>
                <a:lnTo>
                  <a:pt x="3223" y="1657"/>
                </a:lnTo>
                <a:lnTo>
                  <a:pt x="3212" y="1619"/>
                </a:lnTo>
                <a:lnTo>
                  <a:pt x="3198" y="1583"/>
                </a:lnTo>
                <a:lnTo>
                  <a:pt x="3184" y="1545"/>
                </a:lnTo>
                <a:lnTo>
                  <a:pt x="3167" y="1507"/>
                </a:lnTo>
                <a:lnTo>
                  <a:pt x="3149" y="1469"/>
                </a:lnTo>
                <a:lnTo>
                  <a:pt x="3130" y="1431"/>
                </a:lnTo>
                <a:lnTo>
                  <a:pt x="3109" y="1393"/>
                </a:lnTo>
                <a:lnTo>
                  <a:pt x="3109" y="1393"/>
                </a:lnTo>
                <a:lnTo>
                  <a:pt x="3096" y="1397"/>
                </a:lnTo>
                <a:lnTo>
                  <a:pt x="3083" y="1403"/>
                </a:lnTo>
                <a:lnTo>
                  <a:pt x="3060" y="1416"/>
                </a:lnTo>
                <a:lnTo>
                  <a:pt x="3041" y="1428"/>
                </a:lnTo>
                <a:lnTo>
                  <a:pt x="3029" y="1438"/>
                </a:lnTo>
                <a:lnTo>
                  <a:pt x="3029" y="1438"/>
                </a:lnTo>
                <a:lnTo>
                  <a:pt x="2981" y="1462"/>
                </a:lnTo>
                <a:lnTo>
                  <a:pt x="2932" y="1486"/>
                </a:lnTo>
                <a:lnTo>
                  <a:pt x="2882" y="1507"/>
                </a:lnTo>
                <a:lnTo>
                  <a:pt x="2831" y="1528"/>
                </a:lnTo>
                <a:lnTo>
                  <a:pt x="2778" y="1546"/>
                </a:lnTo>
                <a:lnTo>
                  <a:pt x="2725" y="1564"/>
                </a:lnTo>
                <a:lnTo>
                  <a:pt x="2668" y="1580"/>
                </a:lnTo>
                <a:lnTo>
                  <a:pt x="2612" y="1595"/>
                </a:lnTo>
                <a:lnTo>
                  <a:pt x="2555" y="1608"/>
                </a:lnTo>
                <a:lnTo>
                  <a:pt x="2496" y="1619"/>
                </a:lnTo>
                <a:lnTo>
                  <a:pt x="2436" y="1629"/>
                </a:lnTo>
                <a:lnTo>
                  <a:pt x="2376" y="1636"/>
                </a:lnTo>
                <a:lnTo>
                  <a:pt x="2313" y="1643"/>
                </a:lnTo>
                <a:lnTo>
                  <a:pt x="2249" y="1647"/>
                </a:lnTo>
                <a:lnTo>
                  <a:pt x="2185" y="1650"/>
                </a:lnTo>
                <a:lnTo>
                  <a:pt x="2119" y="1650"/>
                </a:lnTo>
                <a:lnTo>
                  <a:pt x="2119" y="1650"/>
                </a:lnTo>
                <a:lnTo>
                  <a:pt x="2119" y="1953"/>
                </a:lnTo>
                <a:lnTo>
                  <a:pt x="2119" y="1953"/>
                </a:lnTo>
                <a:lnTo>
                  <a:pt x="2164" y="1957"/>
                </a:lnTo>
                <a:lnTo>
                  <a:pt x="2207" y="1964"/>
                </a:lnTo>
                <a:lnTo>
                  <a:pt x="2251" y="1974"/>
                </a:lnTo>
                <a:lnTo>
                  <a:pt x="2293" y="1985"/>
                </a:lnTo>
                <a:lnTo>
                  <a:pt x="2335" y="1997"/>
                </a:lnTo>
                <a:lnTo>
                  <a:pt x="2376" y="2013"/>
                </a:lnTo>
                <a:lnTo>
                  <a:pt x="2415" y="2030"/>
                </a:lnTo>
                <a:lnTo>
                  <a:pt x="2454" y="2048"/>
                </a:lnTo>
                <a:lnTo>
                  <a:pt x="2492" y="2069"/>
                </a:lnTo>
                <a:lnTo>
                  <a:pt x="2528" y="2090"/>
                </a:lnTo>
                <a:lnTo>
                  <a:pt x="2565" y="2114"/>
                </a:lnTo>
                <a:lnTo>
                  <a:pt x="2598" y="2139"/>
                </a:lnTo>
                <a:lnTo>
                  <a:pt x="2632" y="2164"/>
                </a:lnTo>
                <a:lnTo>
                  <a:pt x="2664" y="2192"/>
                </a:lnTo>
                <a:lnTo>
                  <a:pt x="2695" y="2222"/>
                </a:lnTo>
                <a:lnTo>
                  <a:pt x="2725" y="2253"/>
                </a:lnTo>
                <a:lnTo>
                  <a:pt x="2753" y="2283"/>
                </a:lnTo>
                <a:lnTo>
                  <a:pt x="2779" y="2317"/>
                </a:lnTo>
                <a:lnTo>
                  <a:pt x="2804" y="2351"/>
                </a:lnTo>
                <a:lnTo>
                  <a:pt x="2828" y="2387"/>
                </a:lnTo>
                <a:lnTo>
                  <a:pt x="2851" y="2424"/>
                </a:lnTo>
                <a:lnTo>
                  <a:pt x="2870" y="2460"/>
                </a:lnTo>
                <a:lnTo>
                  <a:pt x="2889" y="2499"/>
                </a:lnTo>
                <a:lnTo>
                  <a:pt x="2905" y="2538"/>
                </a:lnTo>
                <a:lnTo>
                  <a:pt x="2921" y="2578"/>
                </a:lnTo>
                <a:lnTo>
                  <a:pt x="2935" y="2620"/>
                </a:lnTo>
                <a:lnTo>
                  <a:pt x="2946" y="2660"/>
                </a:lnTo>
                <a:lnTo>
                  <a:pt x="2954" y="2704"/>
                </a:lnTo>
                <a:lnTo>
                  <a:pt x="2963" y="2746"/>
                </a:lnTo>
                <a:lnTo>
                  <a:pt x="2967" y="2791"/>
                </a:lnTo>
                <a:lnTo>
                  <a:pt x="2971" y="2834"/>
                </a:lnTo>
                <a:lnTo>
                  <a:pt x="2973" y="2879"/>
                </a:lnTo>
                <a:lnTo>
                  <a:pt x="2973" y="2879"/>
                </a:lnTo>
                <a:lnTo>
                  <a:pt x="2971" y="2924"/>
                </a:lnTo>
                <a:lnTo>
                  <a:pt x="2967" y="2969"/>
                </a:lnTo>
                <a:lnTo>
                  <a:pt x="2963" y="3012"/>
                </a:lnTo>
                <a:lnTo>
                  <a:pt x="2954" y="3056"/>
                </a:lnTo>
                <a:lnTo>
                  <a:pt x="2946" y="3098"/>
                </a:lnTo>
                <a:lnTo>
                  <a:pt x="2935" y="3140"/>
                </a:lnTo>
                <a:lnTo>
                  <a:pt x="2921" y="3180"/>
                </a:lnTo>
                <a:lnTo>
                  <a:pt x="2905" y="3221"/>
                </a:lnTo>
                <a:lnTo>
                  <a:pt x="2889" y="3260"/>
                </a:lnTo>
                <a:lnTo>
                  <a:pt x="2870" y="3298"/>
                </a:lnTo>
                <a:lnTo>
                  <a:pt x="2851" y="3336"/>
                </a:lnTo>
                <a:lnTo>
                  <a:pt x="2828" y="3372"/>
                </a:lnTo>
                <a:lnTo>
                  <a:pt x="2804" y="3408"/>
                </a:lnTo>
                <a:lnTo>
                  <a:pt x="2779" y="3441"/>
                </a:lnTo>
                <a:lnTo>
                  <a:pt x="2753" y="3475"/>
                </a:lnTo>
                <a:lnTo>
                  <a:pt x="2725" y="3506"/>
                </a:lnTo>
                <a:lnTo>
                  <a:pt x="2695" y="3536"/>
                </a:lnTo>
                <a:lnTo>
                  <a:pt x="2664" y="3566"/>
                </a:lnTo>
                <a:lnTo>
                  <a:pt x="2632" y="3594"/>
                </a:lnTo>
                <a:lnTo>
                  <a:pt x="2598" y="3621"/>
                </a:lnTo>
                <a:lnTo>
                  <a:pt x="2565" y="3644"/>
                </a:lnTo>
                <a:lnTo>
                  <a:pt x="2528" y="3668"/>
                </a:lnTo>
                <a:lnTo>
                  <a:pt x="2492" y="3691"/>
                </a:lnTo>
                <a:lnTo>
                  <a:pt x="2454" y="3710"/>
                </a:lnTo>
                <a:lnTo>
                  <a:pt x="2415" y="3728"/>
                </a:lnTo>
                <a:lnTo>
                  <a:pt x="2376" y="3745"/>
                </a:lnTo>
                <a:lnTo>
                  <a:pt x="2335" y="3761"/>
                </a:lnTo>
                <a:lnTo>
                  <a:pt x="2293" y="3773"/>
                </a:lnTo>
                <a:lnTo>
                  <a:pt x="2251" y="3785"/>
                </a:lnTo>
                <a:lnTo>
                  <a:pt x="2207" y="3794"/>
                </a:lnTo>
                <a:lnTo>
                  <a:pt x="2164" y="3801"/>
                </a:lnTo>
                <a:lnTo>
                  <a:pt x="2119" y="3807"/>
                </a:lnTo>
                <a:lnTo>
                  <a:pt x="2119" y="3807"/>
                </a:lnTo>
                <a:lnTo>
                  <a:pt x="2119" y="4320"/>
                </a:lnTo>
                <a:lnTo>
                  <a:pt x="2119" y="4320"/>
                </a:lnTo>
                <a:lnTo>
                  <a:pt x="2165" y="4306"/>
                </a:lnTo>
                <a:lnTo>
                  <a:pt x="2210" y="4289"/>
                </a:lnTo>
                <a:lnTo>
                  <a:pt x="2255" y="4272"/>
                </a:lnTo>
                <a:lnTo>
                  <a:pt x="2298" y="4256"/>
                </a:lnTo>
                <a:lnTo>
                  <a:pt x="2342" y="4237"/>
                </a:lnTo>
                <a:lnTo>
                  <a:pt x="2384" y="4218"/>
                </a:lnTo>
                <a:lnTo>
                  <a:pt x="2426" y="4198"/>
                </a:lnTo>
                <a:lnTo>
                  <a:pt x="2468" y="4177"/>
                </a:lnTo>
                <a:lnTo>
                  <a:pt x="2509" y="4156"/>
                </a:lnTo>
                <a:lnTo>
                  <a:pt x="2548" y="4134"/>
                </a:lnTo>
                <a:lnTo>
                  <a:pt x="2587" y="4111"/>
                </a:lnTo>
                <a:lnTo>
                  <a:pt x="2626" y="4087"/>
                </a:lnTo>
                <a:lnTo>
                  <a:pt x="2664" y="4062"/>
                </a:lnTo>
                <a:lnTo>
                  <a:pt x="2701" y="4037"/>
                </a:lnTo>
                <a:lnTo>
                  <a:pt x="2737" y="4010"/>
                </a:lnTo>
                <a:lnTo>
                  <a:pt x="2774" y="3982"/>
                </a:lnTo>
                <a:lnTo>
                  <a:pt x="2807" y="3954"/>
                </a:lnTo>
                <a:lnTo>
                  <a:pt x="2842" y="3925"/>
                </a:lnTo>
                <a:lnTo>
                  <a:pt x="2875" y="3895"/>
                </a:lnTo>
                <a:lnTo>
                  <a:pt x="2907" y="3864"/>
                </a:lnTo>
                <a:lnTo>
                  <a:pt x="2939" y="3834"/>
                </a:lnTo>
                <a:lnTo>
                  <a:pt x="2968" y="3800"/>
                </a:lnTo>
                <a:lnTo>
                  <a:pt x="2999" y="3768"/>
                </a:lnTo>
                <a:lnTo>
                  <a:pt x="3027" y="3733"/>
                </a:lnTo>
                <a:lnTo>
                  <a:pt x="3055" y="3698"/>
                </a:lnTo>
                <a:lnTo>
                  <a:pt x="3082" y="3661"/>
                </a:lnTo>
                <a:lnTo>
                  <a:pt x="3107" y="3625"/>
                </a:lnTo>
                <a:lnTo>
                  <a:pt x="3132" y="3587"/>
                </a:lnTo>
                <a:lnTo>
                  <a:pt x="3156" y="3548"/>
                </a:lnTo>
                <a:lnTo>
                  <a:pt x="3179" y="3508"/>
                </a:lnTo>
                <a:lnTo>
                  <a:pt x="3201" y="3468"/>
                </a:lnTo>
                <a:lnTo>
                  <a:pt x="3222" y="3427"/>
                </a:lnTo>
                <a:lnTo>
                  <a:pt x="3222" y="3427"/>
                </a:lnTo>
                <a:lnTo>
                  <a:pt x="3711" y="3628"/>
                </a:lnTo>
                <a:lnTo>
                  <a:pt x="3711" y="3628"/>
                </a:lnTo>
                <a:lnTo>
                  <a:pt x="3715" y="3629"/>
                </a:lnTo>
                <a:lnTo>
                  <a:pt x="3722" y="3632"/>
                </a:lnTo>
                <a:lnTo>
                  <a:pt x="3739" y="3639"/>
                </a:lnTo>
                <a:lnTo>
                  <a:pt x="3755" y="3647"/>
                </a:lnTo>
                <a:lnTo>
                  <a:pt x="3762" y="3649"/>
                </a:lnTo>
                <a:lnTo>
                  <a:pt x="3767" y="3650"/>
                </a:lnTo>
                <a:lnTo>
                  <a:pt x="3767" y="3650"/>
                </a:lnTo>
                <a:lnTo>
                  <a:pt x="3778" y="3650"/>
                </a:lnTo>
                <a:lnTo>
                  <a:pt x="3788" y="3649"/>
                </a:lnTo>
                <a:lnTo>
                  <a:pt x="3800" y="3646"/>
                </a:lnTo>
                <a:lnTo>
                  <a:pt x="3809" y="3643"/>
                </a:lnTo>
                <a:lnTo>
                  <a:pt x="3829" y="3633"/>
                </a:lnTo>
                <a:lnTo>
                  <a:pt x="3847" y="3622"/>
                </a:lnTo>
                <a:lnTo>
                  <a:pt x="3863" y="3608"/>
                </a:lnTo>
                <a:lnTo>
                  <a:pt x="3877" y="3594"/>
                </a:lnTo>
                <a:lnTo>
                  <a:pt x="3882" y="3586"/>
                </a:lnTo>
                <a:lnTo>
                  <a:pt x="3886" y="3577"/>
                </a:lnTo>
                <a:lnTo>
                  <a:pt x="3889" y="3569"/>
                </a:lnTo>
                <a:lnTo>
                  <a:pt x="3892" y="3560"/>
                </a:lnTo>
                <a:lnTo>
                  <a:pt x="3892" y="3560"/>
                </a:lnTo>
                <a:lnTo>
                  <a:pt x="3898" y="3546"/>
                </a:lnTo>
                <a:lnTo>
                  <a:pt x="3902" y="3531"/>
                </a:lnTo>
                <a:lnTo>
                  <a:pt x="3905" y="3517"/>
                </a:lnTo>
                <a:lnTo>
                  <a:pt x="3906" y="3503"/>
                </a:lnTo>
                <a:lnTo>
                  <a:pt x="3906" y="3489"/>
                </a:lnTo>
                <a:lnTo>
                  <a:pt x="3903" y="3475"/>
                </a:lnTo>
                <a:lnTo>
                  <a:pt x="3900" y="3461"/>
                </a:lnTo>
                <a:lnTo>
                  <a:pt x="3896" y="3448"/>
                </a:lnTo>
                <a:lnTo>
                  <a:pt x="3892" y="3434"/>
                </a:lnTo>
                <a:lnTo>
                  <a:pt x="3885" y="3423"/>
                </a:lnTo>
                <a:lnTo>
                  <a:pt x="3877" y="3410"/>
                </a:lnTo>
                <a:lnTo>
                  <a:pt x="3868" y="3399"/>
                </a:lnTo>
                <a:lnTo>
                  <a:pt x="3858" y="3388"/>
                </a:lnTo>
                <a:lnTo>
                  <a:pt x="3849" y="3378"/>
                </a:lnTo>
                <a:lnTo>
                  <a:pt x="3836" y="3368"/>
                </a:lnTo>
                <a:lnTo>
                  <a:pt x="3825" y="3360"/>
                </a:lnTo>
                <a:lnTo>
                  <a:pt x="3825" y="3360"/>
                </a:lnTo>
                <a:lnTo>
                  <a:pt x="3313" y="3158"/>
                </a:lnTo>
                <a:lnTo>
                  <a:pt x="3313" y="3158"/>
                </a:lnTo>
                <a:lnTo>
                  <a:pt x="3329" y="3103"/>
                </a:lnTo>
                <a:lnTo>
                  <a:pt x="3343" y="3050"/>
                </a:lnTo>
                <a:lnTo>
                  <a:pt x="3354" y="2994"/>
                </a:lnTo>
                <a:lnTo>
                  <a:pt x="3364" y="2939"/>
                </a:lnTo>
                <a:lnTo>
                  <a:pt x="3372" y="2883"/>
                </a:lnTo>
                <a:lnTo>
                  <a:pt x="3376" y="2827"/>
                </a:lnTo>
                <a:lnTo>
                  <a:pt x="3380" y="2770"/>
                </a:lnTo>
                <a:lnTo>
                  <a:pt x="3380" y="2712"/>
                </a:lnTo>
                <a:lnTo>
                  <a:pt x="3380" y="2712"/>
                </a:lnTo>
                <a:lnTo>
                  <a:pt x="3892" y="2712"/>
                </a:lnTo>
                <a:lnTo>
                  <a:pt x="3892" y="2712"/>
                </a:lnTo>
                <a:close/>
                <a:moveTo>
                  <a:pt x="2221" y="2666"/>
                </a:moveTo>
                <a:lnTo>
                  <a:pt x="2221" y="2666"/>
                </a:lnTo>
                <a:lnTo>
                  <a:pt x="2231" y="2652"/>
                </a:lnTo>
                <a:lnTo>
                  <a:pt x="2241" y="2639"/>
                </a:lnTo>
                <a:lnTo>
                  <a:pt x="2248" y="2624"/>
                </a:lnTo>
                <a:lnTo>
                  <a:pt x="2254" y="2607"/>
                </a:lnTo>
                <a:lnTo>
                  <a:pt x="2254" y="2607"/>
                </a:lnTo>
                <a:lnTo>
                  <a:pt x="2227" y="2592"/>
                </a:lnTo>
                <a:lnTo>
                  <a:pt x="2200" y="2578"/>
                </a:lnTo>
                <a:lnTo>
                  <a:pt x="2174" y="2565"/>
                </a:lnTo>
                <a:lnTo>
                  <a:pt x="2147" y="2555"/>
                </a:lnTo>
                <a:lnTo>
                  <a:pt x="2119" y="2548"/>
                </a:lnTo>
                <a:lnTo>
                  <a:pt x="2091" y="2543"/>
                </a:lnTo>
                <a:lnTo>
                  <a:pt x="2062" y="2538"/>
                </a:lnTo>
                <a:lnTo>
                  <a:pt x="2034" y="2538"/>
                </a:lnTo>
                <a:lnTo>
                  <a:pt x="2006" y="2538"/>
                </a:lnTo>
                <a:lnTo>
                  <a:pt x="1978" y="2543"/>
                </a:lnTo>
                <a:lnTo>
                  <a:pt x="1950" y="2548"/>
                </a:lnTo>
                <a:lnTo>
                  <a:pt x="1921" y="2555"/>
                </a:lnTo>
                <a:lnTo>
                  <a:pt x="1893" y="2565"/>
                </a:lnTo>
                <a:lnTo>
                  <a:pt x="1867" y="2578"/>
                </a:lnTo>
                <a:lnTo>
                  <a:pt x="1842" y="2592"/>
                </a:lnTo>
                <a:lnTo>
                  <a:pt x="1816" y="2607"/>
                </a:lnTo>
                <a:lnTo>
                  <a:pt x="1816" y="2607"/>
                </a:lnTo>
                <a:lnTo>
                  <a:pt x="1821" y="2628"/>
                </a:lnTo>
                <a:lnTo>
                  <a:pt x="1826" y="2644"/>
                </a:lnTo>
                <a:lnTo>
                  <a:pt x="1832" y="2656"/>
                </a:lnTo>
                <a:lnTo>
                  <a:pt x="1840" y="2669"/>
                </a:lnTo>
                <a:lnTo>
                  <a:pt x="1840" y="2669"/>
                </a:lnTo>
                <a:lnTo>
                  <a:pt x="1861" y="2653"/>
                </a:lnTo>
                <a:lnTo>
                  <a:pt x="1885" y="2639"/>
                </a:lnTo>
                <a:lnTo>
                  <a:pt x="1907" y="2627"/>
                </a:lnTo>
                <a:lnTo>
                  <a:pt x="1931" y="2618"/>
                </a:lnTo>
                <a:lnTo>
                  <a:pt x="1957" y="2610"/>
                </a:lnTo>
                <a:lnTo>
                  <a:pt x="1982" y="2606"/>
                </a:lnTo>
                <a:lnTo>
                  <a:pt x="2006" y="2602"/>
                </a:lnTo>
                <a:lnTo>
                  <a:pt x="2031" y="2600"/>
                </a:lnTo>
                <a:lnTo>
                  <a:pt x="2056" y="2602"/>
                </a:lnTo>
                <a:lnTo>
                  <a:pt x="2081" y="2604"/>
                </a:lnTo>
                <a:lnTo>
                  <a:pt x="2106" y="2610"/>
                </a:lnTo>
                <a:lnTo>
                  <a:pt x="2130" y="2617"/>
                </a:lnTo>
                <a:lnTo>
                  <a:pt x="2154" y="2625"/>
                </a:lnTo>
                <a:lnTo>
                  <a:pt x="2177" y="2637"/>
                </a:lnTo>
                <a:lnTo>
                  <a:pt x="2199" y="2651"/>
                </a:lnTo>
                <a:lnTo>
                  <a:pt x="2221" y="2666"/>
                </a:lnTo>
                <a:lnTo>
                  <a:pt x="2221" y="2666"/>
                </a:lnTo>
                <a:close/>
              </a:path>
            </a:pathLst>
          </a:custGeom>
          <a:solidFill>
            <a:srgbClr val="A71628"/>
          </a:solidFill>
          <a:ln>
            <a:noFill/>
          </a:ln>
          <a:extLst/>
        </p:spPr>
        <p:txBody>
          <a:bodyPr vert="horz" wrap="square" lIns="51421" tIns="25712" rIns="51421" bIns="25712" numCol="1" anchor="t" anchorCtr="0" compatLnSpc="1">
            <a:prstTxWarp prst="textNoShape">
              <a:avLst/>
            </a:prstTxWarp>
          </a:bodyPr>
          <a:lstStyle/>
          <a:p>
            <a:endParaRPr lang="en-US" sz="1000">
              <a:solidFill>
                <a:srgbClr val="FFFFFF"/>
              </a:solidFill>
            </a:endParaRPr>
          </a:p>
        </p:txBody>
      </p:sp>
    </p:spTree>
    <p:extLst>
      <p:ext uri="{BB962C8B-B14F-4D97-AF65-F5344CB8AC3E}">
        <p14:creationId xmlns:p14="http://schemas.microsoft.com/office/powerpoint/2010/main" val="164428703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par>
                                <p:cTn id="19" presetID="10" presetClass="entr" presetSubtype="0" fill="hold" nodeType="withEffect">
                                  <p:stCondLst>
                                    <p:cond delay="0"/>
                                  </p:stCondLst>
                                  <p:childTnLst>
                                    <p:set>
                                      <p:cBhvr>
                                        <p:cTn id="20" dur="1" fill="hold">
                                          <p:stCondLst>
                                            <p:cond delay="0"/>
                                          </p:stCondLst>
                                        </p:cTn>
                                        <p:tgtEl>
                                          <p:spTgt spid="66"/>
                                        </p:tgtEl>
                                        <p:attrNameLst>
                                          <p:attrName>style.visibility</p:attrName>
                                        </p:attrNameLst>
                                      </p:cBhvr>
                                      <p:to>
                                        <p:strVal val="visible"/>
                                      </p:to>
                                    </p:set>
                                    <p:animEffect transition="in" filter="fade">
                                      <p:cBhvr>
                                        <p:cTn id="21" dur="500"/>
                                        <p:tgtEl>
                                          <p:spTgt spid="6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childTnLst>
                          </p:cTn>
                        </p:par>
                        <p:par>
                          <p:cTn id="26" fill="hold">
                            <p:stCondLst>
                              <p:cond delay="2000"/>
                            </p:stCondLst>
                            <p:childTnLst>
                              <p:par>
                                <p:cTn id="27" presetID="10" presetClass="entr" presetSubtype="0" fill="hold" grpId="0" nodeType="afterEffect">
                                  <p:stCondLst>
                                    <p:cond delay="0"/>
                                  </p:stCondLst>
                                  <p:childTnLst>
                                    <p:set>
                                      <p:cBhvr>
                                        <p:cTn id="28" dur="1" fill="hold">
                                          <p:stCondLst>
                                            <p:cond delay="0"/>
                                          </p:stCondLst>
                                        </p:cTn>
                                        <p:tgtEl>
                                          <p:spTgt spid="87"/>
                                        </p:tgtEl>
                                        <p:attrNameLst>
                                          <p:attrName>style.visibility</p:attrName>
                                        </p:attrNameLst>
                                      </p:cBhvr>
                                      <p:to>
                                        <p:strVal val="visible"/>
                                      </p:to>
                                    </p:set>
                                    <p:animEffect transition="in" filter="fade">
                                      <p:cBhvr>
                                        <p:cTn id="29" dur="500"/>
                                        <p:tgtEl>
                                          <p:spTgt spid="87"/>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500"/>
                                        <p:tgtEl>
                                          <p:spTgt spid="128"/>
                                        </p:tgtEl>
                                      </p:cBhvr>
                                    </p:animEffect>
                                  </p:childTnLst>
                                </p:cTn>
                              </p:par>
                              <p:par>
                                <p:cTn id="33" presetID="63" presetClass="path" presetSubtype="0" accel="50000" decel="50000" fill="hold" grpId="1" nodeType="withEffect">
                                  <p:stCondLst>
                                    <p:cond delay="0"/>
                                  </p:stCondLst>
                                  <p:childTnLst>
                                    <p:animMotion origin="layout" path="M -0.02539 0 L 1.45833E-6 0 " pathEditMode="relative" rAng="0" ptsTypes="AA">
                                      <p:cBhvr>
                                        <p:cTn id="34" dur="500" fill="hold"/>
                                        <p:tgtEl>
                                          <p:spTgt spid="87"/>
                                        </p:tgtEl>
                                        <p:attrNameLst>
                                          <p:attrName>ppt_x</p:attrName>
                                          <p:attrName>ppt_y</p:attrName>
                                        </p:attrNameLst>
                                      </p:cBhvr>
                                      <p:rCtr x="1263" y="0"/>
                                    </p:animMotion>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7"/>
                                        </p:tgtEl>
                                        <p:attrNameLst>
                                          <p:attrName>style.visibility</p:attrName>
                                        </p:attrNameLst>
                                      </p:cBhvr>
                                      <p:to>
                                        <p:strVal val="visible"/>
                                      </p:to>
                                    </p:set>
                                    <p:animEffect transition="in" filter="fade">
                                      <p:cBhvr>
                                        <p:cTn id="39" dur="250"/>
                                        <p:tgtEl>
                                          <p:spTgt spid="167"/>
                                        </p:tgtEl>
                                      </p:cBhvr>
                                    </p:animEffect>
                                  </p:childTnLst>
                                </p:cTn>
                              </p:par>
                              <p:par>
                                <p:cTn id="40" presetID="10" presetClass="entr" presetSubtype="0" fill="hold" grpId="1" nodeType="withEffect">
                                  <p:stCondLst>
                                    <p:cond delay="0"/>
                                  </p:stCondLst>
                                  <p:iterate type="lt">
                                    <p:tmPct val="4286"/>
                                  </p:iterate>
                                  <p:childTnLst>
                                    <p:set>
                                      <p:cBhvr>
                                        <p:cTn id="41" dur="1" fill="hold">
                                          <p:stCondLst>
                                            <p:cond delay="0"/>
                                          </p:stCondLst>
                                        </p:cTn>
                                        <p:tgtEl>
                                          <p:spTgt spid="77"/>
                                        </p:tgtEl>
                                        <p:attrNameLst>
                                          <p:attrName>style.visibility</p:attrName>
                                        </p:attrNameLst>
                                      </p:cBhvr>
                                      <p:to>
                                        <p:strVal val="visible"/>
                                      </p:to>
                                    </p:set>
                                    <p:animEffect transition="in" filter="fade">
                                      <p:cBhvr>
                                        <p:cTn id="42" dur="150"/>
                                        <p:tgtEl>
                                          <p:spTgt spid="77"/>
                                        </p:tgtEl>
                                      </p:cBhvr>
                                    </p:animEffect>
                                  </p:childTnLst>
                                </p:cTn>
                              </p:par>
                              <p:par>
                                <p:cTn id="43" presetID="35" presetClass="emph" presetSubtype="0" fill="hold" grpId="0" nodeType="withEffect">
                                  <p:stCondLst>
                                    <p:cond delay="0"/>
                                  </p:stCondLst>
                                  <p:iterate type="lt">
                                    <p:tmPct val="4000"/>
                                  </p:iterate>
                                  <p:childTnLst>
                                    <p:anim calcmode="discrete" valueType="str">
                                      <p:cBhvr>
                                        <p:cTn id="44" dur="1000" fill="hold"/>
                                        <p:tgtEl>
                                          <p:spTgt spid="77"/>
                                        </p:tgtEl>
                                        <p:attrNameLst>
                                          <p:attrName>style.visibility</p:attrName>
                                        </p:attrNameLst>
                                      </p:cBhvr>
                                      <p:tavLst>
                                        <p:tav tm="0">
                                          <p:val>
                                            <p:strVal val="hidden"/>
                                          </p:val>
                                        </p:tav>
                                        <p:tav tm="50000">
                                          <p:val>
                                            <p:strVal val="visible"/>
                                          </p:val>
                                        </p:tav>
                                      </p:tavLst>
                                    </p:anim>
                                  </p:childTnLst>
                                </p:cTn>
                              </p:par>
                              <p:par>
                                <p:cTn id="45" presetID="42" presetClass="path" presetSubtype="0" accel="50000" decel="50000" fill="hold" grpId="2" nodeType="withEffect">
                                  <p:stCondLst>
                                    <p:cond delay="0"/>
                                  </p:stCondLst>
                                  <p:childTnLst>
                                    <p:animMotion origin="layout" path="M 1.45833E-6 0 L 1.45833E-6 0.38194 " pathEditMode="relative" rAng="0" ptsTypes="AA">
                                      <p:cBhvr>
                                        <p:cTn id="46" dur="2500" fill="hold"/>
                                        <p:tgtEl>
                                          <p:spTgt spid="87"/>
                                        </p:tgtEl>
                                        <p:attrNameLst>
                                          <p:attrName>ppt_x</p:attrName>
                                          <p:attrName>ppt_y</p:attrName>
                                        </p:attrNameLst>
                                      </p:cBhvr>
                                      <p:rCtr x="0" y="19097"/>
                                    </p:animMotion>
                                  </p:childTnLst>
                                </p:cTn>
                              </p:par>
                              <p:par>
                                <p:cTn id="47" presetID="10" presetClass="entr" presetSubtype="0" fill="hold" grpId="0" nodeType="withEffect">
                                  <p:stCondLst>
                                    <p:cond delay="500"/>
                                  </p:stCondLst>
                                  <p:childTnLst>
                                    <p:set>
                                      <p:cBhvr>
                                        <p:cTn id="48" dur="1" fill="hold">
                                          <p:stCondLst>
                                            <p:cond delay="0"/>
                                          </p:stCondLst>
                                        </p:cTn>
                                        <p:tgtEl>
                                          <p:spTgt spid="36"/>
                                        </p:tgtEl>
                                        <p:attrNameLst>
                                          <p:attrName>style.visibility</p:attrName>
                                        </p:attrNameLst>
                                      </p:cBhvr>
                                      <p:to>
                                        <p:strVal val="visible"/>
                                      </p:to>
                                    </p:set>
                                    <p:animEffect transition="in" filter="fade">
                                      <p:cBhvr>
                                        <p:cTn id="49" dur="250"/>
                                        <p:tgtEl>
                                          <p:spTgt spid="36"/>
                                        </p:tgtEl>
                                      </p:cBhvr>
                                    </p:animEffect>
                                  </p:childTnLst>
                                </p:cTn>
                              </p:par>
                              <p:par>
                                <p:cTn id="50" presetID="10" presetClass="entr" presetSubtype="0" fill="hold" grpId="0" nodeType="withEffect">
                                  <p:stCondLst>
                                    <p:cond delay="800"/>
                                  </p:stCondLst>
                                  <p:childTnLst>
                                    <p:set>
                                      <p:cBhvr>
                                        <p:cTn id="51" dur="1" fill="hold">
                                          <p:stCondLst>
                                            <p:cond delay="0"/>
                                          </p:stCondLst>
                                        </p:cTn>
                                        <p:tgtEl>
                                          <p:spTgt spid="86"/>
                                        </p:tgtEl>
                                        <p:attrNameLst>
                                          <p:attrName>style.visibility</p:attrName>
                                        </p:attrNameLst>
                                      </p:cBhvr>
                                      <p:to>
                                        <p:strVal val="visible"/>
                                      </p:to>
                                    </p:set>
                                    <p:animEffect transition="in" filter="fade">
                                      <p:cBhvr>
                                        <p:cTn id="52" dur="250"/>
                                        <p:tgtEl>
                                          <p:spTgt spid="86"/>
                                        </p:tgtEl>
                                      </p:cBhvr>
                                    </p:animEffect>
                                  </p:childTnLst>
                                </p:cTn>
                              </p:par>
                              <p:par>
                                <p:cTn id="53" presetID="10" presetClass="entr" presetSubtype="0" fill="hold" nodeType="withEffect">
                                  <p:stCondLst>
                                    <p:cond delay="1000"/>
                                  </p:stCondLst>
                                  <p:childTnLst>
                                    <p:set>
                                      <p:cBhvr>
                                        <p:cTn id="54" dur="1" fill="hold">
                                          <p:stCondLst>
                                            <p:cond delay="0"/>
                                          </p:stCondLst>
                                        </p:cTn>
                                        <p:tgtEl>
                                          <p:spTgt spid="81"/>
                                        </p:tgtEl>
                                        <p:attrNameLst>
                                          <p:attrName>style.visibility</p:attrName>
                                        </p:attrNameLst>
                                      </p:cBhvr>
                                      <p:to>
                                        <p:strVal val="visible"/>
                                      </p:to>
                                    </p:set>
                                    <p:animEffect transition="in" filter="fade">
                                      <p:cBhvr>
                                        <p:cTn id="55" dur="250"/>
                                        <p:tgtEl>
                                          <p:spTgt spid="81"/>
                                        </p:tgtEl>
                                      </p:cBhvr>
                                    </p:animEffect>
                                  </p:childTnLst>
                                </p:cTn>
                              </p:par>
                              <p:par>
                                <p:cTn id="56" presetID="1" presetClass="entr" presetSubtype="0" fill="hold" grpId="0" nodeType="withEffect">
                                  <p:stCondLst>
                                    <p:cond delay="2500"/>
                                  </p:stCondLst>
                                  <p:childTnLst>
                                    <p:set>
                                      <p:cBhvr>
                                        <p:cTn id="57" dur="1" fill="hold">
                                          <p:stCondLst>
                                            <p:cond delay="0"/>
                                          </p:stCondLst>
                                        </p:cTn>
                                        <p:tgtEl>
                                          <p:spTgt spid="90"/>
                                        </p:tgtEl>
                                        <p:attrNameLst>
                                          <p:attrName>style.visibility</p:attrName>
                                        </p:attrNameLst>
                                      </p:cBhvr>
                                      <p:to>
                                        <p:strVal val="visible"/>
                                      </p:to>
                                    </p:set>
                                  </p:childTnLst>
                                </p:cTn>
                              </p:par>
                              <p:par>
                                <p:cTn id="58" presetID="10" presetClass="exit" presetSubtype="0" fill="hold" grpId="3" nodeType="withEffect">
                                  <p:stCondLst>
                                    <p:cond delay="2500"/>
                                  </p:stCondLst>
                                  <p:childTnLst>
                                    <p:animEffect transition="out" filter="fade">
                                      <p:cBhvr>
                                        <p:cTn id="59" dur="10"/>
                                        <p:tgtEl>
                                          <p:spTgt spid="87"/>
                                        </p:tgtEl>
                                      </p:cBhvr>
                                    </p:animEffect>
                                    <p:set>
                                      <p:cBhvr>
                                        <p:cTn id="60" dur="1" fill="hold">
                                          <p:stCondLst>
                                            <p:cond delay="9"/>
                                          </p:stCondLst>
                                        </p:cTn>
                                        <p:tgtEl>
                                          <p:spTgt spid="87"/>
                                        </p:tgtEl>
                                        <p:attrNameLst>
                                          <p:attrName>style.visibility</p:attrName>
                                        </p:attrNameLst>
                                      </p:cBhvr>
                                      <p:to>
                                        <p:strVal val="hidden"/>
                                      </p:to>
                                    </p:set>
                                  </p:childTnLst>
                                </p:cTn>
                              </p:par>
                              <p:par>
                                <p:cTn id="61" presetID="6" presetClass="emph" presetSubtype="0" fill="hold" grpId="1" nodeType="withEffect">
                                  <p:stCondLst>
                                    <p:cond delay="2500"/>
                                  </p:stCondLst>
                                  <p:childTnLst>
                                    <p:animScale>
                                      <p:cBhvr>
                                        <p:cTn id="62" dur="150" fill="hold"/>
                                        <p:tgtEl>
                                          <p:spTgt spid="90"/>
                                        </p:tgtEl>
                                      </p:cBhvr>
                                      <p:by x="150000" y="150000"/>
                                    </p:animScale>
                                  </p:childTnLst>
                                </p:cTn>
                              </p:par>
                              <p:par>
                                <p:cTn id="63" presetID="10" presetClass="exit" presetSubtype="0" fill="hold" grpId="3" nodeType="withEffect">
                                  <p:stCondLst>
                                    <p:cond delay="2500"/>
                                  </p:stCondLst>
                                  <p:childTnLst>
                                    <p:animEffect transition="out" filter="fade">
                                      <p:cBhvr>
                                        <p:cTn id="64" dur="250"/>
                                        <p:tgtEl>
                                          <p:spTgt spid="90"/>
                                        </p:tgtEl>
                                      </p:cBhvr>
                                    </p:animEffect>
                                    <p:set>
                                      <p:cBhvr>
                                        <p:cTn id="65" dur="1" fill="hold">
                                          <p:stCondLst>
                                            <p:cond delay="249"/>
                                          </p:stCondLst>
                                        </p:cTn>
                                        <p:tgtEl>
                                          <p:spTgt spid="90"/>
                                        </p:tgtEl>
                                        <p:attrNameLst>
                                          <p:attrName>style.visibility</p:attrName>
                                        </p:attrNameLst>
                                      </p:cBhvr>
                                      <p:to>
                                        <p:strVal val="hidden"/>
                                      </p:to>
                                    </p:set>
                                  </p:childTnLst>
                                </p:cTn>
                              </p:par>
                              <p:par>
                                <p:cTn id="66" presetID="49" presetClass="path" presetSubtype="0" accel="50000" decel="50000" fill="hold" grpId="2" nodeType="withEffect">
                                  <p:stCondLst>
                                    <p:cond delay="2500"/>
                                  </p:stCondLst>
                                  <p:childTnLst>
                                    <p:animMotion origin="layout" path="M 1.45833E-6 1.11022E-16 L -0.04193 -0.04329 " pathEditMode="relative" rAng="0" ptsTypes="AA">
                                      <p:cBhvr>
                                        <p:cTn id="67" dur="250" fill="hold"/>
                                        <p:tgtEl>
                                          <p:spTgt spid="90"/>
                                        </p:tgtEl>
                                        <p:attrNameLst>
                                          <p:attrName>ppt_x</p:attrName>
                                          <p:attrName>ppt_y</p:attrName>
                                        </p:attrNameLst>
                                      </p:cBhvr>
                                      <p:rCtr x="-2096" y="-2176"/>
                                    </p:animMotion>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97"/>
                                        </p:tgtEl>
                                        <p:attrNameLst>
                                          <p:attrName>style.visibility</p:attrName>
                                        </p:attrNameLst>
                                      </p:cBhvr>
                                      <p:to>
                                        <p:strVal val="visible"/>
                                      </p:to>
                                    </p:set>
                                    <p:animEffect transition="in" filter="fade">
                                      <p:cBhvr>
                                        <p:cTn id="72" dur="250"/>
                                        <p:tgtEl>
                                          <p:spTgt spid="97"/>
                                        </p:tgtEl>
                                      </p:cBhvr>
                                    </p:animEffect>
                                  </p:childTnLst>
                                </p:cTn>
                              </p:par>
                              <p:par>
                                <p:cTn id="73" presetID="10" presetClass="exit" presetSubtype="0" fill="hold" grpId="1" nodeType="withEffect">
                                  <p:stCondLst>
                                    <p:cond delay="0"/>
                                  </p:stCondLst>
                                  <p:childTnLst>
                                    <p:animEffect transition="out" filter="fade">
                                      <p:cBhvr>
                                        <p:cTn id="74" dur="250"/>
                                        <p:tgtEl>
                                          <p:spTgt spid="167"/>
                                        </p:tgtEl>
                                      </p:cBhvr>
                                    </p:animEffect>
                                    <p:set>
                                      <p:cBhvr>
                                        <p:cTn id="75" dur="1" fill="hold">
                                          <p:stCondLst>
                                            <p:cond delay="249"/>
                                          </p:stCondLst>
                                        </p:cTn>
                                        <p:tgtEl>
                                          <p:spTgt spid="167"/>
                                        </p:tgtEl>
                                        <p:attrNameLst>
                                          <p:attrName>style.visibility</p:attrName>
                                        </p:attrNameLst>
                                      </p:cBhvr>
                                      <p:to>
                                        <p:strVal val="hidden"/>
                                      </p:to>
                                    </p:set>
                                  </p:childTnLst>
                                </p:cTn>
                              </p:par>
                            </p:childTnLst>
                          </p:cTn>
                        </p:par>
                        <p:par>
                          <p:cTn id="76" fill="hold">
                            <p:stCondLst>
                              <p:cond delay="250"/>
                            </p:stCondLst>
                            <p:childTnLst>
                              <p:par>
                                <p:cTn id="77" presetID="10" presetClass="entr" presetSubtype="0" fill="hold" grpId="0" nodeType="afterEffect">
                                  <p:stCondLst>
                                    <p:cond delay="0"/>
                                  </p:stCondLst>
                                  <p:childTnLst>
                                    <p:set>
                                      <p:cBhvr>
                                        <p:cTn id="78" dur="1" fill="hold">
                                          <p:stCondLst>
                                            <p:cond delay="0"/>
                                          </p:stCondLst>
                                        </p:cTn>
                                        <p:tgtEl>
                                          <p:spTgt spid="72"/>
                                        </p:tgtEl>
                                        <p:attrNameLst>
                                          <p:attrName>style.visibility</p:attrName>
                                        </p:attrNameLst>
                                      </p:cBhvr>
                                      <p:to>
                                        <p:strVal val="visible"/>
                                      </p:to>
                                    </p:set>
                                    <p:animEffect transition="in" filter="fade">
                                      <p:cBhvr>
                                        <p:cTn id="79" dur="250"/>
                                        <p:tgtEl>
                                          <p:spTgt spid="72"/>
                                        </p:tgtEl>
                                      </p:cBhvr>
                                    </p:animEffect>
                                  </p:childTnLst>
                                </p:cTn>
                              </p:par>
                            </p:childTnLst>
                          </p:cTn>
                        </p:par>
                        <p:par>
                          <p:cTn id="80" fill="hold">
                            <p:stCondLst>
                              <p:cond delay="500"/>
                            </p:stCondLst>
                            <p:childTnLst>
                              <p:par>
                                <p:cTn id="81" presetID="10" presetClass="entr" presetSubtype="0" fill="hold" grpId="0" nodeType="afterEffect">
                                  <p:stCondLst>
                                    <p:cond delay="0"/>
                                  </p:stCondLst>
                                  <p:childTnLst>
                                    <p:set>
                                      <p:cBhvr>
                                        <p:cTn id="82" dur="1" fill="hold">
                                          <p:stCondLst>
                                            <p:cond delay="0"/>
                                          </p:stCondLst>
                                        </p:cTn>
                                        <p:tgtEl>
                                          <p:spTgt spid="139"/>
                                        </p:tgtEl>
                                        <p:attrNameLst>
                                          <p:attrName>style.visibility</p:attrName>
                                        </p:attrNameLst>
                                      </p:cBhvr>
                                      <p:to>
                                        <p:strVal val="visible"/>
                                      </p:to>
                                    </p:set>
                                    <p:animEffect transition="in" filter="fade">
                                      <p:cBhvr>
                                        <p:cTn id="83" dur="150"/>
                                        <p:tgtEl>
                                          <p:spTgt spid="139"/>
                                        </p:tgtEl>
                                      </p:cBhvr>
                                    </p:animEffect>
                                  </p:childTnLst>
                                </p:cTn>
                              </p:par>
                            </p:childTnLst>
                          </p:cTn>
                        </p:par>
                        <p:par>
                          <p:cTn id="84" fill="hold">
                            <p:stCondLst>
                              <p:cond delay="650"/>
                            </p:stCondLst>
                            <p:childTnLst>
                              <p:par>
                                <p:cTn id="85" presetID="10" presetClass="entr" presetSubtype="0" fill="hold" grpId="0" nodeType="afterEffect">
                                  <p:stCondLst>
                                    <p:cond delay="0"/>
                                  </p:stCondLst>
                                  <p:childTnLst>
                                    <p:set>
                                      <p:cBhvr>
                                        <p:cTn id="86" dur="1" fill="hold">
                                          <p:stCondLst>
                                            <p:cond delay="0"/>
                                          </p:stCondLst>
                                        </p:cTn>
                                        <p:tgtEl>
                                          <p:spTgt spid="70"/>
                                        </p:tgtEl>
                                        <p:attrNameLst>
                                          <p:attrName>style.visibility</p:attrName>
                                        </p:attrNameLst>
                                      </p:cBhvr>
                                      <p:to>
                                        <p:strVal val="visible"/>
                                      </p:to>
                                    </p:set>
                                    <p:animEffect transition="in" filter="fade">
                                      <p:cBhvr>
                                        <p:cTn id="87" dur="150"/>
                                        <p:tgtEl>
                                          <p:spTgt spid="70"/>
                                        </p:tgtEl>
                                      </p:cBhvr>
                                    </p:animEffect>
                                  </p:childTnLst>
                                </p:cTn>
                              </p:par>
                              <p:par>
                                <p:cTn id="88" presetID="10" presetClass="entr" presetSubtype="0" fill="hold" nodeType="withEffect">
                                  <p:stCondLst>
                                    <p:cond delay="0"/>
                                  </p:stCondLst>
                                  <p:childTnLst>
                                    <p:set>
                                      <p:cBhvr>
                                        <p:cTn id="89" dur="1" fill="hold">
                                          <p:stCondLst>
                                            <p:cond delay="0"/>
                                          </p:stCondLst>
                                        </p:cTn>
                                        <p:tgtEl>
                                          <p:spTgt spid="130"/>
                                        </p:tgtEl>
                                        <p:attrNameLst>
                                          <p:attrName>style.visibility</p:attrName>
                                        </p:attrNameLst>
                                      </p:cBhvr>
                                      <p:to>
                                        <p:strVal val="visible"/>
                                      </p:to>
                                    </p:set>
                                    <p:animEffect transition="in" filter="fade">
                                      <p:cBhvr>
                                        <p:cTn id="90" dur="475"/>
                                        <p:tgtEl>
                                          <p:spTgt spid="130"/>
                                        </p:tgtEl>
                                      </p:cBhvr>
                                    </p:animEffect>
                                  </p:childTnLst>
                                </p:cTn>
                              </p:par>
                              <p:par>
                                <p:cTn id="91" presetID="10" presetClass="entr" presetSubtype="0" fill="hold" nodeType="withEffect">
                                  <p:stCondLst>
                                    <p:cond delay="0"/>
                                  </p:stCondLst>
                                  <p:childTnLst>
                                    <p:set>
                                      <p:cBhvr>
                                        <p:cTn id="92" dur="1" fill="hold">
                                          <p:stCondLst>
                                            <p:cond delay="0"/>
                                          </p:stCondLst>
                                        </p:cTn>
                                        <p:tgtEl>
                                          <p:spTgt spid="171"/>
                                        </p:tgtEl>
                                        <p:attrNameLst>
                                          <p:attrName>style.visibility</p:attrName>
                                        </p:attrNameLst>
                                      </p:cBhvr>
                                      <p:to>
                                        <p:strVal val="visible"/>
                                      </p:to>
                                    </p:set>
                                    <p:animEffect transition="in" filter="fade">
                                      <p:cBhvr>
                                        <p:cTn id="93" dur="475"/>
                                        <p:tgtEl>
                                          <p:spTgt spid="171"/>
                                        </p:tgtEl>
                                      </p:cBhvr>
                                    </p:animEffect>
                                  </p:childTnLst>
                                </p:cTn>
                              </p:par>
                              <p:par>
                                <p:cTn id="94" presetID="1" presetClass="entr" presetSubtype="0" fill="hold" nodeType="withEffect">
                                  <p:stCondLst>
                                    <p:cond delay="0"/>
                                  </p:stCondLst>
                                  <p:childTnLst>
                                    <p:set>
                                      <p:cBhvr>
                                        <p:cTn id="95" dur="1" fill="hold">
                                          <p:stCondLst>
                                            <p:cond delay="0"/>
                                          </p:stCondLst>
                                        </p:cTn>
                                        <p:tgtEl>
                                          <p:spTgt spid="28"/>
                                        </p:tgtEl>
                                        <p:attrNameLst>
                                          <p:attrName>style.visibility</p:attrName>
                                        </p:attrNameLst>
                                      </p:cBhvr>
                                      <p:to>
                                        <p:strVal val="visible"/>
                                      </p:to>
                                    </p:set>
                                  </p:childTnLst>
                                </p:cTn>
                              </p:par>
                              <p:par>
                                <p:cTn id="96" presetID="10" presetClass="entr" presetSubtype="0" fill="hold" grpId="0" nodeType="withEffect">
                                  <p:stCondLst>
                                    <p:cond delay="0"/>
                                  </p:stCondLst>
                                  <p:childTnLst>
                                    <p:set>
                                      <p:cBhvr>
                                        <p:cTn id="97" dur="1" fill="hold">
                                          <p:stCondLst>
                                            <p:cond delay="0"/>
                                          </p:stCondLst>
                                        </p:cTn>
                                        <p:tgtEl>
                                          <p:spTgt spid="134"/>
                                        </p:tgtEl>
                                        <p:attrNameLst>
                                          <p:attrName>style.visibility</p:attrName>
                                        </p:attrNameLst>
                                      </p:cBhvr>
                                      <p:to>
                                        <p:strVal val="visible"/>
                                      </p:to>
                                    </p:set>
                                    <p:animEffect transition="in" filter="fade">
                                      <p:cBhvr>
                                        <p:cTn id="98" dur="500"/>
                                        <p:tgtEl>
                                          <p:spTgt spid="134"/>
                                        </p:tgtEl>
                                      </p:cBhvr>
                                    </p:animEffect>
                                  </p:childTnLst>
                                </p:cTn>
                              </p:par>
                              <p:par>
                                <p:cTn id="99" presetID="1" presetClass="entr" presetSubtype="0" fill="hold" nodeType="withEffect">
                                  <p:stCondLst>
                                    <p:cond delay="0"/>
                                  </p:stCondLst>
                                  <p:childTnLst>
                                    <p:set>
                                      <p:cBhvr>
                                        <p:cTn id="100" dur="1" fill="hold">
                                          <p:stCondLst>
                                            <p:cond delay="0"/>
                                          </p:stCondLst>
                                        </p:cTn>
                                        <p:tgtEl>
                                          <p:spTgt spid="94"/>
                                        </p:tgtEl>
                                        <p:attrNameLst>
                                          <p:attrName>style.visibility</p:attrName>
                                        </p:attrNameLst>
                                      </p:cBhvr>
                                      <p:to>
                                        <p:strVal val="visible"/>
                                      </p:to>
                                    </p:set>
                                  </p:childTnLst>
                                </p:cTn>
                              </p:par>
                              <p:par>
                                <p:cTn id="101" presetID="10" presetClass="entr" presetSubtype="0" fill="hold" grpId="1" nodeType="withEffect">
                                  <p:stCondLst>
                                    <p:cond delay="0"/>
                                  </p:stCondLst>
                                  <p:iterate type="lt">
                                    <p:tmPct val="0"/>
                                  </p:iterate>
                                  <p:childTnLst>
                                    <p:set>
                                      <p:cBhvr>
                                        <p:cTn id="102" dur="1" fill="hold">
                                          <p:stCondLst>
                                            <p:cond delay="0"/>
                                          </p:stCondLst>
                                        </p:cTn>
                                        <p:tgtEl>
                                          <p:spTgt spid="135"/>
                                        </p:tgtEl>
                                        <p:attrNameLst>
                                          <p:attrName>style.visibility</p:attrName>
                                        </p:attrNameLst>
                                      </p:cBhvr>
                                      <p:to>
                                        <p:strVal val="visible"/>
                                      </p:to>
                                    </p:set>
                                    <p:animEffect transition="in" filter="fade">
                                      <p:cBhvr>
                                        <p:cTn id="103" dur="50"/>
                                        <p:tgtEl>
                                          <p:spTgt spid="135"/>
                                        </p:tgtEl>
                                      </p:cBhvr>
                                    </p:animEffect>
                                  </p:childTnLst>
                                </p:cTn>
                              </p:par>
                              <p:par>
                                <p:cTn id="104" presetID="35" presetClass="emph" presetSubtype="0" fill="hold" grpId="0" nodeType="withEffect">
                                  <p:stCondLst>
                                    <p:cond delay="0"/>
                                  </p:stCondLst>
                                  <p:iterate type="lt">
                                    <p:tmPct val="10000"/>
                                  </p:iterate>
                                  <p:childTnLst>
                                    <p:anim calcmode="discrete" valueType="str">
                                      <p:cBhvr>
                                        <p:cTn id="105" dur="1000" fill="hold"/>
                                        <p:tgtEl>
                                          <p:spTgt spid="135"/>
                                        </p:tgtEl>
                                        <p:attrNameLst>
                                          <p:attrName>style.visibility</p:attrName>
                                        </p:attrNameLst>
                                      </p:cBhvr>
                                      <p:tavLst>
                                        <p:tav tm="0">
                                          <p:val>
                                            <p:strVal val="hidden"/>
                                          </p:val>
                                        </p:tav>
                                        <p:tav tm="50000">
                                          <p:val>
                                            <p:strVal val="visible"/>
                                          </p:val>
                                        </p:tav>
                                      </p:tavLst>
                                    </p:anim>
                                  </p:childTnLst>
                                </p:cTn>
                              </p:par>
                              <p:par>
                                <p:cTn id="106" presetID="10" presetClass="entr" presetSubtype="0" fill="hold" grpId="1" nodeType="withEffect">
                                  <p:stCondLst>
                                    <p:cond delay="0"/>
                                  </p:stCondLst>
                                  <p:iterate type="lt">
                                    <p:tmPct val="0"/>
                                  </p:iterate>
                                  <p:childTnLst>
                                    <p:set>
                                      <p:cBhvr>
                                        <p:cTn id="107" dur="1" fill="hold">
                                          <p:stCondLst>
                                            <p:cond delay="0"/>
                                          </p:stCondLst>
                                        </p:cTn>
                                        <p:tgtEl>
                                          <p:spTgt spid="136"/>
                                        </p:tgtEl>
                                        <p:attrNameLst>
                                          <p:attrName>style.visibility</p:attrName>
                                        </p:attrNameLst>
                                      </p:cBhvr>
                                      <p:to>
                                        <p:strVal val="visible"/>
                                      </p:to>
                                    </p:set>
                                    <p:animEffect transition="in" filter="fade">
                                      <p:cBhvr>
                                        <p:cTn id="108" dur="50"/>
                                        <p:tgtEl>
                                          <p:spTgt spid="136"/>
                                        </p:tgtEl>
                                      </p:cBhvr>
                                    </p:animEffect>
                                  </p:childTnLst>
                                </p:cTn>
                              </p:par>
                              <p:par>
                                <p:cTn id="109" presetID="35" presetClass="emph" presetSubtype="0" fill="hold" grpId="0" nodeType="withEffect">
                                  <p:stCondLst>
                                    <p:cond delay="0"/>
                                  </p:stCondLst>
                                  <p:iterate type="lt">
                                    <p:tmPct val="10000"/>
                                  </p:iterate>
                                  <p:childTnLst>
                                    <p:anim calcmode="discrete" valueType="str">
                                      <p:cBhvr>
                                        <p:cTn id="110" dur="1000" fill="hold"/>
                                        <p:tgtEl>
                                          <p:spTgt spid="136"/>
                                        </p:tgtEl>
                                        <p:attrNameLst>
                                          <p:attrName>style.visibility</p:attrName>
                                        </p:attrNameLst>
                                      </p:cBhvr>
                                      <p:tavLst>
                                        <p:tav tm="0">
                                          <p:val>
                                            <p:strVal val="hidden"/>
                                          </p:val>
                                        </p:tav>
                                        <p:tav tm="50000">
                                          <p:val>
                                            <p:strVal val="visible"/>
                                          </p:val>
                                        </p:tav>
                                      </p:tavLst>
                                    </p:anim>
                                  </p:childTnLst>
                                </p:cTn>
                              </p:par>
                              <p:par>
                                <p:cTn id="111" presetID="64" presetClass="path" presetSubtype="0" accel="50000" decel="50000" fill="hold" nodeType="withEffect">
                                  <p:stCondLst>
                                    <p:cond delay="750"/>
                                  </p:stCondLst>
                                  <p:childTnLst>
                                    <p:animMotion origin="layout" path="M -0.00729 -0.01041 L -0.20039 -0.00162 " pathEditMode="relative" rAng="0" ptsTypes="AA">
                                      <p:cBhvr>
                                        <p:cTn id="112" dur="900" fill="hold"/>
                                        <p:tgtEl>
                                          <p:spTgt spid="130"/>
                                        </p:tgtEl>
                                        <p:attrNameLst>
                                          <p:attrName>ppt_x</p:attrName>
                                          <p:attrName>ppt_y</p:attrName>
                                        </p:attrNameLst>
                                      </p:cBhvr>
                                      <p:rCtr x="-9661" y="440"/>
                                    </p:animMotion>
                                  </p:childTnLst>
                                </p:cTn>
                              </p:par>
                              <p:par>
                                <p:cTn id="113" presetID="64" presetClass="path" presetSubtype="0" accel="50000" decel="50000" fill="hold" nodeType="withEffect">
                                  <p:stCondLst>
                                    <p:cond delay="750"/>
                                  </p:stCondLst>
                                  <p:childTnLst>
                                    <p:animMotion origin="layout" path="M -0.00729 -0.01041 L -0.25755 -0.0044 " pathEditMode="relative" rAng="0" ptsTypes="AA">
                                      <p:cBhvr>
                                        <p:cTn id="114" dur="900" fill="hold"/>
                                        <p:tgtEl>
                                          <p:spTgt spid="171"/>
                                        </p:tgtEl>
                                        <p:attrNameLst>
                                          <p:attrName>ppt_x</p:attrName>
                                          <p:attrName>ppt_y</p:attrName>
                                        </p:attrNameLst>
                                      </p:cBhvr>
                                      <p:rCtr x="-12513" y="301"/>
                                    </p:animMotion>
                                  </p:childTnLst>
                                </p:cTn>
                              </p:par>
                              <p:par>
                                <p:cTn id="115" presetID="6" presetClass="emph" presetSubtype="0" fill="hold" nodeType="withEffect">
                                  <p:stCondLst>
                                    <p:cond delay="750"/>
                                  </p:stCondLst>
                                  <p:childTnLst>
                                    <p:animScale>
                                      <p:cBhvr>
                                        <p:cTn id="116" dur="1000" fill="hold"/>
                                        <p:tgtEl>
                                          <p:spTgt spid="130"/>
                                        </p:tgtEl>
                                      </p:cBhvr>
                                      <p:by x="40000" y="40000"/>
                                    </p:animScale>
                                  </p:childTnLst>
                                </p:cTn>
                              </p:par>
                              <p:par>
                                <p:cTn id="117" presetID="6" presetClass="emph" presetSubtype="0" fill="hold" nodeType="withEffect">
                                  <p:stCondLst>
                                    <p:cond delay="750"/>
                                  </p:stCondLst>
                                  <p:childTnLst>
                                    <p:animScale>
                                      <p:cBhvr>
                                        <p:cTn id="118" dur="1000" fill="hold"/>
                                        <p:tgtEl>
                                          <p:spTgt spid="171"/>
                                        </p:tgtEl>
                                      </p:cBhvr>
                                      <p:by x="40000" y="40000"/>
                                    </p:animScale>
                                  </p:childTnLst>
                                </p:cTn>
                              </p:par>
                              <p:par>
                                <p:cTn id="119" presetID="10" presetClass="exit" presetSubtype="0" fill="hold" nodeType="withEffect">
                                  <p:stCondLst>
                                    <p:cond delay="1500"/>
                                  </p:stCondLst>
                                  <p:childTnLst>
                                    <p:animEffect transition="out" filter="fade">
                                      <p:cBhvr>
                                        <p:cTn id="120" dur="500"/>
                                        <p:tgtEl>
                                          <p:spTgt spid="130"/>
                                        </p:tgtEl>
                                      </p:cBhvr>
                                    </p:animEffect>
                                    <p:set>
                                      <p:cBhvr>
                                        <p:cTn id="121" dur="1" fill="hold">
                                          <p:stCondLst>
                                            <p:cond delay="499"/>
                                          </p:stCondLst>
                                        </p:cTn>
                                        <p:tgtEl>
                                          <p:spTgt spid="130"/>
                                        </p:tgtEl>
                                        <p:attrNameLst>
                                          <p:attrName>style.visibility</p:attrName>
                                        </p:attrNameLst>
                                      </p:cBhvr>
                                      <p:to>
                                        <p:strVal val="hidden"/>
                                      </p:to>
                                    </p:set>
                                  </p:childTnLst>
                                </p:cTn>
                              </p:par>
                              <p:par>
                                <p:cTn id="122" presetID="10" presetClass="exit" presetSubtype="0" fill="hold" nodeType="withEffect">
                                  <p:stCondLst>
                                    <p:cond delay="1500"/>
                                  </p:stCondLst>
                                  <p:childTnLst>
                                    <p:animEffect transition="out" filter="fade">
                                      <p:cBhvr>
                                        <p:cTn id="123" dur="500"/>
                                        <p:tgtEl>
                                          <p:spTgt spid="171"/>
                                        </p:tgtEl>
                                      </p:cBhvr>
                                    </p:animEffect>
                                    <p:set>
                                      <p:cBhvr>
                                        <p:cTn id="124" dur="1" fill="hold">
                                          <p:stCondLst>
                                            <p:cond delay="499"/>
                                          </p:stCondLst>
                                        </p:cTn>
                                        <p:tgtEl>
                                          <p:spTgt spid="171"/>
                                        </p:tgtEl>
                                        <p:attrNameLst>
                                          <p:attrName>style.visibility</p:attrName>
                                        </p:attrNameLst>
                                      </p:cBhvr>
                                      <p:to>
                                        <p:strVal val="hidden"/>
                                      </p:to>
                                    </p:set>
                                  </p:childTnLst>
                                </p:cTn>
                              </p:par>
                              <p:par>
                                <p:cTn id="125" presetID="10" presetClass="entr" presetSubtype="0" fill="hold" grpId="1" nodeType="withEffect">
                                  <p:stCondLst>
                                    <p:cond delay="1500"/>
                                  </p:stCondLst>
                                  <p:iterate type="lt">
                                    <p:tmPct val="4286"/>
                                  </p:iterate>
                                  <p:childTnLst>
                                    <p:set>
                                      <p:cBhvr>
                                        <p:cTn id="126" dur="1" fill="hold">
                                          <p:stCondLst>
                                            <p:cond delay="0"/>
                                          </p:stCondLst>
                                        </p:cTn>
                                        <p:tgtEl>
                                          <p:spTgt spid="147"/>
                                        </p:tgtEl>
                                        <p:attrNameLst>
                                          <p:attrName>style.visibility</p:attrName>
                                        </p:attrNameLst>
                                      </p:cBhvr>
                                      <p:to>
                                        <p:strVal val="visible"/>
                                      </p:to>
                                    </p:set>
                                    <p:animEffect transition="in" filter="fade">
                                      <p:cBhvr>
                                        <p:cTn id="127" dur="150"/>
                                        <p:tgtEl>
                                          <p:spTgt spid="147"/>
                                        </p:tgtEl>
                                      </p:cBhvr>
                                    </p:animEffect>
                                  </p:childTnLst>
                                </p:cTn>
                              </p:par>
                              <p:par>
                                <p:cTn id="128" presetID="35" presetClass="emph" presetSubtype="0" fill="hold" grpId="0" nodeType="withEffect">
                                  <p:stCondLst>
                                    <p:cond delay="1500"/>
                                  </p:stCondLst>
                                  <p:iterate type="lt">
                                    <p:tmPct val="4000"/>
                                  </p:iterate>
                                  <p:childTnLst>
                                    <p:anim calcmode="discrete" valueType="str">
                                      <p:cBhvr>
                                        <p:cTn id="129" dur="1000" fill="hold"/>
                                        <p:tgtEl>
                                          <p:spTgt spid="147"/>
                                        </p:tgtEl>
                                        <p:attrNameLst>
                                          <p:attrName>style.visibility</p:attrName>
                                        </p:attrNameLst>
                                      </p:cBhvr>
                                      <p:tavLst>
                                        <p:tav tm="0">
                                          <p:val>
                                            <p:strVal val="hidden"/>
                                          </p:val>
                                        </p:tav>
                                        <p:tav tm="50000">
                                          <p:val>
                                            <p:strVal val="visible"/>
                                          </p:val>
                                        </p:tav>
                                      </p:tavLst>
                                    </p:anim>
                                  </p:childTnLst>
                                </p:cTn>
                              </p:par>
                              <p:par>
                                <p:cTn id="130" presetID="10" presetClass="entr" presetSubtype="0" fill="hold" grpId="0" nodeType="withEffect">
                                  <p:stCondLst>
                                    <p:cond delay="2000"/>
                                  </p:stCondLst>
                                  <p:childTnLst>
                                    <p:set>
                                      <p:cBhvr>
                                        <p:cTn id="131" dur="1" fill="hold">
                                          <p:stCondLst>
                                            <p:cond delay="0"/>
                                          </p:stCondLst>
                                        </p:cTn>
                                        <p:tgtEl>
                                          <p:spTgt spid="177"/>
                                        </p:tgtEl>
                                        <p:attrNameLst>
                                          <p:attrName>style.visibility</p:attrName>
                                        </p:attrNameLst>
                                      </p:cBhvr>
                                      <p:to>
                                        <p:strVal val="visible"/>
                                      </p:to>
                                    </p:set>
                                    <p:animEffect transition="in" filter="fade">
                                      <p:cBhvr>
                                        <p:cTn id="132" dur="500"/>
                                        <p:tgtEl>
                                          <p:spTgt spid="177"/>
                                        </p:tgtEl>
                                      </p:cBhvr>
                                    </p:animEffect>
                                  </p:childTnLst>
                                </p:cTn>
                              </p:par>
                              <p:par>
                                <p:cTn id="133" presetID="10" presetClass="entr" presetSubtype="0" fill="hold" grpId="0" nodeType="withEffect">
                                  <p:stCondLst>
                                    <p:cond delay="2750"/>
                                  </p:stCondLst>
                                  <p:childTnLst>
                                    <p:set>
                                      <p:cBhvr>
                                        <p:cTn id="134" dur="1" fill="hold">
                                          <p:stCondLst>
                                            <p:cond delay="0"/>
                                          </p:stCondLst>
                                        </p:cTn>
                                        <p:tgtEl>
                                          <p:spTgt spid="85"/>
                                        </p:tgtEl>
                                        <p:attrNameLst>
                                          <p:attrName>style.visibility</p:attrName>
                                        </p:attrNameLst>
                                      </p:cBhvr>
                                      <p:to>
                                        <p:strVal val="visible"/>
                                      </p:to>
                                    </p:set>
                                    <p:animEffect transition="in" filter="fade">
                                      <p:cBhvr>
                                        <p:cTn id="135" dur="500"/>
                                        <p:tgtEl>
                                          <p:spTgt spid="85"/>
                                        </p:tgtEl>
                                      </p:cBhvr>
                                    </p:animEffect>
                                  </p:childTnLst>
                                </p:cTn>
                              </p:par>
                              <p:par>
                                <p:cTn id="136" presetID="10" presetClass="entr" presetSubtype="0" fill="hold" nodeType="withEffect">
                                  <p:stCondLst>
                                    <p:cond delay="3250"/>
                                  </p:stCondLst>
                                  <p:childTnLst>
                                    <p:set>
                                      <p:cBhvr>
                                        <p:cTn id="137" dur="1" fill="hold">
                                          <p:stCondLst>
                                            <p:cond delay="0"/>
                                          </p:stCondLst>
                                        </p:cTn>
                                        <p:tgtEl>
                                          <p:spTgt spid="78"/>
                                        </p:tgtEl>
                                        <p:attrNameLst>
                                          <p:attrName>style.visibility</p:attrName>
                                        </p:attrNameLst>
                                      </p:cBhvr>
                                      <p:to>
                                        <p:strVal val="visible"/>
                                      </p:to>
                                    </p:set>
                                    <p:animEffect transition="in" filter="fade">
                                      <p:cBhvr>
                                        <p:cTn id="138" dur="500"/>
                                        <p:tgtEl>
                                          <p:spTgt spid="78"/>
                                        </p:tgtEl>
                                      </p:cBhvr>
                                    </p:animEffect>
                                  </p:childTnLst>
                                </p:cTn>
                              </p:par>
                              <p:par>
                                <p:cTn id="139" presetID="56" presetClass="path" presetSubtype="0" accel="50000" decel="50000" fill="hold" grpId="1" nodeType="withEffect">
                                  <p:stCondLst>
                                    <p:cond delay="3250"/>
                                  </p:stCondLst>
                                  <p:childTnLst>
                                    <p:animMotion origin="layout" path="M 1.66667E-6 1.11111E-6 L 0.00508 -0.3669 " pathEditMode="relative" rAng="0" ptsTypes="AA">
                                      <p:cBhvr>
                                        <p:cTn id="140" dur="1250" fill="hold"/>
                                        <p:tgtEl>
                                          <p:spTgt spid="177"/>
                                        </p:tgtEl>
                                        <p:attrNameLst>
                                          <p:attrName>ppt_x</p:attrName>
                                          <p:attrName>ppt_y</p:attrName>
                                        </p:attrNameLst>
                                      </p:cBhvr>
                                      <p:rCtr x="247" y="-18356"/>
                                    </p:animMotion>
                                  </p:childTnLst>
                                </p:cTn>
                              </p:par>
                              <p:par>
                                <p:cTn id="141" presetID="10" presetClass="exit" presetSubtype="0" fill="hold" grpId="2" nodeType="withEffect">
                                  <p:stCondLst>
                                    <p:cond delay="4500"/>
                                  </p:stCondLst>
                                  <p:childTnLst>
                                    <p:animEffect transition="out" filter="fade">
                                      <p:cBhvr>
                                        <p:cTn id="142" dur="250"/>
                                        <p:tgtEl>
                                          <p:spTgt spid="177"/>
                                        </p:tgtEl>
                                      </p:cBhvr>
                                    </p:animEffect>
                                    <p:set>
                                      <p:cBhvr>
                                        <p:cTn id="143" dur="1" fill="hold">
                                          <p:stCondLst>
                                            <p:cond delay="249"/>
                                          </p:stCondLst>
                                        </p:cTn>
                                        <p:tgtEl>
                                          <p:spTgt spid="177"/>
                                        </p:tgtEl>
                                        <p:attrNameLst>
                                          <p:attrName>style.visibility</p:attrName>
                                        </p:attrNameLst>
                                      </p:cBhvr>
                                      <p:to>
                                        <p:strVal val="hidden"/>
                                      </p:to>
                                    </p:set>
                                  </p:childTnLst>
                                </p:cTn>
                              </p:par>
                              <p:par>
                                <p:cTn id="144" presetID="1" presetClass="entr" presetSubtype="0" fill="hold" grpId="0" nodeType="withEffect">
                                  <p:stCondLst>
                                    <p:cond delay="4500"/>
                                  </p:stCondLst>
                                  <p:childTnLst>
                                    <p:set>
                                      <p:cBhvr>
                                        <p:cTn id="145" dur="1" fill="hold">
                                          <p:stCondLst>
                                            <p:cond delay="0"/>
                                          </p:stCondLst>
                                        </p:cTn>
                                        <p:tgtEl>
                                          <p:spTgt spid="179"/>
                                        </p:tgtEl>
                                        <p:attrNameLst>
                                          <p:attrName>style.visibility</p:attrName>
                                        </p:attrNameLst>
                                      </p:cBhvr>
                                      <p:to>
                                        <p:strVal val="visible"/>
                                      </p:to>
                                    </p:set>
                                  </p:childTnLst>
                                </p:cTn>
                              </p:par>
                              <p:par>
                                <p:cTn id="146" presetID="56" presetClass="path" presetSubtype="0" accel="50000" decel="50000" fill="hold" grpId="1" nodeType="withEffect">
                                  <p:stCondLst>
                                    <p:cond delay="4500"/>
                                  </p:stCondLst>
                                  <p:childTnLst>
                                    <p:animMotion origin="layout" path="M 3.75E-6 2.22222E-6 L 0.01289 0.01574 " pathEditMode="relative" rAng="0" ptsTypes="AA">
                                      <p:cBhvr>
                                        <p:cTn id="147" dur="250" fill="hold"/>
                                        <p:tgtEl>
                                          <p:spTgt spid="179"/>
                                        </p:tgtEl>
                                        <p:attrNameLst>
                                          <p:attrName>ppt_x</p:attrName>
                                          <p:attrName>ppt_y</p:attrName>
                                        </p:attrNameLst>
                                      </p:cBhvr>
                                      <p:rCtr x="638" y="787"/>
                                    </p:animMotion>
                                  </p:childTnLst>
                                </p:cTn>
                              </p:par>
                              <p:par>
                                <p:cTn id="148" presetID="10" presetClass="exit" presetSubtype="0" fill="hold" grpId="2" nodeType="withEffect">
                                  <p:stCondLst>
                                    <p:cond delay="4500"/>
                                  </p:stCondLst>
                                  <p:childTnLst>
                                    <p:animEffect transition="out" filter="fade">
                                      <p:cBhvr>
                                        <p:cTn id="149" dur="250"/>
                                        <p:tgtEl>
                                          <p:spTgt spid="179"/>
                                        </p:tgtEl>
                                      </p:cBhvr>
                                    </p:animEffect>
                                    <p:set>
                                      <p:cBhvr>
                                        <p:cTn id="150" dur="1" fill="hold">
                                          <p:stCondLst>
                                            <p:cond delay="249"/>
                                          </p:stCondLst>
                                        </p:cTn>
                                        <p:tgtEl>
                                          <p:spTgt spid="179"/>
                                        </p:tgtEl>
                                        <p:attrNameLst>
                                          <p:attrName>style.visibility</p:attrName>
                                        </p:attrNameLst>
                                      </p:cBhvr>
                                      <p:to>
                                        <p:strVal val="hidden"/>
                                      </p:to>
                                    </p:set>
                                  </p:childTnLst>
                                </p:cTn>
                              </p:par>
                              <p:par>
                                <p:cTn id="151" presetID="6" presetClass="emph" presetSubtype="0" fill="hold" grpId="3" nodeType="withEffect">
                                  <p:stCondLst>
                                    <p:cond delay="4500"/>
                                  </p:stCondLst>
                                  <p:childTnLst>
                                    <p:animScale>
                                      <p:cBhvr>
                                        <p:cTn id="152" dur="150" fill="hold"/>
                                        <p:tgtEl>
                                          <p:spTgt spid="179"/>
                                        </p:tgtEl>
                                      </p:cBhvr>
                                      <p:by x="150000" y="150000"/>
                                    </p:animScale>
                                  </p:childTnLst>
                                </p:cTn>
                              </p:par>
                              <p:par>
                                <p:cTn id="153" presetID="35" presetClass="path" presetSubtype="0" accel="50000" decel="50000" fill="hold" nodeType="withEffect">
                                  <p:stCondLst>
                                    <p:cond delay="750"/>
                                  </p:stCondLst>
                                  <p:childTnLst>
                                    <p:animMotion origin="layout" path="M 1.04167E-6 -7.40741E-7 L -0.16953 0.05347 " pathEditMode="relative" rAng="0" ptsTypes="AA">
                                      <p:cBhvr>
                                        <p:cTn id="154" dur="1000" fill="hold"/>
                                        <p:tgtEl>
                                          <p:spTgt spid="28"/>
                                        </p:tgtEl>
                                        <p:attrNameLst>
                                          <p:attrName>ppt_x</p:attrName>
                                          <p:attrName>ppt_y</p:attrName>
                                        </p:attrNameLst>
                                      </p:cBhvr>
                                      <p:rCtr x="-8477" y="2662"/>
                                    </p:animMotion>
                                  </p:childTnLst>
                                </p:cTn>
                              </p:par>
                              <p:par>
                                <p:cTn id="155" presetID="6" presetClass="emph" presetSubtype="0" fill="hold" nodeType="withEffect">
                                  <p:stCondLst>
                                    <p:cond delay="750"/>
                                  </p:stCondLst>
                                  <p:childTnLst>
                                    <p:animScale>
                                      <p:cBhvr>
                                        <p:cTn id="156" dur="1000" fill="hold"/>
                                        <p:tgtEl>
                                          <p:spTgt spid="28"/>
                                        </p:tgtEl>
                                      </p:cBhvr>
                                      <p:by x="40000" y="40000"/>
                                    </p:animScale>
                                  </p:childTnLst>
                                </p:cTn>
                              </p:par>
                              <p:par>
                                <p:cTn id="157" presetID="10" presetClass="entr" presetSubtype="0" fill="hold" grpId="0" nodeType="withEffect">
                                  <p:stCondLst>
                                    <p:cond delay="2000"/>
                                  </p:stCondLst>
                                  <p:childTnLst>
                                    <p:set>
                                      <p:cBhvr>
                                        <p:cTn id="158" dur="1" fill="hold">
                                          <p:stCondLst>
                                            <p:cond delay="0"/>
                                          </p:stCondLst>
                                        </p:cTn>
                                        <p:tgtEl>
                                          <p:spTgt spid="126"/>
                                        </p:tgtEl>
                                        <p:attrNameLst>
                                          <p:attrName>style.visibility</p:attrName>
                                        </p:attrNameLst>
                                      </p:cBhvr>
                                      <p:to>
                                        <p:strVal val="visible"/>
                                      </p:to>
                                    </p:set>
                                    <p:animEffect transition="in" filter="fade">
                                      <p:cBhvr>
                                        <p:cTn id="159" dur="500"/>
                                        <p:tgtEl>
                                          <p:spTgt spid="126"/>
                                        </p:tgtEl>
                                      </p:cBhvr>
                                    </p:animEffect>
                                  </p:childTnLst>
                                </p:cTn>
                              </p:par>
                              <p:par>
                                <p:cTn id="160" presetID="10" presetClass="entr" presetSubtype="0" fill="hold" nodeType="withEffect">
                                  <p:stCondLst>
                                    <p:cond delay="2250"/>
                                  </p:stCondLst>
                                  <p:childTnLst>
                                    <p:set>
                                      <p:cBhvr>
                                        <p:cTn id="161" dur="1" fill="hold">
                                          <p:stCondLst>
                                            <p:cond delay="0"/>
                                          </p:stCondLst>
                                        </p:cTn>
                                        <p:tgtEl>
                                          <p:spTgt spid="109"/>
                                        </p:tgtEl>
                                        <p:attrNameLst>
                                          <p:attrName>style.visibility</p:attrName>
                                        </p:attrNameLst>
                                      </p:cBhvr>
                                      <p:to>
                                        <p:strVal val="visible"/>
                                      </p:to>
                                    </p:set>
                                    <p:animEffect transition="in" filter="fade">
                                      <p:cBhvr>
                                        <p:cTn id="162" dur="250"/>
                                        <p:tgtEl>
                                          <p:spTgt spid="109"/>
                                        </p:tgtEl>
                                      </p:cBhvr>
                                    </p:animEffect>
                                  </p:childTnLst>
                                </p:cTn>
                              </p:par>
                              <p:par>
                                <p:cTn id="163" presetID="10" presetClass="entr" presetSubtype="0" fill="hold" nodeType="withEffect">
                                  <p:stCondLst>
                                    <p:cond delay="2500"/>
                                  </p:stCondLst>
                                  <p:childTnLst>
                                    <p:set>
                                      <p:cBhvr>
                                        <p:cTn id="164" dur="1" fill="hold">
                                          <p:stCondLst>
                                            <p:cond delay="0"/>
                                          </p:stCondLst>
                                        </p:cTn>
                                        <p:tgtEl>
                                          <p:spTgt spid="116"/>
                                        </p:tgtEl>
                                        <p:attrNameLst>
                                          <p:attrName>style.visibility</p:attrName>
                                        </p:attrNameLst>
                                      </p:cBhvr>
                                      <p:to>
                                        <p:strVal val="visible"/>
                                      </p:to>
                                    </p:set>
                                    <p:animEffect transition="in" filter="fade">
                                      <p:cBhvr>
                                        <p:cTn id="165" dur="250"/>
                                        <p:tgtEl>
                                          <p:spTgt spid="116"/>
                                        </p:tgtEl>
                                      </p:cBhvr>
                                    </p:animEffect>
                                  </p:childTnLst>
                                </p:cTn>
                              </p:par>
                              <p:par>
                                <p:cTn id="166" presetID="10" presetClass="entr" presetSubtype="0" fill="hold" nodeType="withEffect">
                                  <p:stCondLst>
                                    <p:cond delay="2750"/>
                                  </p:stCondLst>
                                  <p:childTnLst>
                                    <p:set>
                                      <p:cBhvr>
                                        <p:cTn id="167" dur="1" fill="hold">
                                          <p:stCondLst>
                                            <p:cond delay="0"/>
                                          </p:stCondLst>
                                        </p:cTn>
                                        <p:tgtEl>
                                          <p:spTgt spid="5"/>
                                        </p:tgtEl>
                                        <p:attrNameLst>
                                          <p:attrName>style.visibility</p:attrName>
                                        </p:attrNameLst>
                                      </p:cBhvr>
                                      <p:to>
                                        <p:strVal val="visible"/>
                                      </p:to>
                                    </p:set>
                                    <p:animEffect transition="in" filter="fade">
                                      <p:cBhvr>
                                        <p:cTn id="168" dur="250"/>
                                        <p:tgtEl>
                                          <p:spTgt spid="5"/>
                                        </p:tgtEl>
                                      </p:cBhvr>
                                    </p:animEffect>
                                  </p:childTnLst>
                                </p:cTn>
                              </p:par>
                              <p:par>
                                <p:cTn id="169" presetID="10" presetClass="entr" presetSubtype="0" fill="hold" grpId="0" nodeType="withEffect">
                                  <p:stCondLst>
                                    <p:cond delay="2750"/>
                                  </p:stCondLst>
                                  <p:childTnLst>
                                    <p:set>
                                      <p:cBhvr>
                                        <p:cTn id="170" dur="1" fill="hold">
                                          <p:stCondLst>
                                            <p:cond delay="0"/>
                                          </p:stCondLst>
                                        </p:cTn>
                                        <p:tgtEl>
                                          <p:spTgt spid="140"/>
                                        </p:tgtEl>
                                        <p:attrNameLst>
                                          <p:attrName>style.visibility</p:attrName>
                                        </p:attrNameLst>
                                      </p:cBhvr>
                                      <p:to>
                                        <p:strVal val="visible"/>
                                      </p:to>
                                    </p:set>
                                    <p:animEffect transition="in" filter="fade">
                                      <p:cBhvr>
                                        <p:cTn id="171" dur="250"/>
                                        <p:tgtEl>
                                          <p:spTgt spid="140"/>
                                        </p:tgtEl>
                                      </p:cBhvr>
                                    </p:animEffect>
                                  </p:childTnLst>
                                </p:cTn>
                              </p:par>
                              <p:par>
                                <p:cTn id="172" presetID="10" presetClass="entr" presetSubtype="0" fill="hold" grpId="1" nodeType="withEffect">
                                  <p:stCondLst>
                                    <p:cond delay="4750"/>
                                  </p:stCondLst>
                                  <p:iterate type="lt">
                                    <p:tmPct val="4286"/>
                                  </p:iterate>
                                  <p:childTnLst>
                                    <p:set>
                                      <p:cBhvr>
                                        <p:cTn id="173" dur="1" fill="hold">
                                          <p:stCondLst>
                                            <p:cond delay="0"/>
                                          </p:stCondLst>
                                        </p:cTn>
                                        <p:tgtEl>
                                          <p:spTgt spid="146"/>
                                        </p:tgtEl>
                                        <p:attrNameLst>
                                          <p:attrName>style.visibility</p:attrName>
                                        </p:attrNameLst>
                                      </p:cBhvr>
                                      <p:to>
                                        <p:strVal val="visible"/>
                                      </p:to>
                                    </p:set>
                                    <p:animEffect transition="in" filter="fade">
                                      <p:cBhvr>
                                        <p:cTn id="174" dur="150"/>
                                        <p:tgtEl>
                                          <p:spTgt spid="146"/>
                                        </p:tgtEl>
                                      </p:cBhvr>
                                    </p:animEffect>
                                  </p:childTnLst>
                                </p:cTn>
                              </p:par>
                              <p:par>
                                <p:cTn id="175" presetID="35" presetClass="emph" presetSubtype="0" fill="hold" grpId="0" nodeType="withEffect">
                                  <p:stCondLst>
                                    <p:cond delay="4750"/>
                                  </p:stCondLst>
                                  <p:iterate type="lt">
                                    <p:tmPct val="4000"/>
                                  </p:iterate>
                                  <p:childTnLst>
                                    <p:anim calcmode="discrete" valueType="str">
                                      <p:cBhvr>
                                        <p:cTn id="176" dur="1000" fill="hold"/>
                                        <p:tgtEl>
                                          <p:spTgt spid="146"/>
                                        </p:tgtEl>
                                        <p:attrNameLst>
                                          <p:attrName>style.visibility</p:attrName>
                                        </p:attrNameLst>
                                      </p:cBhvr>
                                      <p:tavLst>
                                        <p:tav tm="0">
                                          <p:val>
                                            <p:strVal val="hidden"/>
                                          </p:val>
                                        </p:tav>
                                        <p:tav tm="50000">
                                          <p:val>
                                            <p:strVal val="visible"/>
                                          </p:val>
                                        </p:tav>
                                      </p:tavLst>
                                    </p:anim>
                                  </p:childTnLst>
                                </p:cTn>
                              </p:par>
                              <p:par>
                                <p:cTn id="177" presetID="22" presetClass="entr" presetSubtype="4" fill="hold" grpId="0" nodeType="withEffect">
                                  <p:stCondLst>
                                    <p:cond delay="5000"/>
                                  </p:stCondLst>
                                  <p:childTnLst>
                                    <p:set>
                                      <p:cBhvr>
                                        <p:cTn id="178" dur="1" fill="hold">
                                          <p:stCondLst>
                                            <p:cond delay="0"/>
                                          </p:stCondLst>
                                        </p:cTn>
                                        <p:tgtEl>
                                          <p:spTgt spid="73"/>
                                        </p:tgtEl>
                                        <p:attrNameLst>
                                          <p:attrName>style.visibility</p:attrName>
                                        </p:attrNameLst>
                                      </p:cBhvr>
                                      <p:to>
                                        <p:strVal val="visible"/>
                                      </p:to>
                                    </p:set>
                                    <p:animEffect transition="in" filter="wipe(down)">
                                      <p:cBhvr>
                                        <p:cTn id="179" dur="500"/>
                                        <p:tgtEl>
                                          <p:spTgt spid="73"/>
                                        </p:tgtEl>
                                      </p:cBhvr>
                                    </p:animEffect>
                                  </p:childTnLst>
                                </p:cTn>
                              </p:par>
                              <p:par>
                                <p:cTn id="180" presetID="10" presetClass="entr" presetSubtype="0" fill="hold" nodeType="withEffect">
                                  <p:stCondLst>
                                    <p:cond delay="5750"/>
                                  </p:stCondLst>
                                  <p:childTnLst>
                                    <p:set>
                                      <p:cBhvr>
                                        <p:cTn id="181" dur="1" fill="hold">
                                          <p:stCondLst>
                                            <p:cond delay="0"/>
                                          </p:stCondLst>
                                        </p:cTn>
                                        <p:tgtEl>
                                          <p:spTgt spid="34"/>
                                        </p:tgtEl>
                                        <p:attrNameLst>
                                          <p:attrName>style.visibility</p:attrName>
                                        </p:attrNameLst>
                                      </p:cBhvr>
                                      <p:to>
                                        <p:strVal val="visible"/>
                                      </p:to>
                                    </p:set>
                                    <p:animEffect transition="in" filter="fade">
                                      <p:cBhvr>
                                        <p:cTn id="182" dur="250"/>
                                        <p:tgtEl>
                                          <p:spTgt spid="34"/>
                                        </p:tgtEl>
                                      </p:cBhvr>
                                    </p:animEffect>
                                  </p:childTnLst>
                                </p:cTn>
                              </p:par>
                              <p:par>
                                <p:cTn id="183" presetID="10" presetClass="entr" presetSubtype="0" fill="hold" grpId="0" nodeType="withEffect">
                                  <p:stCondLst>
                                    <p:cond delay="5750"/>
                                  </p:stCondLst>
                                  <p:childTnLst>
                                    <p:set>
                                      <p:cBhvr>
                                        <p:cTn id="184" dur="1" fill="hold">
                                          <p:stCondLst>
                                            <p:cond delay="0"/>
                                          </p:stCondLst>
                                        </p:cTn>
                                        <p:tgtEl>
                                          <p:spTgt spid="92"/>
                                        </p:tgtEl>
                                        <p:attrNameLst>
                                          <p:attrName>style.visibility</p:attrName>
                                        </p:attrNameLst>
                                      </p:cBhvr>
                                      <p:to>
                                        <p:strVal val="visible"/>
                                      </p:to>
                                    </p:set>
                                    <p:animEffect transition="in" filter="fade">
                                      <p:cBhvr>
                                        <p:cTn id="185" dur="250"/>
                                        <p:tgtEl>
                                          <p:spTgt spid="92"/>
                                        </p:tgtEl>
                                      </p:cBhvr>
                                    </p:animEffect>
                                  </p:childTnLst>
                                </p:cTn>
                              </p:par>
                              <p:par>
                                <p:cTn id="186" presetID="10" presetClass="entr" presetSubtype="0" fill="hold" nodeType="withEffect">
                                  <p:stCondLst>
                                    <p:cond delay="5750"/>
                                  </p:stCondLst>
                                  <p:childTnLst>
                                    <p:set>
                                      <p:cBhvr>
                                        <p:cTn id="187" dur="1" fill="hold">
                                          <p:stCondLst>
                                            <p:cond delay="0"/>
                                          </p:stCondLst>
                                        </p:cTn>
                                        <p:tgtEl>
                                          <p:spTgt spid="160"/>
                                        </p:tgtEl>
                                        <p:attrNameLst>
                                          <p:attrName>style.visibility</p:attrName>
                                        </p:attrNameLst>
                                      </p:cBhvr>
                                      <p:to>
                                        <p:strVal val="visible"/>
                                      </p:to>
                                    </p:set>
                                    <p:animEffect transition="in" filter="fade">
                                      <p:cBhvr>
                                        <p:cTn id="188" dur="250"/>
                                        <p:tgtEl>
                                          <p:spTgt spid="160"/>
                                        </p:tgtEl>
                                      </p:cBhvr>
                                    </p:animEffect>
                                  </p:childTnLst>
                                </p:cTn>
                              </p:par>
                              <p:par>
                                <p:cTn id="189" presetID="10" presetClass="entr" presetSubtype="0" fill="hold" grpId="2" nodeType="withEffect">
                                  <p:stCondLst>
                                    <p:cond delay="5750"/>
                                  </p:stCondLst>
                                  <p:childTnLst>
                                    <p:set>
                                      <p:cBhvr>
                                        <p:cTn id="190" dur="1" fill="hold">
                                          <p:stCondLst>
                                            <p:cond delay="0"/>
                                          </p:stCondLst>
                                        </p:cTn>
                                        <p:tgtEl>
                                          <p:spTgt spid="91"/>
                                        </p:tgtEl>
                                        <p:attrNameLst>
                                          <p:attrName>style.visibility</p:attrName>
                                        </p:attrNameLst>
                                      </p:cBhvr>
                                      <p:to>
                                        <p:strVal val="visible"/>
                                      </p:to>
                                    </p:set>
                                    <p:animEffect transition="in" filter="fade">
                                      <p:cBhvr>
                                        <p:cTn id="191" dur="250"/>
                                        <p:tgtEl>
                                          <p:spTgt spid="91"/>
                                        </p:tgtEl>
                                      </p:cBhvr>
                                    </p:animEffect>
                                  </p:childTnLst>
                                </p:cTn>
                              </p:par>
                              <p:par>
                                <p:cTn id="192" presetID="10" presetClass="entr" presetSubtype="0" fill="hold" nodeType="withEffect">
                                  <p:stCondLst>
                                    <p:cond delay="5750"/>
                                  </p:stCondLst>
                                  <p:childTnLst>
                                    <p:set>
                                      <p:cBhvr>
                                        <p:cTn id="193" dur="1" fill="hold">
                                          <p:stCondLst>
                                            <p:cond delay="0"/>
                                          </p:stCondLst>
                                        </p:cTn>
                                        <p:tgtEl>
                                          <p:spTgt spid="163"/>
                                        </p:tgtEl>
                                        <p:attrNameLst>
                                          <p:attrName>style.visibility</p:attrName>
                                        </p:attrNameLst>
                                      </p:cBhvr>
                                      <p:to>
                                        <p:strVal val="visible"/>
                                      </p:to>
                                    </p:set>
                                    <p:animEffect transition="in" filter="fade">
                                      <p:cBhvr>
                                        <p:cTn id="194" dur="250"/>
                                        <p:tgtEl>
                                          <p:spTgt spid="163"/>
                                        </p:tgtEl>
                                      </p:cBhvr>
                                    </p:animEffect>
                                  </p:childTnLst>
                                </p:cTn>
                              </p:par>
                              <p:par>
                                <p:cTn id="195" presetID="10" presetClass="entr" presetSubtype="0" fill="hold" grpId="0" nodeType="withEffect">
                                  <p:stCondLst>
                                    <p:cond delay="5750"/>
                                  </p:stCondLst>
                                  <p:childTnLst>
                                    <p:set>
                                      <p:cBhvr>
                                        <p:cTn id="196" dur="1" fill="hold">
                                          <p:stCondLst>
                                            <p:cond delay="0"/>
                                          </p:stCondLst>
                                        </p:cTn>
                                        <p:tgtEl>
                                          <p:spTgt spid="89"/>
                                        </p:tgtEl>
                                        <p:attrNameLst>
                                          <p:attrName>style.visibility</p:attrName>
                                        </p:attrNameLst>
                                      </p:cBhvr>
                                      <p:to>
                                        <p:strVal val="visible"/>
                                      </p:to>
                                    </p:set>
                                    <p:animEffect transition="in" filter="fade">
                                      <p:cBhvr>
                                        <p:cTn id="197" dur="250"/>
                                        <p:tgtEl>
                                          <p:spTgt spid="89"/>
                                        </p:tgtEl>
                                      </p:cBhvr>
                                    </p:animEffect>
                                  </p:childTnLst>
                                </p:cTn>
                              </p:par>
                              <p:par>
                                <p:cTn id="198" presetID="10" presetClass="entr" presetSubtype="0" fill="hold" grpId="1" nodeType="withEffect">
                                  <p:stCondLst>
                                    <p:cond delay="6250"/>
                                  </p:stCondLst>
                                  <p:iterate type="lt">
                                    <p:tmPct val="0"/>
                                  </p:iterate>
                                  <p:childTnLst>
                                    <p:set>
                                      <p:cBhvr>
                                        <p:cTn id="199" dur="1" fill="hold">
                                          <p:stCondLst>
                                            <p:cond delay="0"/>
                                          </p:stCondLst>
                                        </p:cTn>
                                        <p:tgtEl>
                                          <p:spTgt spid="145"/>
                                        </p:tgtEl>
                                        <p:attrNameLst>
                                          <p:attrName>style.visibility</p:attrName>
                                        </p:attrNameLst>
                                      </p:cBhvr>
                                      <p:to>
                                        <p:strVal val="visible"/>
                                      </p:to>
                                    </p:set>
                                    <p:animEffect transition="in" filter="fade">
                                      <p:cBhvr>
                                        <p:cTn id="200" dur="50"/>
                                        <p:tgtEl>
                                          <p:spTgt spid="145"/>
                                        </p:tgtEl>
                                      </p:cBhvr>
                                    </p:animEffect>
                                  </p:childTnLst>
                                </p:cTn>
                              </p:par>
                              <p:par>
                                <p:cTn id="201" presetID="35" presetClass="emph" presetSubtype="0" fill="hold" grpId="0" nodeType="withEffect">
                                  <p:stCondLst>
                                    <p:cond delay="6250"/>
                                  </p:stCondLst>
                                  <p:iterate type="lt">
                                    <p:tmPct val="10000"/>
                                  </p:iterate>
                                  <p:childTnLst>
                                    <p:anim calcmode="discrete" valueType="str">
                                      <p:cBhvr>
                                        <p:cTn id="202" dur="1000" fill="hold"/>
                                        <p:tgtEl>
                                          <p:spTgt spid="145"/>
                                        </p:tgtEl>
                                        <p:attrNameLst>
                                          <p:attrName>style.visibility</p:attrName>
                                        </p:attrNameLst>
                                      </p:cBhvr>
                                      <p:tavLst>
                                        <p:tav tm="0">
                                          <p:val>
                                            <p:strVal val="hidden"/>
                                          </p:val>
                                        </p:tav>
                                        <p:tav tm="50000">
                                          <p:val>
                                            <p:strVal val="visible"/>
                                          </p:val>
                                        </p:tav>
                                      </p:tavLst>
                                    </p:anim>
                                  </p:childTnLst>
                                </p:cTn>
                              </p:par>
                              <p:par>
                                <p:cTn id="203" presetID="10" presetClass="entr" presetSubtype="0" fill="hold" nodeType="withEffect">
                                  <p:stCondLst>
                                    <p:cond delay="5750"/>
                                  </p:stCondLst>
                                  <p:childTnLst>
                                    <p:set>
                                      <p:cBhvr>
                                        <p:cTn id="204" dur="1" fill="hold">
                                          <p:stCondLst>
                                            <p:cond delay="0"/>
                                          </p:stCondLst>
                                        </p:cTn>
                                        <p:tgtEl>
                                          <p:spTgt spid="9"/>
                                        </p:tgtEl>
                                        <p:attrNameLst>
                                          <p:attrName>style.visibility</p:attrName>
                                        </p:attrNameLst>
                                      </p:cBhvr>
                                      <p:to>
                                        <p:strVal val="visible"/>
                                      </p:to>
                                    </p:set>
                                    <p:animEffect transition="in" filter="fade">
                                      <p:cBhvr>
                                        <p:cTn id="205" dur="500"/>
                                        <p:tgtEl>
                                          <p:spTgt spid="9"/>
                                        </p:tgtEl>
                                      </p:cBhvr>
                                    </p:animEffect>
                                  </p:childTnLst>
                                </p:cTn>
                              </p:par>
                              <p:par>
                                <p:cTn id="206" presetID="22" presetClass="entr" presetSubtype="4" fill="hold" grpId="0" nodeType="withEffect">
                                  <p:stCondLst>
                                    <p:cond delay="6250"/>
                                  </p:stCondLst>
                                  <p:childTnLst>
                                    <p:set>
                                      <p:cBhvr>
                                        <p:cTn id="207" dur="1" fill="hold">
                                          <p:stCondLst>
                                            <p:cond delay="0"/>
                                          </p:stCondLst>
                                        </p:cTn>
                                        <p:tgtEl>
                                          <p:spTgt spid="8"/>
                                        </p:tgtEl>
                                        <p:attrNameLst>
                                          <p:attrName>style.visibility</p:attrName>
                                        </p:attrNameLst>
                                      </p:cBhvr>
                                      <p:to>
                                        <p:strVal val="visible"/>
                                      </p:to>
                                    </p:set>
                                    <p:animEffect transition="in" filter="wipe(down)">
                                      <p:cBhvr>
                                        <p:cTn id="208" dur="250"/>
                                        <p:tgtEl>
                                          <p:spTgt spid="8"/>
                                        </p:tgtEl>
                                      </p:cBhvr>
                                    </p:animEffect>
                                  </p:childTnLst>
                                </p:cTn>
                              </p:par>
                              <p:par>
                                <p:cTn id="209" presetID="10" presetClass="entr" presetSubtype="0" fill="hold" grpId="0" nodeType="withEffect">
                                  <p:stCondLst>
                                    <p:cond delay="6500"/>
                                  </p:stCondLst>
                                  <p:childTnLst>
                                    <p:set>
                                      <p:cBhvr>
                                        <p:cTn id="210" dur="1" fill="hold">
                                          <p:stCondLst>
                                            <p:cond delay="0"/>
                                          </p:stCondLst>
                                        </p:cTn>
                                        <p:tgtEl>
                                          <p:spTgt spid="3"/>
                                        </p:tgtEl>
                                        <p:attrNameLst>
                                          <p:attrName>style.visibility</p:attrName>
                                        </p:attrNameLst>
                                      </p:cBhvr>
                                      <p:to>
                                        <p:strVal val="visible"/>
                                      </p:to>
                                    </p:set>
                                    <p:animEffect transition="in" filter="fade">
                                      <p:cBhvr>
                                        <p:cTn id="211" dur="250"/>
                                        <p:tgtEl>
                                          <p:spTgt spid="3"/>
                                        </p:tgtEl>
                                      </p:cBhvr>
                                    </p:animEffect>
                                  </p:childTnLst>
                                </p:cTn>
                              </p:par>
                              <p:par>
                                <p:cTn id="212" presetID="56" presetClass="path" presetSubtype="0" accel="50000" decel="50000" fill="hold" grpId="1" nodeType="withEffect">
                                  <p:stCondLst>
                                    <p:cond delay="7000"/>
                                  </p:stCondLst>
                                  <p:childTnLst>
                                    <p:animMotion origin="layout" path="M 3.95833E-6 1.11111E-6 L -0.03151 -0.19144 " pathEditMode="relative" rAng="0" ptsTypes="AA">
                                      <p:cBhvr>
                                        <p:cTn id="213" dur="1250" fill="hold"/>
                                        <p:tgtEl>
                                          <p:spTgt spid="126"/>
                                        </p:tgtEl>
                                        <p:attrNameLst>
                                          <p:attrName>ppt_x</p:attrName>
                                          <p:attrName>ppt_y</p:attrName>
                                        </p:attrNameLst>
                                      </p:cBhvr>
                                      <p:rCtr x="-1576" y="-9583"/>
                                    </p:animMotion>
                                  </p:childTnLst>
                                </p:cTn>
                              </p:par>
                              <p:par>
                                <p:cTn id="214" presetID="10" presetClass="exit" presetSubtype="0" fill="hold" grpId="2" nodeType="withEffect">
                                  <p:stCondLst>
                                    <p:cond delay="10000"/>
                                  </p:stCondLst>
                                  <p:childTnLst>
                                    <p:animEffect transition="out" filter="fade">
                                      <p:cBhvr>
                                        <p:cTn id="215" dur="500"/>
                                        <p:tgtEl>
                                          <p:spTgt spid="126"/>
                                        </p:tgtEl>
                                      </p:cBhvr>
                                    </p:animEffect>
                                    <p:set>
                                      <p:cBhvr>
                                        <p:cTn id="216" dur="1" fill="hold">
                                          <p:stCondLst>
                                            <p:cond delay="499"/>
                                          </p:stCondLst>
                                        </p:cTn>
                                        <p:tgtEl>
                                          <p:spTgt spid="126"/>
                                        </p:tgtEl>
                                        <p:attrNameLst>
                                          <p:attrName>style.visibility</p:attrName>
                                        </p:attrNameLst>
                                      </p:cBhvr>
                                      <p:to>
                                        <p:strVal val="hidden"/>
                                      </p:to>
                                    </p:set>
                                  </p:childTnLst>
                                </p:cTn>
                              </p:par>
                              <p:par>
                                <p:cTn id="217" presetID="10" presetClass="entr" presetSubtype="0" fill="hold" grpId="0" nodeType="withEffect">
                                  <p:stCondLst>
                                    <p:cond delay="6250"/>
                                  </p:stCondLst>
                                  <p:childTnLst>
                                    <p:set>
                                      <p:cBhvr>
                                        <p:cTn id="218" dur="1" fill="hold">
                                          <p:stCondLst>
                                            <p:cond delay="0"/>
                                          </p:stCondLst>
                                        </p:cTn>
                                        <p:tgtEl>
                                          <p:spTgt spid="333"/>
                                        </p:tgtEl>
                                        <p:attrNameLst>
                                          <p:attrName>style.visibility</p:attrName>
                                        </p:attrNameLst>
                                      </p:cBhvr>
                                      <p:to>
                                        <p:strVal val="visible"/>
                                      </p:to>
                                    </p:set>
                                    <p:animEffect transition="in" filter="fade">
                                      <p:cBhvr>
                                        <p:cTn id="219" dur="500"/>
                                        <p:tgtEl>
                                          <p:spTgt spid="333"/>
                                        </p:tgtEl>
                                      </p:cBhvr>
                                    </p:animEffect>
                                  </p:childTnLst>
                                </p:cTn>
                              </p:par>
                              <p:par>
                                <p:cTn id="220" presetID="56" presetClass="path" presetSubtype="0" accel="50000" decel="50000" fill="hold" grpId="1" nodeType="withEffect">
                                  <p:stCondLst>
                                    <p:cond delay="7000"/>
                                  </p:stCondLst>
                                  <p:childTnLst>
                                    <p:animMotion origin="layout" path="M 3.95833E-6 1.11111E-6 L -0.00313 -0.19144 " pathEditMode="relative" rAng="0" ptsTypes="AA">
                                      <p:cBhvr>
                                        <p:cTn id="221" dur="1250" fill="hold"/>
                                        <p:tgtEl>
                                          <p:spTgt spid="333"/>
                                        </p:tgtEl>
                                        <p:attrNameLst>
                                          <p:attrName>ppt_x</p:attrName>
                                          <p:attrName>ppt_y</p:attrName>
                                        </p:attrNameLst>
                                      </p:cBhvr>
                                      <p:rCtr x="-156" y="-9583"/>
                                    </p:animMotion>
                                  </p:childTnLst>
                                </p:cTn>
                              </p:par>
                              <p:par>
                                <p:cTn id="222" presetID="10" presetClass="exit" presetSubtype="0" fill="hold" grpId="2" nodeType="withEffect">
                                  <p:stCondLst>
                                    <p:cond delay="8500"/>
                                  </p:stCondLst>
                                  <p:childTnLst>
                                    <p:animEffect transition="out" filter="fade">
                                      <p:cBhvr>
                                        <p:cTn id="223" dur="500"/>
                                        <p:tgtEl>
                                          <p:spTgt spid="333"/>
                                        </p:tgtEl>
                                      </p:cBhvr>
                                    </p:animEffect>
                                    <p:set>
                                      <p:cBhvr>
                                        <p:cTn id="224" dur="1" fill="hold">
                                          <p:stCondLst>
                                            <p:cond delay="499"/>
                                          </p:stCondLst>
                                        </p:cTn>
                                        <p:tgtEl>
                                          <p:spTgt spid="333"/>
                                        </p:tgtEl>
                                        <p:attrNameLst>
                                          <p:attrName>style.visibility</p:attrName>
                                        </p:attrNameLst>
                                      </p:cBhvr>
                                      <p:to>
                                        <p:strVal val="hidden"/>
                                      </p:to>
                                    </p:set>
                                  </p:childTnLst>
                                </p:cTn>
                              </p:par>
                              <p:par>
                                <p:cTn id="225" presetID="10" presetClass="entr" presetSubtype="0" fill="hold" grpId="0" nodeType="withEffect">
                                  <p:stCondLst>
                                    <p:cond delay="6250"/>
                                  </p:stCondLst>
                                  <p:childTnLst>
                                    <p:set>
                                      <p:cBhvr>
                                        <p:cTn id="226" dur="1" fill="hold">
                                          <p:stCondLst>
                                            <p:cond delay="0"/>
                                          </p:stCondLst>
                                        </p:cTn>
                                        <p:tgtEl>
                                          <p:spTgt spid="334"/>
                                        </p:tgtEl>
                                        <p:attrNameLst>
                                          <p:attrName>style.visibility</p:attrName>
                                        </p:attrNameLst>
                                      </p:cBhvr>
                                      <p:to>
                                        <p:strVal val="visible"/>
                                      </p:to>
                                    </p:set>
                                    <p:animEffect transition="in" filter="fade">
                                      <p:cBhvr>
                                        <p:cTn id="227" dur="500"/>
                                        <p:tgtEl>
                                          <p:spTgt spid="334"/>
                                        </p:tgtEl>
                                      </p:cBhvr>
                                    </p:animEffect>
                                  </p:childTnLst>
                                </p:cTn>
                              </p:par>
                              <p:par>
                                <p:cTn id="228" presetID="56" presetClass="path" presetSubtype="0" accel="50000" decel="50000" fill="hold" grpId="1" nodeType="withEffect">
                                  <p:stCondLst>
                                    <p:cond delay="7000"/>
                                  </p:stCondLst>
                                  <p:childTnLst>
                                    <p:animMotion origin="layout" path="M 3.95833E-6 1.11111E-6 L 0.02226 -0.19468 " pathEditMode="relative" rAng="0" ptsTypes="AA">
                                      <p:cBhvr>
                                        <p:cTn id="229" dur="1250" fill="hold"/>
                                        <p:tgtEl>
                                          <p:spTgt spid="334"/>
                                        </p:tgtEl>
                                        <p:attrNameLst>
                                          <p:attrName>ppt_x</p:attrName>
                                          <p:attrName>ppt_y</p:attrName>
                                        </p:attrNameLst>
                                      </p:cBhvr>
                                      <p:rCtr x="1094" y="-9583"/>
                                    </p:animMotion>
                                  </p:childTnLst>
                                </p:cTn>
                              </p:par>
                              <p:par>
                                <p:cTn id="230" presetID="10" presetClass="exit" presetSubtype="0" fill="hold" grpId="2" nodeType="withEffect">
                                  <p:stCondLst>
                                    <p:cond delay="11000"/>
                                  </p:stCondLst>
                                  <p:childTnLst>
                                    <p:animEffect transition="out" filter="fade">
                                      <p:cBhvr>
                                        <p:cTn id="231" dur="500"/>
                                        <p:tgtEl>
                                          <p:spTgt spid="334"/>
                                        </p:tgtEl>
                                      </p:cBhvr>
                                    </p:animEffect>
                                    <p:set>
                                      <p:cBhvr>
                                        <p:cTn id="232" dur="1" fill="hold">
                                          <p:stCondLst>
                                            <p:cond delay="499"/>
                                          </p:stCondLst>
                                        </p:cTn>
                                        <p:tgtEl>
                                          <p:spTgt spid="334"/>
                                        </p:tgtEl>
                                        <p:attrNameLst>
                                          <p:attrName>style.visibility</p:attrName>
                                        </p:attrNameLst>
                                      </p:cBhvr>
                                      <p:to>
                                        <p:strVal val="hidden"/>
                                      </p:to>
                                    </p:set>
                                  </p:childTnLst>
                                </p:cTn>
                              </p:par>
                              <p:par>
                                <p:cTn id="233" presetID="10" presetClass="entr" presetSubtype="0" fill="hold" grpId="0" nodeType="withEffect">
                                  <p:stCondLst>
                                    <p:cond delay="8500"/>
                                  </p:stCondLst>
                                  <p:childTnLst>
                                    <p:set>
                                      <p:cBhvr>
                                        <p:cTn id="234" dur="1" fill="hold">
                                          <p:stCondLst>
                                            <p:cond delay="0"/>
                                          </p:stCondLst>
                                        </p:cTn>
                                        <p:tgtEl>
                                          <p:spTgt spid="337"/>
                                        </p:tgtEl>
                                        <p:attrNameLst>
                                          <p:attrName>style.visibility</p:attrName>
                                        </p:attrNameLst>
                                      </p:cBhvr>
                                      <p:to>
                                        <p:strVal val="visible"/>
                                      </p:to>
                                    </p:set>
                                    <p:animEffect transition="in" filter="fade">
                                      <p:cBhvr>
                                        <p:cTn id="235" dur="500"/>
                                        <p:tgtEl>
                                          <p:spTgt spid="337"/>
                                        </p:tgtEl>
                                      </p:cBhvr>
                                    </p:animEffect>
                                  </p:childTnLst>
                                </p:cTn>
                              </p:par>
                              <p:par>
                                <p:cTn id="236" presetID="50" presetClass="path" presetSubtype="0" accel="50000" decel="50000" fill="hold" grpId="1" nodeType="withEffect">
                                  <p:stCondLst>
                                    <p:cond delay="9250"/>
                                  </p:stCondLst>
                                  <p:childTnLst>
                                    <p:animMotion origin="layout" path="M 0.00013 -3.7037E-6 L -0.00182 -3.7037E-6 C -0.0026 -3.7037E-6 -0.00364 -0.01389 -0.00364 -0.02569 L -0.00364 -0.05069 " pathEditMode="relative" rAng="0" ptsTypes="AAAA">
                                      <p:cBhvr>
                                        <p:cTn id="237" dur="750" fill="hold"/>
                                        <p:tgtEl>
                                          <p:spTgt spid="337"/>
                                        </p:tgtEl>
                                        <p:attrNameLst>
                                          <p:attrName>ppt_x</p:attrName>
                                          <p:attrName>ppt_y</p:attrName>
                                        </p:attrNameLst>
                                      </p:cBhvr>
                                      <p:rCtr x="-195" y="-2546"/>
                                    </p:animMotion>
                                  </p:childTnLst>
                                </p:cTn>
                              </p:par>
                              <p:par>
                                <p:cTn id="238" presetID="10" presetClass="exit" presetSubtype="0" fill="hold" grpId="2" nodeType="withEffect">
                                  <p:stCondLst>
                                    <p:cond delay="9500"/>
                                  </p:stCondLst>
                                  <p:childTnLst>
                                    <p:animEffect transition="out" filter="fade">
                                      <p:cBhvr>
                                        <p:cTn id="239" dur="500"/>
                                        <p:tgtEl>
                                          <p:spTgt spid="337"/>
                                        </p:tgtEl>
                                      </p:cBhvr>
                                    </p:animEffect>
                                    <p:set>
                                      <p:cBhvr>
                                        <p:cTn id="240" dur="1" fill="hold">
                                          <p:stCondLst>
                                            <p:cond delay="499"/>
                                          </p:stCondLst>
                                        </p:cTn>
                                        <p:tgtEl>
                                          <p:spTgt spid="337"/>
                                        </p:tgtEl>
                                        <p:attrNameLst>
                                          <p:attrName>style.visibility</p:attrName>
                                        </p:attrNameLst>
                                      </p:cBhvr>
                                      <p:to>
                                        <p:strVal val="hidden"/>
                                      </p:to>
                                    </p:set>
                                  </p:childTnLst>
                                </p:cTn>
                              </p:par>
                              <p:par>
                                <p:cTn id="241" presetID="3" presetClass="emph" presetSubtype="2" fill="hold" grpId="1" nodeType="withEffect">
                                  <p:stCondLst>
                                    <p:cond delay="11500"/>
                                  </p:stCondLst>
                                  <p:childTnLst>
                                    <p:animClr clrSpc="rgb" dir="cw">
                                      <p:cBhvr override="childStyle">
                                        <p:cTn id="242" dur="500" fill="hold"/>
                                        <p:tgtEl>
                                          <p:spTgt spid="89"/>
                                        </p:tgtEl>
                                        <p:attrNameLst>
                                          <p:attrName>style.color</p:attrName>
                                        </p:attrNameLst>
                                      </p:cBhvr>
                                      <p:to>
                                        <a:srgbClr val="DF1D36"/>
                                      </p:to>
                                    </p:animClr>
                                  </p:childTnLst>
                                </p:cTn>
                              </p:par>
                              <p:par>
                                <p:cTn id="243" presetID="3" presetClass="emph" presetSubtype="2" fill="hold" grpId="2" nodeType="withEffect">
                                  <p:stCondLst>
                                    <p:cond delay="12250"/>
                                  </p:stCondLst>
                                  <p:childTnLst>
                                    <p:animClr clrSpc="rgb" dir="cw">
                                      <p:cBhvr override="childStyle">
                                        <p:cTn id="244" dur="500" fill="hold"/>
                                        <p:tgtEl>
                                          <p:spTgt spid="89"/>
                                        </p:tgtEl>
                                        <p:attrNameLst>
                                          <p:attrName>style.color</p:attrName>
                                        </p:attrNameLst>
                                      </p:cBhvr>
                                      <p:to>
                                        <a:srgbClr val="4D4D4D"/>
                                      </p:to>
                                    </p:animClr>
                                  </p:childTnLst>
                                </p:cTn>
                              </p:par>
                              <p:par>
                                <p:cTn id="245" presetID="10" presetClass="entr" presetSubtype="0" fill="hold" grpId="0" nodeType="withEffect">
                                  <p:stCondLst>
                                    <p:cond delay="10000"/>
                                  </p:stCondLst>
                                  <p:childTnLst>
                                    <p:set>
                                      <p:cBhvr>
                                        <p:cTn id="246" dur="1" fill="hold">
                                          <p:stCondLst>
                                            <p:cond delay="0"/>
                                          </p:stCondLst>
                                        </p:cTn>
                                        <p:tgtEl>
                                          <p:spTgt spid="335"/>
                                        </p:tgtEl>
                                        <p:attrNameLst>
                                          <p:attrName>style.visibility</p:attrName>
                                        </p:attrNameLst>
                                      </p:cBhvr>
                                      <p:to>
                                        <p:strVal val="visible"/>
                                      </p:to>
                                    </p:set>
                                    <p:animEffect transition="in" filter="fade">
                                      <p:cBhvr>
                                        <p:cTn id="247" dur="500"/>
                                        <p:tgtEl>
                                          <p:spTgt spid="335"/>
                                        </p:tgtEl>
                                      </p:cBhvr>
                                    </p:animEffect>
                                  </p:childTnLst>
                                </p:cTn>
                              </p:par>
                              <p:par>
                                <p:cTn id="248" presetID="10" presetClass="exit" presetSubtype="0" fill="hold" grpId="1" nodeType="withEffect">
                                  <p:stCondLst>
                                    <p:cond delay="11000"/>
                                  </p:stCondLst>
                                  <p:childTnLst>
                                    <p:animEffect transition="out" filter="fade">
                                      <p:cBhvr>
                                        <p:cTn id="249" dur="500"/>
                                        <p:tgtEl>
                                          <p:spTgt spid="335"/>
                                        </p:tgtEl>
                                      </p:cBhvr>
                                    </p:animEffect>
                                    <p:set>
                                      <p:cBhvr>
                                        <p:cTn id="250" dur="1" fill="hold">
                                          <p:stCondLst>
                                            <p:cond delay="499"/>
                                          </p:stCondLst>
                                        </p:cTn>
                                        <p:tgtEl>
                                          <p:spTgt spid="335"/>
                                        </p:tgtEl>
                                        <p:attrNameLst>
                                          <p:attrName>style.visibility</p:attrName>
                                        </p:attrNameLst>
                                      </p:cBhvr>
                                      <p:to>
                                        <p:strVal val="hidden"/>
                                      </p:to>
                                    </p:set>
                                  </p:childTnLst>
                                </p:cTn>
                              </p:par>
                              <p:par>
                                <p:cTn id="251" presetID="49" presetClass="path" presetSubtype="0" accel="50000" decel="50000" fill="hold" grpId="2" nodeType="withEffect">
                                  <p:stCondLst>
                                    <p:cond delay="10750"/>
                                  </p:stCondLst>
                                  <p:childTnLst>
                                    <p:animMotion origin="layout" path="M 4.16667E-6 4.81481E-6 L 0.05638 -0.09653 " pathEditMode="relative" rAng="0" ptsTypes="AA">
                                      <p:cBhvr>
                                        <p:cTn id="252" dur="750" fill="hold"/>
                                        <p:tgtEl>
                                          <p:spTgt spid="335"/>
                                        </p:tgtEl>
                                        <p:attrNameLst>
                                          <p:attrName>ppt_x</p:attrName>
                                          <p:attrName>ppt_y</p:attrName>
                                        </p:attrNameLst>
                                      </p:cBhvr>
                                      <p:rCtr x="2812" y="-4838"/>
                                    </p:animMotion>
                                  </p:childTnLst>
                                </p:cTn>
                              </p:par>
                              <p:par>
                                <p:cTn id="253" presetID="3" presetClass="emph" presetSubtype="2" fill="hold" grpId="0" nodeType="withEffect">
                                  <p:stCondLst>
                                    <p:cond delay="10250"/>
                                  </p:stCondLst>
                                  <p:childTnLst>
                                    <p:animClr clrSpc="rgb" dir="cw">
                                      <p:cBhvr override="childStyle">
                                        <p:cTn id="254" dur="500" fill="hold"/>
                                        <p:tgtEl>
                                          <p:spTgt spid="91"/>
                                        </p:tgtEl>
                                        <p:attrNameLst>
                                          <p:attrName>style.color</p:attrName>
                                        </p:attrNameLst>
                                      </p:cBhvr>
                                      <p:to>
                                        <a:srgbClr val="DF1D36"/>
                                      </p:to>
                                    </p:animClr>
                                  </p:childTnLst>
                                </p:cTn>
                              </p:par>
                              <p:par>
                                <p:cTn id="255" presetID="3" presetClass="emph" presetSubtype="2" fill="hold" grpId="1" nodeType="withEffect">
                                  <p:stCondLst>
                                    <p:cond delay="11000"/>
                                  </p:stCondLst>
                                  <p:childTnLst>
                                    <p:animClr clrSpc="rgb" dir="cw">
                                      <p:cBhvr override="childStyle">
                                        <p:cTn id="256" dur="500" fill="hold"/>
                                        <p:tgtEl>
                                          <p:spTgt spid="91"/>
                                        </p:tgtEl>
                                        <p:attrNameLst>
                                          <p:attrName>style.color</p:attrName>
                                        </p:attrNameLst>
                                      </p:cBhvr>
                                      <p:to>
                                        <a:srgbClr val="4D4D4D"/>
                                      </p:to>
                                    </p:animClr>
                                  </p:childTnLst>
                                </p:cTn>
                              </p:par>
                              <p:par>
                                <p:cTn id="257" presetID="10" presetClass="entr" presetSubtype="0" fill="hold" grpId="0" nodeType="withEffect">
                                  <p:stCondLst>
                                    <p:cond delay="11000"/>
                                  </p:stCondLst>
                                  <p:childTnLst>
                                    <p:set>
                                      <p:cBhvr>
                                        <p:cTn id="258" dur="1" fill="hold">
                                          <p:stCondLst>
                                            <p:cond delay="0"/>
                                          </p:stCondLst>
                                        </p:cTn>
                                        <p:tgtEl>
                                          <p:spTgt spid="336"/>
                                        </p:tgtEl>
                                        <p:attrNameLst>
                                          <p:attrName>style.visibility</p:attrName>
                                        </p:attrNameLst>
                                      </p:cBhvr>
                                      <p:to>
                                        <p:strVal val="visible"/>
                                      </p:to>
                                    </p:set>
                                    <p:animEffect transition="in" filter="fade">
                                      <p:cBhvr>
                                        <p:cTn id="259" dur="500"/>
                                        <p:tgtEl>
                                          <p:spTgt spid="336"/>
                                        </p:tgtEl>
                                      </p:cBhvr>
                                    </p:animEffect>
                                  </p:childTnLst>
                                </p:cTn>
                              </p:par>
                              <p:par>
                                <p:cTn id="260" presetID="50" presetClass="path" presetSubtype="0" accel="50000" decel="50000" fill="hold" grpId="2" nodeType="withEffect">
                                  <p:stCondLst>
                                    <p:cond delay="11750"/>
                                  </p:stCondLst>
                                  <p:childTnLst>
                                    <p:animMotion origin="layout" path="M -8.33333E-7 -2.96296E-6 L -0.02057 -2.96296E-6 C -0.03112 -2.96296E-6 -0.04193 -0.02801 -0.04193 -0.05139 L -0.04193 -0.1044 " pathEditMode="relative" rAng="0" ptsTypes="AAAA">
                                      <p:cBhvr>
                                        <p:cTn id="261" dur="750" fill="hold"/>
                                        <p:tgtEl>
                                          <p:spTgt spid="336"/>
                                        </p:tgtEl>
                                        <p:attrNameLst>
                                          <p:attrName>ppt_x</p:attrName>
                                          <p:attrName>ppt_y</p:attrName>
                                        </p:attrNameLst>
                                      </p:cBhvr>
                                      <p:rCtr x="-2096" y="-5231"/>
                                    </p:animMotion>
                                  </p:childTnLst>
                                </p:cTn>
                              </p:par>
                              <p:par>
                                <p:cTn id="262" presetID="10" presetClass="exit" presetSubtype="0" fill="hold" grpId="1" nodeType="withEffect">
                                  <p:stCondLst>
                                    <p:cond delay="12000"/>
                                  </p:stCondLst>
                                  <p:childTnLst>
                                    <p:animEffect transition="out" filter="fade">
                                      <p:cBhvr>
                                        <p:cTn id="263" dur="500"/>
                                        <p:tgtEl>
                                          <p:spTgt spid="336"/>
                                        </p:tgtEl>
                                      </p:cBhvr>
                                    </p:animEffect>
                                    <p:set>
                                      <p:cBhvr>
                                        <p:cTn id="264" dur="1" fill="hold">
                                          <p:stCondLst>
                                            <p:cond delay="499"/>
                                          </p:stCondLst>
                                        </p:cTn>
                                        <p:tgtEl>
                                          <p:spTgt spid="336"/>
                                        </p:tgtEl>
                                        <p:attrNameLst>
                                          <p:attrName>style.visibility</p:attrName>
                                        </p:attrNameLst>
                                      </p:cBhvr>
                                      <p:to>
                                        <p:strVal val="hidden"/>
                                      </p:to>
                                    </p:set>
                                  </p:childTnLst>
                                </p:cTn>
                              </p:par>
                              <p:par>
                                <p:cTn id="265" presetID="3" presetClass="emph" presetSubtype="2" fill="hold" grpId="1" nodeType="withEffect">
                                  <p:stCondLst>
                                    <p:cond delay="8750"/>
                                  </p:stCondLst>
                                  <p:childTnLst>
                                    <p:animClr clrSpc="rgb" dir="cw">
                                      <p:cBhvr override="childStyle">
                                        <p:cTn id="266" dur="500" fill="hold"/>
                                        <p:tgtEl>
                                          <p:spTgt spid="92"/>
                                        </p:tgtEl>
                                        <p:attrNameLst>
                                          <p:attrName>style.color</p:attrName>
                                        </p:attrNameLst>
                                      </p:cBhvr>
                                      <p:to>
                                        <a:srgbClr val="DF1D36"/>
                                      </p:to>
                                    </p:animClr>
                                  </p:childTnLst>
                                </p:cTn>
                              </p:par>
                              <p:par>
                                <p:cTn id="267" presetID="3" presetClass="emph" presetSubtype="2" fill="hold" grpId="2" nodeType="withEffect">
                                  <p:stCondLst>
                                    <p:cond delay="9500"/>
                                  </p:stCondLst>
                                  <p:childTnLst>
                                    <p:animClr clrSpc="rgb" dir="cw">
                                      <p:cBhvr override="childStyle">
                                        <p:cTn id="268" dur="500" fill="hold"/>
                                        <p:tgtEl>
                                          <p:spTgt spid="92"/>
                                        </p:tgtEl>
                                        <p:attrNameLst>
                                          <p:attrName>style.color</p:attrName>
                                        </p:attrNameLst>
                                      </p:cBhvr>
                                      <p:to>
                                        <a:srgbClr val="4D4D4D"/>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77" grpId="0"/>
      <p:bldP spid="77" grpId="1"/>
      <p:bldP spid="36" grpId="0" animBg="1"/>
      <p:bldP spid="63" grpId="0" animBg="1"/>
      <p:bldP spid="70" grpId="0" animBg="1"/>
      <p:bldP spid="72" grpId="0" animBg="1"/>
      <p:bldP spid="128" grpId="0"/>
      <p:bldP spid="134" grpId="0"/>
      <p:bldP spid="139" grpId="0" animBg="1"/>
      <p:bldP spid="140" grpId="0"/>
      <p:bldP spid="11" grpId="0" animBg="1"/>
      <p:bldP spid="8" grpId="0" animBg="1"/>
      <p:bldP spid="3" grpId="0"/>
      <p:bldP spid="97" grpId="0" animBg="1"/>
      <p:bldP spid="86" grpId="0" animBg="1"/>
      <p:bldP spid="90" grpId="0" animBg="1"/>
      <p:bldP spid="90" grpId="1" animBg="1"/>
      <p:bldP spid="90" grpId="2" animBg="1"/>
      <p:bldP spid="90" grpId="3" animBg="1"/>
      <p:bldP spid="135" grpId="0"/>
      <p:bldP spid="135" grpId="1"/>
      <p:bldP spid="136" grpId="0"/>
      <p:bldP spid="136" grpId="1"/>
      <p:bldP spid="87" grpId="0" animBg="1"/>
      <p:bldP spid="87" grpId="1" animBg="1"/>
      <p:bldP spid="87" grpId="2" animBg="1"/>
      <p:bldP spid="87" grpId="3" animBg="1"/>
      <p:bldP spid="146" grpId="0"/>
      <p:bldP spid="146" grpId="1"/>
      <p:bldP spid="147" grpId="0"/>
      <p:bldP spid="147" grpId="1"/>
      <p:bldP spid="85" grpId="0" animBg="1"/>
      <p:bldP spid="92" grpId="0"/>
      <p:bldP spid="92" grpId="1"/>
      <p:bldP spid="92" grpId="2"/>
      <p:bldP spid="89" grpId="0"/>
      <p:bldP spid="89" grpId="1"/>
      <p:bldP spid="89" grpId="2"/>
      <p:bldP spid="73" grpId="0" animBg="1"/>
      <p:bldP spid="91" grpId="0"/>
      <p:bldP spid="91" grpId="1"/>
      <p:bldP spid="91" grpId="2"/>
      <p:bldP spid="145" grpId="0"/>
      <p:bldP spid="145" grpId="1"/>
      <p:bldP spid="167" grpId="0" animBg="1"/>
      <p:bldP spid="167" grpId="1" animBg="1"/>
      <p:bldP spid="335" grpId="0" animBg="1"/>
      <p:bldP spid="335" grpId="1" animBg="1"/>
      <p:bldP spid="335" grpId="2" animBg="1"/>
      <p:bldP spid="336" grpId="0" animBg="1"/>
      <p:bldP spid="336" grpId="1" animBg="1"/>
      <p:bldP spid="336" grpId="2" animBg="1"/>
      <p:bldP spid="337" grpId="0" animBg="1"/>
      <p:bldP spid="337" grpId="1" animBg="1"/>
      <p:bldP spid="337" grpId="2" animBg="1"/>
      <p:bldP spid="126" grpId="0" animBg="1"/>
      <p:bldP spid="126" grpId="1" animBg="1"/>
      <p:bldP spid="126" grpId="2" animBg="1"/>
      <p:bldP spid="333" grpId="0" animBg="1"/>
      <p:bldP spid="333" grpId="1" animBg="1"/>
      <p:bldP spid="333" grpId="2" animBg="1"/>
      <p:bldP spid="334" grpId="0" animBg="1"/>
      <p:bldP spid="334" grpId="1" animBg="1"/>
      <p:bldP spid="334" grpId="2" animBg="1"/>
      <p:bldP spid="177" grpId="0" animBg="1"/>
      <p:bldP spid="177" grpId="1" animBg="1"/>
      <p:bldP spid="177" grpId="2" animBg="1"/>
      <p:bldP spid="179" grpId="0" animBg="1"/>
      <p:bldP spid="179" grpId="1" animBg="1"/>
      <p:bldP spid="179" grpId="2" animBg="1"/>
      <p:bldP spid="179" grpId="3"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1286633" y="1610316"/>
            <a:ext cx="7475244" cy="2896948"/>
          </a:xfrm>
        </p:spPr>
        <p:txBody>
          <a:bodyPr/>
          <a:lstStyle/>
          <a:p>
            <a:pPr marL="342900" indent="-342900">
              <a:spcBef>
                <a:spcPts val="600"/>
              </a:spcBef>
              <a:buFont typeface="Arial"/>
              <a:buChar char="•"/>
            </a:pPr>
            <a:r>
              <a:rPr lang="en-US" altLang="ja-JP" dirty="0" smtClean="0"/>
              <a:t>New Hardware/ New Performance/ </a:t>
            </a:r>
            <a:r>
              <a:rPr lang="en-US" dirty="0" smtClean="0"/>
              <a:t>License update</a:t>
            </a:r>
          </a:p>
          <a:p>
            <a:pPr marL="342900" indent="-342900">
              <a:spcBef>
                <a:spcPts val="600"/>
              </a:spcBef>
              <a:buFont typeface="Arial"/>
              <a:buChar char="•"/>
            </a:pPr>
            <a:r>
              <a:rPr lang="en-US" dirty="0" smtClean="0"/>
              <a:t>Cisco on Cisco Integration</a:t>
            </a:r>
            <a:endParaRPr lang="en-US" dirty="0"/>
          </a:p>
          <a:p>
            <a:pPr marL="342900" indent="-342900">
              <a:spcBef>
                <a:spcPts val="600"/>
              </a:spcBef>
              <a:buFont typeface="Arial"/>
              <a:buChar char="•"/>
            </a:pPr>
            <a:r>
              <a:rPr lang="en-US" dirty="0" smtClean="0"/>
              <a:t>Roadmap</a:t>
            </a:r>
          </a:p>
          <a:p>
            <a:pPr marL="342900" indent="-342900">
              <a:spcBef>
                <a:spcPts val="600"/>
              </a:spcBef>
              <a:buFont typeface="Arial"/>
              <a:buChar char="•"/>
            </a:pPr>
            <a:endParaRPr lang="en-US" dirty="0"/>
          </a:p>
          <a:p>
            <a:pPr marL="342900" indent="-342900">
              <a:spcBef>
                <a:spcPts val="600"/>
              </a:spcBef>
              <a:buFont typeface="Arial"/>
              <a:buChar char="•"/>
            </a:pPr>
            <a:endParaRPr lang="en-US" dirty="0" smtClean="0"/>
          </a:p>
          <a:p>
            <a:pPr marL="342900" indent="-342900">
              <a:spcBef>
                <a:spcPts val="600"/>
              </a:spcBef>
              <a:buFont typeface="Arial"/>
              <a:buChar char="•"/>
            </a:pPr>
            <a:endParaRPr lang="en-US" dirty="0" smtClean="0"/>
          </a:p>
        </p:txBody>
      </p:sp>
      <p:sp>
        <p:nvSpPr>
          <p:cNvPr id="3" name="Title 2"/>
          <p:cNvSpPr>
            <a:spLocks noGrp="1"/>
          </p:cNvSpPr>
          <p:nvPr>
            <p:ph type="ctrTitle"/>
          </p:nvPr>
        </p:nvSpPr>
        <p:spPr>
          <a:xfrm>
            <a:off x="287923" y="275180"/>
            <a:ext cx="7972248" cy="1496976"/>
          </a:xfrm>
        </p:spPr>
        <p:txBody>
          <a:bodyPr/>
          <a:lstStyle/>
          <a:p>
            <a:r>
              <a:rPr lang="en-US" altLang="ja-JP" dirty="0" smtClean="0"/>
              <a:t>WSA</a:t>
            </a:r>
            <a:r>
              <a:rPr lang="en-US" dirty="0" smtClean="0"/>
              <a:t> Agenda</a:t>
            </a:r>
            <a:endParaRPr lang="en-US" dirty="0"/>
          </a:p>
        </p:txBody>
      </p:sp>
    </p:spTree>
    <p:extLst>
      <p:ext uri="{BB962C8B-B14F-4D97-AF65-F5344CB8AC3E}">
        <p14:creationId xmlns:p14="http://schemas.microsoft.com/office/powerpoint/2010/main" val="2523338435"/>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2"/>
          <p:cNvSpPr>
            <a:spLocks noGrp="1"/>
          </p:cNvSpPr>
          <p:nvPr>
            <p:ph type="title"/>
          </p:nvPr>
        </p:nvSpPr>
        <p:spPr>
          <a:xfrm>
            <a:off x="438150" y="341315"/>
            <a:ext cx="8345488" cy="731837"/>
          </a:xfrm>
        </p:spPr>
        <p:txBody>
          <a:bodyPr/>
          <a:lstStyle/>
          <a:p>
            <a:r>
              <a:rPr lang="en-US" altLang="ja-JP" dirty="0" smtClean="0"/>
              <a:t>CTA = </a:t>
            </a:r>
            <a:r>
              <a:rPr lang="ja-JP" altLang="en-US" dirty="0" smtClean="0"/>
              <a:t>振る舞い分析型の脅威検知システム</a:t>
            </a:r>
            <a:endParaRPr altLang="en-US" dirty="0" smtClean="0"/>
          </a:p>
        </p:txBody>
      </p:sp>
      <p:grpSp>
        <p:nvGrpSpPr>
          <p:cNvPr id="84995" name="Group 11"/>
          <p:cNvGrpSpPr>
            <a:grpSpLocks/>
          </p:cNvGrpSpPr>
          <p:nvPr/>
        </p:nvGrpSpPr>
        <p:grpSpPr bwMode="auto">
          <a:xfrm>
            <a:off x="5173663" y="1185863"/>
            <a:ext cx="4572000" cy="1841500"/>
            <a:chOff x="4463605" y="1215139"/>
            <a:chExt cx="4572000" cy="1841623"/>
          </a:xfrm>
        </p:grpSpPr>
        <p:grpSp>
          <p:nvGrpSpPr>
            <p:cNvPr id="85025" name="Group 10"/>
            <p:cNvGrpSpPr>
              <a:grpSpLocks/>
            </p:cNvGrpSpPr>
            <p:nvPr/>
          </p:nvGrpSpPr>
          <p:grpSpPr bwMode="auto">
            <a:xfrm>
              <a:off x="4463605" y="1215139"/>
              <a:ext cx="4572000" cy="1841623"/>
              <a:chOff x="4463605" y="1215139"/>
              <a:chExt cx="4572000" cy="1841623"/>
            </a:xfrm>
          </p:grpSpPr>
          <p:sp>
            <p:nvSpPr>
              <p:cNvPr id="85029" name="Freeform 120"/>
              <p:cNvSpPr>
                <a:spLocks/>
              </p:cNvSpPr>
              <p:nvPr/>
            </p:nvSpPr>
            <p:spPr bwMode="auto">
              <a:xfrm>
                <a:off x="5240341" y="1215139"/>
                <a:ext cx="3018528" cy="1841623"/>
              </a:xfrm>
              <a:custGeom>
                <a:avLst/>
                <a:gdLst>
                  <a:gd name="T0" fmla="*/ 2147483646 w 690"/>
                  <a:gd name="T1" fmla="*/ 2147483646 h 460"/>
                  <a:gd name="T2" fmla="*/ 2147483646 w 690"/>
                  <a:gd name="T3" fmla="*/ 2147483646 h 460"/>
                  <a:gd name="T4" fmla="*/ 2147483646 w 690"/>
                  <a:gd name="T5" fmla="*/ 2147483646 h 460"/>
                  <a:gd name="T6" fmla="*/ 2147483646 w 690"/>
                  <a:gd name="T7" fmla="*/ 2147483646 h 460"/>
                  <a:gd name="T8" fmla="*/ 2147483646 w 690"/>
                  <a:gd name="T9" fmla="*/ 2147483646 h 460"/>
                  <a:gd name="T10" fmla="*/ 2147483646 w 690"/>
                  <a:gd name="T11" fmla="*/ 2147483646 h 460"/>
                  <a:gd name="T12" fmla="*/ 2147483646 w 690"/>
                  <a:gd name="T13" fmla="*/ 2147483646 h 460"/>
                  <a:gd name="T14" fmla="*/ 2147483646 w 690"/>
                  <a:gd name="T15" fmla="*/ 2147483646 h 460"/>
                  <a:gd name="T16" fmla="*/ 2147483646 w 690"/>
                  <a:gd name="T17" fmla="*/ 2147483646 h 460"/>
                  <a:gd name="T18" fmla="*/ 2147483646 w 690"/>
                  <a:gd name="T19" fmla="*/ 2147483646 h 460"/>
                  <a:gd name="T20" fmla="*/ 2147483646 w 690"/>
                  <a:gd name="T21" fmla="*/ 2147483646 h 460"/>
                  <a:gd name="T22" fmla="*/ 2147483646 w 690"/>
                  <a:gd name="T23" fmla="*/ 2147483646 h 460"/>
                  <a:gd name="T24" fmla="*/ 2147483646 w 690"/>
                  <a:gd name="T25" fmla="*/ 2147483646 h 460"/>
                  <a:gd name="T26" fmla="*/ 2147483646 w 690"/>
                  <a:gd name="T27" fmla="*/ 2147483646 h 460"/>
                  <a:gd name="T28" fmla="*/ 2147483646 w 690"/>
                  <a:gd name="T29" fmla="*/ 2147483646 h 460"/>
                  <a:gd name="T30" fmla="*/ 2147483646 w 690"/>
                  <a:gd name="T31" fmla="*/ 2147483646 h 460"/>
                  <a:gd name="T32" fmla="*/ 2147483646 w 690"/>
                  <a:gd name="T33" fmla="*/ 2147483646 h 460"/>
                  <a:gd name="T34" fmla="*/ 2147483646 w 690"/>
                  <a:gd name="T35" fmla="*/ 2147483646 h 460"/>
                  <a:gd name="T36" fmla="*/ 2147483646 w 690"/>
                  <a:gd name="T37" fmla="*/ 2147483646 h 460"/>
                  <a:gd name="T38" fmla="*/ 2147483646 w 690"/>
                  <a:gd name="T39" fmla="*/ 2147483646 h 460"/>
                  <a:gd name="T40" fmla="*/ 2147483646 w 690"/>
                  <a:gd name="T41" fmla="*/ 0 h 460"/>
                  <a:gd name="T42" fmla="*/ 2147483646 w 690"/>
                  <a:gd name="T43" fmla="*/ 2147483646 h 460"/>
                  <a:gd name="T44" fmla="*/ 2147483646 w 690"/>
                  <a:gd name="T45" fmla="*/ 2147483646 h 460"/>
                  <a:gd name="T46" fmla="*/ 2147483646 w 690"/>
                  <a:gd name="T47" fmla="*/ 2147483646 h 460"/>
                  <a:gd name="T48" fmla="*/ 2147483646 w 690"/>
                  <a:gd name="T49" fmla="*/ 2147483646 h 460"/>
                  <a:gd name="T50" fmla="*/ 2147483646 w 690"/>
                  <a:gd name="T51" fmla="*/ 2147483646 h 460"/>
                  <a:gd name="T52" fmla="*/ 2147483646 w 690"/>
                  <a:gd name="T53" fmla="*/ 2147483646 h 460"/>
                  <a:gd name="T54" fmla="*/ 2147483646 w 690"/>
                  <a:gd name="T55" fmla="*/ 2147483646 h 460"/>
                  <a:gd name="T56" fmla="*/ 2147483646 w 690"/>
                  <a:gd name="T57" fmla="*/ 2147483646 h 460"/>
                  <a:gd name="T58" fmla="*/ 2147483646 w 690"/>
                  <a:gd name="T59" fmla="*/ 2147483646 h 460"/>
                  <a:gd name="T60" fmla="*/ 2147483646 w 690"/>
                  <a:gd name="T61" fmla="*/ 2147483646 h 460"/>
                  <a:gd name="T62" fmla="*/ 2147483646 w 690"/>
                  <a:gd name="T63" fmla="*/ 2147483646 h 460"/>
                  <a:gd name="T64" fmla="*/ 2147483646 w 690"/>
                  <a:gd name="T65" fmla="*/ 2147483646 h 460"/>
                  <a:gd name="T66" fmla="*/ 2147483646 w 690"/>
                  <a:gd name="T67" fmla="*/ 2147483646 h 460"/>
                  <a:gd name="T68" fmla="*/ 2147483646 w 690"/>
                  <a:gd name="T69" fmla="*/ 2147483646 h 460"/>
                  <a:gd name="T70" fmla="*/ 2147483646 w 690"/>
                  <a:gd name="T71" fmla="*/ 2147483646 h 460"/>
                  <a:gd name="T72" fmla="*/ 2147483646 w 690"/>
                  <a:gd name="T73" fmla="*/ 2147483646 h 460"/>
                  <a:gd name="T74" fmla="*/ 0 w 690"/>
                  <a:gd name="T75" fmla="*/ 2147483646 h 460"/>
                  <a:gd name="T76" fmla="*/ 2147483646 w 690"/>
                  <a:gd name="T77" fmla="*/ 2147483646 h 460"/>
                  <a:gd name="T78" fmla="*/ 2147483646 w 690"/>
                  <a:gd name="T79" fmla="*/ 2147483646 h 460"/>
                  <a:gd name="T80" fmla="*/ 2147483646 w 690"/>
                  <a:gd name="T81" fmla="*/ 2147483646 h 460"/>
                  <a:gd name="T82" fmla="*/ 2147483646 w 690"/>
                  <a:gd name="T83" fmla="*/ 2147483646 h 460"/>
                  <a:gd name="T84" fmla="*/ 2147483646 w 690"/>
                  <a:gd name="T85" fmla="*/ 2147483646 h 460"/>
                  <a:gd name="T86" fmla="*/ 2147483646 w 690"/>
                  <a:gd name="T87" fmla="*/ 2147483646 h 460"/>
                  <a:gd name="T88" fmla="*/ 2147483646 w 690"/>
                  <a:gd name="T89" fmla="*/ 2147483646 h 460"/>
                  <a:gd name="T90" fmla="*/ 2147483646 w 690"/>
                  <a:gd name="T91" fmla="*/ 2147483646 h 460"/>
                  <a:gd name="T92" fmla="*/ 2147483646 w 690"/>
                  <a:gd name="T93" fmla="*/ 2147483646 h 460"/>
                  <a:gd name="T94" fmla="*/ 2147483646 w 690"/>
                  <a:gd name="T95" fmla="*/ 2147483646 h 460"/>
                  <a:gd name="T96" fmla="*/ 2147483646 w 690"/>
                  <a:gd name="T97" fmla="*/ 2147483646 h 460"/>
                  <a:gd name="T98" fmla="*/ 2147483646 w 690"/>
                  <a:gd name="T99" fmla="*/ 2147483646 h 460"/>
                  <a:gd name="T100" fmla="*/ 2147483646 w 690"/>
                  <a:gd name="T101" fmla="*/ 2147483646 h 460"/>
                  <a:gd name="T102" fmla="*/ 2147483646 w 690"/>
                  <a:gd name="T103" fmla="*/ 2147483646 h 460"/>
                  <a:gd name="T104" fmla="*/ 2147483646 w 690"/>
                  <a:gd name="T105" fmla="*/ 2147483646 h 460"/>
                  <a:gd name="T106" fmla="*/ 2147483646 w 690"/>
                  <a:gd name="T107" fmla="*/ 2147483646 h 460"/>
                  <a:gd name="T108" fmla="*/ 2147483646 w 690"/>
                  <a:gd name="T109" fmla="*/ 2147483646 h 460"/>
                  <a:gd name="T110" fmla="*/ 2147483646 w 690"/>
                  <a:gd name="T111" fmla="*/ 2147483646 h 460"/>
                  <a:gd name="T112" fmla="*/ 2147483646 w 690"/>
                  <a:gd name="T113" fmla="*/ 2147483646 h 460"/>
                  <a:gd name="T114" fmla="*/ 2147483646 w 690"/>
                  <a:gd name="T115" fmla="*/ 2147483646 h 460"/>
                  <a:gd name="T116" fmla="*/ 2147483646 w 690"/>
                  <a:gd name="T117" fmla="*/ 2147483646 h 460"/>
                  <a:gd name="T118" fmla="*/ 2147483646 w 690"/>
                  <a:gd name="T119" fmla="*/ 2147483646 h 460"/>
                  <a:gd name="T120" fmla="*/ 2147483646 w 690"/>
                  <a:gd name="T121" fmla="*/ 2147483646 h 4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90" h="460">
                    <a:moveTo>
                      <a:pt x="611" y="231"/>
                    </a:moveTo>
                    <a:lnTo>
                      <a:pt x="611" y="231"/>
                    </a:lnTo>
                    <a:lnTo>
                      <a:pt x="612" y="22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496" y="101"/>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89" y="322"/>
                    </a:lnTo>
                    <a:lnTo>
                      <a:pt x="685" y="305"/>
                    </a:lnTo>
                    <a:lnTo>
                      <a:pt x="678" y="289"/>
                    </a:lnTo>
                    <a:lnTo>
                      <a:pt x="667" y="272"/>
                    </a:lnTo>
                    <a:lnTo>
                      <a:pt x="657" y="259"/>
                    </a:lnTo>
                    <a:lnTo>
                      <a:pt x="643" y="247"/>
                    </a:lnTo>
                    <a:lnTo>
                      <a:pt x="627" y="237"/>
                    </a:lnTo>
                    <a:lnTo>
                      <a:pt x="611" y="231"/>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lIns="91434" tIns="45717" rIns="91434" bIns="45717"/>
              <a:lstStyle/>
              <a:p>
                <a:endParaRPr lang="cs-CZ"/>
              </a:p>
            </p:txBody>
          </p:sp>
          <p:sp>
            <p:nvSpPr>
              <p:cNvPr id="85030" name="Rectangle 5"/>
              <p:cNvSpPr>
                <a:spLocks noChangeArrowheads="1"/>
              </p:cNvSpPr>
              <p:nvPr/>
            </p:nvSpPr>
            <p:spPr bwMode="auto">
              <a:xfrm>
                <a:off x="4463605" y="1708350"/>
                <a:ext cx="4572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sz="2400">
                    <a:solidFill>
                      <a:schemeClr val="tx1"/>
                    </a:solidFill>
                    <a:latin typeface="Arial" panose="020B0604020202020204" pitchFamily="34" charset="0"/>
                    <a:ea typeface="MS PGothic" panose="020B0600070205080204" pitchFamily="34" charset="-128"/>
                  </a:defRPr>
                </a:lvl1pPr>
                <a:lvl2pPr marL="742950" indent="-285750" defTabSz="684213">
                  <a:defRPr sz="2400">
                    <a:solidFill>
                      <a:schemeClr val="tx1"/>
                    </a:solidFill>
                    <a:latin typeface="Arial" panose="020B0604020202020204" pitchFamily="34" charset="0"/>
                    <a:ea typeface="MS PGothic" panose="020B0600070205080204" pitchFamily="34" charset="-128"/>
                  </a:defRPr>
                </a:lvl2pPr>
                <a:lvl3pPr marL="1143000" indent="-228600" defTabSz="684213">
                  <a:defRPr sz="2400">
                    <a:solidFill>
                      <a:schemeClr val="tx1"/>
                    </a:solidFill>
                    <a:latin typeface="Arial" panose="020B0604020202020204" pitchFamily="34" charset="0"/>
                    <a:ea typeface="MS PGothic" panose="020B0600070205080204" pitchFamily="34" charset="-128"/>
                  </a:defRPr>
                </a:lvl3pPr>
                <a:lvl4pPr marL="1600200" indent="-228600" defTabSz="684213">
                  <a:defRPr sz="2400">
                    <a:solidFill>
                      <a:schemeClr val="tx1"/>
                    </a:solidFill>
                    <a:latin typeface="Arial" panose="020B0604020202020204" pitchFamily="34" charset="0"/>
                    <a:ea typeface="MS PGothic" panose="020B0600070205080204" pitchFamily="34" charset="-128"/>
                  </a:defRPr>
                </a:lvl4pPr>
                <a:lvl5pPr marL="2057400" indent="-228600" defTabSz="684213">
                  <a:defRPr sz="2400">
                    <a:solidFill>
                      <a:schemeClr val="tx1"/>
                    </a:solidFill>
                    <a:latin typeface="Arial" panose="020B0604020202020204" pitchFamily="34" charset="0"/>
                    <a:ea typeface="MS PGothic" panose="020B0600070205080204" pitchFamily="34" charset="-128"/>
                  </a:defRPr>
                </a:lvl5pPr>
                <a:lvl6pPr marL="2514600" indent="-228600" defTabSz="6842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6842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6842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6842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a:r>
                  <a:rPr lang="en-US" altLang="en-US">
                    <a:solidFill>
                      <a:srgbClr val="FFFFFF"/>
                    </a:solidFill>
                  </a:rPr>
                  <a:t>Cisco</a:t>
                </a:r>
              </a:p>
              <a:p>
                <a:pPr algn="ctr"/>
                <a:r>
                  <a:rPr lang="en-US" altLang="en-US">
                    <a:solidFill>
                      <a:srgbClr val="FFFFFF"/>
                    </a:solidFill>
                  </a:rPr>
                  <a:t>Cognitive Threat</a:t>
                </a:r>
              </a:p>
              <a:p>
                <a:pPr algn="ctr"/>
                <a:r>
                  <a:rPr lang="en-US" altLang="en-US">
                    <a:solidFill>
                      <a:srgbClr val="FFFFFF"/>
                    </a:solidFill>
                  </a:rPr>
                  <a:t>Analytics (CTA)</a:t>
                </a:r>
              </a:p>
            </p:txBody>
          </p:sp>
        </p:grpSp>
        <p:sp>
          <p:nvSpPr>
            <p:cNvPr id="7" name="Freeform 13"/>
            <p:cNvSpPr>
              <a:spLocks noEditPoints="1"/>
            </p:cNvSpPr>
            <p:nvPr/>
          </p:nvSpPr>
          <p:spPr bwMode="auto">
            <a:xfrm>
              <a:off x="6567042" y="1377075"/>
              <a:ext cx="182563" cy="182574"/>
            </a:xfrm>
            <a:custGeom>
              <a:avLst/>
              <a:gdLst>
                <a:gd name="T0" fmla="*/ 1347 w 3325"/>
                <a:gd name="T1" fmla="*/ 3204 h 3325"/>
                <a:gd name="T2" fmla="*/ 1418 w 3325"/>
                <a:gd name="T3" fmla="*/ 2719 h 3325"/>
                <a:gd name="T4" fmla="*/ 2061 w 3325"/>
                <a:gd name="T5" fmla="*/ 2670 h 3325"/>
                <a:gd name="T6" fmla="*/ 1771 w 3325"/>
                <a:gd name="T7" fmla="*/ 3232 h 3325"/>
                <a:gd name="T8" fmla="*/ 2365 w 3325"/>
                <a:gd name="T9" fmla="*/ 3070 h 3325"/>
                <a:gd name="T10" fmla="*/ 464 w 3325"/>
                <a:gd name="T11" fmla="*/ 2681 h 3325"/>
                <a:gd name="T12" fmla="*/ 1111 w 3325"/>
                <a:gd name="T13" fmla="*/ 2595 h 3325"/>
                <a:gd name="T14" fmla="*/ 735 w 3325"/>
                <a:gd name="T15" fmla="*/ 2222 h 3325"/>
                <a:gd name="T16" fmla="*/ 2293 w 3325"/>
                <a:gd name="T17" fmla="*/ 2544 h 3325"/>
                <a:gd name="T18" fmla="*/ 2817 w 3325"/>
                <a:gd name="T19" fmla="*/ 2731 h 3325"/>
                <a:gd name="T20" fmla="*/ 1171 w 3325"/>
                <a:gd name="T21" fmla="*/ 2562 h 3325"/>
                <a:gd name="T22" fmla="*/ 1645 w 3325"/>
                <a:gd name="T23" fmla="*/ 2687 h 3325"/>
                <a:gd name="T24" fmla="*/ 1074 w 3325"/>
                <a:gd name="T25" fmla="*/ 2109 h 3325"/>
                <a:gd name="T26" fmla="*/ 997 w 3325"/>
                <a:gd name="T27" fmla="*/ 2208 h 3325"/>
                <a:gd name="T28" fmla="*/ 918 w 3325"/>
                <a:gd name="T29" fmla="*/ 2122 h 3325"/>
                <a:gd name="T30" fmla="*/ 1021 w 3325"/>
                <a:gd name="T31" fmla="*/ 2463 h 3325"/>
                <a:gd name="T32" fmla="*/ 1828 w 3325"/>
                <a:gd name="T33" fmla="*/ 2674 h 3325"/>
                <a:gd name="T34" fmla="*/ 1700 w 3325"/>
                <a:gd name="T35" fmla="*/ 1675 h 3325"/>
                <a:gd name="T36" fmla="*/ 2516 w 3325"/>
                <a:gd name="T37" fmla="*/ 2231 h 3325"/>
                <a:gd name="T38" fmla="*/ 681 w 3325"/>
                <a:gd name="T39" fmla="*/ 1962 h 3325"/>
                <a:gd name="T40" fmla="*/ 92 w 3325"/>
                <a:gd name="T41" fmla="*/ 1756 h 3325"/>
                <a:gd name="T42" fmla="*/ 252 w 3325"/>
                <a:gd name="T43" fmla="*/ 2359 h 3325"/>
                <a:gd name="T44" fmla="*/ 591 w 3325"/>
                <a:gd name="T45" fmla="*/ 1824 h 3325"/>
                <a:gd name="T46" fmla="*/ 687 w 3325"/>
                <a:gd name="T47" fmla="*/ 1346 h 3325"/>
                <a:gd name="T48" fmla="*/ 2367 w 3325"/>
                <a:gd name="T49" fmla="*/ 1150 h 3325"/>
                <a:gd name="T50" fmla="*/ 2292 w 3325"/>
                <a:gd name="T51" fmla="*/ 1250 h 3325"/>
                <a:gd name="T52" fmla="*/ 2408 w 3325"/>
                <a:gd name="T53" fmla="*/ 1298 h 3325"/>
                <a:gd name="T54" fmla="*/ 2424 w 3325"/>
                <a:gd name="T55" fmla="*/ 1174 h 3325"/>
                <a:gd name="T56" fmla="*/ 178 w 3325"/>
                <a:gd name="T57" fmla="*/ 1143 h 3325"/>
                <a:gd name="T58" fmla="*/ 585 w 3325"/>
                <a:gd name="T59" fmla="*/ 1551 h 3325"/>
                <a:gd name="T60" fmla="*/ 297 w 3325"/>
                <a:gd name="T61" fmla="*/ 881 h 3325"/>
                <a:gd name="T62" fmla="*/ 828 w 3325"/>
                <a:gd name="T63" fmla="*/ 1067 h 3325"/>
                <a:gd name="T64" fmla="*/ 651 w 3325"/>
                <a:gd name="T65" fmla="*/ 458 h 3325"/>
                <a:gd name="T66" fmla="*/ 739 w 3325"/>
                <a:gd name="T67" fmla="*/ 1096 h 3325"/>
                <a:gd name="T68" fmla="*/ 1108 w 3325"/>
                <a:gd name="T69" fmla="*/ 732 h 3325"/>
                <a:gd name="T70" fmla="*/ 1008 w 3325"/>
                <a:gd name="T71" fmla="*/ 677 h 3325"/>
                <a:gd name="T72" fmla="*/ 1659 w 3325"/>
                <a:gd name="T73" fmla="*/ 0 h 3325"/>
                <a:gd name="T74" fmla="*/ 1130 w 3325"/>
                <a:gd name="T75" fmla="*/ 182 h 3325"/>
                <a:gd name="T76" fmla="*/ 1097 w 3325"/>
                <a:gd name="T77" fmla="*/ 561 h 3325"/>
                <a:gd name="T78" fmla="*/ 1148 w 3325"/>
                <a:gd name="T79" fmla="*/ 671 h 3325"/>
                <a:gd name="T80" fmla="*/ 1423 w 3325"/>
                <a:gd name="T81" fmla="*/ 606 h 3325"/>
                <a:gd name="T82" fmla="*/ 1437 w 3325"/>
                <a:gd name="T83" fmla="*/ 663 h 3325"/>
                <a:gd name="T84" fmla="*/ 1662 w 3325"/>
                <a:gd name="T85" fmla="*/ 638 h 3325"/>
                <a:gd name="T86" fmla="*/ 2180 w 3325"/>
                <a:gd name="T87" fmla="*/ 778 h 3325"/>
                <a:gd name="T88" fmla="*/ 2547 w 3325"/>
                <a:gd name="T89" fmla="*/ 1145 h 3325"/>
                <a:gd name="T90" fmla="*/ 2687 w 3325"/>
                <a:gd name="T91" fmla="*/ 1663 h 3325"/>
                <a:gd name="T92" fmla="*/ 2677 w 3325"/>
                <a:gd name="T93" fmla="*/ 1807 h 3325"/>
                <a:gd name="T94" fmla="*/ 2703 w 3325"/>
                <a:gd name="T95" fmla="*/ 1963 h 3325"/>
                <a:gd name="T96" fmla="*/ 3158 w 3325"/>
                <a:gd name="T97" fmla="*/ 2148 h 3325"/>
                <a:gd name="T98" fmla="*/ 3322 w 3325"/>
                <a:gd name="T99" fmla="*/ 1764 h 3325"/>
                <a:gd name="T100" fmla="*/ 3143 w 3325"/>
                <a:gd name="T101" fmla="*/ 2418 h 3325"/>
                <a:gd name="T102" fmla="*/ 2734 w 3325"/>
                <a:gd name="T103" fmla="*/ 2934 h 3325"/>
                <a:gd name="T104" fmla="*/ 2150 w 3325"/>
                <a:gd name="T105" fmla="*/ 3252 h 3325"/>
                <a:gd name="T106" fmla="*/ 1461 w 3325"/>
                <a:gd name="T107" fmla="*/ 3313 h 3325"/>
                <a:gd name="T108" fmla="*/ 823 w 3325"/>
                <a:gd name="T109" fmla="*/ 3098 h 3325"/>
                <a:gd name="T110" fmla="*/ 332 w 3325"/>
                <a:gd name="T111" fmla="*/ 2660 h 3325"/>
                <a:gd name="T112" fmla="*/ 47 w 3325"/>
                <a:gd name="T113" fmla="*/ 2058 h 3325"/>
                <a:gd name="T114" fmla="*/ 26 w 3325"/>
                <a:gd name="T115" fmla="*/ 1364 h 3325"/>
                <a:gd name="T116" fmla="*/ 276 w 3325"/>
                <a:gd name="T117" fmla="*/ 744 h 3325"/>
                <a:gd name="T118" fmla="*/ 741 w 3325"/>
                <a:gd name="T119" fmla="*/ 279 h 3325"/>
                <a:gd name="T120" fmla="*/ 1360 w 3325"/>
                <a:gd name="T121" fmla="*/ 27 h 3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5" h="3325">
                  <a:moveTo>
                    <a:pt x="1141" y="2613"/>
                  </a:moveTo>
                  <a:lnTo>
                    <a:pt x="896" y="3036"/>
                  </a:lnTo>
                  <a:lnTo>
                    <a:pt x="981" y="3081"/>
                  </a:lnTo>
                  <a:lnTo>
                    <a:pt x="1069" y="3119"/>
                  </a:lnTo>
                  <a:lnTo>
                    <a:pt x="1159" y="3153"/>
                  </a:lnTo>
                  <a:lnTo>
                    <a:pt x="1252" y="3182"/>
                  </a:lnTo>
                  <a:lnTo>
                    <a:pt x="1347" y="3204"/>
                  </a:lnTo>
                  <a:lnTo>
                    <a:pt x="1445" y="3220"/>
                  </a:lnTo>
                  <a:lnTo>
                    <a:pt x="1544" y="3231"/>
                  </a:lnTo>
                  <a:lnTo>
                    <a:pt x="1645" y="3235"/>
                  </a:lnTo>
                  <a:lnTo>
                    <a:pt x="1645" y="2746"/>
                  </a:lnTo>
                  <a:lnTo>
                    <a:pt x="1567" y="2742"/>
                  </a:lnTo>
                  <a:lnTo>
                    <a:pt x="1491" y="2733"/>
                  </a:lnTo>
                  <a:lnTo>
                    <a:pt x="1418" y="2719"/>
                  </a:lnTo>
                  <a:lnTo>
                    <a:pt x="1345" y="2698"/>
                  </a:lnTo>
                  <a:lnTo>
                    <a:pt x="1274" y="2674"/>
                  </a:lnTo>
                  <a:lnTo>
                    <a:pt x="1207" y="2646"/>
                  </a:lnTo>
                  <a:lnTo>
                    <a:pt x="1141" y="2613"/>
                  </a:lnTo>
                  <a:close/>
                  <a:moveTo>
                    <a:pt x="2197" y="2605"/>
                  </a:moveTo>
                  <a:lnTo>
                    <a:pt x="2130" y="2640"/>
                  </a:lnTo>
                  <a:lnTo>
                    <a:pt x="2061" y="2670"/>
                  </a:lnTo>
                  <a:lnTo>
                    <a:pt x="1988" y="2696"/>
                  </a:lnTo>
                  <a:lnTo>
                    <a:pt x="1914" y="2717"/>
                  </a:lnTo>
                  <a:lnTo>
                    <a:pt x="1838" y="2732"/>
                  </a:lnTo>
                  <a:lnTo>
                    <a:pt x="1760" y="2742"/>
                  </a:lnTo>
                  <a:lnTo>
                    <a:pt x="1680" y="2746"/>
                  </a:lnTo>
                  <a:lnTo>
                    <a:pt x="1680" y="3235"/>
                  </a:lnTo>
                  <a:lnTo>
                    <a:pt x="1771" y="3232"/>
                  </a:lnTo>
                  <a:lnTo>
                    <a:pt x="1862" y="3223"/>
                  </a:lnTo>
                  <a:lnTo>
                    <a:pt x="1951" y="3209"/>
                  </a:lnTo>
                  <a:lnTo>
                    <a:pt x="2037" y="3191"/>
                  </a:lnTo>
                  <a:lnTo>
                    <a:pt x="2123" y="3167"/>
                  </a:lnTo>
                  <a:lnTo>
                    <a:pt x="2206" y="3139"/>
                  </a:lnTo>
                  <a:lnTo>
                    <a:pt x="2287" y="3107"/>
                  </a:lnTo>
                  <a:lnTo>
                    <a:pt x="2365" y="3070"/>
                  </a:lnTo>
                  <a:lnTo>
                    <a:pt x="2442" y="3029"/>
                  </a:lnTo>
                  <a:lnTo>
                    <a:pt x="2197" y="2605"/>
                  </a:lnTo>
                  <a:close/>
                  <a:moveTo>
                    <a:pt x="735" y="2222"/>
                  </a:moveTo>
                  <a:lnTo>
                    <a:pt x="311" y="2467"/>
                  </a:lnTo>
                  <a:lnTo>
                    <a:pt x="358" y="2542"/>
                  </a:lnTo>
                  <a:lnTo>
                    <a:pt x="409" y="2614"/>
                  </a:lnTo>
                  <a:lnTo>
                    <a:pt x="464" y="2681"/>
                  </a:lnTo>
                  <a:lnTo>
                    <a:pt x="523" y="2747"/>
                  </a:lnTo>
                  <a:lnTo>
                    <a:pt x="585" y="2808"/>
                  </a:lnTo>
                  <a:lnTo>
                    <a:pt x="651" y="2867"/>
                  </a:lnTo>
                  <a:lnTo>
                    <a:pt x="719" y="2921"/>
                  </a:lnTo>
                  <a:lnTo>
                    <a:pt x="791" y="2973"/>
                  </a:lnTo>
                  <a:lnTo>
                    <a:pt x="867" y="3019"/>
                  </a:lnTo>
                  <a:lnTo>
                    <a:pt x="1111" y="2595"/>
                  </a:lnTo>
                  <a:lnTo>
                    <a:pt x="1046" y="2554"/>
                  </a:lnTo>
                  <a:lnTo>
                    <a:pt x="985" y="2509"/>
                  </a:lnTo>
                  <a:lnTo>
                    <a:pt x="927" y="2458"/>
                  </a:lnTo>
                  <a:lnTo>
                    <a:pt x="873" y="2405"/>
                  </a:lnTo>
                  <a:lnTo>
                    <a:pt x="822" y="2347"/>
                  </a:lnTo>
                  <a:lnTo>
                    <a:pt x="777" y="2287"/>
                  </a:lnTo>
                  <a:lnTo>
                    <a:pt x="735" y="2222"/>
                  </a:lnTo>
                  <a:close/>
                  <a:moveTo>
                    <a:pt x="2604" y="2198"/>
                  </a:moveTo>
                  <a:lnTo>
                    <a:pt x="2563" y="2264"/>
                  </a:lnTo>
                  <a:lnTo>
                    <a:pt x="2518" y="2328"/>
                  </a:lnTo>
                  <a:lnTo>
                    <a:pt x="2467" y="2388"/>
                  </a:lnTo>
                  <a:lnTo>
                    <a:pt x="2413" y="2444"/>
                  </a:lnTo>
                  <a:lnTo>
                    <a:pt x="2354" y="2497"/>
                  </a:lnTo>
                  <a:lnTo>
                    <a:pt x="2293" y="2544"/>
                  </a:lnTo>
                  <a:lnTo>
                    <a:pt x="2227" y="2587"/>
                  </a:lnTo>
                  <a:lnTo>
                    <a:pt x="2472" y="3011"/>
                  </a:lnTo>
                  <a:lnTo>
                    <a:pt x="2547" y="2963"/>
                  </a:lnTo>
                  <a:lnTo>
                    <a:pt x="2620" y="2910"/>
                  </a:lnTo>
                  <a:lnTo>
                    <a:pt x="2689" y="2854"/>
                  </a:lnTo>
                  <a:lnTo>
                    <a:pt x="2755" y="2794"/>
                  </a:lnTo>
                  <a:lnTo>
                    <a:pt x="2817" y="2731"/>
                  </a:lnTo>
                  <a:lnTo>
                    <a:pt x="2876" y="2663"/>
                  </a:lnTo>
                  <a:lnTo>
                    <a:pt x="2931" y="2592"/>
                  </a:lnTo>
                  <a:lnTo>
                    <a:pt x="2982" y="2519"/>
                  </a:lnTo>
                  <a:lnTo>
                    <a:pt x="3028" y="2442"/>
                  </a:lnTo>
                  <a:lnTo>
                    <a:pt x="2604" y="2198"/>
                  </a:lnTo>
                  <a:close/>
                  <a:moveTo>
                    <a:pt x="1645" y="1740"/>
                  </a:moveTo>
                  <a:lnTo>
                    <a:pt x="1171" y="2562"/>
                  </a:lnTo>
                  <a:lnTo>
                    <a:pt x="1232" y="2593"/>
                  </a:lnTo>
                  <a:lnTo>
                    <a:pt x="1297" y="2621"/>
                  </a:lnTo>
                  <a:lnTo>
                    <a:pt x="1362" y="2643"/>
                  </a:lnTo>
                  <a:lnTo>
                    <a:pt x="1431" y="2661"/>
                  </a:lnTo>
                  <a:lnTo>
                    <a:pt x="1501" y="2675"/>
                  </a:lnTo>
                  <a:lnTo>
                    <a:pt x="1572" y="2683"/>
                  </a:lnTo>
                  <a:lnTo>
                    <a:pt x="1645" y="2687"/>
                  </a:lnTo>
                  <a:lnTo>
                    <a:pt x="1645" y="1740"/>
                  </a:lnTo>
                  <a:close/>
                  <a:moveTo>
                    <a:pt x="1623" y="1709"/>
                  </a:moveTo>
                  <a:lnTo>
                    <a:pt x="1025" y="2055"/>
                  </a:lnTo>
                  <a:lnTo>
                    <a:pt x="1041" y="2064"/>
                  </a:lnTo>
                  <a:lnTo>
                    <a:pt x="1056" y="2076"/>
                  </a:lnTo>
                  <a:lnTo>
                    <a:pt x="1067" y="2092"/>
                  </a:lnTo>
                  <a:lnTo>
                    <a:pt x="1074" y="2109"/>
                  </a:lnTo>
                  <a:lnTo>
                    <a:pt x="1077" y="2129"/>
                  </a:lnTo>
                  <a:lnTo>
                    <a:pt x="1074" y="2150"/>
                  </a:lnTo>
                  <a:lnTo>
                    <a:pt x="1066" y="2169"/>
                  </a:lnTo>
                  <a:lnTo>
                    <a:pt x="1053" y="2185"/>
                  </a:lnTo>
                  <a:lnTo>
                    <a:pt x="1037" y="2198"/>
                  </a:lnTo>
                  <a:lnTo>
                    <a:pt x="1018" y="2206"/>
                  </a:lnTo>
                  <a:lnTo>
                    <a:pt x="997" y="2208"/>
                  </a:lnTo>
                  <a:lnTo>
                    <a:pt x="976" y="2206"/>
                  </a:lnTo>
                  <a:lnTo>
                    <a:pt x="957" y="2198"/>
                  </a:lnTo>
                  <a:lnTo>
                    <a:pt x="941" y="2185"/>
                  </a:lnTo>
                  <a:lnTo>
                    <a:pt x="928" y="2169"/>
                  </a:lnTo>
                  <a:lnTo>
                    <a:pt x="920" y="2150"/>
                  </a:lnTo>
                  <a:lnTo>
                    <a:pt x="918" y="2129"/>
                  </a:lnTo>
                  <a:lnTo>
                    <a:pt x="918" y="2122"/>
                  </a:lnTo>
                  <a:lnTo>
                    <a:pt x="919" y="2116"/>
                  </a:lnTo>
                  <a:lnTo>
                    <a:pt x="785" y="2193"/>
                  </a:lnTo>
                  <a:lnTo>
                    <a:pt x="824" y="2253"/>
                  </a:lnTo>
                  <a:lnTo>
                    <a:pt x="869" y="2311"/>
                  </a:lnTo>
                  <a:lnTo>
                    <a:pt x="916" y="2365"/>
                  </a:lnTo>
                  <a:lnTo>
                    <a:pt x="967" y="2416"/>
                  </a:lnTo>
                  <a:lnTo>
                    <a:pt x="1021" y="2463"/>
                  </a:lnTo>
                  <a:lnTo>
                    <a:pt x="1080" y="2506"/>
                  </a:lnTo>
                  <a:lnTo>
                    <a:pt x="1140" y="2545"/>
                  </a:lnTo>
                  <a:lnTo>
                    <a:pt x="1623" y="1709"/>
                  </a:lnTo>
                  <a:close/>
                  <a:moveTo>
                    <a:pt x="1680" y="1708"/>
                  </a:moveTo>
                  <a:lnTo>
                    <a:pt x="1680" y="2687"/>
                  </a:lnTo>
                  <a:lnTo>
                    <a:pt x="1755" y="2683"/>
                  </a:lnTo>
                  <a:lnTo>
                    <a:pt x="1828" y="2674"/>
                  </a:lnTo>
                  <a:lnTo>
                    <a:pt x="1901" y="2660"/>
                  </a:lnTo>
                  <a:lnTo>
                    <a:pt x="1971" y="2641"/>
                  </a:lnTo>
                  <a:lnTo>
                    <a:pt x="2039" y="2617"/>
                  </a:lnTo>
                  <a:lnTo>
                    <a:pt x="2105" y="2587"/>
                  </a:lnTo>
                  <a:lnTo>
                    <a:pt x="2168" y="2554"/>
                  </a:lnTo>
                  <a:lnTo>
                    <a:pt x="1680" y="1708"/>
                  </a:lnTo>
                  <a:close/>
                  <a:moveTo>
                    <a:pt x="1700" y="1675"/>
                  </a:moveTo>
                  <a:lnTo>
                    <a:pt x="2198" y="2537"/>
                  </a:lnTo>
                  <a:lnTo>
                    <a:pt x="2259" y="2496"/>
                  </a:lnTo>
                  <a:lnTo>
                    <a:pt x="2318" y="2450"/>
                  </a:lnTo>
                  <a:lnTo>
                    <a:pt x="2373" y="2402"/>
                  </a:lnTo>
                  <a:lnTo>
                    <a:pt x="2425" y="2348"/>
                  </a:lnTo>
                  <a:lnTo>
                    <a:pt x="2472" y="2292"/>
                  </a:lnTo>
                  <a:lnTo>
                    <a:pt x="2516" y="2231"/>
                  </a:lnTo>
                  <a:lnTo>
                    <a:pt x="2554" y="2169"/>
                  </a:lnTo>
                  <a:lnTo>
                    <a:pt x="1700" y="1675"/>
                  </a:lnTo>
                  <a:close/>
                  <a:moveTo>
                    <a:pt x="638" y="1663"/>
                  </a:moveTo>
                  <a:lnTo>
                    <a:pt x="640" y="1740"/>
                  </a:lnTo>
                  <a:lnTo>
                    <a:pt x="649" y="1815"/>
                  </a:lnTo>
                  <a:lnTo>
                    <a:pt x="663" y="1889"/>
                  </a:lnTo>
                  <a:lnTo>
                    <a:pt x="681" y="1962"/>
                  </a:lnTo>
                  <a:lnTo>
                    <a:pt x="705" y="2031"/>
                  </a:lnTo>
                  <a:lnTo>
                    <a:pt x="735" y="2098"/>
                  </a:lnTo>
                  <a:lnTo>
                    <a:pt x="768" y="2164"/>
                  </a:lnTo>
                  <a:lnTo>
                    <a:pt x="1635" y="1663"/>
                  </a:lnTo>
                  <a:lnTo>
                    <a:pt x="638" y="1663"/>
                  </a:lnTo>
                  <a:close/>
                  <a:moveTo>
                    <a:pt x="90" y="1663"/>
                  </a:moveTo>
                  <a:lnTo>
                    <a:pt x="92" y="1756"/>
                  </a:lnTo>
                  <a:lnTo>
                    <a:pt x="100" y="1848"/>
                  </a:lnTo>
                  <a:lnTo>
                    <a:pt x="113" y="1938"/>
                  </a:lnTo>
                  <a:lnTo>
                    <a:pt x="132" y="2026"/>
                  </a:lnTo>
                  <a:lnTo>
                    <a:pt x="154" y="2113"/>
                  </a:lnTo>
                  <a:lnTo>
                    <a:pt x="183" y="2198"/>
                  </a:lnTo>
                  <a:lnTo>
                    <a:pt x="215" y="2280"/>
                  </a:lnTo>
                  <a:lnTo>
                    <a:pt x="252" y="2359"/>
                  </a:lnTo>
                  <a:lnTo>
                    <a:pt x="294" y="2437"/>
                  </a:lnTo>
                  <a:lnTo>
                    <a:pt x="717" y="2193"/>
                  </a:lnTo>
                  <a:lnTo>
                    <a:pt x="682" y="2124"/>
                  </a:lnTo>
                  <a:lnTo>
                    <a:pt x="651" y="2053"/>
                  </a:lnTo>
                  <a:lnTo>
                    <a:pt x="626" y="1979"/>
                  </a:lnTo>
                  <a:lnTo>
                    <a:pt x="605" y="1902"/>
                  </a:lnTo>
                  <a:lnTo>
                    <a:pt x="591" y="1824"/>
                  </a:lnTo>
                  <a:lnTo>
                    <a:pt x="582" y="1745"/>
                  </a:lnTo>
                  <a:lnTo>
                    <a:pt x="579" y="1663"/>
                  </a:lnTo>
                  <a:lnTo>
                    <a:pt x="90" y="1663"/>
                  </a:lnTo>
                  <a:close/>
                  <a:moveTo>
                    <a:pt x="772" y="1155"/>
                  </a:moveTo>
                  <a:lnTo>
                    <a:pt x="740" y="1216"/>
                  </a:lnTo>
                  <a:lnTo>
                    <a:pt x="711" y="1281"/>
                  </a:lnTo>
                  <a:lnTo>
                    <a:pt x="687" y="1346"/>
                  </a:lnTo>
                  <a:lnTo>
                    <a:pt x="668" y="1414"/>
                  </a:lnTo>
                  <a:lnTo>
                    <a:pt x="653" y="1483"/>
                  </a:lnTo>
                  <a:lnTo>
                    <a:pt x="643" y="1555"/>
                  </a:lnTo>
                  <a:lnTo>
                    <a:pt x="638" y="1628"/>
                  </a:lnTo>
                  <a:lnTo>
                    <a:pt x="1590" y="1628"/>
                  </a:lnTo>
                  <a:lnTo>
                    <a:pt x="772" y="1155"/>
                  </a:lnTo>
                  <a:close/>
                  <a:moveTo>
                    <a:pt x="2367" y="1150"/>
                  </a:moveTo>
                  <a:lnTo>
                    <a:pt x="2347" y="1153"/>
                  </a:lnTo>
                  <a:lnTo>
                    <a:pt x="2328" y="1161"/>
                  </a:lnTo>
                  <a:lnTo>
                    <a:pt x="2312" y="1174"/>
                  </a:lnTo>
                  <a:lnTo>
                    <a:pt x="2300" y="1190"/>
                  </a:lnTo>
                  <a:lnTo>
                    <a:pt x="2292" y="1208"/>
                  </a:lnTo>
                  <a:lnTo>
                    <a:pt x="2289" y="1229"/>
                  </a:lnTo>
                  <a:lnTo>
                    <a:pt x="2292" y="1250"/>
                  </a:lnTo>
                  <a:lnTo>
                    <a:pt x="2300" y="1269"/>
                  </a:lnTo>
                  <a:lnTo>
                    <a:pt x="2312" y="1286"/>
                  </a:lnTo>
                  <a:lnTo>
                    <a:pt x="2328" y="1298"/>
                  </a:lnTo>
                  <a:lnTo>
                    <a:pt x="2347" y="1306"/>
                  </a:lnTo>
                  <a:lnTo>
                    <a:pt x="2367" y="1309"/>
                  </a:lnTo>
                  <a:lnTo>
                    <a:pt x="2389" y="1306"/>
                  </a:lnTo>
                  <a:lnTo>
                    <a:pt x="2408" y="1298"/>
                  </a:lnTo>
                  <a:lnTo>
                    <a:pt x="2424" y="1286"/>
                  </a:lnTo>
                  <a:lnTo>
                    <a:pt x="2436" y="1269"/>
                  </a:lnTo>
                  <a:lnTo>
                    <a:pt x="2444" y="1250"/>
                  </a:lnTo>
                  <a:lnTo>
                    <a:pt x="2447" y="1229"/>
                  </a:lnTo>
                  <a:lnTo>
                    <a:pt x="2444" y="1208"/>
                  </a:lnTo>
                  <a:lnTo>
                    <a:pt x="2436" y="1190"/>
                  </a:lnTo>
                  <a:lnTo>
                    <a:pt x="2424" y="1174"/>
                  </a:lnTo>
                  <a:lnTo>
                    <a:pt x="2408" y="1161"/>
                  </a:lnTo>
                  <a:lnTo>
                    <a:pt x="2389" y="1153"/>
                  </a:lnTo>
                  <a:lnTo>
                    <a:pt x="2367" y="1150"/>
                  </a:lnTo>
                  <a:close/>
                  <a:moveTo>
                    <a:pt x="297" y="881"/>
                  </a:moveTo>
                  <a:lnTo>
                    <a:pt x="252" y="966"/>
                  </a:lnTo>
                  <a:lnTo>
                    <a:pt x="212" y="1053"/>
                  </a:lnTo>
                  <a:lnTo>
                    <a:pt x="178" y="1143"/>
                  </a:lnTo>
                  <a:lnTo>
                    <a:pt x="148" y="1235"/>
                  </a:lnTo>
                  <a:lnTo>
                    <a:pt x="124" y="1331"/>
                  </a:lnTo>
                  <a:lnTo>
                    <a:pt x="107" y="1428"/>
                  </a:lnTo>
                  <a:lnTo>
                    <a:pt x="95" y="1527"/>
                  </a:lnTo>
                  <a:lnTo>
                    <a:pt x="90" y="1628"/>
                  </a:lnTo>
                  <a:lnTo>
                    <a:pt x="579" y="1628"/>
                  </a:lnTo>
                  <a:lnTo>
                    <a:pt x="585" y="1551"/>
                  </a:lnTo>
                  <a:lnTo>
                    <a:pt x="595" y="1474"/>
                  </a:lnTo>
                  <a:lnTo>
                    <a:pt x="611" y="1401"/>
                  </a:lnTo>
                  <a:lnTo>
                    <a:pt x="632" y="1329"/>
                  </a:lnTo>
                  <a:lnTo>
                    <a:pt x="657" y="1258"/>
                  </a:lnTo>
                  <a:lnTo>
                    <a:pt x="687" y="1191"/>
                  </a:lnTo>
                  <a:lnTo>
                    <a:pt x="722" y="1126"/>
                  </a:lnTo>
                  <a:lnTo>
                    <a:pt x="297" y="881"/>
                  </a:lnTo>
                  <a:close/>
                  <a:moveTo>
                    <a:pt x="1137" y="782"/>
                  </a:moveTo>
                  <a:lnTo>
                    <a:pt x="1078" y="820"/>
                  </a:lnTo>
                  <a:lnTo>
                    <a:pt x="1021" y="863"/>
                  </a:lnTo>
                  <a:lnTo>
                    <a:pt x="968" y="908"/>
                  </a:lnTo>
                  <a:lnTo>
                    <a:pt x="918" y="958"/>
                  </a:lnTo>
                  <a:lnTo>
                    <a:pt x="872" y="1011"/>
                  </a:lnTo>
                  <a:lnTo>
                    <a:pt x="828" y="1067"/>
                  </a:lnTo>
                  <a:lnTo>
                    <a:pt x="789" y="1125"/>
                  </a:lnTo>
                  <a:lnTo>
                    <a:pt x="1608" y="1598"/>
                  </a:lnTo>
                  <a:lnTo>
                    <a:pt x="1137" y="782"/>
                  </a:lnTo>
                  <a:close/>
                  <a:moveTo>
                    <a:pt x="864" y="308"/>
                  </a:moveTo>
                  <a:lnTo>
                    <a:pt x="790" y="354"/>
                  </a:lnTo>
                  <a:lnTo>
                    <a:pt x="718" y="404"/>
                  </a:lnTo>
                  <a:lnTo>
                    <a:pt x="651" y="458"/>
                  </a:lnTo>
                  <a:lnTo>
                    <a:pt x="586" y="516"/>
                  </a:lnTo>
                  <a:lnTo>
                    <a:pt x="525" y="576"/>
                  </a:lnTo>
                  <a:lnTo>
                    <a:pt x="467" y="641"/>
                  </a:lnTo>
                  <a:lnTo>
                    <a:pt x="413" y="707"/>
                  </a:lnTo>
                  <a:lnTo>
                    <a:pt x="361" y="778"/>
                  </a:lnTo>
                  <a:lnTo>
                    <a:pt x="315" y="851"/>
                  </a:lnTo>
                  <a:lnTo>
                    <a:pt x="739" y="1096"/>
                  </a:lnTo>
                  <a:lnTo>
                    <a:pt x="780" y="1033"/>
                  </a:lnTo>
                  <a:lnTo>
                    <a:pt x="825" y="974"/>
                  </a:lnTo>
                  <a:lnTo>
                    <a:pt x="875" y="918"/>
                  </a:lnTo>
                  <a:lnTo>
                    <a:pt x="928" y="866"/>
                  </a:lnTo>
                  <a:lnTo>
                    <a:pt x="985" y="817"/>
                  </a:lnTo>
                  <a:lnTo>
                    <a:pt x="1045" y="772"/>
                  </a:lnTo>
                  <a:lnTo>
                    <a:pt x="1108" y="732"/>
                  </a:lnTo>
                  <a:lnTo>
                    <a:pt x="1098" y="713"/>
                  </a:lnTo>
                  <a:lnTo>
                    <a:pt x="1087" y="717"/>
                  </a:lnTo>
                  <a:lnTo>
                    <a:pt x="1077" y="717"/>
                  </a:lnTo>
                  <a:lnTo>
                    <a:pt x="1056" y="714"/>
                  </a:lnTo>
                  <a:lnTo>
                    <a:pt x="1036" y="706"/>
                  </a:lnTo>
                  <a:lnTo>
                    <a:pt x="1020" y="693"/>
                  </a:lnTo>
                  <a:lnTo>
                    <a:pt x="1008" y="677"/>
                  </a:lnTo>
                  <a:lnTo>
                    <a:pt x="1000" y="659"/>
                  </a:lnTo>
                  <a:lnTo>
                    <a:pt x="997" y="638"/>
                  </a:lnTo>
                  <a:lnTo>
                    <a:pt x="1000" y="617"/>
                  </a:lnTo>
                  <a:lnTo>
                    <a:pt x="1008" y="597"/>
                  </a:lnTo>
                  <a:lnTo>
                    <a:pt x="1021" y="581"/>
                  </a:lnTo>
                  <a:lnTo>
                    <a:pt x="864" y="308"/>
                  </a:lnTo>
                  <a:close/>
                  <a:moveTo>
                    <a:pt x="1659" y="0"/>
                  </a:moveTo>
                  <a:lnTo>
                    <a:pt x="1659" y="90"/>
                  </a:lnTo>
                  <a:lnTo>
                    <a:pt x="1567" y="93"/>
                  </a:lnTo>
                  <a:lnTo>
                    <a:pt x="1476" y="101"/>
                  </a:lnTo>
                  <a:lnTo>
                    <a:pt x="1388" y="114"/>
                  </a:lnTo>
                  <a:lnTo>
                    <a:pt x="1300" y="132"/>
                  </a:lnTo>
                  <a:lnTo>
                    <a:pt x="1214" y="154"/>
                  </a:lnTo>
                  <a:lnTo>
                    <a:pt x="1130" y="182"/>
                  </a:lnTo>
                  <a:lnTo>
                    <a:pt x="1049" y="214"/>
                  </a:lnTo>
                  <a:lnTo>
                    <a:pt x="970" y="250"/>
                  </a:lnTo>
                  <a:lnTo>
                    <a:pt x="893" y="291"/>
                  </a:lnTo>
                  <a:lnTo>
                    <a:pt x="1050" y="563"/>
                  </a:lnTo>
                  <a:lnTo>
                    <a:pt x="1064" y="559"/>
                  </a:lnTo>
                  <a:lnTo>
                    <a:pt x="1077" y="558"/>
                  </a:lnTo>
                  <a:lnTo>
                    <a:pt x="1097" y="561"/>
                  </a:lnTo>
                  <a:lnTo>
                    <a:pt x="1116" y="569"/>
                  </a:lnTo>
                  <a:lnTo>
                    <a:pt x="1132" y="581"/>
                  </a:lnTo>
                  <a:lnTo>
                    <a:pt x="1144" y="597"/>
                  </a:lnTo>
                  <a:lnTo>
                    <a:pt x="1152" y="617"/>
                  </a:lnTo>
                  <a:lnTo>
                    <a:pt x="1155" y="638"/>
                  </a:lnTo>
                  <a:lnTo>
                    <a:pt x="1153" y="655"/>
                  </a:lnTo>
                  <a:lnTo>
                    <a:pt x="1148" y="671"/>
                  </a:lnTo>
                  <a:lnTo>
                    <a:pt x="1139" y="685"/>
                  </a:lnTo>
                  <a:lnTo>
                    <a:pt x="1128" y="697"/>
                  </a:lnTo>
                  <a:lnTo>
                    <a:pt x="1138" y="714"/>
                  </a:lnTo>
                  <a:lnTo>
                    <a:pt x="1206" y="680"/>
                  </a:lnTo>
                  <a:lnTo>
                    <a:pt x="1275" y="650"/>
                  </a:lnTo>
                  <a:lnTo>
                    <a:pt x="1348" y="626"/>
                  </a:lnTo>
                  <a:lnTo>
                    <a:pt x="1423" y="606"/>
                  </a:lnTo>
                  <a:lnTo>
                    <a:pt x="1500" y="591"/>
                  </a:lnTo>
                  <a:lnTo>
                    <a:pt x="1578" y="582"/>
                  </a:lnTo>
                  <a:lnTo>
                    <a:pt x="1659" y="579"/>
                  </a:lnTo>
                  <a:lnTo>
                    <a:pt x="1659" y="638"/>
                  </a:lnTo>
                  <a:lnTo>
                    <a:pt x="1583" y="641"/>
                  </a:lnTo>
                  <a:lnTo>
                    <a:pt x="1509" y="649"/>
                  </a:lnTo>
                  <a:lnTo>
                    <a:pt x="1437" y="663"/>
                  </a:lnTo>
                  <a:lnTo>
                    <a:pt x="1366" y="681"/>
                  </a:lnTo>
                  <a:lnTo>
                    <a:pt x="1298" y="704"/>
                  </a:lnTo>
                  <a:lnTo>
                    <a:pt x="1231" y="733"/>
                  </a:lnTo>
                  <a:lnTo>
                    <a:pt x="1168" y="765"/>
                  </a:lnTo>
                  <a:lnTo>
                    <a:pt x="1659" y="1616"/>
                  </a:lnTo>
                  <a:lnTo>
                    <a:pt x="1659" y="638"/>
                  </a:lnTo>
                  <a:lnTo>
                    <a:pt x="1662" y="638"/>
                  </a:lnTo>
                  <a:lnTo>
                    <a:pt x="1743" y="641"/>
                  </a:lnTo>
                  <a:lnTo>
                    <a:pt x="1820" y="650"/>
                  </a:lnTo>
                  <a:lnTo>
                    <a:pt x="1897" y="665"/>
                  </a:lnTo>
                  <a:lnTo>
                    <a:pt x="1972" y="685"/>
                  </a:lnTo>
                  <a:lnTo>
                    <a:pt x="2043" y="710"/>
                  </a:lnTo>
                  <a:lnTo>
                    <a:pt x="2113" y="742"/>
                  </a:lnTo>
                  <a:lnTo>
                    <a:pt x="2180" y="778"/>
                  </a:lnTo>
                  <a:lnTo>
                    <a:pt x="2243" y="818"/>
                  </a:lnTo>
                  <a:lnTo>
                    <a:pt x="2304" y="863"/>
                  </a:lnTo>
                  <a:lnTo>
                    <a:pt x="2360" y="912"/>
                  </a:lnTo>
                  <a:lnTo>
                    <a:pt x="2413" y="965"/>
                  </a:lnTo>
                  <a:lnTo>
                    <a:pt x="2462" y="1021"/>
                  </a:lnTo>
                  <a:lnTo>
                    <a:pt x="2507" y="1082"/>
                  </a:lnTo>
                  <a:lnTo>
                    <a:pt x="2547" y="1145"/>
                  </a:lnTo>
                  <a:lnTo>
                    <a:pt x="2583" y="1212"/>
                  </a:lnTo>
                  <a:lnTo>
                    <a:pt x="2615" y="1282"/>
                  </a:lnTo>
                  <a:lnTo>
                    <a:pt x="2640" y="1353"/>
                  </a:lnTo>
                  <a:lnTo>
                    <a:pt x="2660" y="1428"/>
                  </a:lnTo>
                  <a:lnTo>
                    <a:pt x="2675" y="1505"/>
                  </a:lnTo>
                  <a:lnTo>
                    <a:pt x="2684" y="1582"/>
                  </a:lnTo>
                  <a:lnTo>
                    <a:pt x="2687" y="1663"/>
                  </a:lnTo>
                  <a:lnTo>
                    <a:pt x="1748" y="1663"/>
                  </a:lnTo>
                  <a:lnTo>
                    <a:pt x="2571" y="2137"/>
                  </a:lnTo>
                  <a:lnTo>
                    <a:pt x="2600" y="2076"/>
                  </a:lnTo>
                  <a:lnTo>
                    <a:pt x="2627" y="2011"/>
                  </a:lnTo>
                  <a:lnTo>
                    <a:pt x="2648" y="1946"/>
                  </a:lnTo>
                  <a:lnTo>
                    <a:pt x="2665" y="1877"/>
                  </a:lnTo>
                  <a:lnTo>
                    <a:pt x="2677" y="1807"/>
                  </a:lnTo>
                  <a:lnTo>
                    <a:pt x="2685" y="1736"/>
                  </a:lnTo>
                  <a:lnTo>
                    <a:pt x="2687" y="1663"/>
                  </a:lnTo>
                  <a:lnTo>
                    <a:pt x="2746" y="1663"/>
                  </a:lnTo>
                  <a:lnTo>
                    <a:pt x="2743" y="1740"/>
                  </a:lnTo>
                  <a:lnTo>
                    <a:pt x="2735" y="1815"/>
                  </a:lnTo>
                  <a:lnTo>
                    <a:pt x="2722" y="1890"/>
                  </a:lnTo>
                  <a:lnTo>
                    <a:pt x="2703" y="1963"/>
                  </a:lnTo>
                  <a:lnTo>
                    <a:pt x="2681" y="2033"/>
                  </a:lnTo>
                  <a:lnTo>
                    <a:pt x="2653" y="2101"/>
                  </a:lnTo>
                  <a:lnTo>
                    <a:pt x="2622" y="2167"/>
                  </a:lnTo>
                  <a:lnTo>
                    <a:pt x="3045" y="2412"/>
                  </a:lnTo>
                  <a:lnTo>
                    <a:pt x="3089" y="2327"/>
                  </a:lnTo>
                  <a:lnTo>
                    <a:pt x="3126" y="2239"/>
                  </a:lnTo>
                  <a:lnTo>
                    <a:pt x="3158" y="2148"/>
                  </a:lnTo>
                  <a:lnTo>
                    <a:pt x="3186" y="2056"/>
                  </a:lnTo>
                  <a:lnTo>
                    <a:pt x="3207" y="1960"/>
                  </a:lnTo>
                  <a:lnTo>
                    <a:pt x="3223" y="1863"/>
                  </a:lnTo>
                  <a:lnTo>
                    <a:pt x="3232" y="1764"/>
                  </a:lnTo>
                  <a:lnTo>
                    <a:pt x="3235" y="1663"/>
                  </a:lnTo>
                  <a:lnTo>
                    <a:pt x="3325" y="1663"/>
                  </a:lnTo>
                  <a:lnTo>
                    <a:pt x="3322" y="1764"/>
                  </a:lnTo>
                  <a:lnTo>
                    <a:pt x="3313" y="1864"/>
                  </a:lnTo>
                  <a:lnTo>
                    <a:pt x="3298" y="1962"/>
                  </a:lnTo>
                  <a:lnTo>
                    <a:pt x="3278" y="2058"/>
                  </a:lnTo>
                  <a:lnTo>
                    <a:pt x="3251" y="2151"/>
                  </a:lnTo>
                  <a:lnTo>
                    <a:pt x="3221" y="2242"/>
                  </a:lnTo>
                  <a:lnTo>
                    <a:pt x="3185" y="2332"/>
                  </a:lnTo>
                  <a:lnTo>
                    <a:pt x="3143" y="2418"/>
                  </a:lnTo>
                  <a:lnTo>
                    <a:pt x="3098" y="2502"/>
                  </a:lnTo>
                  <a:lnTo>
                    <a:pt x="3047" y="2582"/>
                  </a:lnTo>
                  <a:lnTo>
                    <a:pt x="2993" y="2660"/>
                  </a:lnTo>
                  <a:lnTo>
                    <a:pt x="2933" y="2734"/>
                  </a:lnTo>
                  <a:lnTo>
                    <a:pt x="2871" y="2804"/>
                  </a:lnTo>
                  <a:lnTo>
                    <a:pt x="2804" y="2871"/>
                  </a:lnTo>
                  <a:lnTo>
                    <a:pt x="2734" y="2934"/>
                  </a:lnTo>
                  <a:lnTo>
                    <a:pt x="2659" y="2993"/>
                  </a:lnTo>
                  <a:lnTo>
                    <a:pt x="2582" y="3048"/>
                  </a:lnTo>
                  <a:lnTo>
                    <a:pt x="2502" y="3098"/>
                  </a:lnTo>
                  <a:lnTo>
                    <a:pt x="2418" y="3143"/>
                  </a:lnTo>
                  <a:lnTo>
                    <a:pt x="2331" y="3185"/>
                  </a:lnTo>
                  <a:lnTo>
                    <a:pt x="2242" y="3221"/>
                  </a:lnTo>
                  <a:lnTo>
                    <a:pt x="2150" y="3252"/>
                  </a:lnTo>
                  <a:lnTo>
                    <a:pt x="2058" y="3278"/>
                  </a:lnTo>
                  <a:lnTo>
                    <a:pt x="1961" y="3298"/>
                  </a:lnTo>
                  <a:lnTo>
                    <a:pt x="1863" y="3313"/>
                  </a:lnTo>
                  <a:lnTo>
                    <a:pt x="1764" y="3322"/>
                  </a:lnTo>
                  <a:lnTo>
                    <a:pt x="1662" y="3325"/>
                  </a:lnTo>
                  <a:lnTo>
                    <a:pt x="1561" y="3322"/>
                  </a:lnTo>
                  <a:lnTo>
                    <a:pt x="1461" y="3313"/>
                  </a:lnTo>
                  <a:lnTo>
                    <a:pt x="1363" y="3298"/>
                  </a:lnTo>
                  <a:lnTo>
                    <a:pt x="1267" y="3278"/>
                  </a:lnTo>
                  <a:lnTo>
                    <a:pt x="1174" y="3252"/>
                  </a:lnTo>
                  <a:lnTo>
                    <a:pt x="1083" y="3221"/>
                  </a:lnTo>
                  <a:lnTo>
                    <a:pt x="993" y="3185"/>
                  </a:lnTo>
                  <a:lnTo>
                    <a:pt x="907" y="3143"/>
                  </a:lnTo>
                  <a:lnTo>
                    <a:pt x="823" y="3098"/>
                  </a:lnTo>
                  <a:lnTo>
                    <a:pt x="743" y="3048"/>
                  </a:lnTo>
                  <a:lnTo>
                    <a:pt x="665" y="2993"/>
                  </a:lnTo>
                  <a:lnTo>
                    <a:pt x="591" y="2934"/>
                  </a:lnTo>
                  <a:lnTo>
                    <a:pt x="521" y="2871"/>
                  </a:lnTo>
                  <a:lnTo>
                    <a:pt x="454" y="2804"/>
                  </a:lnTo>
                  <a:lnTo>
                    <a:pt x="391" y="2734"/>
                  </a:lnTo>
                  <a:lnTo>
                    <a:pt x="332" y="2660"/>
                  </a:lnTo>
                  <a:lnTo>
                    <a:pt x="278" y="2582"/>
                  </a:lnTo>
                  <a:lnTo>
                    <a:pt x="227" y="2502"/>
                  </a:lnTo>
                  <a:lnTo>
                    <a:pt x="182" y="2418"/>
                  </a:lnTo>
                  <a:lnTo>
                    <a:pt x="140" y="2332"/>
                  </a:lnTo>
                  <a:lnTo>
                    <a:pt x="104" y="2242"/>
                  </a:lnTo>
                  <a:lnTo>
                    <a:pt x="73" y="2151"/>
                  </a:lnTo>
                  <a:lnTo>
                    <a:pt x="47" y="2058"/>
                  </a:lnTo>
                  <a:lnTo>
                    <a:pt x="27" y="1962"/>
                  </a:lnTo>
                  <a:lnTo>
                    <a:pt x="12" y="1864"/>
                  </a:lnTo>
                  <a:lnTo>
                    <a:pt x="3" y="1764"/>
                  </a:lnTo>
                  <a:lnTo>
                    <a:pt x="0" y="1663"/>
                  </a:lnTo>
                  <a:lnTo>
                    <a:pt x="3" y="1561"/>
                  </a:lnTo>
                  <a:lnTo>
                    <a:pt x="12" y="1462"/>
                  </a:lnTo>
                  <a:lnTo>
                    <a:pt x="26" y="1364"/>
                  </a:lnTo>
                  <a:lnTo>
                    <a:pt x="47" y="1268"/>
                  </a:lnTo>
                  <a:lnTo>
                    <a:pt x="73" y="1175"/>
                  </a:lnTo>
                  <a:lnTo>
                    <a:pt x="104" y="1084"/>
                  </a:lnTo>
                  <a:lnTo>
                    <a:pt x="140" y="994"/>
                  </a:lnTo>
                  <a:lnTo>
                    <a:pt x="181" y="908"/>
                  </a:lnTo>
                  <a:lnTo>
                    <a:pt x="226" y="824"/>
                  </a:lnTo>
                  <a:lnTo>
                    <a:pt x="276" y="744"/>
                  </a:lnTo>
                  <a:lnTo>
                    <a:pt x="331" y="667"/>
                  </a:lnTo>
                  <a:lnTo>
                    <a:pt x="390" y="592"/>
                  </a:lnTo>
                  <a:lnTo>
                    <a:pt x="453" y="523"/>
                  </a:lnTo>
                  <a:lnTo>
                    <a:pt x="520" y="455"/>
                  </a:lnTo>
                  <a:lnTo>
                    <a:pt x="590" y="393"/>
                  </a:lnTo>
                  <a:lnTo>
                    <a:pt x="664" y="334"/>
                  </a:lnTo>
                  <a:lnTo>
                    <a:pt x="741" y="279"/>
                  </a:lnTo>
                  <a:lnTo>
                    <a:pt x="821" y="228"/>
                  </a:lnTo>
                  <a:lnTo>
                    <a:pt x="905" y="183"/>
                  </a:lnTo>
                  <a:lnTo>
                    <a:pt x="991" y="141"/>
                  </a:lnTo>
                  <a:lnTo>
                    <a:pt x="1080" y="105"/>
                  </a:lnTo>
                  <a:lnTo>
                    <a:pt x="1172" y="74"/>
                  </a:lnTo>
                  <a:lnTo>
                    <a:pt x="1264" y="48"/>
                  </a:lnTo>
                  <a:lnTo>
                    <a:pt x="1360" y="27"/>
                  </a:lnTo>
                  <a:lnTo>
                    <a:pt x="1458" y="13"/>
                  </a:lnTo>
                  <a:lnTo>
                    <a:pt x="1558" y="4"/>
                  </a:lnTo>
                  <a:lnTo>
                    <a:pt x="1659" y="0"/>
                  </a:lnTo>
                  <a:close/>
                </a:path>
              </a:pathLst>
            </a:custGeom>
            <a:solidFill>
              <a:schemeClr val="bg2"/>
            </a:solidFill>
            <a:ln w="0">
              <a:noFill/>
              <a:prstDash val="solid"/>
              <a:round/>
              <a:headEnd/>
              <a:tailEnd/>
            </a:ln>
          </p:spPr>
          <p:txBody>
            <a:bodyPr lIns="68541" tIns="34271" rIns="68541" bIns="34271"/>
            <a:lstStyle/>
            <a:p>
              <a:pPr algn="ctr" defTabSz="685554">
                <a:defRPr/>
              </a:pPr>
              <a:endParaRPr lang="en-US" sz="1125" kern="0">
                <a:solidFill>
                  <a:srgbClr val="FF0000"/>
                </a:solidFill>
                <a:ea typeface="ＭＳ Ｐゴシック" charset="0"/>
              </a:endParaRPr>
            </a:p>
          </p:txBody>
        </p:sp>
        <p:sp>
          <p:nvSpPr>
            <p:cNvPr id="8" name="Freeform 370"/>
            <p:cNvSpPr>
              <a:spLocks/>
            </p:cNvSpPr>
            <p:nvPr/>
          </p:nvSpPr>
          <p:spPr bwMode="auto">
            <a:xfrm flipH="1">
              <a:off x="6516242" y="1297695"/>
              <a:ext cx="307975" cy="158761"/>
            </a:xfrm>
            <a:custGeom>
              <a:avLst/>
              <a:gdLst>
                <a:gd name="T0" fmla="*/ 393 w 2374"/>
                <a:gd name="T1" fmla="*/ 810 h 1226"/>
                <a:gd name="T2" fmla="*/ 443 w 2374"/>
                <a:gd name="T3" fmla="*/ 707 h 1226"/>
                <a:gd name="T4" fmla="*/ 504 w 2374"/>
                <a:gd name="T5" fmla="*/ 611 h 1226"/>
                <a:gd name="T6" fmla="*/ 574 w 2374"/>
                <a:gd name="T7" fmla="*/ 522 h 1226"/>
                <a:gd name="T8" fmla="*/ 653 w 2374"/>
                <a:gd name="T9" fmla="*/ 445 h 1226"/>
                <a:gd name="T10" fmla="*/ 739 w 2374"/>
                <a:gd name="T11" fmla="*/ 375 h 1226"/>
                <a:gd name="T12" fmla="*/ 832 w 2374"/>
                <a:gd name="T13" fmla="*/ 316 h 1226"/>
                <a:gd name="T14" fmla="*/ 931 w 2374"/>
                <a:gd name="T15" fmla="*/ 265 h 1226"/>
                <a:gd name="T16" fmla="*/ 1036 w 2374"/>
                <a:gd name="T17" fmla="*/ 228 h 1226"/>
                <a:gd name="T18" fmla="*/ 1146 w 2374"/>
                <a:gd name="T19" fmla="*/ 201 h 1226"/>
                <a:gd name="T20" fmla="*/ 1257 w 2374"/>
                <a:gd name="T21" fmla="*/ 186 h 1226"/>
                <a:gd name="T22" fmla="*/ 1335 w 2374"/>
                <a:gd name="T23" fmla="*/ 183 h 1226"/>
                <a:gd name="T24" fmla="*/ 1434 w 2374"/>
                <a:gd name="T25" fmla="*/ 188 h 1226"/>
                <a:gd name="T26" fmla="*/ 1531 w 2374"/>
                <a:gd name="T27" fmla="*/ 202 h 1226"/>
                <a:gd name="T28" fmla="*/ 1624 w 2374"/>
                <a:gd name="T29" fmla="*/ 225 h 1226"/>
                <a:gd name="T30" fmla="*/ 1715 w 2374"/>
                <a:gd name="T31" fmla="*/ 256 h 1226"/>
                <a:gd name="T32" fmla="*/ 1802 w 2374"/>
                <a:gd name="T33" fmla="*/ 296 h 1226"/>
                <a:gd name="T34" fmla="*/ 1884 w 2374"/>
                <a:gd name="T35" fmla="*/ 343 h 1226"/>
                <a:gd name="T36" fmla="*/ 1964 w 2374"/>
                <a:gd name="T37" fmla="*/ 400 h 1226"/>
                <a:gd name="T38" fmla="*/ 2036 w 2374"/>
                <a:gd name="T39" fmla="*/ 461 h 1226"/>
                <a:gd name="T40" fmla="*/ 2103 w 2374"/>
                <a:gd name="T41" fmla="*/ 531 h 1226"/>
                <a:gd name="T42" fmla="*/ 2162 w 2374"/>
                <a:gd name="T43" fmla="*/ 607 h 1226"/>
                <a:gd name="T44" fmla="*/ 2374 w 2374"/>
                <a:gd name="T45" fmla="*/ 598 h 1226"/>
                <a:gd name="T46" fmla="*/ 2301 w 2374"/>
                <a:gd name="T47" fmla="*/ 489 h 1226"/>
                <a:gd name="T48" fmla="*/ 2171 w 2374"/>
                <a:gd name="T49" fmla="*/ 340 h 1226"/>
                <a:gd name="T50" fmla="*/ 2017 w 2374"/>
                <a:gd name="T51" fmla="*/ 214 h 1226"/>
                <a:gd name="T52" fmla="*/ 1941 w 2374"/>
                <a:gd name="T53" fmla="*/ 164 h 1226"/>
                <a:gd name="T54" fmla="*/ 1820 w 2374"/>
                <a:gd name="T55" fmla="*/ 102 h 1226"/>
                <a:gd name="T56" fmla="*/ 1692 w 2374"/>
                <a:gd name="T57" fmla="*/ 55 h 1226"/>
                <a:gd name="T58" fmla="*/ 1561 w 2374"/>
                <a:gd name="T59" fmla="*/ 23 h 1226"/>
                <a:gd name="T60" fmla="*/ 1427 w 2374"/>
                <a:gd name="T61" fmla="*/ 4 h 1226"/>
                <a:gd name="T62" fmla="*/ 1335 w 2374"/>
                <a:gd name="T63" fmla="*/ 0 h 1226"/>
                <a:gd name="T64" fmla="*/ 1181 w 2374"/>
                <a:gd name="T65" fmla="*/ 10 h 1226"/>
                <a:gd name="T66" fmla="*/ 1034 w 2374"/>
                <a:gd name="T67" fmla="*/ 39 h 1226"/>
                <a:gd name="T68" fmla="*/ 892 w 2374"/>
                <a:gd name="T69" fmla="*/ 84 h 1226"/>
                <a:gd name="T70" fmla="*/ 756 w 2374"/>
                <a:gd name="T71" fmla="*/ 149 h 1226"/>
                <a:gd name="T72" fmla="*/ 627 w 2374"/>
                <a:gd name="T73" fmla="*/ 230 h 1226"/>
                <a:gd name="T74" fmla="*/ 550 w 2374"/>
                <a:gd name="T75" fmla="*/ 293 h 1226"/>
                <a:gd name="T76" fmla="*/ 443 w 2374"/>
                <a:gd name="T77" fmla="*/ 398 h 1226"/>
                <a:gd name="T78" fmla="*/ 351 w 2374"/>
                <a:gd name="T79" fmla="*/ 514 h 1226"/>
                <a:gd name="T80" fmla="*/ 273 w 2374"/>
                <a:gd name="T81" fmla="*/ 640 h 1226"/>
                <a:gd name="T82" fmla="*/ 212 w 2374"/>
                <a:gd name="T83" fmla="*/ 775 h 1226"/>
                <a:gd name="T84" fmla="*/ 166 w 2374"/>
                <a:gd name="T85" fmla="*/ 917 h 1226"/>
                <a:gd name="T86" fmla="*/ 234 w 2374"/>
                <a:gd name="T87" fmla="*/ 1226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74" h="1226">
                  <a:moveTo>
                    <a:pt x="330" y="962"/>
                  </a:moveTo>
                  <a:lnTo>
                    <a:pt x="393" y="810"/>
                  </a:lnTo>
                  <a:lnTo>
                    <a:pt x="393" y="810"/>
                  </a:lnTo>
                  <a:lnTo>
                    <a:pt x="409" y="775"/>
                  </a:lnTo>
                  <a:lnTo>
                    <a:pt x="425" y="741"/>
                  </a:lnTo>
                  <a:lnTo>
                    <a:pt x="443" y="707"/>
                  </a:lnTo>
                  <a:lnTo>
                    <a:pt x="462" y="673"/>
                  </a:lnTo>
                  <a:lnTo>
                    <a:pt x="483" y="642"/>
                  </a:lnTo>
                  <a:lnTo>
                    <a:pt x="504" y="611"/>
                  </a:lnTo>
                  <a:lnTo>
                    <a:pt x="527" y="581"/>
                  </a:lnTo>
                  <a:lnTo>
                    <a:pt x="550" y="552"/>
                  </a:lnTo>
                  <a:lnTo>
                    <a:pt x="574" y="522"/>
                  </a:lnTo>
                  <a:lnTo>
                    <a:pt x="600" y="495"/>
                  </a:lnTo>
                  <a:lnTo>
                    <a:pt x="625" y="469"/>
                  </a:lnTo>
                  <a:lnTo>
                    <a:pt x="653" y="445"/>
                  </a:lnTo>
                  <a:lnTo>
                    <a:pt x="680" y="421"/>
                  </a:lnTo>
                  <a:lnTo>
                    <a:pt x="710" y="396"/>
                  </a:lnTo>
                  <a:lnTo>
                    <a:pt x="739" y="375"/>
                  </a:lnTo>
                  <a:lnTo>
                    <a:pt x="769" y="354"/>
                  </a:lnTo>
                  <a:lnTo>
                    <a:pt x="800" y="333"/>
                  </a:lnTo>
                  <a:lnTo>
                    <a:pt x="832" y="316"/>
                  </a:lnTo>
                  <a:lnTo>
                    <a:pt x="865" y="298"/>
                  </a:lnTo>
                  <a:lnTo>
                    <a:pt x="897" y="282"/>
                  </a:lnTo>
                  <a:lnTo>
                    <a:pt x="931" y="265"/>
                  </a:lnTo>
                  <a:lnTo>
                    <a:pt x="965" y="253"/>
                  </a:lnTo>
                  <a:lnTo>
                    <a:pt x="1000" y="240"/>
                  </a:lnTo>
                  <a:lnTo>
                    <a:pt x="1036" y="228"/>
                  </a:lnTo>
                  <a:lnTo>
                    <a:pt x="1072" y="217"/>
                  </a:lnTo>
                  <a:lnTo>
                    <a:pt x="1109" y="209"/>
                  </a:lnTo>
                  <a:lnTo>
                    <a:pt x="1146" y="201"/>
                  </a:lnTo>
                  <a:lnTo>
                    <a:pt x="1183" y="194"/>
                  </a:lnTo>
                  <a:lnTo>
                    <a:pt x="1220" y="189"/>
                  </a:lnTo>
                  <a:lnTo>
                    <a:pt x="1257" y="186"/>
                  </a:lnTo>
                  <a:lnTo>
                    <a:pt x="1296" y="185"/>
                  </a:lnTo>
                  <a:lnTo>
                    <a:pt x="1335" y="183"/>
                  </a:lnTo>
                  <a:lnTo>
                    <a:pt x="1335" y="183"/>
                  </a:lnTo>
                  <a:lnTo>
                    <a:pt x="1367" y="183"/>
                  </a:lnTo>
                  <a:lnTo>
                    <a:pt x="1401" y="185"/>
                  </a:lnTo>
                  <a:lnTo>
                    <a:pt x="1434" y="188"/>
                  </a:lnTo>
                  <a:lnTo>
                    <a:pt x="1466" y="191"/>
                  </a:lnTo>
                  <a:lnTo>
                    <a:pt x="1498" y="196"/>
                  </a:lnTo>
                  <a:lnTo>
                    <a:pt x="1531" y="202"/>
                  </a:lnTo>
                  <a:lnTo>
                    <a:pt x="1561" y="209"/>
                  </a:lnTo>
                  <a:lnTo>
                    <a:pt x="1594" y="215"/>
                  </a:lnTo>
                  <a:lnTo>
                    <a:pt x="1624" y="225"/>
                  </a:lnTo>
                  <a:lnTo>
                    <a:pt x="1655" y="235"/>
                  </a:lnTo>
                  <a:lnTo>
                    <a:pt x="1686" y="244"/>
                  </a:lnTo>
                  <a:lnTo>
                    <a:pt x="1715" y="256"/>
                  </a:lnTo>
                  <a:lnTo>
                    <a:pt x="1744" y="269"/>
                  </a:lnTo>
                  <a:lnTo>
                    <a:pt x="1773" y="282"/>
                  </a:lnTo>
                  <a:lnTo>
                    <a:pt x="1802" y="296"/>
                  </a:lnTo>
                  <a:lnTo>
                    <a:pt x="1831" y="311"/>
                  </a:lnTo>
                  <a:lnTo>
                    <a:pt x="1859" y="327"/>
                  </a:lnTo>
                  <a:lnTo>
                    <a:pt x="1884" y="343"/>
                  </a:lnTo>
                  <a:lnTo>
                    <a:pt x="1912" y="361"/>
                  </a:lnTo>
                  <a:lnTo>
                    <a:pt x="1938" y="380"/>
                  </a:lnTo>
                  <a:lnTo>
                    <a:pt x="1964" y="400"/>
                  </a:lnTo>
                  <a:lnTo>
                    <a:pt x="1988" y="419"/>
                  </a:lnTo>
                  <a:lnTo>
                    <a:pt x="2012" y="440"/>
                  </a:lnTo>
                  <a:lnTo>
                    <a:pt x="2036" y="461"/>
                  </a:lnTo>
                  <a:lnTo>
                    <a:pt x="2059" y="484"/>
                  </a:lnTo>
                  <a:lnTo>
                    <a:pt x="2082" y="506"/>
                  </a:lnTo>
                  <a:lnTo>
                    <a:pt x="2103" y="531"/>
                  </a:lnTo>
                  <a:lnTo>
                    <a:pt x="2124" y="556"/>
                  </a:lnTo>
                  <a:lnTo>
                    <a:pt x="2143" y="581"/>
                  </a:lnTo>
                  <a:lnTo>
                    <a:pt x="2162" y="607"/>
                  </a:lnTo>
                  <a:lnTo>
                    <a:pt x="2182" y="634"/>
                  </a:lnTo>
                  <a:lnTo>
                    <a:pt x="2200" y="661"/>
                  </a:lnTo>
                  <a:lnTo>
                    <a:pt x="2374" y="598"/>
                  </a:lnTo>
                  <a:lnTo>
                    <a:pt x="2374" y="598"/>
                  </a:lnTo>
                  <a:lnTo>
                    <a:pt x="2340" y="543"/>
                  </a:lnTo>
                  <a:lnTo>
                    <a:pt x="2301" y="489"/>
                  </a:lnTo>
                  <a:lnTo>
                    <a:pt x="2261" y="437"/>
                  </a:lnTo>
                  <a:lnTo>
                    <a:pt x="2217" y="387"/>
                  </a:lnTo>
                  <a:lnTo>
                    <a:pt x="2171" y="340"/>
                  </a:lnTo>
                  <a:lnTo>
                    <a:pt x="2122" y="295"/>
                  </a:lnTo>
                  <a:lnTo>
                    <a:pt x="2070" y="253"/>
                  </a:lnTo>
                  <a:lnTo>
                    <a:pt x="2017" y="214"/>
                  </a:lnTo>
                  <a:lnTo>
                    <a:pt x="2017" y="214"/>
                  </a:lnTo>
                  <a:lnTo>
                    <a:pt x="1980" y="188"/>
                  </a:lnTo>
                  <a:lnTo>
                    <a:pt x="1941" y="164"/>
                  </a:lnTo>
                  <a:lnTo>
                    <a:pt x="1901" y="143"/>
                  </a:lnTo>
                  <a:lnTo>
                    <a:pt x="1860" y="122"/>
                  </a:lnTo>
                  <a:lnTo>
                    <a:pt x="1820" y="102"/>
                  </a:lnTo>
                  <a:lnTo>
                    <a:pt x="1778" y="84"/>
                  </a:lnTo>
                  <a:lnTo>
                    <a:pt x="1736" y="70"/>
                  </a:lnTo>
                  <a:lnTo>
                    <a:pt x="1692" y="55"/>
                  </a:lnTo>
                  <a:lnTo>
                    <a:pt x="1650" y="42"/>
                  </a:lnTo>
                  <a:lnTo>
                    <a:pt x="1605" y="31"/>
                  </a:lnTo>
                  <a:lnTo>
                    <a:pt x="1561" y="23"/>
                  </a:lnTo>
                  <a:lnTo>
                    <a:pt x="1516" y="15"/>
                  </a:lnTo>
                  <a:lnTo>
                    <a:pt x="1472" y="8"/>
                  </a:lnTo>
                  <a:lnTo>
                    <a:pt x="1427" y="4"/>
                  </a:lnTo>
                  <a:lnTo>
                    <a:pt x="1380" y="2"/>
                  </a:lnTo>
                  <a:lnTo>
                    <a:pt x="1335" y="0"/>
                  </a:lnTo>
                  <a:lnTo>
                    <a:pt x="1335" y="0"/>
                  </a:lnTo>
                  <a:lnTo>
                    <a:pt x="1283" y="2"/>
                  </a:lnTo>
                  <a:lnTo>
                    <a:pt x="1233" y="5"/>
                  </a:lnTo>
                  <a:lnTo>
                    <a:pt x="1181" y="10"/>
                  </a:lnTo>
                  <a:lnTo>
                    <a:pt x="1133" y="18"/>
                  </a:lnTo>
                  <a:lnTo>
                    <a:pt x="1083" y="28"/>
                  </a:lnTo>
                  <a:lnTo>
                    <a:pt x="1034" y="39"/>
                  </a:lnTo>
                  <a:lnTo>
                    <a:pt x="986" y="52"/>
                  </a:lnTo>
                  <a:lnTo>
                    <a:pt x="939" y="67"/>
                  </a:lnTo>
                  <a:lnTo>
                    <a:pt x="892" y="84"/>
                  </a:lnTo>
                  <a:lnTo>
                    <a:pt x="845" y="104"/>
                  </a:lnTo>
                  <a:lnTo>
                    <a:pt x="800" y="125"/>
                  </a:lnTo>
                  <a:lnTo>
                    <a:pt x="756" y="149"/>
                  </a:lnTo>
                  <a:lnTo>
                    <a:pt x="713" y="175"/>
                  </a:lnTo>
                  <a:lnTo>
                    <a:pt x="669" y="201"/>
                  </a:lnTo>
                  <a:lnTo>
                    <a:pt x="627" y="230"/>
                  </a:lnTo>
                  <a:lnTo>
                    <a:pt x="587" y="262"/>
                  </a:lnTo>
                  <a:lnTo>
                    <a:pt x="587" y="262"/>
                  </a:lnTo>
                  <a:lnTo>
                    <a:pt x="550" y="293"/>
                  </a:lnTo>
                  <a:lnTo>
                    <a:pt x="512" y="327"/>
                  </a:lnTo>
                  <a:lnTo>
                    <a:pt x="477" y="361"/>
                  </a:lnTo>
                  <a:lnTo>
                    <a:pt x="443" y="398"/>
                  </a:lnTo>
                  <a:lnTo>
                    <a:pt x="411" y="435"/>
                  </a:lnTo>
                  <a:lnTo>
                    <a:pt x="380" y="474"/>
                  </a:lnTo>
                  <a:lnTo>
                    <a:pt x="351" y="514"/>
                  </a:lnTo>
                  <a:lnTo>
                    <a:pt x="323" y="555"/>
                  </a:lnTo>
                  <a:lnTo>
                    <a:pt x="297" y="597"/>
                  </a:lnTo>
                  <a:lnTo>
                    <a:pt x="273" y="640"/>
                  </a:lnTo>
                  <a:lnTo>
                    <a:pt x="251" y="684"/>
                  </a:lnTo>
                  <a:lnTo>
                    <a:pt x="229" y="729"/>
                  </a:lnTo>
                  <a:lnTo>
                    <a:pt x="212" y="775"/>
                  </a:lnTo>
                  <a:lnTo>
                    <a:pt x="194" y="822"/>
                  </a:lnTo>
                  <a:lnTo>
                    <a:pt x="179" y="868"/>
                  </a:lnTo>
                  <a:lnTo>
                    <a:pt x="166" y="917"/>
                  </a:lnTo>
                  <a:lnTo>
                    <a:pt x="155" y="962"/>
                  </a:lnTo>
                  <a:lnTo>
                    <a:pt x="0" y="962"/>
                  </a:lnTo>
                  <a:lnTo>
                    <a:pt x="234" y="1226"/>
                  </a:lnTo>
                  <a:lnTo>
                    <a:pt x="470" y="962"/>
                  </a:lnTo>
                  <a:lnTo>
                    <a:pt x="330" y="962"/>
                  </a:lnTo>
                  <a:close/>
                </a:path>
              </a:pathLst>
            </a:custGeom>
            <a:solidFill>
              <a:schemeClr val="bg2"/>
            </a:solidFill>
            <a:ln>
              <a:noFill/>
            </a:ln>
            <a:extLst/>
          </p:spPr>
          <p:txBody>
            <a:bodyPr lIns="68559" tIns="34280" rIns="68559" bIns="34280"/>
            <a:lstStyle/>
            <a:p>
              <a:pPr defTabSz="685554">
                <a:defRPr/>
              </a:pPr>
              <a:r>
                <a:rPr lang="en-US" sz="825" kern="0" dirty="0">
                  <a:solidFill>
                    <a:srgbClr val="FFFFFF"/>
                  </a:solidFill>
                  <a:ea typeface="Times New Roman"/>
                  <a:cs typeface="Times New Roman"/>
                </a:rPr>
                <a:t> </a:t>
              </a:r>
            </a:p>
          </p:txBody>
        </p:sp>
        <p:sp>
          <p:nvSpPr>
            <p:cNvPr id="9" name="Freeform 371"/>
            <p:cNvSpPr>
              <a:spLocks/>
            </p:cNvSpPr>
            <p:nvPr/>
          </p:nvSpPr>
          <p:spPr bwMode="auto">
            <a:xfrm flipH="1">
              <a:off x="6481317" y="1462806"/>
              <a:ext cx="312738" cy="171461"/>
            </a:xfrm>
            <a:custGeom>
              <a:avLst/>
              <a:gdLst>
                <a:gd name="T0" fmla="*/ 1943 w 2413"/>
                <a:gd name="T1" fmla="*/ 264 h 1327"/>
                <a:gd name="T2" fmla="*/ 2027 w 2413"/>
                <a:gd name="T3" fmla="*/ 464 h 1327"/>
                <a:gd name="T4" fmla="*/ 1980 w 2413"/>
                <a:gd name="T5" fmla="*/ 576 h 1327"/>
                <a:gd name="T6" fmla="*/ 1922 w 2413"/>
                <a:gd name="T7" fmla="*/ 677 h 1327"/>
                <a:gd name="T8" fmla="*/ 1852 w 2413"/>
                <a:gd name="T9" fmla="*/ 773 h 1327"/>
                <a:gd name="T10" fmla="*/ 1773 w 2413"/>
                <a:gd name="T11" fmla="*/ 858 h 1327"/>
                <a:gd name="T12" fmla="*/ 1684 w 2413"/>
                <a:gd name="T13" fmla="*/ 934 h 1327"/>
                <a:gd name="T14" fmla="*/ 1589 w 2413"/>
                <a:gd name="T15" fmla="*/ 999 h 1327"/>
                <a:gd name="T16" fmla="*/ 1485 w 2413"/>
                <a:gd name="T17" fmla="*/ 1052 h 1327"/>
                <a:gd name="T18" fmla="*/ 1377 w 2413"/>
                <a:gd name="T19" fmla="*/ 1094 h 1327"/>
                <a:gd name="T20" fmla="*/ 1262 w 2413"/>
                <a:gd name="T21" fmla="*/ 1125 h 1327"/>
                <a:gd name="T22" fmla="*/ 1146 w 2413"/>
                <a:gd name="T23" fmla="*/ 1141 h 1327"/>
                <a:gd name="T24" fmla="*/ 1065 w 2413"/>
                <a:gd name="T25" fmla="*/ 1145 h 1327"/>
                <a:gd name="T26" fmla="*/ 962 w 2413"/>
                <a:gd name="T27" fmla="*/ 1140 h 1327"/>
                <a:gd name="T28" fmla="*/ 860 w 2413"/>
                <a:gd name="T29" fmla="*/ 1124 h 1327"/>
                <a:gd name="T30" fmla="*/ 761 w 2413"/>
                <a:gd name="T31" fmla="*/ 1098 h 1327"/>
                <a:gd name="T32" fmla="*/ 667 w 2413"/>
                <a:gd name="T33" fmla="*/ 1064 h 1327"/>
                <a:gd name="T34" fmla="*/ 577 w 2413"/>
                <a:gd name="T35" fmla="*/ 1019 h 1327"/>
                <a:gd name="T36" fmla="*/ 491 w 2413"/>
                <a:gd name="T37" fmla="*/ 967 h 1327"/>
                <a:gd name="T38" fmla="*/ 410 w 2413"/>
                <a:gd name="T39" fmla="*/ 905 h 1327"/>
                <a:gd name="T40" fmla="*/ 336 w 2413"/>
                <a:gd name="T41" fmla="*/ 837 h 1327"/>
                <a:gd name="T42" fmla="*/ 268 w 2413"/>
                <a:gd name="T43" fmla="*/ 761 h 1327"/>
                <a:gd name="T44" fmla="*/ 208 w 2413"/>
                <a:gd name="T45" fmla="*/ 679 h 1327"/>
                <a:gd name="T46" fmla="*/ 0 w 2413"/>
                <a:gd name="T47" fmla="*/ 682 h 1327"/>
                <a:gd name="T48" fmla="*/ 37 w 2413"/>
                <a:gd name="T49" fmla="*/ 749 h 1327"/>
                <a:gd name="T50" fmla="*/ 100 w 2413"/>
                <a:gd name="T51" fmla="*/ 842 h 1327"/>
                <a:gd name="T52" fmla="*/ 173 w 2413"/>
                <a:gd name="T53" fmla="*/ 930 h 1327"/>
                <a:gd name="T54" fmla="*/ 252 w 2413"/>
                <a:gd name="T55" fmla="*/ 1010 h 1327"/>
                <a:gd name="T56" fmla="*/ 339 w 2413"/>
                <a:gd name="T57" fmla="*/ 1083 h 1327"/>
                <a:gd name="T58" fmla="*/ 402 w 2413"/>
                <a:gd name="T59" fmla="*/ 1127 h 1327"/>
                <a:gd name="T60" fmla="*/ 515 w 2413"/>
                <a:gd name="T61" fmla="*/ 1193 h 1327"/>
                <a:gd name="T62" fmla="*/ 637 w 2413"/>
                <a:gd name="T63" fmla="*/ 1248 h 1327"/>
                <a:gd name="T64" fmla="*/ 761 w 2413"/>
                <a:gd name="T65" fmla="*/ 1287 h 1327"/>
                <a:gd name="T66" fmla="*/ 889 w 2413"/>
                <a:gd name="T67" fmla="*/ 1314 h 1327"/>
                <a:gd name="T68" fmla="*/ 1021 w 2413"/>
                <a:gd name="T69" fmla="*/ 1326 h 1327"/>
                <a:gd name="T70" fmla="*/ 1117 w 2413"/>
                <a:gd name="T71" fmla="*/ 1326 h 1327"/>
                <a:gd name="T72" fmla="*/ 1270 w 2413"/>
                <a:gd name="T73" fmla="*/ 1308 h 1327"/>
                <a:gd name="T74" fmla="*/ 1421 w 2413"/>
                <a:gd name="T75" fmla="*/ 1272 h 1327"/>
                <a:gd name="T76" fmla="*/ 1564 w 2413"/>
                <a:gd name="T77" fmla="*/ 1217 h 1327"/>
                <a:gd name="T78" fmla="*/ 1702 w 2413"/>
                <a:gd name="T79" fmla="*/ 1145 h 1327"/>
                <a:gd name="T80" fmla="*/ 1828 w 2413"/>
                <a:gd name="T81" fmla="*/ 1054 h 1327"/>
                <a:gd name="T82" fmla="*/ 1904 w 2413"/>
                <a:gd name="T83" fmla="*/ 986 h 1327"/>
                <a:gd name="T84" fmla="*/ 2006 w 2413"/>
                <a:gd name="T85" fmla="*/ 873 h 1327"/>
                <a:gd name="T86" fmla="*/ 2093 w 2413"/>
                <a:gd name="T87" fmla="*/ 747 h 1327"/>
                <a:gd name="T88" fmla="*/ 2164 w 2413"/>
                <a:gd name="T89" fmla="*/ 613 h 1327"/>
                <a:gd name="T90" fmla="*/ 2216 w 2413"/>
                <a:gd name="T91" fmla="*/ 471 h 1327"/>
                <a:gd name="T92" fmla="*/ 2264 w 2413"/>
                <a:gd name="T93" fmla="*/ 264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13" h="1327">
                  <a:moveTo>
                    <a:pt x="2413" y="264"/>
                  </a:moveTo>
                  <a:lnTo>
                    <a:pt x="2177" y="0"/>
                  </a:lnTo>
                  <a:lnTo>
                    <a:pt x="1943" y="264"/>
                  </a:lnTo>
                  <a:lnTo>
                    <a:pt x="2098" y="264"/>
                  </a:lnTo>
                  <a:lnTo>
                    <a:pt x="2027" y="464"/>
                  </a:lnTo>
                  <a:lnTo>
                    <a:pt x="2027" y="464"/>
                  </a:lnTo>
                  <a:lnTo>
                    <a:pt x="2012" y="503"/>
                  </a:lnTo>
                  <a:lnTo>
                    <a:pt x="1998" y="538"/>
                  </a:lnTo>
                  <a:lnTo>
                    <a:pt x="1980" y="576"/>
                  </a:lnTo>
                  <a:lnTo>
                    <a:pt x="1962" y="611"/>
                  </a:lnTo>
                  <a:lnTo>
                    <a:pt x="1943" y="645"/>
                  </a:lnTo>
                  <a:lnTo>
                    <a:pt x="1922" y="677"/>
                  </a:lnTo>
                  <a:lnTo>
                    <a:pt x="1899" y="711"/>
                  </a:lnTo>
                  <a:lnTo>
                    <a:pt x="1876" y="742"/>
                  </a:lnTo>
                  <a:lnTo>
                    <a:pt x="1852" y="773"/>
                  </a:lnTo>
                  <a:lnTo>
                    <a:pt x="1826" y="802"/>
                  </a:lnTo>
                  <a:lnTo>
                    <a:pt x="1800" y="831"/>
                  </a:lnTo>
                  <a:lnTo>
                    <a:pt x="1773" y="858"/>
                  </a:lnTo>
                  <a:lnTo>
                    <a:pt x="1744" y="884"/>
                  </a:lnTo>
                  <a:lnTo>
                    <a:pt x="1715" y="910"/>
                  </a:lnTo>
                  <a:lnTo>
                    <a:pt x="1684" y="934"/>
                  </a:lnTo>
                  <a:lnTo>
                    <a:pt x="1653" y="957"/>
                  </a:lnTo>
                  <a:lnTo>
                    <a:pt x="1621" y="978"/>
                  </a:lnTo>
                  <a:lnTo>
                    <a:pt x="1589" y="999"/>
                  </a:lnTo>
                  <a:lnTo>
                    <a:pt x="1555" y="1019"/>
                  </a:lnTo>
                  <a:lnTo>
                    <a:pt x="1521" y="1036"/>
                  </a:lnTo>
                  <a:lnTo>
                    <a:pt x="1485" y="1052"/>
                  </a:lnTo>
                  <a:lnTo>
                    <a:pt x="1450" y="1069"/>
                  </a:lnTo>
                  <a:lnTo>
                    <a:pt x="1414" y="1083"/>
                  </a:lnTo>
                  <a:lnTo>
                    <a:pt x="1377" y="1094"/>
                  </a:lnTo>
                  <a:lnTo>
                    <a:pt x="1340" y="1106"/>
                  </a:lnTo>
                  <a:lnTo>
                    <a:pt x="1301" y="1117"/>
                  </a:lnTo>
                  <a:lnTo>
                    <a:pt x="1262" y="1125"/>
                  </a:lnTo>
                  <a:lnTo>
                    <a:pt x="1223" y="1132"/>
                  </a:lnTo>
                  <a:lnTo>
                    <a:pt x="1185" y="1137"/>
                  </a:lnTo>
                  <a:lnTo>
                    <a:pt x="1146" y="1141"/>
                  </a:lnTo>
                  <a:lnTo>
                    <a:pt x="1105" y="1143"/>
                  </a:lnTo>
                  <a:lnTo>
                    <a:pt x="1065" y="1145"/>
                  </a:lnTo>
                  <a:lnTo>
                    <a:pt x="1065" y="1145"/>
                  </a:lnTo>
                  <a:lnTo>
                    <a:pt x="1029" y="1143"/>
                  </a:lnTo>
                  <a:lnTo>
                    <a:pt x="995" y="1141"/>
                  </a:lnTo>
                  <a:lnTo>
                    <a:pt x="962" y="1140"/>
                  </a:lnTo>
                  <a:lnTo>
                    <a:pt x="928" y="1135"/>
                  </a:lnTo>
                  <a:lnTo>
                    <a:pt x="894" y="1130"/>
                  </a:lnTo>
                  <a:lnTo>
                    <a:pt x="860" y="1124"/>
                  </a:lnTo>
                  <a:lnTo>
                    <a:pt x="827" y="1115"/>
                  </a:lnTo>
                  <a:lnTo>
                    <a:pt x="793" y="1107"/>
                  </a:lnTo>
                  <a:lnTo>
                    <a:pt x="761" y="1098"/>
                  </a:lnTo>
                  <a:lnTo>
                    <a:pt x="730" y="1088"/>
                  </a:lnTo>
                  <a:lnTo>
                    <a:pt x="698" y="1075"/>
                  </a:lnTo>
                  <a:lnTo>
                    <a:pt x="667" y="1064"/>
                  </a:lnTo>
                  <a:lnTo>
                    <a:pt x="637" y="1049"/>
                  </a:lnTo>
                  <a:lnTo>
                    <a:pt x="606" y="1035"/>
                  </a:lnTo>
                  <a:lnTo>
                    <a:pt x="577" y="1019"/>
                  </a:lnTo>
                  <a:lnTo>
                    <a:pt x="548" y="1002"/>
                  </a:lnTo>
                  <a:lnTo>
                    <a:pt x="519" y="985"/>
                  </a:lnTo>
                  <a:lnTo>
                    <a:pt x="491" y="967"/>
                  </a:lnTo>
                  <a:lnTo>
                    <a:pt x="464" y="947"/>
                  </a:lnTo>
                  <a:lnTo>
                    <a:pt x="436" y="928"/>
                  </a:lnTo>
                  <a:lnTo>
                    <a:pt x="410" y="905"/>
                  </a:lnTo>
                  <a:lnTo>
                    <a:pt x="385" y="884"/>
                  </a:lnTo>
                  <a:lnTo>
                    <a:pt x="360" y="862"/>
                  </a:lnTo>
                  <a:lnTo>
                    <a:pt x="336" y="837"/>
                  </a:lnTo>
                  <a:lnTo>
                    <a:pt x="313" y="813"/>
                  </a:lnTo>
                  <a:lnTo>
                    <a:pt x="291" y="787"/>
                  </a:lnTo>
                  <a:lnTo>
                    <a:pt x="268" y="761"/>
                  </a:lnTo>
                  <a:lnTo>
                    <a:pt x="247" y="736"/>
                  </a:lnTo>
                  <a:lnTo>
                    <a:pt x="228" y="708"/>
                  </a:lnTo>
                  <a:lnTo>
                    <a:pt x="208" y="679"/>
                  </a:lnTo>
                  <a:lnTo>
                    <a:pt x="191" y="650"/>
                  </a:lnTo>
                  <a:lnTo>
                    <a:pt x="173" y="621"/>
                  </a:lnTo>
                  <a:lnTo>
                    <a:pt x="0" y="682"/>
                  </a:lnTo>
                  <a:lnTo>
                    <a:pt x="0" y="682"/>
                  </a:lnTo>
                  <a:lnTo>
                    <a:pt x="18" y="716"/>
                  </a:lnTo>
                  <a:lnTo>
                    <a:pt x="37" y="749"/>
                  </a:lnTo>
                  <a:lnTo>
                    <a:pt x="56" y="781"/>
                  </a:lnTo>
                  <a:lnTo>
                    <a:pt x="77" y="812"/>
                  </a:lnTo>
                  <a:lnTo>
                    <a:pt x="100" y="842"/>
                  </a:lnTo>
                  <a:lnTo>
                    <a:pt x="123" y="871"/>
                  </a:lnTo>
                  <a:lnTo>
                    <a:pt x="147" y="901"/>
                  </a:lnTo>
                  <a:lnTo>
                    <a:pt x="173" y="930"/>
                  </a:lnTo>
                  <a:lnTo>
                    <a:pt x="197" y="957"/>
                  </a:lnTo>
                  <a:lnTo>
                    <a:pt x="225" y="985"/>
                  </a:lnTo>
                  <a:lnTo>
                    <a:pt x="252" y="1010"/>
                  </a:lnTo>
                  <a:lnTo>
                    <a:pt x="280" y="1035"/>
                  </a:lnTo>
                  <a:lnTo>
                    <a:pt x="310" y="1059"/>
                  </a:lnTo>
                  <a:lnTo>
                    <a:pt x="339" y="1083"/>
                  </a:lnTo>
                  <a:lnTo>
                    <a:pt x="370" y="1106"/>
                  </a:lnTo>
                  <a:lnTo>
                    <a:pt x="402" y="1127"/>
                  </a:lnTo>
                  <a:lnTo>
                    <a:pt x="402" y="1127"/>
                  </a:lnTo>
                  <a:lnTo>
                    <a:pt x="440" y="1151"/>
                  </a:lnTo>
                  <a:lnTo>
                    <a:pt x="477" y="1172"/>
                  </a:lnTo>
                  <a:lnTo>
                    <a:pt x="515" y="1193"/>
                  </a:lnTo>
                  <a:lnTo>
                    <a:pt x="556" y="1212"/>
                  </a:lnTo>
                  <a:lnTo>
                    <a:pt x="596" y="1230"/>
                  </a:lnTo>
                  <a:lnTo>
                    <a:pt x="637" y="1248"/>
                  </a:lnTo>
                  <a:lnTo>
                    <a:pt x="677" y="1263"/>
                  </a:lnTo>
                  <a:lnTo>
                    <a:pt x="719" y="1276"/>
                  </a:lnTo>
                  <a:lnTo>
                    <a:pt x="761" y="1287"/>
                  </a:lnTo>
                  <a:lnTo>
                    <a:pt x="803" y="1298"/>
                  </a:lnTo>
                  <a:lnTo>
                    <a:pt x="847" y="1306"/>
                  </a:lnTo>
                  <a:lnTo>
                    <a:pt x="889" y="1314"/>
                  </a:lnTo>
                  <a:lnTo>
                    <a:pt x="932" y="1319"/>
                  </a:lnTo>
                  <a:lnTo>
                    <a:pt x="976" y="1324"/>
                  </a:lnTo>
                  <a:lnTo>
                    <a:pt x="1021" y="1326"/>
                  </a:lnTo>
                  <a:lnTo>
                    <a:pt x="1065" y="1327"/>
                  </a:lnTo>
                  <a:lnTo>
                    <a:pt x="1065" y="1327"/>
                  </a:lnTo>
                  <a:lnTo>
                    <a:pt x="1117" y="1326"/>
                  </a:lnTo>
                  <a:lnTo>
                    <a:pt x="1168" y="1322"/>
                  </a:lnTo>
                  <a:lnTo>
                    <a:pt x="1220" y="1316"/>
                  </a:lnTo>
                  <a:lnTo>
                    <a:pt x="1270" y="1308"/>
                  </a:lnTo>
                  <a:lnTo>
                    <a:pt x="1322" y="1298"/>
                  </a:lnTo>
                  <a:lnTo>
                    <a:pt x="1372" y="1287"/>
                  </a:lnTo>
                  <a:lnTo>
                    <a:pt x="1421" y="1272"/>
                  </a:lnTo>
                  <a:lnTo>
                    <a:pt x="1471" y="1256"/>
                  </a:lnTo>
                  <a:lnTo>
                    <a:pt x="1518" y="1238"/>
                  </a:lnTo>
                  <a:lnTo>
                    <a:pt x="1564" y="1217"/>
                  </a:lnTo>
                  <a:lnTo>
                    <a:pt x="1611" y="1195"/>
                  </a:lnTo>
                  <a:lnTo>
                    <a:pt x="1656" y="1170"/>
                  </a:lnTo>
                  <a:lnTo>
                    <a:pt x="1702" y="1145"/>
                  </a:lnTo>
                  <a:lnTo>
                    <a:pt x="1744" y="1115"/>
                  </a:lnTo>
                  <a:lnTo>
                    <a:pt x="1786" y="1086"/>
                  </a:lnTo>
                  <a:lnTo>
                    <a:pt x="1828" y="1054"/>
                  </a:lnTo>
                  <a:lnTo>
                    <a:pt x="1828" y="1054"/>
                  </a:lnTo>
                  <a:lnTo>
                    <a:pt x="1867" y="1020"/>
                  </a:lnTo>
                  <a:lnTo>
                    <a:pt x="1904" y="986"/>
                  </a:lnTo>
                  <a:lnTo>
                    <a:pt x="1939" y="949"/>
                  </a:lnTo>
                  <a:lnTo>
                    <a:pt x="1973" y="912"/>
                  </a:lnTo>
                  <a:lnTo>
                    <a:pt x="2006" y="873"/>
                  </a:lnTo>
                  <a:lnTo>
                    <a:pt x="2036" y="833"/>
                  </a:lnTo>
                  <a:lnTo>
                    <a:pt x="2065" y="791"/>
                  </a:lnTo>
                  <a:lnTo>
                    <a:pt x="2093" y="747"/>
                  </a:lnTo>
                  <a:lnTo>
                    <a:pt x="2119" y="703"/>
                  </a:lnTo>
                  <a:lnTo>
                    <a:pt x="2141" y="660"/>
                  </a:lnTo>
                  <a:lnTo>
                    <a:pt x="2164" y="613"/>
                  </a:lnTo>
                  <a:lnTo>
                    <a:pt x="2183" y="566"/>
                  </a:lnTo>
                  <a:lnTo>
                    <a:pt x="2201" y="519"/>
                  </a:lnTo>
                  <a:lnTo>
                    <a:pt x="2216" y="471"/>
                  </a:lnTo>
                  <a:lnTo>
                    <a:pt x="2230" y="422"/>
                  </a:lnTo>
                  <a:lnTo>
                    <a:pt x="2242" y="372"/>
                  </a:lnTo>
                  <a:lnTo>
                    <a:pt x="2264" y="264"/>
                  </a:lnTo>
                  <a:lnTo>
                    <a:pt x="2413" y="264"/>
                  </a:lnTo>
                  <a:close/>
                </a:path>
              </a:pathLst>
            </a:custGeom>
            <a:solidFill>
              <a:schemeClr val="bg2"/>
            </a:solidFill>
            <a:ln>
              <a:noFill/>
            </a:ln>
            <a:extLst/>
          </p:spPr>
          <p:txBody>
            <a:bodyPr lIns="68559" tIns="34280" rIns="68559" bIns="34280"/>
            <a:lstStyle/>
            <a:p>
              <a:pPr defTabSz="685554">
                <a:defRPr/>
              </a:pPr>
              <a:r>
                <a:rPr lang="en-US" sz="825" kern="0" dirty="0">
                  <a:solidFill>
                    <a:srgbClr val="FFFFFF"/>
                  </a:solidFill>
                  <a:ea typeface="Times New Roman"/>
                  <a:cs typeface="Times New Roman"/>
                </a:rPr>
                <a:t> </a:t>
              </a:r>
            </a:p>
          </p:txBody>
        </p:sp>
      </p:grpSp>
      <p:sp>
        <p:nvSpPr>
          <p:cNvPr id="13" name="Freeform 120"/>
          <p:cNvSpPr>
            <a:spLocks/>
          </p:cNvSpPr>
          <p:nvPr/>
        </p:nvSpPr>
        <p:spPr bwMode="auto">
          <a:xfrm>
            <a:off x="2755111" y="1301750"/>
            <a:ext cx="1303337" cy="755650"/>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chemeClr val="bg1">
              <a:lumMod val="50000"/>
            </a:schemeClr>
          </a:solidFill>
          <a:ln>
            <a:noFill/>
          </a:ln>
          <a:effectLst/>
          <a:extLst/>
        </p:spPr>
        <p:txBody>
          <a:bodyPr lIns="91434" tIns="45717" rIns="91434" bIns="45717"/>
          <a:lstStyle/>
          <a:p>
            <a:pPr>
              <a:defRPr/>
            </a:pPr>
            <a:r>
              <a:rPr lang="en-US" sz="1800" dirty="0">
                <a:solidFill>
                  <a:srgbClr val="676767"/>
                </a:solidFill>
              </a:rPr>
              <a:t>  </a:t>
            </a:r>
          </a:p>
          <a:p>
            <a:pPr>
              <a:defRPr/>
            </a:pPr>
            <a:r>
              <a:rPr lang="en-US" sz="1800" dirty="0">
                <a:solidFill>
                  <a:srgbClr val="676767"/>
                </a:solidFill>
              </a:rPr>
              <a:t>    </a:t>
            </a:r>
            <a:r>
              <a:rPr lang="en-US" sz="1800" dirty="0">
                <a:solidFill>
                  <a:srgbClr val="FFFFFF"/>
                </a:solidFill>
              </a:rPr>
              <a:t>CWS</a:t>
            </a:r>
          </a:p>
        </p:txBody>
      </p:sp>
      <p:sp>
        <p:nvSpPr>
          <p:cNvPr id="84997" name="TextBox 13"/>
          <p:cNvSpPr txBox="1">
            <a:spLocks noChangeArrowheads="1"/>
          </p:cNvSpPr>
          <p:nvPr/>
        </p:nvSpPr>
        <p:spPr bwMode="auto">
          <a:xfrm>
            <a:off x="228604" y="1330325"/>
            <a:ext cx="2009775" cy="83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90000"/>
              </a:lnSpc>
              <a:spcBef>
                <a:spcPts val="600"/>
              </a:spcBef>
            </a:pPr>
            <a:r>
              <a:rPr lang="en-US" altLang="en-US" dirty="0"/>
              <a:t>Cisco Cloud </a:t>
            </a:r>
          </a:p>
          <a:p>
            <a:pPr>
              <a:lnSpc>
                <a:spcPct val="90000"/>
              </a:lnSpc>
              <a:spcBef>
                <a:spcPts val="600"/>
              </a:spcBef>
            </a:pPr>
            <a:r>
              <a:rPr lang="en-US" altLang="en-US" dirty="0"/>
              <a:t>Web Security</a:t>
            </a:r>
          </a:p>
        </p:txBody>
      </p:sp>
      <p:sp>
        <p:nvSpPr>
          <p:cNvPr id="84998" name="TextBox 23"/>
          <p:cNvSpPr txBox="1">
            <a:spLocks noChangeArrowheads="1"/>
          </p:cNvSpPr>
          <p:nvPr/>
        </p:nvSpPr>
        <p:spPr bwMode="auto">
          <a:xfrm>
            <a:off x="257175" y="2413000"/>
            <a:ext cx="2530475" cy="83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90000"/>
              </a:lnSpc>
              <a:spcBef>
                <a:spcPts val="600"/>
              </a:spcBef>
            </a:pPr>
            <a:r>
              <a:rPr lang="en-US" altLang="en-US" dirty="0"/>
              <a:t>Web Security </a:t>
            </a:r>
          </a:p>
          <a:p>
            <a:pPr>
              <a:lnSpc>
                <a:spcPct val="90000"/>
              </a:lnSpc>
              <a:spcBef>
                <a:spcPts val="600"/>
              </a:spcBef>
            </a:pPr>
            <a:r>
              <a:rPr lang="en-US" altLang="en-US" dirty="0"/>
              <a:t>Appliance (WSA)</a:t>
            </a:r>
          </a:p>
        </p:txBody>
      </p:sp>
      <p:grpSp>
        <p:nvGrpSpPr>
          <p:cNvPr id="84999" name="Group 24"/>
          <p:cNvGrpSpPr>
            <a:grpSpLocks/>
          </p:cNvGrpSpPr>
          <p:nvPr/>
        </p:nvGrpSpPr>
        <p:grpSpPr bwMode="auto">
          <a:xfrm>
            <a:off x="2944813" y="2614615"/>
            <a:ext cx="1001712" cy="530225"/>
            <a:chOff x="2129791" y="3385289"/>
            <a:chExt cx="483538" cy="126740"/>
          </a:xfrm>
        </p:grpSpPr>
        <p:sp>
          <p:nvSpPr>
            <p:cNvPr id="26" name="Freeform 22"/>
            <p:cNvSpPr>
              <a:spLocks/>
            </p:cNvSpPr>
            <p:nvPr/>
          </p:nvSpPr>
          <p:spPr bwMode="auto">
            <a:xfrm>
              <a:off x="2155079" y="3385289"/>
              <a:ext cx="458250" cy="106628"/>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rgbClr val="435153">
                    <a:lumMod val="50000"/>
                  </a:srgbClr>
                </a:gs>
                <a:gs pos="31000">
                  <a:srgbClr val="435153">
                    <a:lumMod val="75000"/>
                  </a:srgbClr>
                </a:gs>
              </a:gsLst>
              <a:lin ang="2700000" scaled="1"/>
              <a:tileRect/>
            </a:gra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27" name="Freeform 23"/>
            <p:cNvSpPr>
              <a:spLocks/>
            </p:cNvSpPr>
            <p:nvPr/>
          </p:nvSpPr>
          <p:spPr bwMode="auto">
            <a:xfrm>
              <a:off x="2129791" y="3413369"/>
              <a:ext cx="453652" cy="98660"/>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A6A8AB">
                <a:lumMod val="50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28" name="Freeform 24"/>
            <p:cNvSpPr>
              <a:spLocks/>
            </p:cNvSpPr>
            <p:nvPr/>
          </p:nvSpPr>
          <p:spPr bwMode="auto">
            <a:xfrm>
              <a:off x="2159677" y="3423994"/>
              <a:ext cx="386218" cy="80446"/>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29" name="Freeform 25"/>
            <p:cNvSpPr>
              <a:spLocks/>
            </p:cNvSpPr>
            <p:nvPr/>
          </p:nvSpPr>
          <p:spPr bwMode="auto">
            <a:xfrm>
              <a:off x="2159677" y="3423994"/>
              <a:ext cx="386218" cy="31116"/>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rgbClr val="435153">
                <a:lumMod val="50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30" name="Freeform 26"/>
            <p:cNvSpPr>
              <a:spLocks/>
            </p:cNvSpPr>
            <p:nvPr/>
          </p:nvSpPr>
          <p:spPr bwMode="auto">
            <a:xfrm>
              <a:off x="2132856" y="3448280"/>
              <a:ext cx="17625" cy="43259"/>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31" name="Freeform 27"/>
            <p:cNvSpPr>
              <a:spLocks/>
            </p:cNvSpPr>
            <p:nvPr/>
          </p:nvSpPr>
          <p:spPr bwMode="auto">
            <a:xfrm>
              <a:off x="2555856" y="3465735"/>
              <a:ext cx="19157" cy="42879"/>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32" name="Freeform 28"/>
            <p:cNvSpPr>
              <a:spLocks/>
            </p:cNvSpPr>
            <p:nvPr/>
          </p:nvSpPr>
          <p:spPr bwMode="auto">
            <a:xfrm>
              <a:off x="2565052" y="3493815"/>
              <a:ext cx="9962" cy="9486"/>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33" name="Freeform 29"/>
            <p:cNvSpPr>
              <a:spLocks/>
            </p:cNvSpPr>
            <p:nvPr/>
          </p:nvSpPr>
          <p:spPr bwMode="auto">
            <a:xfrm>
              <a:off x="2132856" y="3475980"/>
              <a:ext cx="9962" cy="9487"/>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grpSp>
      <p:sp>
        <p:nvSpPr>
          <p:cNvPr id="34" name="Rectangle 33"/>
          <p:cNvSpPr/>
          <p:nvPr/>
        </p:nvSpPr>
        <p:spPr>
          <a:xfrm>
            <a:off x="250825" y="3435350"/>
            <a:ext cx="4572000" cy="646331"/>
          </a:xfrm>
          <a:prstGeom prst="rect">
            <a:avLst/>
          </a:prstGeom>
        </p:spPr>
        <p:txBody>
          <a:bodyPr>
            <a:spAutoFit/>
          </a:bodyPr>
          <a:lstStyle/>
          <a:p>
            <a:pPr defTabSz="685243">
              <a:defRPr/>
            </a:pPr>
            <a:r>
              <a:rPr lang="ja-JP" altLang="en-US" dirty="0" smtClean="0"/>
              <a:t>外部プロキシ</a:t>
            </a:r>
            <a:r>
              <a:rPr lang="en-US" dirty="0" smtClean="0"/>
              <a:t> </a:t>
            </a:r>
            <a:endParaRPr lang="en-US" dirty="0"/>
          </a:p>
          <a:p>
            <a:pPr defTabSz="685243">
              <a:defRPr/>
            </a:pPr>
            <a:r>
              <a:rPr lang="en-US" kern="0" dirty="0">
                <a:solidFill>
                  <a:srgbClr val="676767"/>
                </a:solidFill>
                <a:ea typeface="ＭＳ Ｐゴシック" charset="0"/>
              </a:rPr>
              <a:t>(</a:t>
            </a:r>
            <a:r>
              <a:rPr lang="en-US" kern="0" dirty="0" err="1">
                <a:solidFill>
                  <a:srgbClr val="676767"/>
                </a:solidFill>
                <a:ea typeface="ＭＳ Ｐゴシック" charset="0"/>
              </a:rPr>
              <a:t>BlueCoat</a:t>
            </a:r>
            <a:r>
              <a:rPr lang="en-US" kern="0" dirty="0">
                <a:solidFill>
                  <a:srgbClr val="676767"/>
                </a:solidFill>
                <a:ea typeface="ＭＳ Ｐゴシック" charset="0"/>
              </a:rPr>
              <a:t> Sec. GW)</a:t>
            </a:r>
          </a:p>
        </p:txBody>
      </p:sp>
      <p:cxnSp>
        <p:nvCxnSpPr>
          <p:cNvPr id="85001" name="Straight Connector 35"/>
          <p:cNvCxnSpPr>
            <a:cxnSpLocks noChangeShapeType="1"/>
          </p:cNvCxnSpPr>
          <p:nvPr/>
        </p:nvCxnSpPr>
        <p:spPr bwMode="auto">
          <a:xfrm>
            <a:off x="3884613" y="1679575"/>
            <a:ext cx="1873250" cy="0"/>
          </a:xfrm>
          <a:prstGeom prst="line">
            <a:avLst/>
          </a:prstGeom>
          <a:noFill/>
          <a:ln w="28575" algn="ctr">
            <a:solidFill>
              <a:srgbClr val="080808"/>
            </a:solidFill>
            <a:round/>
            <a:headEnd/>
            <a:tailEnd type="triangle" w="med" len="med"/>
          </a:ln>
          <a:extLst>
            <a:ext uri="{909E8E84-426E-40dd-AFC4-6F175D3DCCD1}">
              <a14:hiddenFill xmlns:a14="http://schemas.microsoft.com/office/drawing/2010/main">
                <a:noFill/>
              </a14:hiddenFill>
            </a:ext>
          </a:extLst>
        </p:spPr>
      </p:cxnSp>
      <p:cxnSp>
        <p:nvCxnSpPr>
          <p:cNvPr id="85002" name="Straight Connector 37"/>
          <p:cNvCxnSpPr>
            <a:cxnSpLocks noChangeShapeType="1"/>
          </p:cNvCxnSpPr>
          <p:nvPr/>
        </p:nvCxnSpPr>
        <p:spPr bwMode="auto">
          <a:xfrm flipV="1">
            <a:off x="4075113" y="2192338"/>
            <a:ext cx="1682750" cy="673100"/>
          </a:xfrm>
          <a:prstGeom prst="line">
            <a:avLst/>
          </a:prstGeom>
          <a:noFill/>
          <a:ln w="28575" algn="ctr">
            <a:solidFill>
              <a:srgbClr val="080808"/>
            </a:solidFill>
            <a:round/>
            <a:headEnd/>
            <a:tailEnd type="triangle" w="med" len="med"/>
          </a:ln>
          <a:extLst>
            <a:ext uri="{909E8E84-426E-40dd-AFC4-6F175D3DCCD1}">
              <a14:hiddenFill xmlns:a14="http://schemas.microsoft.com/office/drawing/2010/main">
                <a:noFill/>
              </a14:hiddenFill>
            </a:ext>
          </a:extLst>
        </p:spPr>
      </p:cxnSp>
      <p:cxnSp>
        <p:nvCxnSpPr>
          <p:cNvPr id="85003" name="Straight Connector 40"/>
          <p:cNvCxnSpPr>
            <a:cxnSpLocks noChangeShapeType="1"/>
          </p:cNvCxnSpPr>
          <p:nvPr/>
        </p:nvCxnSpPr>
        <p:spPr bwMode="auto">
          <a:xfrm flipV="1">
            <a:off x="4153694" y="2911477"/>
            <a:ext cx="1753394" cy="818121"/>
          </a:xfrm>
          <a:prstGeom prst="line">
            <a:avLst/>
          </a:prstGeom>
          <a:noFill/>
          <a:ln w="28575" algn="ctr">
            <a:solidFill>
              <a:srgbClr val="080808"/>
            </a:solidFill>
            <a:round/>
            <a:headEnd/>
            <a:tailEnd type="triangle" w="med" len="med"/>
          </a:ln>
          <a:extLst>
            <a:ext uri="{909E8E84-426E-40dd-AFC4-6F175D3DCCD1}">
              <a14:hiddenFill xmlns:a14="http://schemas.microsoft.com/office/drawing/2010/main">
                <a:noFill/>
              </a14:hiddenFill>
            </a:ext>
          </a:extLst>
        </p:spPr>
      </p:cxnSp>
      <p:grpSp>
        <p:nvGrpSpPr>
          <p:cNvPr id="85006" name="Group 50"/>
          <p:cNvGrpSpPr>
            <a:grpSpLocks/>
          </p:cNvGrpSpPr>
          <p:nvPr/>
        </p:nvGrpSpPr>
        <p:grpSpPr bwMode="auto">
          <a:xfrm>
            <a:off x="2946438" y="3567671"/>
            <a:ext cx="1001712" cy="530225"/>
            <a:chOff x="2129791" y="3385289"/>
            <a:chExt cx="483538" cy="126740"/>
          </a:xfrm>
        </p:grpSpPr>
        <p:sp>
          <p:nvSpPr>
            <p:cNvPr id="52" name="Freeform 22"/>
            <p:cNvSpPr>
              <a:spLocks/>
            </p:cNvSpPr>
            <p:nvPr/>
          </p:nvSpPr>
          <p:spPr bwMode="auto">
            <a:xfrm>
              <a:off x="2155079" y="3385289"/>
              <a:ext cx="458250" cy="106629"/>
            </a:xfrm>
            <a:custGeom>
              <a:avLst/>
              <a:gdLst>
                <a:gd name="T0" fmla="*/ 0 w 2472"/>
                <a:gd name="T1" fmla="*/ 164 h 572"/>
                <a:gd name="T2" fmla="*/ 948 w 2472"/>
                <a:gd name="T3" fmla="*/ 0 h 572"/>
                <a:gd name="T4" fmla="*/ 2472 w 2472"/>
                <a:gd name="T5" fmla="*/ 32 h 572"/>
                <a:gd name="T6" fmla="*/ 2472 w 2472"/>
                <a:gd name="T7" fmla="*/ 164 h 572"/>
                <a:gd name="T8" fmla="*/ 2440 w 2472"/>
                <a:gd name="T9" fmla="*/ 200 h 572"/>
                <a:gd name="T10" fmla="*/ 2440 w 2472"/>
                <a:gd name="T11" fmla="*/ 344 h 572"/>
                <a:gd name="T12" fmla="*/ 2204 w 2472"/>
                <a:gd name="T13" fmla="*/ 572 h 572"/>
                <a:gd name="T14" fmla="*/ 0 w 2472"/>
                <a:gd name="T15" fmla="*/ 164 h 5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72" h="572">
                  <a:moveTo>
                    <a:pt x="0" y="164"/>
                  </a:moveTo>
                  <a:lnTo>
                    <a:pt x="948" y="0"/>
                  </a:lnTo>
                  <a:lnTo>
                    <a:pt x="2472" y="32"/>
                  </a:lnTo>
                  <a:lnTo>
                    <a:pt x="2472" y="164"/>
                  </a:lnTo>
                  <a:lnTo>
                    <a:pt x="2440" y="200"/>
                  </a:lnTo>
                  <a:lnTo>
                    <a:pt x="2440" y="344"/>
                  </a:lnTo>
                  <a:lnTo>
                    <a:pt x="2204" y="572"/>
                  </a:lnTo>
                  <a:lnTo>
                    <a:pt x="0" y="164"/>
                  </a:lnTo>
                  <a:close/>
                </a:path>
              </a:pathLst>
            </a:custGeom>
            <a:gradFill flip="none" rotWithShape="1">
              <a:gsLst>
                <a:gs pos="61000">
                  <a:srgbClr val="435153">
                    <a:lumMod val="50000"/>
                  </a:srgbClr>
                </a:gs>
                <a:gs pos="31000">
                  <a:srgbClr val="435153">
                    <a:lumMod val="75000"/>
                  </a:srgbClr>
                </a:gs>
              </a:gsLst>
              <a:lin ang="2700000" scaled="1"/>
              <a:tileRect/>
            </a:gra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3" name="Freeform 23"/>
            <p:cNvSpPr>
              <a:spLocks/>
            </p:cNvSpPr>
            <p:nvPr/>
          </p:nvSpPr>
          <p:spPr bwMode="auto">
            <a:xfrm>
              <a:off x="2129791" y="3413369"/>
              <a:ext cx="453652" cy="98660"/>
            </a:xfrm>
            <a:custGeom>
              <a:avLst/>
              <a:gdLst>
                <a:gd name="T0" fmla="*/ 0 w 2448"/>
                <a:gd name="T1" fmla="*/ 0 h 530"/>
                <a:gd name="T2" fmla="*/ 0 w 2448"/>
                <a:gd name="T3" fmla="*/ 0 h 530"/>
                <a:gd name="T4" fmla="*/ 8 w 2448"/>
                <a:gd name="T5" fmla="*/ 440 h 530"/>
                <a:gd name="T6" fmla="*/ 2448 w 2448"/>
                <a:gd name="T7" fmla="*/ 530 h 530"/>
                <a:gd name="T8" fmla="*/ 2428 w 2448"/>
                <a:gd name="T9" fmla="*/ 64 h 530"/>
                <a:gd name="T10" fmla="*/ 0 w 2448"/>
                <a:gd name="T11" fmla="*/ 0 h 530"/>
              </a:gdLst>
              <a:ahLst/>
              <a:cxnLst>
                <a:cxn ang="0">
                  <a:pos x="T0" y="T1"/>
                </a:cxn>
                <a:cxn ang="0">
                  <a:pos x="T2" y="T3"/>
                </a:cxn>
                <a:cxn ang="0">
                  <a:pos x="T4" y="T5"/>
                </a:cxn>
                <a:cxn ang="0">
                  <a:pos x="T6" y="T7"/>
                </a:cxn>
                <a:cxn ang="0">
                  <a:pos x="T8" y="T9"/>
                </a:cxn>
                <a:cxn ang="0">
                  <a:pos x="T10" y="T11"/>
                </a:cxn>
              </a:cxnLst>
              <a:rect l="0" t="0" r="r" b="b"/>
              <a:pathLst>
                <a:path w="2448" h="530">
                  <a:moveTo>
                    <a:pt x="0" y="0"/>
                  </a:moveTo>
                  <a:lnTo>
                    <a:pt x="0" y="0"/>
                  </a:lnTo>
                  <a:lnTo>
                    <a:pt x="8" y="440"/>
                  </a:lnTo>
                  <a:lnTo>
                    <a:pt x="2448" y="530"/>
                  </a:lnTo>
                  <a:lnTo>
                    <a:pt x="2428" y="64"/>
                  </a:lnTo>
                  <a:lnTo>
                    <a:pt x="0" y="0"/>
                  </a:lnTo>
                  <a:close/>
                </a:path>
              </a:pathLst>
            </a:custGeom>
            <a:solidFill>
              <a:srgbClr val="A6A8AB">
                <a:lumMod val="50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4" name="Freeform 24"/>
            <p:cNvSpPr>
              <a:spLocks/>
            </p:cNvSpPr>
            <p:nvPr/>
          </p:nvSpPr>
          <p:spPr bwMode="auto">
            <a:xfrm>
              <a:off x="2159677" y="3423994"/>
              <a:ext cx="386218" cy="80446"/>
            </a:xfrm>
            <a:custGeom>
              <a:avLst/>
              <a:gdLst>
                <a:gd name="T0" fmla="*/ 2082 w 2082"/>
                <a:gd name="T1" fmla="*/ 336 h 432"/>
                <a:gd name="T2" fmla="*/ 2082 w 2082"/>
                <a:gd name="T3" fmla="*/ 336 h 432"/>
                <a:gd name="T4" fmla="*/ 2080 w 2082"/>
                <a:gd name="T5" fmla="*/ 354 h 432"/>
                <a:gd name="T6" fmla="*/ 2076 w 2082"/>
                <a:gd name="T7" fmla="*/ 372 h 432"/>
                <a:gd name="T8" fmla="*/ 2066 w 2082"/>
                <a:gd name="T9" fmla="*/ 390 h 432"/>
                <a:gd name="T10" fmla="*/ 2054 w 2082"/>
                <a:gd name="T11" fmla="*/ 404 h 432"/>
                <a:gd name="T12" fmla="*/ 2040 w 2082"/>
                <a:gd name="T13" fmla="*/ 416 h 432"/>
                <a:gd name="T14" fmla="*/ 2024 w 2082"/>
                <a:gd name="T15" fmla="*/ 424 h 432"/>
                <a:gd name="T16" fmla="*/ 2006 w 2082"/>
                <a:gd name="T17" fmla="*/ 430 h 432"/>
                <a:gd name="T18" fmla="*/ 1986 w 2082"/>
                <a:gd name="T19" fmla="*/ 432 h 432"/>
                <a:gd name="T20" fmla="*/ 96 w 2082"/>
                <a:gd name="T21" fmla="*/ 360 h 432"/>
                <a:gd name="T22" fmla="*/ 96 w 2082"/>
                <a:gd name="T23" fmla="*/ 360 h 432"/>
                <a:gd name="T24" fmla="*/ 76 w 2082"/>
                <a:gd name="T25" fmla="*/ 358 h 432"/>
                <a:gd name="T26" fmla="*/ 58 w 2082"/>
                <a:gd name="T27" fmla="*/ 352 h 432"/>
                <a:gd name="T28" fmla="*/ 42 w 2082"/>
                <a:gd name="T29" fmla="*/ 344 h 432"/>
                <a:gd name="T30" fmla="*/ 28 w 2082"/>
                <a:gd name="T31" fmla="*/ 332 h 432"/>
                <a:gd name="T32" fmla="*/ 16 w 2082"/>
                <a:gd name="T33" fmla="*/ 318 h 432"/>
                <a:gd name="T34" fmla="*/ 6 w 2082"/>
                <a:gd name="T35" fmla="*/ 300 h 432"/>
                <a:gd name="T36" fmla="*/ 2 w 2082"/>
                <a:gd name="T37" fmla="*/ 282 h 432"/>
                <a:gd name="T38" fmla="*/ 0 w 2082"/>
                <a:gd name="T39" fmla="*/ 264 h 432"/>
                <a:gd name="T40" fmla="*/ 0 w 2082"/>
                <a:gd name="T41" fmla="*/ 96 h 432"/>
                <a:gd name="T42" fmla="*/ 0 w 2082"/>
                <a:gd name="T43" fmla="*/ 96 h 432"/>
                <a:gd name="T44" fmla="*/ 2 w 2082"/>
                <a:gd name="T45" fmla="*/ 76 h 432"/>
                <a:gd name="T46" fmla="*/ 6 w 2082"/>
                <a:gd name="T47" fmla="*/ 58 h 432"/>
                <a:gd name="T48" fmla="*/ 16 w 2082"/>
                <a:gd name="T49" fmla="*/ 42 h 432"/>
                <a:gd name="T50" fmla="*/ 28 w 2082"/>
                <a:gd name="T51" fmla="*/ 28 h 432"/>
                <a:gd name="T52" fmla="*/ 42 w 2082"/>
                <a:gd name="T53" fmla="*/ 16 h 432"/>
                <a:gd name="T54" fmla="*/ 58 w 2082"/>
                <a:gd name="T55" fmla="*/ 6 h 432"/>
                <a:gd name="T56" fmla="*/ 76 w 2082"/>
                <a:gd name="T57" fmla="*/ 2 h 432"/>
                <a:gd name="T58" fmla="*/ 96 w 2082"/>
                <a:gd name="T59" fmla="*/ 0 h 432"/>
                <a:gd name="T60" fmla="*/ 1986 w 2082"/>
                <a:gd name="T61" fmla="*/ 72 h 432"/>
                <a:gd name="T62" fmla="*/ 1986 w 2082"/>
                <a:gd name="T63" fmla="*/ 72 h 432"/>
                <a:gd name="T64" fmla="*/ 2006 w 2082"/>
                <a:gd name="T65" fmla="*/ 74 h 432"/>
                <a:gd name="T66" fmla="*/ 2024 w 2082"/>
                <a:gd name="T67" fmla="*/ 78 h 432"/>
                <a:gd name="T68" fmla="*/ 2040 w 2082"/>
                <a:gd name="T69" fmla="*/ 88 h 432"/>
                <a:gd name="T70" fmla="*/ 2054 w 2082"/>
                <a:gd name="T71" fmla="*/ 100 h 432"/>
                <a:gd name="T72" fmla="*/ 2066 w 2082"/>
                <a:gd name="T73" fmla="*/ 114 h 432"/>
                <a:gd name="T74" fmla="*/ 2076 w 2082"/>
                <a:gd name="T75" fmla="*/ 130 h 432"/>
                <a:gd name="T76" fmla="*/ 2080 w 2082"/>
                <a:gd name="T77" fmla="*/ 148 h 432"/>
                <a:gd name="T78" fmla="*/ 2082 w 2082"/>
                <a:gd name="T79" fmla="*/ 168 h 432"/>
                <a:gd name="T80" fmla="*/ 2082 w 2082"/>
                <a:gd name="T81" fmla="*/ 3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2" h="432">
                  <a:moveTo>
                    <a:pt x="2082" y="336"/>
                  </a:moveTo>
                  <a:lnTo>
                    <a:pt x="2082" y="336"/>
                  </a:lnTo>
                  <a:lnTo>
                    <a:pt x="2080" y="354"/>
                  </a:lnTo>
                  <a:lnTo>
                    <a:pt x="2076" y="372"/>
                  </a:lnTo>
                  <a:lnTo>
                    <a:pt x="2066" y="390"/>
                  </a:lnTo>
                  <a:lnTo>
                    <a:pt x="2054" y="404"/>
                  </a:lnTo>
                  <a:lnTo>
                    <a:pt x="2040" y="416"/>
                  </a:lnTo>
                  <a:lnTo>
                    <a:pt x="2024" y="424"/>
                  </a:lnTo>
                  <a:lnTo>
                    <a:pt x="2006" y="430"/>
                  </a:lnTo>
                  <a:lnTo>
                    <a:pt x="1986" y="432"/>
                  </a:lnTo>
                  <a:lnTo>
                    <a:pt x="96" y="360"/>
                  </a:lnTo>
                  <a:lnTo>
                    <a:pt x="96" y="360"/>
                  </a:lnTo>
                  <a:lnTo>
                    <a:pt x="76" y="358"/>
                  </a:lnTo>
                  <a:lnTo>
                    <a:pt x="58" y="352"/>
                  </a:lnTo>
                  <a:lnTo>
                    <a:pt x="42" y="344"/>
                  </a:lnTo>
                  <a:lnTo>
                    <a:pt x="28" y="332"/>
                  </a:lnTo>
                  <a:lnTo>
                    <a:pt x="16" y="318"/>
                  </a:lnTo>
                  <a:lnTo>
                    <a:pt x="6" y="300"/>
                  </a:lnTo>
                  <a:lnTo>
                    <a:pt x="2" y="282"/>
                  </a:lnTo>
                  <a:lnTo>
                    <a:pt x="0" y="264"/>
                  </a:lnTo>
                  <a:lnTo>
                    <a:pt x="0" y="96"/>
                  </a:lnTo>
                  <a:lnTo>
                    <a:pt x="0" y="96"/>
                  </a:lnTo>
                  <a:lnTo>
                    <a:pt x="2" y="76"/>
                  </a:lnTo>
                  <a:lnTo>
                    <a:pt x="6" y="58"/>
                  </a:lnTo>
                  <a:lnTo>
                    <a:pt x="16" y="42"/>
                  </a:lnTo>
                  <a:lnTo>
                    <a:pt x="28" y="28"/>
                  </a:lnTo>
                  <a:lnTo>
                    <a:pt x="42" y="16"/>
                  </a:lnTo>
                  <a:lnTo>
                    <a:pt x="58" y="6"/>
                  </a:lnTo>
                  <a:lnTo>
                    <a:pt x="76" y="2"/>
                  </a:lnTo>
                  <a:lnTo>
                    <a:pt x="96" y="0"/>
                  </a:lnTo>
                  <a:lnTo>
                    <a:pt x="1986" y="72"/>
                  </a:lnTo>
                  <a:lnTo>
                    <a:pt x="1986" y="72"/>
                  </a:lnTo>
                  <a:lnTo>
                    <a:pt x="2006" y="74"/>
                  </a:lnTo>
                  <a:lnTo>
                    <a:pt x="2024" y="78"/>
                  </a:lnTo>
                  <a:lnTo>
                    <a:pt x="2040" y="88"/>
                  </a:lnTo>
                  <a:lnTo>
                    <a:pt x="2054" y="100"/>
                  </a:lnTo>
                  <a:lnTo>
                    <a:pt x="2066" y="114"/>
                  </a:lnTo>
                  <a:lnTo>
                    <a:pt x="2076" y="130"/>
                  </a:lnTo>
                  <a:lnTo>
                    <a:pt x="2080" y="148"/>
                  </a:lnTo>
                  <a:lnTo>
                    <a:pt x="2082" y="168"/>
                  </a:lnTo>
                  <a:lnTo>
                    <a:pt x="2082" y="336"/>
                  </a:lnTo>
                  <a:close/>
                </a:path>
              </a:pathLst>
            </a:custGeom>
            <a:pattFill prst="ltUpDiag">
              <a:fgClr>
                <a:srgbClr val="435153">
                  <a:lumMod val="75000"/>
                </a:srgbClr>
              </a:fgClr>
              <a:bgClr>
                <a:srgbClr val="0B0B0D"/>
              </a:bgClr>
            </a:patt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5" name="Freeform 25"/>
            <p:cNvSpPr>
              <a:spLocks/>
            </p:cNvSpPr>
            <p:nvPr/>
          </p:nvSpPr>
          <p:spPr bwMode="auto">
            <a:xfrm>
              <a:off x="2159677" y="3423994"/>
              <a:ext cx="386218" cy="31116"/>
            </a:xfrm>
            <a:custGeom>
              <a:avLst/>
              <a:gdLst>
                <a:gd name="T0" fmla="*/ 1986 w 2082"/>
                <a:gd name="T1" fmla="*/ 72 h 168"/>
                <a:gd name="T2" fmla="*/ 96 w 2082"/>
                <a:gd name="T3" fmla="*/ 0 h 168"/>
                <a:gd name="T4" fmla="*/ 96 w 2082"/>
                <a:gd name="T5" fmla="*/ 0 h 168"/>
                <a:gd name="T6" fmla="*/ 76 w 2082"/>
                <a:gd name="T7" fmla="*/ 2 h 168"/>
                <a:gd name="T8" fmla="*/ 58 w 2082"/>
                <a:gd name="T9" fmla="*/ 6 h 168"/>
                <a:gd name="T10" fmla="*/ 42 w 2082"/>
                <a:gd name="T11" fmla="*/ 16 h 168"/>
                <a:gd name="T12" fmla="*/ 28 w 2082"/>
                <a:gd name="T13" fmla="*/ 28 h 168"/>
                <a:gd name="T14" fmla="*/ 16 w 2082"/>
                <a:gd name="T15" fmla="*/ 42 h 168"/>
                <a:gd name="T16" fmla="*/ 6 w 2082"/>
                <a:gd name="T17" fmla="*/ 58 h 168"/>
                <a:gd name="T18" fmla="*/ 2 w 2082"/>
                <a:gd name="T19" fmla="*/ 76 h 168"/>
                <a:gd name="T20" fmla="*/ 0 w 2082"/>
                <a:gd name="T21" fmla="*/ 96 h 168"/>
                <a:gd name="T22" fmla="*/ 2082 w 2082"/>
                <a:gd name="T23" fmla="*/ 168 h 168"/>
                <a:gd name="T24" fmla="*/ 2082 w 2082"/>
                <a:gd name="T25" fmla="*/ 168 h 168"/>
                <a:gd name="T26" fmla="*/ 2080 w 2082"/>
                <a:gd name="T27" fmla="*/ 148 h 168"/>
                <a:gd name="T28" fmla="*/ 2076 w 2082"/>
                <a:gd name="T29" fmla="*/ 130 h 168"/>
                <a:gd name="T30" fmla="*/ 2066 w 2082"/>
                <a:gd name="T31" fmla="*/ 114 h 168"/>
                <a:gd name="T32" fmla="*/ 2054 w 2082"/>
                <a:gd name="T33" fmla="*/ 100 h 168"/>
                <a:gd name="T34" fmla="*/ 2040 w 2082"/>
                <a:gd name="T35" fmla="*/ 88 h 168"/>
                <a:gd name="T36" fmla="*/ 2024 w 2082"/>
                <a:gd name="T37" fmla="*/ 78 h 168"/>
                <a:gd name="T38" fmla="*/ 2006 w 2082"/>
                <a:gd name="T39" fmla="*/ 74 h 168"/>
                <a:gd name="T40" fmla="*/ 1986 w 2082"/>
                <a:gd name="T41" fmla="*/ 72 h 168"/>
                <a:gd name="T42" fmla="*/ 1986 w 2082"/>
                <a:gd name="T43" fmla="*/ 7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2" h="168">
                  <a:moveTo>
                    <a:pt x="1986" y="72"/>
                  </a:moveTo>
                  <a:lnTo>
                    <a:pt x="96" y="0"/>
                  </a:lnTo>
                  <a:lnTo>
                    <a:pt x="96" y="0"/>
                  </a:lnTo>
                  <a:lnTo>
                    <a:pt x="76" y="2"/>
                  </a:lnTo>
                  <a:lnTo>
                    <a:pt x="58" y="6"/>
                  </a:lnTo>
                  <a:lnTo>
                    <a:pt x="42" y="16"/>
                  </a:lnTo>
                  <a:lnTo>
                    <a:pt x="28" y="28"/>
                  </a:lnTo>
                  <a:lnTo>
                    <a:pt x="16" y="42"/>
                  </a:lnTo>
                  <a:lnTo>
                    <a:pt x="6" y="58"/>
                  </a:lnTo>
                  <a:lnTo>
                    <a:pt x="2" y="76"/>
                  </a:lnTo>
                  <a:lnTo>
                    <a:pt x="0" y="96"/>
                  </a:lnTo>
                  <a:lnTo>
                    <a:pt x="2082" y="168"/>
                  </a:lnTo>
                  <a:lnTo>
                    <a:pt x="2082" y="168"/>
                  </a:lnTo>
                  <a:lnTo>
                    <a:pt x="2080" y="148"/>
                  </a:lnTo>
                  <a:lnTo>
                    <a:pt x="2076" y="130"/>
                  </a:lnTo>
                  <a:lnTo>
                    <a:pt x="2066" y="114"/>
                  </a:lnTo>
                  <a:lnTo>
                    <a:pt x="2054" y="100"/>
                  </a:lnTo>
                  <a:lnTo>
                    <a:pt x="2040" y="88"/>
                  </a:lnTo>
                  <a:lnTo>
                    <a:pt x="2024" y="78"/>
                  </a:lnTo>
                  <a:lnTo>
                    <a:pt x="2006" y="74"/>
                  </a:lnTo>
                  <a:lnTo>
                    <a:pt x="1986" y="72"/>
                  </a:lnTo>
                  <a:lnTo>
                    <a:pt x="1986" y="72"/>
                  </a:lnTo>
                  <a:close/>
                </a:path>
              </a:pathLst>
            </a:custGeom>
            <a:solidFill>
              <a:srgbClr val="435153">
                <a:lumMod val="50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6" name="Freeform 26"/>
            <p:cNvSpPr>
              <a:spLocks/>
            </p:cNvSpPr>
            <p:nvPr/>
          </p:nvSpPr>
          <p:spPr bwMode="auto">
            <a:xfrm>
              <a:off x="2132856" y="3448280"/>
              <a:ext cx="17625" cy="43259"/>
            </a:xfrm>
            <a:custGeom>
              <a:avLst/>
              <a:gdLst>
                <a:gd name="T0" fmla="*/ 0 w 94"/>
                <a:gd name="T1" fmla="*/ 14 h 232"/>
                <a:gd name="T2" fmla="*/ 56 w 94"/>
                <a:gd name="T3" fmla="*/ 26 h 232"/>
                <a:gd name="T4" fmla="*/ 56 w 94"/>
                <a:gd name="T5" fmla="*/ 26 h 232"/>
                <a:gd name="T6" fmla="*/ 60 w 94"/>
                <a:gd name="T7" fmla="*/ 28 h 232"/>
                <a:gd name="T8" fmla="*/ 62 w 94"/>
                <a:gd name="T9" fmla="*/ 34 h 232"/>
                <a:gd name="T10" fmla="*/ 62 w 94"/>
                <a:gd name="T11" fmla="*/ 224 h 232"/>
                <a:gd name="T12" fmla="*/ 62 w 94"/>
                <a:gd name="T13" fmla="*/ 224 h 232"/>
                <a:gd name="T14" fmla="*/ 64 w 94"/>
                <a:gd name="T15" fmla="*/ 226 h 232"/>
                <a:gd name="T16" fmla="*/ 66 w 94"/>
                <a:gd name="T17" fmla="*/ 228 h 232"/>
                <a:gd name="T18" fmla="*/ 68 w 94"/>
                <a:gd name="T19" fmla="*/ 230 h 232"/>
                <a:gd name="T20" fmla="*/ 70 w 94"/>
                <a:gd name="T21" fmla="*/ 232 h 232"/>
                <a:gd name="T22" fmla="*/ 86 w 94"/>
                <a:gd name="T23" fmla="*/ 232 h 232"/>
                <a:gd name="T24" fmla="*/ 86 w 94"/>
                <a:gd name="T25" fmla="*/ 232 h 232"/>
                <a:gd name="T26" fmla="*/ 90 w 94"/>
                <a:gd name="T27" fmla="*/ 230 h 232"/>
                <a:gd name="T28" fmla="*/ 92 w 94"/>
                <a:gd name="T29" fmla="*/ 228 h 232"/>
                <a:gd name="T30" fmla="*/ 94 w 94"/>
                <a:gd name="T31" fmla="*/ 226 h 232"/>
                <a:gd name="T32" fmla="*/ 94 w 94"/>
                <a:gd name="T33" fmla="*/ 224 h 232"/>
                <a:gd name="T34" fmla="*/ 94 w 94"/>
                <a:gd name="T35" fmla="*/ 0 h 232"/>
                <a:gd name="T36" fmla="*/ 0 w 94"/>
                <a:gd name="T37" fmla="*/ 1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232">
                  <a:moveTo>
                    <a:pt x="0" y="14"/>
                  </a:moveTo>
                  <a:lnTo>
                    <a:pt x="56" y="26"/>
                  </a:lnTo>
                  <a:lnTo>
                    <a:pt x="56" y="26"/>
                  </a:lnTo>
                  <a:lnTo>
                    <a:pt x="60" y="28"/>
                  </a:lnTo>
                  <a:lnTo>
                    <a:pt x="62" y="34"/>
                  </a:lnTo>
                  <a:lnTo>
                    <a:pt x="62" y="224"/>
                  </a:lnTo>
                  <a:lnTo>
                    <a:pt x="62" y="224"/>
                  </a:lnTo>
                  <a:lnTo>
                    <a:pt x="64" y="226"/>
                  </a:lnTo>
                  <a:lnTo>
                    <a:pt x="66" y="228"/>
                  </a:lnTo>
                  <a:lnTo>
                    <a:pt x="68" y="230"/>
                  </a:lnTo>
                  <a:lnTo>
                    <a:pt x="70" y="232"/>
                  </a:lnTo>
                  <a:lnTo>
                    <a:pt x="86" y="232"/>
                  </a:lnTo>
                  <a:lnTo>
                    <a:pt x="86" y="232"/>
                  </a:lnTo>
                  <a:lnTo>
                    <a:pt x="90" y="230"/>
                  </a:lnTo>
                  <a:lnTo>
                    <a:pt x="92" y="228"/>
                  </a:lnTo>
                  <a:lnTo>
                    <a:pt x="94" y="226"/>
                  </a:lnTo>
                  <a:lnTo>
                    <a:pt x="94" y="224"/>
                  </a:lnTo>
                  <a:lnTo>
                    <a:pt x="94" y="0"/>
                  </a:lnTo>
                  <a:lnTo>
                    <a:pt x="0" y="14"/>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7" name="Freeform 27"/>
            <p:cNvSpPr>
              <a:spLocks/>
            </p:cNvSpPr>
            <p:nvPr/>
          </p:nvSpPr>
          <p:spPr bwMode="auto">
            <a:xfrm>
              <a:off x="2555856" y="3465735"/>
              <a:ext cx="19157" cy="42879"/>
            </a:xfrm>
            <a:custGeom>
              <a:avLst/>
              <a:gdLst>
                <a:gd name="T0" fmla="*/ 106 w 106"/>
                <a:gd name="T1" fmla="*/ 14 h 230"/>
                <a:gd name="T2" fmla="*/ 42 w 106"/>
                <a:gd name="T3" fmla="*/ 26 h 230"/>
                <a:gd name="T4" fmla="*/ 42 w 106"/>
                <a:gd name="T5" fmla="*/ 26 h 230"/>
                <a:gd name="T6" fmla="*/ 38 w 106"/>
                <a:gd name="T7" fmla="*/ 28 h 230"/>
                <a:gd name="T8" fmla="*/ 36 w 106"/>
                <a:gd name="T9" fmla="*/ 34 h 230"/>
                <a:gd name="T10" fmla="*/ 36 w 106"/>
                <a:gd name="T11" fmla="*/ 222 h 230"/>
                <a:gd name="T12" fmla="*/ 36 w 106"/>
                <a:gd name="T13" fmla="*/ 222 h 230"/>
                <a:gd name="T14" fmla="*/ 34 w 106"/>
                <a:gd name="T15" fmla="*/ 226 h 230"/>
                <a:gd name="T16" fmla="*/ 34 w 106"/>
                <a:gd name="T17" fmla="*/ 228 h 230"/>
                <a:gd name="T18" fmla="*/ 30 w 106"/>
                <a:gd name="T19" fmla="*/ 230 h 230"/>
                <a:gd name="T20" fmla="*/ 26 w 106"/>
                <a:gd name="T21" fmla="*/ 230 h 230"/>
                <a:gd name="T22" fmla="*/ 10 w 106"/>
                <a:gd name="T23" fmla="*/ 230 h 230"/>
                <a:gd name="T24" fmla="*/ 10 w 106"/>
                <a:gd name="T25" fmla="*/ 230 h 230"/>
                <a:gd name="T26" fmla="*/ 6 w 106"/>
                <a:gd name="T27" fmla="*/ 230 h 230"/>
                <a:gd name="T28" fmla="*/ 4 w 106"/>
                <a:gd name="T29" fmla="*/ 228 h 230"/>
                <a:gd name="T30" fmla="*/ 2 w 106"/>
                <a:gd name="T31" fmla="*/ 226 h 230"/>
                <a:gd name="T32" fmla="*/ 0 w 106"/>
                <a:gd name="T33" fmla="*/ 222 h 230"/>
                <a:gd name="T34" fmla="*/ 0 w 106"/>
                <a:gd name="T35" fmla="*/ 0 h 230"/>
                <a:gd name="T36" fmla="*/ 106 w 106"/>
                <a:gd name="T37" fmla="*/ 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230">
                  <a:moveTo>
                    <a:pt x="106" y="14"/>
                  </a:moveTo>
                  <a:lnTo>
                    <a:pt x="42" y="26"/>
                  </a:lnTo>
                  <a:lnTo>
                    <a:pt x="42" y="26"/>
                  </a:lnTo>
                  <a:lnTo>
                    <a:pt x="38" y="28"/>
                  </a:lnTo>
                  <a:lnTo>
                    <a:pt x="36" y="34"/>
                  </a:lnTo>
                  <a:lnTo>
                    <a:pt x="36" y="222"/>
                  </a:lnTo>
                  <a:lnTo>
                    <a:pt x="36" y="222"/>
                  </a:lnTo>
                  <a:lnTo>
                    <a:pt x="34" y="226"/>
                  </a:lnTo>
                  <a:lnTo>
                    <a:pt x="34" y="228"/>
                  </a:lnTo>
                  <a:lnTo>
                    <a:pt x="30" y="230"/>
                  </a:lnTo>
                  <a:lnTo>
                    <a:pt x="26" y="230"/>
                  </a:lnTo>
                  <a:lnTo>
                    <a:pt x="10" y="230"/>
                  </a:lnTo>
                  <a:lnTo>
                    <a:pt x="10" y="230"/>
                  </a:lnTo>
                  <a:lnTo>
                    <a:pt x="6" y="230"/>
                  </a:lnTo>
                  <a:lnTo>
                    <a:pt x="4" y="228"/>
                  </a:lnTo>
                  <a:lnTo>
                    <a:pt x="2" y="226"/>
                  </a:lnTo>
                  <a:lnTo>
                    <a:pt x="0" y="222"/>
                  </a:lnTo>
                  <a:lnTo>
                    <a:pt x="0" y="0"/>
                  </a:lnTo>
                  <a:lnTo>
                    <a:pt x="106" y="14"/>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8" name="Freeform 28"/>
            <p:cNvSpPr>
              <a:spLocks/>
            </p:cNvSpPr>
            <p:nvPr/>
          </p:nvSpPr>
          <p:spPr bwMode="auto">
            <a:xfrm>
              <a:off x="2565052" y="3493815"/>
              <a:ext cx="9962" cy="9487"/>
            </a:xfrm>
            <a:custGeom>
              <a:avLst/>
              <a:gdLst>
                <a:gd name="T0" fmla="*/ 54 w 54"/>
                <a:gd name="T1" fmla="*/ 26 h 52"/>
                <a:gd name="T2" fmla="*/ 54 w 54"/>
                <a:gd name="T3" fmla="*/ 26 h 52"/>
                <a:gd name="T4" fmla="*/ 52 w 54"/>
                <a:gd name="T5" fmla="*/ 36 h 52"/>
                <a:gd name="T6" fmla="*/ 46 w 54"/>
                <a:gd name="T7" fmla="*/ 44 h 52"/>
                <a:gd name="T8" fmla="*/ 38 w 54"/>
                <a:gd name="T9" fmla="*/ 50 h 52"/>
                <a:gd name="T10" fmla="*/ 28 w 54"/>
                <a:gd name="T11" fmla="*/ 52 h 52"/>
                <a:gd name="T12" fmla="*/ 28 w 54"/>
                <a:gd name="T13" fmla="*/ 52 h 52"/>
                <a:gd name="T14" fmla="*/ 16 w 54"/>
                <a:gd name="T15" fmla="*/ 50 h 52"/>
                <a:gd name="T16" fmla="*/ 8 w 54"/>
                <a:gd name="T17" fmla="*/ 44 h 52"/>
                <a:gd name="T18" fmla="*/ 2 w 54"/>
                <a:gd name="T19" fmla="*/ 36 h 52"/>
                <a:gd name="T20" fmla="*/ 0 w 54"/>
                <a:gd name="T21" fmla="*/ 26 h 52"/>
                <a:gd name="T22" fmla="*/ 0 w 54"/>
                <a:gd name="T23" fmla="*/ 26 h 52"/>
                <a:gd name="T24" fmla="*/ 2 w 54"/>
                <a:gd name="T25" fmla="*/ 16 h 52"/>
                <a:gd name="T26" fmla="*/ 8 w 54"/>
                <a:gd name="T27" fmla="*/ 8 h 52"/>
                <a:gd name="T28" fmla="*/ 16 w 54"/>
                <a:gd name="T29" fmla="*/ 2 h 52"/>
                <a:gd name="T30" fmla="*/ 28 w 54"/>
                <a:gd name="T31" fmla="*/ 0 h 52"/>
                <a:gd name="T32" fmla="*/ 28 w 54"/>
                <a:gd name="T33" fmla="*/ 0 h 52"/>
                <a:gd name="T34" fmla="*/ 38 w 54"/>
                <a:gd name="T35" fmla="*/ 2 h 52"/>
                <a:gd name="T36" fmla="*/ 46 w 54"/>
                <a:gd name="T37" fmla="*/ 8 h 52"/>
                <a:gd name="T38" fmla="*/ 52 w 54"/>
                <a:gd name="T39" fmla="*/ 16 h 52"/>
                <a:gd name="T40" fmla="*/ 54 w 54"/>
                <a:gd name="T41" fmla="*/ 26 h 52"/>
                <a:gd name="T42" fmla="*/ 54 w 54"/>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52">
                  <a:moveTo>
                    <a:pt x="54" y="26"/>
                  </a:moveTo>
                  <a:lnTo>
                    <a:pt x="54" y="26"/>
                  </a:lnTo>
                  <a:lnTo>
                    <a:pt x="52" y="36"/>
                  </a:lnTo>
                  <a:lnTo>
                    <a:pt x="46" y="44"/>
                  </a:lnTo>
                  <a:lnTo>
                    <a:pt x="38" y="50"/>
                  </a:lnTo>
                  <a:lnTo>
                    <a:pt x="28" y="52"/>
                  </a:lnTo>
                  <a:lnTo>
                    <a:pt x="28" y="52"/>
                  </a:lnTo>
                  <a:lnTo>
                    <a:pt x="16" y="50"/>
                  </a:lnTo>
                  <a:lnTo>
                    <a:pt x="8" y="44"/>
                  </a:lnTo>
                  <a:lnTo>
                    <a:pt x="2" y="36"/>
                  </a:lnTo>
                  <a:lnTo>
                    <a:pt x="0" y="26"/>
                  </a:lnTo>
                  <a:lnTo>
                    <a:pt x="0" y="26"/>
                  </a:lnTo>
                  <a:lnTo>
                    <a:pt x="2" y="16"/>
                  </a:lnTo>
                  <a:lnTo>
                    <a:pt x="8" y="8"/>
                  </a:lnTo>
                  <a:lnTo>
                    <a:pt x="16" y="2"/>
                  </a:lnTo>
                  <a:lnTo>
                    <a:pt x="28" y="0"/>
                  </a:lnTo>
                  <a:lnTo>
                    <a:pt x="28" y="0"/>
                  </a:lnTo>
                  <a:lnTo>
                    <a:pt x="38" y="2"/>
                  </a:lnTo>
                  <a:lnTo>
                    <a:pt x="46" y="8"/>
                  </a:lnTo>
                  <a:lnTo>
                    <a:pt x="52" y="16"/>
                  </a:lnTo>
                  <a:lnTo>
                    <a:pt x="54" y="26"/>
                  </a:lnTo>
                  <a:lnTo>
                    <a:pt x="54" y="26"/>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sp>
          <p:nvSpPr>
            <p:cNvPr id="59" name="Freeform 29"/>
            <p:cNvSpPr>
              <a:spLocks/>
            </p:cNvSpPr>
            <p:nvPr/>
          </p:nvSpPr>
          <p:spPr bwMode="auto">
            <a:xfrm>
              <a:off x="2132856" y="3475980"/>
              <a:ext cx="9962" cy="9486"/>
            </a:xfrm>
            <a:custGeom>
              <a:avLst/>
              <a:gdLst>
                <a:gd name="T0" fmla="*/ 52 w 52"/>
                <a:gd name="T1" fmla="*/ 26 h 52"/>
                <a:gd name="T2" fmla="*/ 52 w 52"/>
                <a:gd name="T3" fmla="*/ 26 h 52"/>
                <a:gd name="T4" fmla="*/ 50 w 52"/>
                <a:gd name="T5" fmla="*/ 36 h 52"/>
                <a:gd name="T6" fmla="*/ 44 w 52"/>
                <a:gd name="T7" fmla="*/ 44 h 52"/>
                <a:gd name="T8" fmla="*/ 36 w 52"/>
                <a:gd name="T9" fmla="*/ 50 h 52"/>
                <a:gd name="T10" fmla="*/ 26 w 52"/>
                <a:gd name="T11" fmla="*/ 52 h 52"/>
                <a:gd name="T12" fmla="*/ 26 w 52"/>
                <a:gd name="T13" fmla="*/ 52 h 52"/>
                <a:gd name="T14" fmla="*/ 16 w 52"/>
                <a:gd name="T15" fmla="*/ 50 h 52"/>
                <a:gd name="T16" fmla="*/ 8 w 52"/>
                <a:gd name="T17" fmla="*/ 44 h 52"/>
                <a:gd name="T18" fmla="*/ 2 w 52"/>
                <a:gd name="T19" fmla="*/ 36 h 52"/>
                <a:gd name="T20" fmla="*/ 0 w 52"/>
                <a:gd name="T21" fmla="*/ 26 h 52"/>
                <a:gd name="T22" fmla="*/ 0 w 52"/>
                <a:gd name="T23" fmla="*/ 26 h 52"/>
                <a:gd name="T24" fmla="*/ 2 w 52"/>
                <a:gd name="T25" fmla="*/ 16 h 52"/>
                <a:gd name="T26" fmla="*/ 8 w 52"/>
                <a:gd name="T27" fmla="*/ 8 h 52"/>
                <a:gd name="T28" fmla="*/ 16 w 52"/>
                <a:gd name="T29" fmla="*/ 2 h 52"/>
                <a:gd name="T30" fmla="*/ 26 w 52"/>
                <a:gd name="T31" fmla="*/ 0 h 52"/>
                <a:gd name="T32" fmla="*/ 26 w 52"/>
                <a:gd name="T33" fmla="*/ 0 h 52"/>
                <a:gd name="T34" fmla="*/ 36 w 52"/>
                <a:gd name="T35" fmla="*/ 2 h 52"/>
                <a:gd name="T36" fmla="*/ 44 w 52"/>
                <a:gd name="T37" fmla="*/ 8 h 52"/>
                <a:gd name="T38" fmla="*/ 50 w 52"/>
                <a:gd name="T39" fmla="*/ 16 h 52"/>
                <a:gd name="T40" fmla="*/ 52 w 52"/>
                <a:gd name="T41" fmla="*/ 26 h 52"/>
                <a:gd name="T42" fmla="*/ 52 w 52"/>
                <a:gd name="T4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52">
                  <a:moveTo>
                    <a:pt x="52" y="26"/>
                  </a:moveTo>
                  <a:lnTo>
                    <a:pt x="52" y="26"/>
                  </a:lnTo>
                  <a:lnTo>
                    <a:pt x="50" y="36"/>
                  </a:lnTo>
                  <a:lnTo>
                    <a:pt x="44" y="44"/>
                  </a:lnTo>
                  <a:lnTo>
                    <a:pt x="36" y="50"/>
                  </a:lnTo>
                  <a:lnTo>
                    <a:pt x="26" y="52"/>
                  </a:lnTo>
                  <a:lnTo>
                    <a:pt x="26" y="52"/>
                  </a:lnTo>
                  <a:lnTo>
                    <a:pt x="16" y="50"/>
                  </a:lnTo>
                  <a:lnTo>
                    <a:pt x="8" y="44"/>
                  </a:lnTo>
                  <a:lnTo>
                    <a:pt x="2" y="36"/>
                  </a:lnTo>
                  <a:lnTo>
                    <a:pt x="0" y="26"/>
                  </a:lnTo>
                  <a:lnTo>
                    <a:pt x="0" y="26"/>
                  </a:lnTo>
                  <a:lnTo>
                    <a:pt x="2" y="16"/>
                  </a:lnTo>
                  <a:lnTo>
                    <a:pt x="8" y="8"/>
                  </a:lnTo>
                  <a:lnTo>
                    <a:pt x="16" y="2"/>
                  </a:lnTo>
                  <a:lnTo>
                    <a:pt x="26" y="0"/>
                  </a:lnTo>
                  <a:lnTo>
                    <a:pt x="26" y="0"/>
                  </a:lnTo>
                  <a:lnTo>
                    <a:pt x="36" y="2"/>
                  </a:lnTo>
                  <a:lnTo>
                    <a:pt x="44" y="8"/>
                  </a:lnTo>
                  <a:lnTo>
                    <a:pt x="50" y="16"/>
                  </a:lnTo>
                  <a:lnTo>
                    <a:pt x="52" y="26"/>
                  </a:lnTo>
                  <a:lnTo>
                    <a:pt x="52" y="26"/>
                  </a:lnTo>
                  <a:close/>
                </a:path>
              </a:pathLst>
            </a:custGeom>
            <a:solidFill>
              <a:srgbClr val="435153">
                <a:lumMod val="75000"/>
              </a:srgbClr>
            </a:solidFill>
            <a:ln>
              <a:noFill/>
            </a:ln>
            <a:extLst/>
          </p:spPr>
          <p:txBody>
            <a:bodyPr lIns="68544" tIns="34272" rIns="68544" bIns="34272"/>
            <a:lstStyle/>
            <a:p>
              <a:pPr defTabSz="685554">
                <a:defRPr/>
              </a:pPr>
              <a:endParaRPr lang="en-US" sz="1275" kern="0">
                <a:solidFill>
                  <a:srgbClr val="FFFFFF"/>
                </a:solidFill>
                <a:ea typeface="ＭＳ Ｐゴシック" charset="0"/>
              </a:endParaRPr>
            </a:p>
          </p:txBody>
        </p:sp>
      </p:grpSp>
      <p:sp>
        <p:nvSpPr>
          <p:cNvPr id="85007" name="Rectangle 75"/>
          <p:cNvSpPr>
            <a:spLocks noChangeArrowheads="1"/>
          </p:cNvSpPr>
          <p:nvPr/>
        </p:nvSpPr>
        <p:spPr bwMode="auto">
          <a:xfrm rot="-1337687">
            <a:off x="4415268" y="2079489"/>
            <a:ext cx="811941" cy="43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90000"/>
              </a:lnSpc>
              <a:spcBef>
                <a:spcPts val="600"/>
              </a:spcBef>
            </a:pPr>
            <a:r>
              <a:rPr lang="en-US" altLang="en-US"/>
              <a:t>SCP</a:t>
            </a:r>
          </a:p>
        </p:txBody>
      </p:sp>
      <p:sp>
        <p:nvSpPr>
          <p:cNvPr id="85008" name="Rectangle 76"/>
          <p:cNvSpPr>
            <a:spLocks noChangeArrowheads="1"/>
          </p:cNvSpPr>
          <p:nvPr/>
        </p:nvSpPr>
        <p:spPr bwMode="auto">
          <a:xfrm rot="-1654847">
            <a:off x="4476105" y="2812915"/>
            <a:ext cx="1193506" cy="430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90000"/>
              </a:lnSpc>
              <a:spcBef>
                <a:spcPts val="600"/>
              </a:spcBef>
            </a:pPr>
            <a:r>
              <a:rPr lang="en-US" altLang="en-US" dirty="0"/>
              <a:t>HTTPS</a:t>
            </a:r>
          </a:p>
        </p:txBody>
      </p:sp>
    </p:spTree>
    <p:extLst>
      <p:ext uri="{BB962C8B-B14F-4D97-AF65-F5344CB8AC3E}">
        <p14:creationId xmlns:p14="http://schemas.microsoft.com/office/powerpoint/2010/main" val="3248870348"/>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2298" y="163287"/>
            <a:ext cx="8345488" cy="551316"/>
          </a:xfrm>
        </p:spPr>
        <p:txBody>
          <a:bodyPr/>
          <a:lstStyle/>
          <a:p>
            <a:r>
              <a:rPr lang="en-US" dirty="0" smtClean="0"/>
              <a:t>CTA</a:t>
            </a:r>
            <a:r>
              <a:rPr lang="en-US" dirty="0"/>
              <a:t> </a:t>
            </a:r>
            <a:r>
              <a:rPr lang="ja-JP" altLang="en-US" dirty="0" smtClean="0"/>
              <a:t>サイト</a:t>
            </a:r>
            <a:endParaRPr lang="en-US" dirty="0"/>
          </a:p>
        </p:txBody>
      </p:sp>
      <p:graphicFrame>
        <p:nvGraphicFramePr>
          <p:cNvPr id="4" name="Diagram 3"/>
          <p:cNvGraphicFramePr/>
          <p:nvPr>
            <p:extLst/>
          </p:nvPr>
        </p:nvGraphicFramePr>
        <p:xfrm>
          <a:off x="0" y="751116"/>
          <a:ext cx="5327593" cy="38970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Picture 4"/>
          <p:cNvPicPr/>
          <p:nvPr/>
        </p:nvPicPr>
        <p:blipFill>
          <a:blip r:embed="rId8"/>
          <a:stretch>
            <a:fillRect/>
          </a:stretch>
        </p:blipFill>
        <p:spPr>
          <a:xfrm>
            <a:off x="5327593" y="1088571"/>
            <a:ext cx="3455251" cy="2928257"/>
          </a:xfrm>
          <a:prstGeom prst="rect">
            <a:avLst/>
          </a:prstGeom>
        </p:spPr>
      </p:pic>
      <p:sp>
        <p:nvSpPr>
          <p:cNvPr id="7" name="TextBox 6"/>
          <p:cNvSpPr txBox="1"/>
          <p:nvPr/>
        </p:nvSpPr>
        <p:spPr>
          <a:xfrm>
            <a:off x="5327593" y="4016828"/>
            <a:ext cx="3603172" cy="369332"/>
          </a:xfrm>
          <a:prstGeom prst="rect">
            <a:avLst/>
          </a:prstGeom>
          <a:noFill/>
        </p:spPr>
        <p:txBody>
          <a:bodyPr wrap="square" rtlCol="0">
            <a:spAutoFit/>
          </a:bodyPr>
          <a:lstStyle/>
          <a:p>
            <a:r>
              <a:rPr lang="en-US" dirty="0" smtClean="0">
                <a:hlinkClick r:id="rId9"/>
              </a:rPr>
              <a:t>https</a:t>
            </a:r>
            <a:r>
              <a:rPr lang="en-US" dirty="0">
                <a:hlinkClick r:id="rId9"/>
              </a:rPr>
              <a:t>://cognitive.cisco.com</a:t>
            </a:r>
            <a:r>
              <a:rPr lang="en-US" dirty="0" smtClean="0">
                <a:hlinkClick r:id="rId9"/>
              </a:rPr>
              <a:t>/</a:t>
            </a:r>
            <a:endParaRPr lang="en-US" dirty="0" smtClean="0"/>
          </a:p>
        </p:txBody>
      </p:sp>
    </p:spTree>
    <p:extLst>
      <p:ext uri="{BB962C8B-B14F-4D97-AF65-F5344CB8AC3E}">
        <p14:creationId xmlns:p14="http://schemas.microsoft.com/office/powerpoint/2010/main" val="397089562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94157" y="195657"/>
            <a:ext cx="8345488" cy="731837"/>
          </a:xfrm>
        </p:spPr>
        <p:txBody>
          <a:bodyPr/>
          <a:lstStyle/>
          <a:p>
            <a:r>
              <a:rPr lang="en-US" altLang="ja-JP" dirty="0" smtClean="0"/>
              <a:t>CTA </a:t>
            </a:r>
            <a:r>
              <a:rPr lang="ja-JP" altLang="en-US" dirty="0" smtClean="0"/>
              <a:t>諸々</a:t>
            </a:r>
            <a:endParaRPr lang="en-US" dirty="0"/>
          </a:p>
        </p:txBody>
      </p:sp>
      <p:grpSp>
        <p:nvGrpSpPr>
          <p:cNvPr id="23" name="Group 22"/>
          <p:cNvGrpSpPr/>
          <p:nvPr/>
        </p:nvGrpSpPr>
        <p:grpSpPr>
          <a:xfrm>
            <a:off x="218485" y="984138"/>
            <a:ext cx="4199769" cy="1436410"/>
            <a:chOff x="218485" y="984138"/>
            <a:chExt cx="4199769" cy="1436410"/>
          </a:xfrm>
        </p:grpSpPr>
        <p:sp>
          <p:nvSpPr>
            <p:cNvPr id="22" name="Rectangle 21"/>
            <p:cNvSpPr/>
            <p:nvPr/>
          </p:nvSpPr>
          <p:spPr>
            <a:xfrm>
              <a:off x="218485" y="984138"/>
              <a:ext cx="4086478" cy="1419196"/>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88962" y="1114459"/>
              <a:ext cx="1442734" cy="1033357"/>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11" name="Text Placeholder 4"/>
            <p:cNvSpPr txBox="1">
              <a:spLocks/>
            </p:cNvSpPr>
            <p:nvPr/>
          </p:nvSpPr>
          <p:spPr>
            <a:xfrm>
              <a:off x="1719793" y="1074753"/>
              <a:ext cx="2698461" cy="1345795"/>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buNone/>
              </a:pPr>
              <a:r>
                <a:rPr lang="ja-JP" altLang="en-US" sz="1800" dirty="0" smtClean="0"/>
                <a:t>サンプルレポート</a:t>
              </a:r>
              <a:r>
                <a:rPr lang="en-US" sz="1800" dirty="0" smtClean="0"/>
                <a:t>: </a:t>
              </a:r>
            </a:p>
            <a:p>
              <a:pPr marL="355600" lvl="1" indent="-177800">
                <a:spcBef>
                  <a:spcPts val="300"/>
                </a:spcBef>
              </a:pPr>
              <a:r>
                <a:rPr lang="ja-JP" altLang="en-US" sz="1600" dirty="0" smtClean="0"/>
                <a:t>企業サイズごとの脅威</a:t>
              </a:r>
            </a:p>
            <a:p>
              <a:pPr marL="355600" lvl="1" indent="-177800">
                <a:spcBef>
                  <a:spcPts val="300"/>
                </a:spcBef>
              </a:pPr>
              <a:r>
                <a:rPr lang="ja-JP" altLang="en-US" sz="1600" dirty="0" smtClean="0"/>
                <a:t>デモビデオ</a:t>
              </a:r>
              <a:endParaRPr lang="en-US" altLang="ja-JP" sz="1600" dirty="0" smtClean="0"/>
            </a:p>
            <a:p>
              <a:pPr marL="355600" lvl="1" indent="-177800">
                <a:spcBef>
                  <a:spcPts val="300"/>
                </a:spcBef>
              </a:pPr>
              <a:r>
                <a:rPr lang="ja-JP" altLang="en-US" sz="1600" dirty="0" smtClean="0"/>
                <a:t>デモライセンス</a:t>
              </a:r>
              <a:endParaRPr lang="en-US" altLang="ja-JP" sz="1600" dirty="0" smtClean="0"/>
            </a:p>
          </p:txBody>
        </p:sp>
      </p:grpSp>
      <p:grpSp>
        <p:nvGrpSpPr>
          <p:cNvPr id="24" name="Group 23"/>
          <p:cNvGrpSpPr/>
          <p:nvPr/>
        </p:nvGrpSpPr>
        <p:grpSpPr>
          <a:xfrm>
            <a:off x="4575631" y="999503"/>
            <a:ext cx="4382253" cy="1453413"/>
            <a:chOff x="4575631" y="999503"/>
            <a:chExt cx="4382253" cy="1453413"/>
          </a:xfrm>
        </p:grpSpPr>
        <p:sp>
          <p:nvSpPr>
            <p:cNvPr id="28" name="Rectangle 27"/>
            <p:cNvSpPr/>
            <p:nvPr/>
          </p:nvSpPr>
          <p:spPr>
            <a:xfrm>
              <a:off x="4575631" y="999503"/>
              <a:ext cx="4382253" cy="1419196"/>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 Placeholder 4"/>
            <p:cNvSpPr txBox="1">
              <a:spLocks/>
            </p:cNvSpPr>
            <p:nvPr/>
          </p:nvSpPr>
          <p:spPr>
            <a:xfrm>
              <a:off x="6416568" y="1000322"/>
              <a:ext cx="2541316" cy="1452594"/>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buNone/>
              </a:pPr>
              <a:r>
                <a:rPr lang="en-US" altLang="ja-JP" sz="1800" dirty="0" smtClean="0"/>
                <a:t>CTA</a:t>
              </a:r>
              <a:r>
                <a:rPr lang="ja-JP" altLang="en-US" sz="1800" dirty="0" smtClean="0"/>
                <a:t>参考ポータル</a:t>
              </a:r>
              <a:r>
                <a:rPr lang="en-US" sz="1800" dirty="0" smtClean="0"/>
                <a:t>: </a:t>
              </a:r>
            </a:p>
            <a:p>
              <a:pPr marL="355600" lvl="1" indent="-177800">
                <a:spcBef>
                  <a:spcPts val="300"/>
                </a:spcBef>
              </a:pPr>
              <a:r>
                <a:rPr lang="en-US" altLang="ja-JP" sz="1600" dirty="0" smtClean="0"/>
                <a:t>WSA log</a:t>
              </a:r>
              <a:r>
                <a:rPr lang="ja-JP" altLang="en-US" sz="1600" dirty="0" smtClean="0"/>
                <a:t>インポートの場合</a:t>
              </a:r>
              <a:endParaRPr lang="en-US" altLang="ja-JP" sz="1600" dirty="0" smtClean="0"/>
            </a:p>
            <a:p>
              <a:pPr marL="355600" lvl="1" indent="-177800">
                <a:spcBef>
                  <a:spcPts val="300"/>
                </a:spcBef>
              </a:pPr>
              <a:r>
                <a:rPr lang="ja-JP" altLang="en-US" sz="1600" dirty="0" smtClean="0"/>
                <a:t>脅威の可視化</a:t>
              </a:r>
              <a:endParaRPr lang="en-US" sz="1600" dirty="0"/>
            </a:p>
          </p:txBody>
        </p:sp>
        <p:pic>
          <p:nvPicPr>
            <p:cNvPr id="2" name="Picture 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25093" y="1107121"/>
              <a:ext cx="1839270" cy="1040695"/>
            </a:xfrm>
            <a:prstGeom prst="rect">
              <a:avLst/>
            </a:prstGeom>
            <a:ln>
              <a:solidFill>
                <a:schemeClr val="accent3">
                  <a:lumMod val="75000"/>
                </a:schemeClr>
              </a:solidFill>
            </a:ln>
            <a:effectLst>
              <a:outerShdw blurRad="292100" dist="139700" dir="2700000" algn="tl" rotWithShape="0">
                <a:srgbClr val="333333">
                  <a:alpha val="65000"/>
                </a:srgbClr>
              </a:outerShdw>
            </a:effectLst>
          </p:spPr>
        </p:pic>
      </p:grpSp>
      <p:grpSp>
        <p:nvGrpSpPr>
          <p:cNvPr id="30" name="Group 29"/>
          <p:cNvGrpSpPr/>
          <p:nvPr/>
        </p:nvGrpSpPr>
        <p:grpSpPr>
          <a:xfrm>
            <a:off x="4575631" y="2740344"/>
            <a:ext cx="4429632" cy="1419196"/>
            <a:chOff x="4575631" y="2740344"/>
            <a:chExt cx="4429632" cy="1419196"/>
          </a:xfrm>
        </p:grpSpPr>
        <p:sp>
          <p:nvSpPr>
            <p:cNvPr id="29" name="Rectangle 28"/>
            <p:cNvSpPr/>
            <p:nvPr/>
          </p:nvSpPr>
          <p:spPr>
            <a:xfrm>
              <a:off x="4575631" y="2740344"/>
              <a:ext cx="4382253" cy="1419196"/>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0" name="Picture 9"/>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644827" y="2845946"/>
              <a:ext cx="1817313" cy="1156657"/>
            </a:xfrm>
            <a:prstGeom prst="rect">
              <a:avLst/>
            </a:prstGeom>
            <a:ln>
              <a:solidFill>
                <a:schemeClr val="accent3">
                  <a:lumMod val="75000"/>
                </a:schemeClr>
              </a:solidFill>
            </a:ln>
            <a:effectLst>
              <a:outerShdw blurRad="292100" dist="139700" dir="2700000" algn="tl" rotWithShape="0">
                <a:srgbClr val="333333">
                  <a:alpha val="65000"/>
                </a:srgbClr>
              </a:outerShdw>
            </a:effectLst>
          </p:spPr>
        </p:pic>
        <p:sp>
          <p:nvSpPr>
            <p:cNvPr id="13" name="Text Placeholder 4"/>
            <p:cNvSpPr txBox="1">
              <a:spLocks/>
            </p:cNvSpPr>
            <p:nvPr/>
          </p:nvSpPr>
          <p:spPr>
            <a:xfrm>
              <a:off x="6492921" y="2803839"/>
              <a:ext cx="2512342" cy="1345795"/>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buNone/>
              </a:pPr>
              <a:r>
                <a:rPr lang="ja-JP" altLang="en-US" sz="1800" dirty="0" smtClean="0"/>
                <a:t>リスクモデルの説明</a:t>
              </a:r>
              <a:r>
                <a:rPr lang="en-US" sz="1800" dirty="0" smtClean="0"/>
                <a:t>:</a:t>
              </a:r>
            </a:p>
            <a:p>
              <a:pPr marL="355600" lvl="1" indent="-177800">
                <a:spcBef>
                  <a:spcPts val="300"/>
                </a:spcBef>
              </a:pPr>
              <a:r>
                <a:rPr lang="ja-JP" altLang="en-US" sz="1600" dirty="0" smtClean="0"/>
                <a:t>脅威リスクごとの指針</a:t>
              </a:r>
              <a:endParaRPr lang="en-US" sz="1600" dirty="0" smtClean="0"/>
            </a:p>
            <a:p>
              <a:pPr marL="355600" lvl="1" indent="-177800">
                <a:spcBef>
                  <a:spcPts val="300"/>
                </a:spcBef>
              </a:pPr>
              <a:r>
                <a:rPr lang="ja-JP" altLang="en-US" sz="1600" dirty="0" smtClean="0"/>
                <a:t>対応策のアドバイス</a:t>
              </a:r>
              <a:endParaRPr lang="en-US" sz="1600" dirty="0"/>
            </a:p>
          </p:txBody>
        </p:sp>
      </p:grpSp>
      <p:grpSp>
        <p:nvGrpSpPr>
          <p:cNvPr id="26" name="Group 25"/>
          <p:cNvGrpSpPr/>
          <p:nvPr/>
        </p:nvGrpSpPr>
        <p:grpSpPr>
          <a:xfrm>
            <a:off x="218484" y="2724160"/>
            <a:ext cx="4135030" cy="1419196"/>
            <a:chOff x="218484" y="2724160"/>
            <a:chExt cx="4135030" cy="1419196"/>
          </a:xfrm>
        </p:grpSpPr>
        <p:sp>
          <p:nvSpPr>
            <p:cNvPr id="27" name="Rectangle 26"/>
            <p:cNvSpPr/>
            <p:nvPr/>
          </p:nvSpPr>
          <p:spPr>
            <a:xfrm>
              <a:off x="218484" y="2724160"/>
              <a:ext cx="4086478" cy="1419196"/>
            </a:xfrm>
            <a:prstGeom prst="rect">
              <a:avLst/>
            </a:prstGeom>
            <a:solidFill>
              <a:schemeClr val="accent2">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5" name="Group 14"/>
            <p:cNvGrpSpPr/>
            <p:nvPr/>
          </p:nvGrpSpPr>
          <p:grpSpPr>
            <a:xfrm>
              <a:off x="288962" y="2784214"/>
              <a:ext cx="1603399" cy="1178459"/>
              <a:chOff x="329422" y="2622374"/>
              <a:chExt cx="1603399" cy="1178459"/>
            </a:xfrm>
          </p:grpSpPr>
          <p:pic>
            <p:nvPicPr>
              <p:cNvPr id="14" name="Picture 13"/>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29422" y="2767476"/>
                <a:ext cx="1442734" cy="1033357"/>
              </a:xfrm>
              <a:prstGeom prst="rect">
                <a:avLst/>
              </a:prstGeom>
              <a:ln>
                <a:solidFill>
                  <a:schemeClr val="tx1">
                    <a:lumMod val="50000"/>
                  </a:schemeClr>
                </a:solidFill>
              </a:ln>
              <a:effectLst>
                <a:outerShdw blurRad="292100" dist="139700" dir="2700000" algn="tl" rotWithShape="0">
                  <a:srgbClr val="333333">
                    <a:alpha val="65000"/>
                  </a:srgbClr>
                </a:outerShdw>
              </a:effectLst>
            </p:spPr>
          </p:pic>
          <p:sp>
            <p:nvSpPr>
              <p:cNvPr id="3" name="Rectangle 2"/>
              <p:cNvSpPr/>
              <p:nvPr/>
            </p:nvSpPr>
            <p:spPr>
              <a:xfrm>
                <a:off x="329422" y="2767476"/>
                <a:ext cx="1442734" cy="1023892"/>
              </a:xfrm>
              <a:prstGeom prst="rect">
                <a:avLst/>
              </a:prstGeom>
              <a:solidFill>
                <a:schemeClr val="bg1"/>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24578" name="Picture 2" descr="http://15ff3995018c96c3d251-c244da9c488f4c6979035312792c51ef.r7.cf2.rackcdn.com/product-hugerect-257753-90947-1383660894-012c0668b318b14357b0a4974aabc68a"/>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410342" y="3235494"/>
                <a:ext cx="364141" cy="520201"/>
              </a:xfrm>
              <a:prstGeom prst="rect">
                <a:avLst/>
              </a:prstGeom>
              <a:noFill/>
              <a:extLst>
                <a:ext uri="{909E8E84-426E-40dd-AFC4-6F175D3DCCD1}">
                  <a14:hiddenFill xmlns:a14="http://schemas.microsoft.com/office/drawing/2010/main">
                    <a:solidFill>
                      <a:srgbClr val="FFFFFF"/>
                    </a:solidFill>
                  </a14:hiddenFill>
                </a:ext>
              </a:extLst>
            </p:spPr>
          </p:pic>
          <p:sp>
            <p:nvSpPr>
              <p:cNvPr id="17" name="Oval 2"/>
              <p:cNvSpPr/>
              <p:nvPr/>
            </p:nvSpPr>
            <p:spPr bwMode="auto">
              <a:xfrm>
                <a:off x="922492" y="2622374"/>
                <a:ext cx="1010329" cy="681394"/>
              </a:xfrm>
              <a:custGeom>
                <a:avLst/>
                <a:gdLst/>
                <a:ahLst/>
                <a:cxnLst/>
                <a:rect l="l" t="t" r="r" b="b"/>
                <a:pathLst>
                  <a:path w="2488679" h="1722978">
                    <a:moveTo>
                      <a:pt x="1568924" y="0"/>
                    </a:moveTo>
                    <a:cubicBezTo>
                      <a:pt x="1889013" y="0"/>
                      <a:pt x="2148497" y="259484"/>
                      <a:pt x="2148497" y="579573"/>
                    </a:cubicBezTo>
                    <a:cubicBezTo>
                      <a:pt x="2148497" y="628390"/>
                      <a:pt x="2142461" y="675798"/>
                      <a:pt x="2129199" y="720614"/>
                    </a:cubicBezTo>
                    <a:cubicBezTo>
                      <a:pt x="2337950" y="784181"/>
                      <a:pt x="2488679" y="978799"/>
                      <a:pt x="2488679" y="1208622"/>
                    </a:cubicBezTo>
                    <a:cubicBezTo>
                      <a:pt x="2488679" y="1492693"/>
                      <a:pt x="2258394" y="1722978"/>
                      <a:pt x="1974323" y="1722978"/>
                    </a:cubicBezTo>
                    <a:lnTo>
                      <a:pt x="1974313" y="1722977"/>
                    </a:lnTo>
                    <a:lnTo>
                      <a:pt x="563842" y="1722977"/>
                    </a:lnTo>
                    <a:cubicBezTo>
                      <a:pt x="563839" y="1722978"/>
                      <a:pt x="563836" y="1722978"/>
                      <a:pt x="563832" y="1722978"/>
                    </a:cubicBezTo>
                    <a:cubicBezTo>
                      <a:pt x="252436" y="1722978"/>
                      <a:pt x="0" y="1470542"/>
                      <a:pt x="0" y="1159146"/>
                    </a:cubicBezTo>
                    <a:cubicBezTo>
                      <a:pt x="0" y="944117"/>
                      <a:pt x="120370" y="757203"/>
                      <a:pt x="298654" y="664433"/>
                    </a:cubicBezTo>
                    <a:cubicBezTo>
                      <a:pt x="297817" y="661589"/>
                      <a:pt x="297788" y="658721"/>
                      <a:pt x="297788" y="655847"/>
                    </a:cubicBezTo>
                    <a:cubicBezTo>
                      <a:pt x="297788" y="426683"/>
                      <a:pt x="483562" y="240909"/>
                      <a:pt x="712726" y="240909"/>
                    </a:cubicBezTo>
                    <a:cubicBezTo>
                      <a:pt x="838046" y="240909"/>
                      <a:pt x="950390" y="296465"/>
                      <a:pt x="1025124" y="385461"/>
                    </a:cubicBezTo>
                    <a:cubicBezTo>
                      <a:pt x="1102977" y="160464"/>
                      <a:pt x="1317212" y="0"/>
                      <a:pt x="1568924" y="0"/>
                    </a:cubicBezTo>
                    <a:close/>
                  </a:path>
                </a:pathLst>
              </a:cu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53" tIns="41127" rIns="41127" bIns="82253" numCol="1" spcCol="0" rtlCol="0" fromWordArt="0" anchor="b" anchorCtr="0" forceAA="0" compatLnSpc="1">
                <a:prstTxWarp prst="textNoShape">
                  <a:avLst/>
                </a:prstTxWarp>
                <a:noAutofit/>
              </a:bodyPr>
              <a:lstStyle/>
              <a:p>
                <a:pPr algn="ctr" defTabSz="821684" fontAlgn="base">
                  <a:spcBef>
                    <a:spcPct val="0"/>
                  </a:spcBef>
                  <a:spcAft>
                    <a:spcPct val="0"/>
                  </a:spcAft>
                </a:pPr>
                <a:endParaRPr lang="en-US" sz="1350" spc="-45" dirty="0" err="1">
                  <a:gradFill>
                    <a:gsLst>
                      <a:gs pos="0">
                        <a:srgbClr val="FFFFFF"/>
                      </a:gs>
                      <a:gs pos="100000">
                        <a:srgbClr val="FFFFFF"/>
                      </a:gs>
                    </a:gsLst>
                    <a:lin ang="5400000" scaled="0"/>
                  </a:gradFill>
                  <a:ea typeface="Segoe UI" pitchFamily="34" charset="0"/>
                  <a:cs typeface="Segoe UI" pitchFamily="34" charset="0"/>
                </a:endParaRPr>
              </a:p>
            </p:txBody>
          </p:sp>
          <p:pic>
            <p:nvPicPr>
              <p:cNvPr id="24582" name="Picture 6" descr="http://www.cisco.com/c/dam/assets/prod/switches/cisco-switch-selector-how-to/images/cisco-logo-2x.png"/>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132885" y="2897119"/>
                <a:ext cx="619275" cy="334743"/>
              </a:xfrm>
              <a:prstGeom prst="rect">
                <a:avLst/>
              </a:prstGeom>
              <a:noFill/>
              <a:extLst>
                <a:ext uri="{909E8E84-426E-40dd-AFC4-6F175D3DCCD1}">
                  <a14:hiddenFill xmlns:a14="http://schemas.microsoft.com/office/drawing/2010/main">
                    <a:solidFill>
                      <a:srgbClr val="FFFFFF"/>
                    </a:solidFill>
                  </a14:hiddenFill>
                </a:ext>
              </a:extLst>
            </p:spPr>
          </p:pic>
          <p:sp>
            <p:nvSpPr>
              <p:cNvPr id="6" name="Bent Arrow 5"/>
              <p:cNvSpPr/>
              <p:nvPr/>
            </p:nvSpPr>
            <p:spPr>
              <a:xfrm rot="16200000" flipV="1">
                <a:off x="950150" y="3055273"/>
                <a:ext cx="353832" cy="769901"/>
              </a:xfrm>
              <a:prstGeom prst="bentArrow">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sp>
          <p:nvSpPr>
            <p:cNvPr id="25" name="Text Placeholder 4"/>
            <p:cNvSpPr txBox="1">
              <a:spLocks/>
            </p:cNvSpPr>
            <p:nvPr/>
          </p:nvSpPr>
          <p:spPr>
            <a:xfrm>
              <a:off x="1734049" y="2793591"/>
              <a:ext cx="2619465" cy="1276938"/>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buNone/>
              </a:pPr>
              <a:r>
                <a:rPr lang="ja-JP" altLang="en-US" sz="1800" dirty="0" smtClean="0"/>
                <a:t>青いコートをインポート</a:t>
              </a:r>
              <a:r>
                <a:rPr lang="en-US" sz="1800" dirty="0" smtClean="0"/>
                <a:t>:</a:t>
              </a:r>
            </a:p>
            <a:p>
              <a:pPr marL="355600" lvl="1" indent="-177800">
                <a:spcBef>
                  <a:spcPts val="300"/>
                </a:spcBef>
              </a:pPr>
              <a:r>
                <a:rPr lang="en-US" sz="1600" dirty="0" smtClean="0"/>
                <a:t>HTTPS</a:t>
              </a:r>
            </a:p>
            <a:p>
              <a:pPr marL="355600" lvl="1" indent="-177800">
                <a:spcBef>
                  <a:spcPts val="300"/>
                </a:spcBef>
              </a:pPr>
              <a:r>
                <a:rPr lang="ja-JP" altLang="en-US" sz="1600" dirty="0" smtClean="0"/>
                <a:t>他ベンダーもプラン</a:t>
              </a:r>
              <a:endParaRPr lang="en-US" sz="1600" dirty="0"/>
            </a:p>
          </p:txBody>
        </p:sp>
      </p:grpSp>
    </p:spTree>
    <p:extLst>
      <p:ext uri="{BB962C8B-B14F-4D97-AF65-F5344CB8AC3E}">
        <p14:creationId xmlns:p14="http://schemas.microsoft.com/office/powerpoint/2010/main" val="1158869794"/>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TA</a:t>
            </a:r>
            <a:r>
              <a:rPr lang="ja-JP" altLang="en-US" dirty="0" smtClean="0"/>
              <a:t>はビックデータ＆学習型の検知ロジック</a:t>
            </a:r>
            <a:endParaRPr lang="en-US" dirty="0"/>
          </a:p>
        </p:txBody>
      </p:sp>
      <p:sp>
        <p:nvSpPr>
          <p:cNvPr id="4" name="Rectangle 3"/>
          <p:cNvSpPr/>
          <p:nvPr/>
        </p:nvSpPr>
        <p:spPr>
          <a:xfrm>
            <a:off x="428627" y="1470551"/>
            <a:ext cx="4886325" cy="2808555"/>
          </a:xfrm>
          <a:prstGeom prst="rect">
            <a:avLst/>
          </a:prstGeom>
          <a:solidFill>
            <a:schemeClr val="bg1">
              <a:lumMod val="95000"/>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marL="173831" defTabSz="685874">
              <a:spcAft>
                <a:spcPts val="900"/>
              </a:spcAft>
            </a:pPr>
            <a:r>
              <a:rPr lang="ja-JP" altLang="en-US" sz="1600" b="1" dirty="0" smtClean="0">
                <a:solidFill>
                  <a:schemeClr val="tx1"/>
                </a:solidFill>
              </a:rPr>
              <a:t>・脅威の防御</a:t>
            </a:r>
            <a:r>
              <a:rPr lang="en-US" sz="1600" b="1" dirty="0">
                <a:solidFill>
                  <a:schemeClr val="tx1"/>
                </a:solidFill>
              </a:rPr>
              <a:t/>
            </a:r>
            <a:br>
              <a:rPr lang="en-US" sz="1600" b="1" dirty="0">
                <a:solidFill>
                  <a:schemeClr val="tx1"/>
                </a:solidFill>
              </a:rPr>
            </a:br>
            <a:r>
              <a:rPr lang="ja-JP" altLang="en-US" sz="1600" dirty="0" smtClean="0">
                <a:solidFill>
                  <a:schemeClr val="tx1"/>
                </a:solidFill>
              </a:rPr>
              <a:t>ビッグデータ情報分析により潜在的な脅威を発見</a:t>
            </a:r>
            <a:endParaRPr lang="en-US" altLang="ja-JP" sz="1600" dirty="0" smtClean="0">
              <a:solidFill>
                <a:schemeClr val="tx1"/>
              </a:solidFill>
            </a:endParaRPr>
          </a:p>
          <a:p>
            <a:pPr marL="173831" defTabSz="685874">
              <a:spcAft>
                <a:spcPts val="900"/>
              </a:spcAft>
            </a:pPr>
            <a:r>
              <a:rPr lang="ja-JP" altLang="en-US" sz="1600" b="1" dirty="0" smtClean="0">
                <a:solidFill>
                  <a:schemeClr val="tx1"/>
                </a:solidFill>
              </a:rPr>
              <a:t>・常に進化</a:t>
            </a:r>
            <a:r>
              <a:rPr lang="en-US" sz="1600" b="1" dirty="0" smtClean="0">
                <a:solidFill>
                  <a:schemeClr val="tx1"/>
                </a:solidFill>
              </a:rPr>
              <a:t/>
            </a:r>
            <a:br>
              <a:rPr lang="en-US" sz="1600" b="1" dirty="0" smtClean="0">
                <a:solidFill>
                  <a:schemeClr val="tx1"/>
                </a:solidFill>
              </a:rPr>
            </a:br>
            <a:r>
              <a:rPr lang="ja-JP" altLang="en-US" sz="1600" dirty="0">
                <a:solidFill>
                  <a:schemeClr val="tx1"/>
                </a:solidFill>
              </a:rPr>
              <a:t>機械</a:t>
            </a:r>
            <a:r>
              <a:rPr lang="ja-JP" altLang="en-US" sz="1600" dirty="0" smtClean="0">
                <a:solidFill>
                  <a:schemeClr val="tx1"/>
                </a:solidFill>
              </a:rPr>
              <a:t>学習は継続して行われるため、煩雑なルールセットなどを設定する必要なくセキュリティを強化可能</a:t>
            </a:r>
            <a:endParaRPr lang="en-US" sz="1600" dirty="0">
              <a:solidFill>
                <a:schemeClr val="tx1"/>
              </a:solidFill>
            </a:endParaRPr>
          </a:p>
          <a:p>
            <a:pPr marL="173831" defTabSz="685874">
              <a:spcAft>
                <a:spcPts val="900"/>
              </a:spcAft>
            </a:pPr>
            <a:r>
              <a:rPr lang="ja-JP" altLang="en-US" sz="1600" b="1" dirty="0" smtClean="0">
                <a:solidFill>
                  <a:schemeClr val="tx1"/>
                </a:solidFill>
              </a:rPr>
              <a:t>・脅威を即座に発見</a:t>
            </a:r>
            <a:r>
              <a:rPr lang="en-US" sz="1600" b="1" dirty="0" smtClean="0">
                <a:solidFill>
                  <a:schemeClr val="tx1"/>
                </a:solidFill>
              </a:rPr>
              <a:t/>
            </a:r>
            <a:br>
              <a:rPr lang="en-US" sz="1600" b="1" dirty="0" smtClean="0">
                <a:solidFill>
                  <a:schemeClr val="tx1"/>
                </a:solidFill>
              </a:rPr>
            </a:br>
            <a:r>
              <a:rPr lang="ja-JP" altLang="en-US" sz="1600" dirty="0" smtClean="0">
                <a:solidFill>
                  <a:schemeClr val="tx1"/>
                </a:solidFill>
              </a:rPr>
              <a:t>継続的な学習の結果、自動的に不正なマシンの挙動を発見</a:t>
            </a:r>
            <a:endParaRPr lang="en-US" sz="1600" dirty="0">
              <a:solidFill>
                <a:schemeClr val="tx1"/>
              </a:solidFill>
            </a:endParaRPr>
          </a:p>
        </p:txBody>
      </p:sp>
      <p:sp>
        <p:nvSpPr>
          <p:cNvPr id="5" name="Rectangle 4"/>
          <p:cNvSpPr/>
          <p:nvPr/>
        </p:nvSpPr>
        <p:spPr>
          <a:xfrm>
            <a:off x="5582320" y="1415690"/>
            <a:ext cx="3133059" cy="1328617"/>
          </a:xfrm>
          <a:prstGeom prst="rect">
            <a:avLst/>
          </a:prstGeom>
          <a:solidFill>
            <a:schemeClr val="accent4">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1200150"/>
            <a:r>
              <a:rPr lang="ja-JP" altLang="en-US" dirty="0"/>
              <a:t>ビッグデータ</a:t>
            </a:r>
            <a:endParaRPr lang="en-US" dirty="0"/>
          </a:p>
        </p:txBody>
      </p:sp>
      <p:sp>
        <p:nvSpPr>
          <p:cNvPr id="13" name="Rectangle 12"/>
          <p:cNvSpPr/>
          <p:nvPr/>
        </p:nvSpPr>
        <p:spPr>
          <a:xfrm>
            <a:off x="5582320" y="2950372"/>
            <a:ext cx="3133059" cy="1328737"/>
          </a:xfrm>
          <a:prstGeom prst="rect">
            <a:avLst/>
          </a:prstGeom>
          <a:solidFill>
            <a:schemeClr val="accent4">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1200150"/>
            <a:r>
              <a:rPr lang="ja-JP" altLang="en-US" dirty="0"/>
              <a:t>機械学習</a:t>
            </a:r>
            <a:endParaRPr lang="en-US" dirty="0"/>
          </a:p>
        </p:txBody>
      </p:sp>
      <p:cxnSp>
        <p:nvCxnSpPr>
          <p:cNvPr id="16" name="Straight Connector 15"/>
          <p:cNvCxnSpPr/>
          <p:nvPr/>
        </p:nvCxnSpPr>
        <p:spPr>
          <a:xfrm>
            <a:off x="6662971" y="3168967"/>
            <a:ext cx="0" cy="8915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662971" y="1608497"/>
            <a:ext cx="0" cy="89154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6" name="Group 25"/>
          <p:cNvGrpSpPr/>
          <p:nvPr/>
        </p:nvGrpSpPr>
        <p:grpSpPr>
          <a:xfrm>
            <a:off x="5788850" y="3268009"/>
            <a:ext cx="700727" cy="717890"/>
            <a:chOff x="7812966" y="2295112"/>
            <a:chExt cx="641917" cy="657640"/>
          </a:xfrm>
        </p:grpSpPr>
        <p:sp>
          <p:nvSpPr>
            <p:cNvPr id="18" name="Freeform 17"/>
            <p:cNvSpPr>
              <a:spLocks/>
            </p:cNvSpPr>
            <p:nvPr/>
          </p:nvSpPr>
          <p:spPr bwMode="auto">
            <a:xfrm>
              <a:off x="7812966" y="2295112"/>
              <a:ext cx="641917" cy="657640"/>
            </a:xfrm>
            <a:custGeom>
              <a:avLst/>
              <a:gdLst>
                <a:gd name="T0" fmla="*/ 1687 w 1710"/>
                <a:gd name="T1" fmla="*/ 1623 h 1752"/>
                <a:gd name="T2" fmla="*/ 1368 w 1710"/>
                <a:gd name="T3" fmla="*/ 1323 h 1752"/>
                <a:gd name="T4" fmla="*/ 1080 w 1710"/>
                <a:gd name="T5" fmla="*/ 1154 h 1752"/>
                <a:gd name="T6" fmla="*/ 1074 w 1710"/>
                <a:gd name="T7" fmla="*/ 1013 h 1752"/>
                <a:gd name="T8" fmla="*/ 1161 w 1710"/>
                <a:gd name="T9" fmla="*/ 815 h 1752"/>
                <a:gd name="T10" fmla="*/ 1218 w 1710"/>
                <a:gd name="T11" fmla="*/ 753 h 1752"/>
                <a:gd name="T12" fmla="*/ 1277 w 1710"/>
                <a:gd name="T13" fmla="*/ 630 h 1752"/>
                <a:gd name="T14" fmla="*/ 1226 w 1710"/>
                <a:gd name="T15" fmla="*/ 594 h 1752"/>
                <a:gd name="T16" fmla="*/ 1266 w 1710"/>
                <a:gd name="T17" fmla="*/ 348 h 1752"/>
                <a:gd name="T18" fmla="*/ 882 w 1710"/>
                <a:gd name="T19" fmla="*/ 0 h 1752"/>
                <a:gd name="T20" fmla="*/ 828 w 1710"/>
                <a:gd name="T21" fmla="*/ 0 h 1752"/>
                <a:gd name="T22" fmla="*/ 436 w 1710"/>
                <a:gd name="T23" fmla="*/ 348 h 1752"/>
                <a:gd name="T24" fmla="*/ 468 w 1710"/>
                <a:gd name="T25" fmla="*/ 590 h 1752"/>
                <a:gd name="T26" fmla="*/ 429 w 1710"/>
                <a:gd name="T27" fmla="*/ 626 h 1752"/>
                <a:gd name="T28" fmla="*/ 492 w 1710"/>
                <a:gd name="T29" fmla="*/ 753 h 1752"/>
                <a:gd name="T30" fmla="*/ 549 w 1710"/>
                <a:gd name="T31" fmla="*/ 815 h 1752"/>
                <a:gd name="T32" fmla="*/ 636 w 1710"/>
                <a:gd name="T33" fmla="*/ 1013 h 1752"/>
                <a:gd name="T34" fmla="*/ 630 w 1710"/>
                <a:gd name="T35" fmla="*/ 1154 h 1752"/>
                <a:gd name="T36" fmla="*/ 342 w 1710"/>
                <a:gd name="T37" fmla="*/ 1323 h 1752"/>
                <a:gd name="T38" fmla="*/ 23 w 1710"/>
                <a:gd name="T39" fmla="*/ 1623 h 1752"/>
                <a:gd name="T40" fmla="*/ 855 w 1710"/>
                <a:gd name="T41" fmla="*/ 1752 h 1752"/>
                <a:gd name="T42" fmla="*/ 1687 w 1710"/>
                <a:gd name="T43" fmla="*/ 1623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10" h="1752">
                  <a:moveTo>
                    <a:pt x="1687" y="1623"/>
                  </a:moveTo>
                  <a:cubicBezTo>
                    <a:pt x="1657" y="1389"/>
                    <a:pt x="1612" y="1381"/>
                    <a:pt x="1368" y="1323"/>
                  </a:cubicBezTo>
                  <a:cubicBezTo>
                    <a:pt x="1124" y="1265"/>
                    <a:pt x="1080" y="1205"/>
                    <a:pt x="1080" y="1154"/>
                  </a:cubicBezTo>
                  <a:cubicBezTo>
                    <a:pt x="1080" y="1103"/>
                    <a:pt x="1074" y="1013"/>
                    <a:pt x="1074" y="1013"/>
                  </a:cubicBezTo>
                  <a:cubicBezTo>
                    <a:pt x="1142" y="928"/>
                    <a:pt x="1161" y="815"/>
                    <a:pt x="1161" y="815"/>
                  </a:cubicBezTo>
                  <a:cubicBezTo>
                    <a:pt x="1195" y="813"/>
                    <a:pt x="1204" y="784"/>
                    <a:pt x="1218" y="753"/>
                  </a:cubicBezTo>
                  <a:cubicBezTo>
                    <a:pt x="1232" y="722"/>
                    <a:pt x="1279" y="671"/>
                    <a:pt x="1277" y="630"/>
                  </a:cubicBezTo>
                  <a:cubicBezTo>
                    <a:pt x="1275" y="589"/>
                    <a:pt x="1226" y="594"/>
                    <a:pt x="1226" y="594"/>
                  </a:cubicBezTo>
                  <a:cubicBezTo>
                    <a:pt x="1226" y="594"/>
                    <a:pt x="1282" y="456"/>
                    <a:pt x="1266" y="348"/>
                  </a:cubicBezTo>
                  <a:cubicBezTo>
                    <a:pt x="1250" y="96"/>
                    <a:pt x="1034" y="0"/>
                    <a:pt x="882" y="0"/>
                  </a:cubicBezTo>
                  <a:cubicBezTo>
                    <a:pt x="828" y="0"/>
                    <a:pt x="828" y="0"/>
                    <a:pt x="828" y="0"/>
                  </a:cubicBezTo>
                  <a:cubicBezTo>
                    <a:pt x="676" y="0"/>
                    <a:pt x="452" y="96"/>
                    <a:pt x="436" y="348"/>
                  </a:cubicBezTo>
                  <a:cubicBezTo>
                    <a:pt x="420" y="456"/>
                    <a:pt x="468" y="590"/>
                    <a:pt x="468" y="590"/>
                  </a:cubicBezTo>
                  <a:cubicBezTo>
                    <a:pt x="468" y="590"/>
                    <a:pt x="431" y="585"/>
                    <a:pt x="429" y="626"/>
                  </a:cubicBezTo>
                  <a:cubicBezTo>
                    <a:pt x="427" y="667"/>
                    <a:pt x="478" y="722"/>
                    <a:pt x="492" y="753"/>
                  </a:cubicBezTo>
                  <a:cubicBezTo>
                    <a:pt x="506" y="784"/>
                    <a:pt x="515" y="813"/>
                    <a:pt x="549" y="815"/>
                  </a:cubicBezTo>
                  <a:cubicBezTo>
                    <a:pt x="549" y="815"/>
                    <a:pt x="568" y="928"/>
                    <a:pt x="636" y="1013"/>
                  </a:cubicBezTo>
                  <a:cubicBezTo>
                    <a:pt x="636" y="1013"/>
                    <a:pt x="630" y="1103"/>
                    <a:pt x="630" y="1154"/>
                  </a:cubicBezTo>
                  <a:cubicBezTo>
                    <a:pt x="630" y="1205"/>
                    <a:pt x="586" y="1265"/>
                    <a:pt x="342" y="1323"/>
                  </a:cubicBezTo>
                  <a:cubicBezTo>
                    <a:pt x="98" y="1381"/>
                    <a:pt x="53" y="1389"/>
                    <a:pt x="23" y="1623"/>
                  </a:cubicBezTo>
                  <a:cubicBezTo>
                    <a:pt x="23" y="1623"/>
                    <a:pt x="0" y="1752"/>
                    <a:pt x="855" y="1752"/>
                  </a:cubicBezTo>
                  <a:cubicBezTo>
                    <a:pt x="1710" y="1752"/>
                    <a:pt x="1687" y="1623"/>
                    <a:pt x="1687" y="1623"/>
                  </a:cubicBezTo>
                  <a:close/>
                </a:path>
              </a:pathLst>
            </a:custGeom>
            <a:solidFill>
              <a:schemeClr val="bg2"/>
            </a:solidFill>
            <a:ln w="9525">
              <a:noFill/>
              <a:round/>
              <a:headEnd/>
              <a:tailEnd/>
            </a:ln>
            <a:effectLst/>
            <a:extLst/>
          </p:spPr>
          <p:txBody>
            <a:bodyPr vert="horz" wrap="square" lIns="121888" tIns="60944" rIns="121888" bIns="60944" numCol="1" anchor="t" anchorCtr="0" compatLnSpc="1">
              <a:prstTxWarp prst="textNoShape">
                <a:avLst/>
              </a:prstTxWarp>
            </a:bodyPr>
            <a:lstStyle/>
            <a:p>
              <a:pPr defTabSz="514418" fontAlgn="auto">
                <a:spcBef>
                  <a:spcPts val="0"/>
                </a:spcBef>
                <a:spcAft>
                  <a:spcPts val="0"/>
                </a:spcAft>
              </a:pPr>
              <a:endParaRPr lang="en-US">
                <a:solidFill>
                  <a:srgbClr val="676767"/>
                </a:solidFill>
                <a:latin typeface="Arial"/>
                <a:ea typeface="+mn-ea"/>
                <a:cs typeface="+mn-cs"/>
              </a:endParaRPr>
            </a:p>
          </p:txBody>
        </p:sp>
        <p:grpSp>
          <p:nvGrpSpPr>
            <p:cNvPr id="19" name="Group 18"/>
            <p:cNvGrpSpPr/>
            <p:nvPr/>
          </p:nvGrpSpPr>
          <p:grpSpPr>
            <a:xfrm>
              <a:off x="8007161" y="2337211"/>
              <a:ext cx="253529" cy="241554"/>
              <a:chOff x="6688138" y="3305167"/>
              <a:chExt cx="1081087" cy="1030288"/>
            </a:xfrm>
            <a:solidFill>
              <a:srgbClr val="A6A6A6"/>
            </a:solidFill>
          </p:grpSpPr>
          <p:grpSp>
            <p:nvGrpSpPr>
              <p:cNvPr id="20" name="Group 165"/>
              <p:cNvGrpSpPr/>
              <p:nvPr/>
            </p:nvGrpSpPr>
            <p:grpSpPr>
              <a:xfrm>
                <a:off x="6688138" y="3305167"/>
                <a:ext cx="1081087" cy="1030288"/>
                <a:chOff x="6688138" y="3305167"/>
                <a:chExt cx="1081087" cy="1030288"/>
              </a:xfrm>
              <a:grpFill/>
            </p:grpSpPr>
            <p:sp>
              <p:nvSpPr>
                <p:cNvPr id="22" name="Freeform 129"/>
                <p:cNvSpPr>
                  <a:spLocks noEditPoints="1"/>
                </p:cNvSpPr>
                <p:nvPr/>
              </p:nvSpPr>
              <p:spPr bwMode="auto">
                <a:xfrm>
                  <a:off x="6688138" y="3470267"/>
                  <a:ext cx="503237" cy="495300"/>
                </a:xfrm>
                <a:custGeom>
                  <a:avLst/>
                  <a:gdLst/>
                  <a:ahLst/>
                  <a:cxnLst>
                    <a:cxn ang="0">
                      <a:pos x="196" y="90"/>
                    </a:cxn>
                    <a:cxn ang="0">
                      <a:pos x="193" y="70"/>
                    </a:cxn>
                    <a:cxn ang="0">
                      <a:pos x="189" y="67"/>
                    </a:cxn>
                    <a:cxn ang="0">
                      <a:pos x="175" y="66"/>
                    </a:cxn>
                    <a:cxn ang="0">
                      <a:pos x="164" y="47"/>
                    </a:cxn>
                    <a:cxn ang="0">
                      <a:pos x="170" y="33"/>
                    </a:cxn>
                    <a:cxn ang="0">
                      <a:pos x="169" y="29"/>
                    </a:cxn>
                    <a:cxn ang="0">
                      <a:pos x="153" y="16"/>
                    </a:cxn>
                    <a:cxn ang="0">
                      <a:pos x="149" y="16"/>
                    </a:cxn>
                    <a:cxn ang="0">
                      <a:pos x="137" y="24"/>
                    </a:cxn>
                    <a:cxn ang="0">
                      <a:pos x="116" y="16"/>
                    </a:cxn>
                    <a:cxn ang="0">
                      <a:pos x="112" y="2"/>
                    </a:cxn>
                    <a:cxn ang="0">
                      <a:pos x="108" y="0"/>
                    </a:cxn>
                    <a:cxn ang="0">
                      <a:pos x="88" y="0"/>
                    </a:cxn>
                    <a:cxn ang="0">
                      <a:pos x="85" y="2"/>
                    </a:cxn>
                    <a:cxn ang="0">
                      <a:pos x="81" y="16"/>
                    </a:cxn>
                    <a:cxn ang="0">
                      <a:pos x="60" y="24"/>
                    </a:cxn>
                    <a:cxn ang="0">
                      <a:pos x="48" y="16"/>
                    </a:cxn>
                    <a:cxn ang="0">
                      <a:pos x="43" y="16"/>
                    </a:cxn>
                    <a:cxn ang="0">
                      <a:pos x="28" y="29"/>
                    </a:cxn>
                    <a:cxn ang="0">
                      <a:pos x="27" y="33"/>
                    </a:cxn>
                    <a:cxn ang="0">
                      <a:pos x="33" y="47"/>
                    </a:cxn>
                    <a:cxn ang="0">
                      <a:pos x="21" y="66"/>
                    </a:cxn>
                    <a:cxn ang="0">
                      <a:pos x="7" y="67"/>
                    </a:cxn>
                    <a:cxn ang="0">
                      <a:pos x="4" y="70"/>
                    </a:cxn>
                    <a:cxn ang="0">
                      <a:pos x="0" y="90"/>
                    </a:cxn>
                    <a:cxn ang="0">
                      <a:pos x="2" y="94"/>
                    </a:cxn>
                    <a:cxn ang="0">
                      <a:pos x="15" y="101"/>
                    </a:cxn>
                    <a:cxn ang="0">
                      <a:pos x="19" y="123"/>
                    </a:cxn>
                    <a:cxn ang="0">
                      <a:pos x="9" y="133"/>
                    </a:cxn>
                    <a:cxn ang="0">
                      <a:pos x="9" y="137"/>
                    </a:cxn>
                    <a:cxn ang="0">
                      <a:pos x="19" y="155"/>
                    </a:cxn>
                    <a:cxn ang="0">
                      <a:pos x="23" y="157"/>
                    </a:cxn>
                    <a:cxn ang="0">
                      <a:pos x="37" y="153"/>
                    </a:cxn>
                    <a:cxn ang="0">
                      <a:pos x="54" y="167"/>
                    </a:cxn>
                    <a:cxn ang="0">
                      <a:pos x="53" y="182"/>
                    </a:cxn>
                    <a:cxn ang="0">
                      <a:pos x="55" y="186"/>
                    </a:cxn>
                    <a:cxn ang="0">
                      <a:pos x="74" y="193"/>
                    </a:cxn>
                    <a:cxn ang="0">
                      <a:pos x="78" y="191"/>
                    </a:cxn>
                    <a:cxn ang="0">
                      <a:pos x="87" y="179"/>
                    </a:cxn>
                    <a:cxn ang="0">
                      <a:pos x="98" y="180"/>
                    </a:cxn>
                    <a:cxn ang="0">
                      <a:pos x="109" y="179"/>
                    </a:cxn>
                    <a:cxn ang="0">
                      <a:pos x="118" y="191"/>
                    </a:cxn>
                    <a:cxn ang="0">
                      <a:pos x="122" y="193"/>
                    </a:cxn>
                    <a:cxn ang="0">
                      <a:pos x="141" y="186"/>
                    </a:cxn>
                    <a:cxn ang="0">
                      <a:pos x="144" y="182"/>
                    </a:cxn>
                    <a:cxn ang="0">
                      <a:pos x="142" y="167"/>
                    </a:cxn>
                    <a:cxn ang="0">
                      <a:pos x="160" y="153"/>
                    </a:cxn>
                    <a:cxn ang="0">
                      <a:pos x="174" y="157"/>
                    </a:cxn>
                    <a:cxn ang="0">
                      <a:pos x="178" y="155"/>
                    </a:cxn>
                    <a:cxn ang="0">
                      <a:pos x="188" y="137"/>
                    </a:cxn>
                    <a:cxn ang="0">
                      <a:pos x="187" y="133"/>
                    </a:cxn>
                    <a:cxn ang="0">
                      <a:pos x="177" y="123"/>
                    </a:cxn>
                    <a:cxn ang="0">
                      <a:pos x="181" y="101"/>
                    </a:cxn>
                    <a:cxn ang="0">
                      <a:pos x="194" y="94"/>
                    </a:cxn>
                    <a:cxn ang="0">
                      <a:pos x="196" y="90"/>
                    </a:cxn>
                    <a:cxn ang="0">
                      <a:pos x="98" y="127"/>
                    </a:cxn>
                    <a:cxn ang="0">
                      <a:pos x="69" y="97"/>
                    </a:cxn>
                    <a:cxn ang="0">
                      <a:pos x="98" y="68"/>
                    </a:cxn>
                    <a:cxn ang="0">
                      <a:pos x="128" y="97"/>
                    </a:cxn>
                    <a:cxn ang="0">
                      <a:pos x="98" y="127"/>
                    </a:cxn>
                  </a:cxnLst>
                  <a:rect l="0" t="0" r="r" b="b"/>
                  <a:pathLst>
                    <a:path w="196" h="193">
                      <a:moveTo>
                        <a:pt x="196" y="90"/>
                      </a:moveTo>
                      <a:cubicBezTo>
                        <a:pt x="196" y="90"/>
                        <a:pt x="193" y="71"/>
                        <a:pt x="193" y="70"/>
                      </a:cubicBezTo>
                      <a:cubicBezTo>
                        <a:pt x="192" y="69"/>
                        <a:pt x="191" y="68"/>
                        <a:pt x="189" y="67"/>
                      </a:cubicBezTo>
                      <a:cubicBezTo>
                        <a:pt x="187" y="67"/>
                        <a:pt x="177" y="66"/>
                        <a:pt x="175" y="66"/>
                      </a:cubicBezTo>
                      <a:cubicBezTo>
                        <a:pt x="172" y="59"/>
                        <a:pt x="168" y="53"/>
                        <a:pt x="164" y="47"/>
                      </a:cubicBezTo>
                      <a:cubicBezTo>
                        <a:pt x="164" y="45"/>
                        <a:pt x="169" y="35"/>
                        <a:pt x="170" y="33"/>
                      </a:cubicBezTo>
                      <a:cubicBezTo>
                        <a:pt x="170" y="32"/>
                        <a:pt x="170" y="30"/>
                        <a:pt x="169" y="29"/>
                      </a:cubicBezTo>
                      <a:cubicBezTo>
                        <a:pt x="168" y="29"/>
                        <a:pt x="154" y="17"/>
                        <a:pt x="153" y="16"/>
                      </a:cubicBezTo>
                      <a:cubicBezTo>
                        <a:pt x="152" y="15"/>
                        <a:pt x="150" y="15"/>
                        <a:pt x="149" y="16"/>
                      </a:cubicBezTo>
                      <a:cubicBezTo>
                        <a:pt x="147" y="17"/>
                        <a:pt x="138" y="23"/>
                        <a:pt x="137" y="24"/>
                      </a:cubicBezTo>
                      <a:cubicBezTo>
                        <a:pt x="130" y="21"/>
                        <a:pt x="123" y="18"/>
                        <a:pt x="116" y="16"/>
                      </a:cubicBezTo>
                      <a:cubicBezTo>
                        <a:pt x="115" y="15"/>
                        <a:pt x="112" y="5"/>
                        <a:pt x="112" y="2"/>
                      </a:cubicBezTo>
                      <a:cubicBezTo>
                        <a:pt x="111" y="1"/>
                        <a:pt x="110" y="0"/>
                        <a:pt x="108" y="0"/>
                      </a:cubicBezTo>
                      <a:cubicBezTo>
                        <a:pt x="88" y="0"/>
                        <a:pt x="88" y="0"/>
                        <a:pt x="88" y="0"/>
                      </a:cubicBezTo>
                      <a:cubicBezTo>
                        <a:pt x="86" y="0"/>
                        <a:pt x="85" y="1"/>
                        <a:pt x="85" y="2"/>
                      </a:cubicBezTo>
                      <a:cubicBezTo>
                        <a:pt x="84" y="5"/>
                        <a:pt x="81" y="15"/>
                        <a:pt x="81" y="16"/>
                      </a:cubicBezTo>
                      <a:cubicBezTo>
                        <a:pt x="73" y="18"/>
                        <a:pt x="66" y="21"/>
                        <a:pt x="60" y="24"/>
                      </a:cubicBezTo>
                      <a:cubicBezTo>
                        <a:pt x="58" y="23"/>
                        <a:pt x="49" y="17"/>
                        <a:pt x="48" y="16"/>
                      </a:cubicBezTo>
                      <a:cubicBezTo>
                        <a:pt x="46" y="15"/>
                        <a:pt x="45" y="15"/>
                        <a:pt x="43" y="16"/>
                      </a:cubicBezTo>
                      <a:cubicBezTo>
                        <a:pt x="43" y="17"/>
                        <a:pt x="28" y="29"/>
                        <a:pt x="28" y="29"/>
                      </a:cubicBezTo>
                      <a:cubicBezTo>
                        <a:pt x="26" y="30"/>
                        <a:pt x="26" y="32"/>
                        <a:pt x="27" y="33"/>
                      </a:cubicBezTo>
                      <a:cubicBezTo>
                        <a:pt x="28" y="36"/>
                        <a:pt x="32" y="45"/>
                        <a:pt x="33" y="47"/>
                      </a:cubicBezTo>
                      <a:cubicBezTo>
                        <a:pt x="28" y="53"/>
                        <a:pt x="24" y="59"/>
                        <a:pt x="21" y="66"/>
                      </a:cubicBezTo>
                      <a:cubicBezTo>
                        <a:pt x="20" y="66"/>
                        <a:pt x="9" y="67"/>
                        <a:pt x="7" y="67"/>
                      </a:cubicBezTo>
                      <a:cubicBezTo>
                        <a:pt x="6" y="68"/>
                        <a:pt x="4" y="69"/>
                        <a:pt x="4" y="70"/>
                      </a:cubicBezTo>
                      <a:cubicBezTo>
                        <a:pt x="4" y="71"/>
                        <a:pt x="0" y="90"/>
                        <a:pt x="0" y="90"/>
                      </a:cubicBezTo>
                      <a:cubicBezTo>
                        <a:pt x="0" y="92"/>
                        <a:pt x="1" y="94"/>
                        <a:pt x="2" y="94"/>
                      </a:cubicBezTo>
                      <a:cubicBezTo>
                        <a:pt x="4" y="95"/>
                        <a:pt x="14" y="100"/>
                        <a:pt x="15" y="101"/>
                      </a:cubicBezTo>
                      <a:cubicBezTo>
                        <a:pt x="16" y="108"/>
                        <a:pt x="17" y="116"/>
                        <a:pt x="19" y="123"/>
                      </a:cubicBezTo>
                      <a:cubicBezTo>
                        <a:pt x="18" y="124"/>
                        <a:pt x="11" y="131"/>
                        <a:pt x="9" y="133"/>
                      </a:cubicBezTo>
                      <a:cubicBezTo>
                        <a:pt x="8" y="134"/>
                        <a:pt x="8" y="136"/>
                        <a:pt x="9" y="137"/>
                      </a:cubicBezTo>
                      <a:cubicBezTo>
                        <a:pt x="9" y="138"/>
                        <a:pt x="18" y="154"/>
                        <a:pt x="19" y="155"/>
                      </a:cubicBezTo>
                      <a:cubicBezTo>
                        <a:pt x="20" y="157"/>
                        <a:pt x="21" y="157"/>
                        <a:pt x="23" y="157"/>
                      </a:cubicBezTo>
                      <a:cubicBezTo>
                        <a:pt x="25" y="156"/>
                        <a:pt x="35" y="154"/>
                        <a:pt x="37" y="153"/>
                      </a:cubicBezTo>
                      <a:cubicBezTo>
                        <a:pt x="42" y="159"/>
                        <a:pt x="48" y="163"/>
                        <a:pt x="54" y="167"/>
                      </a:cubicBezTo>
                      <a:cubicBezTo>
                        <a:pt x="54" y="169"/>
                        <a:pt x="53" y="180"/>
                        <a:pt x="53" y="182"/>
                      </a:cubicBezTo>
                      <a:cubicBezTo>
                        <a:pt x="53" y="183"/>
                        <a:pt x="53" y="185"/>
                        <a:pt x="55" y="186"/>
                      </a:cubicBezTo>
                      <a:cubicBezTo>
                        <a:pt x="56" y="186"/>
                        <a:pt x="74" y="192"/>
                        <a:pt x="74" y="193"/>
                      </a:cubicBezTo>
                      <a:cubicBezTo>
                        <a:pt x="76" y="193"/>
                        <a:pt x="78" y="193"/>
                        <a:pt x="78" y="191"/>
                      </a:cubicBezTo>
                      <a:cubicBezTo>
                        <a:pt x="80" y="189"/>
                        <a:pt x="86" y="181"/>
                        <a:pt x="87" y="179"/>
                      </a:cubicBezTo>
                      <a:cubicBezTo>
                        <a:pt x="91" y="180"/>
                        <a:pt x="94" y="180"/>
                        <a:pt x="98" y="180"/>
                      </a:cubicBezTo>
                      <a:cubicBezTo>
                        <a:pt x="102" y="180"/>
                        <a:pt x="106" y="180"/>
                        <a:pt x="109" y="179"/>
                      </a:cubicBezTo>
                      <a:cubicBezTo>
                        <a:pt x="110" y="181"/>
                        <a:pt x="117" y="189"/>
                        <a:pt x="118" y="191"/>
                      </a:cubicBezTo>
                      <a:cubicBezTo>
                        <a:pt x="119" y="192"/>
                        <a:pt x="120" y="193"/>
                        <a:pt x="122" y="193"/>
                      </a:cubicBezTo>
                      <a:cubicBezTo>
                        <a:pt x="123" y="192"/>
                        <a:pt x="140" y="186"/>
                        <a:pt x="141" y="186"/>
                      </a:cubicBezTo>
                      <a:cubicBezTo>
                        <a:pt x="143" y="185"/>
                        <a:pt x="144" y="183"/>
                        <a:pt x="144" y="182"/>
                      </a:cubicBezTo>
                      <a:cubicBezTo>
                        <a:pt x="143" y="180"/>
                        <a:pt x="143" y="169"/>
                        <a:pt x="142" y="167"/>
                      </a:cubicBezTo>
                      <a:cubicBezTo>
                        <a:pt x="149" y="163"/>
                        <a:pt x="155" y="159"/>
                        <a:pt x="160" y="153"/>
                      </a:cubicBezTo>
                      <a:cubicBezTo>
                        <a:pt x="161" y="154"/>
                        <a:pt x="171" y="156"/>
                        <a:pt x="174" y="157"/>
                      </a:cubicBezTo>
                      <a:cubicBezTo>
                        <a:pt x="175" y="157"/>
                        <a:pt x="177" y="157"/>
                        <a:pt x="178" y="155"/>
                      </a:cubicBezTo>
                      <a:cubicBezTo>
                        <a:pt x="178" y="154"/>
                        <a:pt x="187" y="138"/>
                        <a:pt x="188" y="137"/>
                      </a:cubicBezTo>
                      <a:cubicBezTo>
                        <a:pt x="189" y="136"/>
                        <a:pt x="188" y="134"/>
                        <a:pt x="187" y="133"/>
                      </a:cubicBezTo>
                      <a:cubicBezTo>
                        <a:pt x="186" y="131"/>
                        <a:pt x="178" y="124"/>
                        <a:pt x="177" y="123"/>
                      </a:cubicBezTo>
                      <a:cubicBezTo>
                        <a:pt x="179" y="116"/>
                        <a:pt x="181" y="108"/>
                        <a:pt x="181" y="101"/>
                      </a:cubicBezTo>
                      <a:cubicBezTo>
                        <a:pt x="183" y="100"/>
                        <a:pt x="192" y="95"/>
                        <a:pt x="194" y="94"/>
                      </a:cubicBezTo>
                      <a:cubicBezTo>
                        <a:pt x="195" y="94"/>
                        <a:pt x="196" y="92"/>
                        <a:pt x="196" y="90"/>
                      </a:cubicBezTo>
                      <a:close/>
                      <a:moveTo>
                        <a:pt x="98" y="127"/>
                      </a:moveTo>
                      <a:cubicBezTo>
                        <a:pt x="82" y="127"/>
                        <a:pt x="69" y="114"/>
                        <a:pt x="69" y="97"/>
                      </a:cubicBezTo>
                      <a:cubicBezTo>
                        <a:pt x="69" y="81"/>
                        <a:pt x="82" y="68"/>
                        <a:pt x="98" y="68"/>
                      </a:cubicBezTo>
                      <a:cubicBezTo>
                        <a:pt x="115" y="68"/>
                        <a:pt x="128" y="81"/>
                        <a:pt x="128" y="97"/>
                      </a:cubicBezTo>
                      <a:cubicBezTo>
                        <a:pt x="128" y="114"/>
                        <a:pt x="115" y="127"/>
                        <a:pt x="98" y="127"/>
                      </a:cubicBezTo>
                      <a:close/>
                    </a:path>
                  </a:pathLst>
                </a:custGeom>
                <a:grpFill/>
                <a:ln w="9525">
                  <a:noFill/>
                  <a:round/>
                  <a:headEnd/>
                  <a:tailEnd/>
                </a:ln>
              </p:spPr>
              <p:txBody>
                <a:bodyPr vert="horz" wrap="square" lIns="121888" tIns="60944" rIns="121888" bIns="60944" numCol="1" anchor="t" anchorCtr="0" compatLnSpc="1">
                  <a:prstTxWarp prst="textNoShape">
                    <a:avLst/>
                  </a:prstTxWarp>
                </a:bodyPr>
                <a:lstStyle/>
                <a:p>
                  <a:pPr defTabSz="514418" fontAlgn="auto">
                    <a:spcBef>
                      <a:spcPts val="0"/>
                    </a:spcBef>
                    <a:spcAft>
                      <a:spcPts val="0"/>
                    </a:spcAft>
                  </a:pPr>
                  <a:endParaRPr lang="en-US">
                    <a:solidFill>
                      <a:srgbClr val="676767"/>
                    </a:solidFill>
                    <a:latin typeface="Arial"/>
                    <a:ea typeface="+mn-ea"/>
                    <a:cs typeface="+mn-cs"/>
                  </a:endParaRPr>
                </a:p>
              </p:txBody>
            </p:sp>
            <p:sp>
              <p:nvSpPr>
                <p:cNvPr id="23" name="Freeform 130"/>
                <p:cNvSpPr>
                  <a:spLocks noEditPoints="1"/>
                </p:cNvSpPr>
                <p:nvPr/>
              </p:nvSpPr>
              <p:spPr bwMode="auto">
                <a:xfrm>
                  <a:off x="7115175" y="3305167"/>
                  <a:ext cx="350837" cy="354013"/>
                </a:xfrm>
                <a:custGeom>
                  <a:avLst/>
                  <a:gdLst/>
                  <a:ahLst/>
                  <a:cxnLst>
                    <a:cxn ang="0">
                      <a:pos x="136" y="54"/>
                    </a:cxn>
                    <a:cxn ang="0">
                      <a:pos x="132" y="40"/>
                    </a:cxn>
                    <a:cxn ang="0">
                      <a:pos x="129" y="39"/>
                    </a:cxn>
                    <a:cxn ang="0">
                      <a:pos x="119" y="39"/>
                    </a:cxn>
                    <a:cxn ang="0">
                      <a:pos x="109" y="27"/>
                    </a:cxn>
                    <a:cxn ang="0">
                      <a:pos x="112" y="17"/>
                    </a:cxn>
                    <a:cxn ang="0">
                      <a:pos x="111" y="14"/>
                    </a:cxn>
                    <a:cxn ang="0">
                      <a:pos x="98" y="7"/>
                    </a:cxn>
                    <a:cxn ang="0">
                      <a:pos x="95" y="7"/>
                    </a:cxn>
                    <a:cxn ang="0">
                      <a:pos x="88" y="14"/>
                    </a:cxn>
                    <a:cxn ang="0">
                      <a:pos x="72" y="11"/>
                    </a:cxn>
                    <a:cxn ang="0">
                      <a:pos x="68" y="2"/>
                    </a:cxn>
                    <a:cxn ang="0">
                      <a:pos x="65" y="0"/>
                    </a:cxn>
                    <a:cxn ang="0">
                      <a:pos x="51" y="2"/>
                    </a:cxn>
                    <a:cxn ang="0">
                      <a:pos x="49" y="4"/>
                    </a:cxn>
                    <a:cxn ang="0">
                      <a:pos x="48" y="15"/>
                    </a:cxn>
                    <a:cxn ang="0">
                      <a:pos x="34" y="22"/>
                    </a:cxn>
                    <a:cxn ang="0">
                      <a:pos x="25" y="18"/>
                    </a:cxn>
                    <a:cxn ang="0">
                      <a:pos x="22" y="19"/>
                    </a:cxn>
                    <a:cxn ang="0">
                      <a:pos x="12" y="29"/>
                    </a:cxn>
                    <a:cxn ang="0">
                      <a:pos x="12" y="32"/>
                    </a:cxn>
                    <a:cxn ang="0">
                      <a:pos x="18" y="41"/>
                    </a:cxn>
                    <a:cxn ang="0">
                      <a:pos x="12" y="56"/>
                    </a:cxn>
                    <a:cxn ang="0">
                      <a:pos x="2" y="58"/>
                    </a:cxn>
                    <a:cxn ang="0">
                      <a:pos x="0" y="61"/>
                    </a:cxn>
                    <a:cxn ang="0">
                      <a:pos x="0" y="75"/>
                    </a:cxn>
                    <a:cxn ang="0">
                      <a:pos x="2" y="77"/>
                    </a:cxn>
                    <a:cxn ang="0">
                      <a:pos x="11" y="80"/>
                    </a:cxn>
                    <a:cxn ang="0">
                      <a:pos x="17" y="95"/>
                    </a:cxn>
                    <a:cxn ang="0">
                      <a:pos x="11" y="104"/>
                    </a:cxn>
                    <a:cxn ang="0">
                      <a:pos x="11" y="107"/>
                    </a:cxn>
                    <a:cxn ang="0">
                      <a:pos x="20" y="118"/>
                    </a:cxn>
                    <a:cxn ang="0">
                      <a:pos x="23" y="119"/>
                    </a:cxn>
                    <a:cxn ang="0">
                      <a:pos x="32" y="115"/>
                    </a:cxn>
                    <a:cxn ang="0">
                      <a:pos x="46" y="123"/>
                    </a:cxn>
                    <a:cxn ang="0">
                      <a:pos x="46" y="133"/>
                    </a:cxn>
                    <a:cxn ang="0">
                      <a:pos x="48" y="135"/>
                    </a:cxn>
                    <a:cxn ang="0">
                      <a:pos x="62" y="138"/>
                    </a:cxn>
                    <a:cxn ang="0">
                      <a:pos x="65" y="137"/>
                    </a:cxn>
                    <a:cxn ang="0">
                      <a:pos x="70" y="128"/>
                    </a:cxn>
                    <a:cxn ang="0">
                      <a:pos x="78" y="127"/>
                    </a:cxn>
                    <a:cxn ang="0">
                      <a:pos x="86" y="125"/>
                    </a:cxn>
                    <a:cxn ang="0">
                      <a:pos x="93" y="133"/>
                    </a:cxn>
                    <a:cxn ang="0">
                      <a:pos x="96" y="133"/>
                    </a:cxn>
                    <a:cxn ang="0">
                      <a:pos x="108" y="126"/>
                    </a:cxn>
                    <a:cxn ang="0">
                      <a:pos x="110" y="123"/>
                    </a:cxn>
                    <a:cxn ang="0">
                      <a:pos x="107" y="113"/>
                    </a:cxn>
                    <a:cxn ang="0">
                      <a:pos x="118" y="101"/>
                    </a:cxn>
                    <a:cxn ang="0">
                      <a:pos x="128" y="102"/>
                    </a:cxn>
                    <a:cxn ang="0">
                      <a:pos x="130" y="101"/>
                    </a:cxn>
                    <a:cxn ang="0">
                      <a:pos x="136" y="88"/>
                    </a:cxn>
                    <a:cxn ang="0">
                      <a:pos x="135" y="85"/>
                    </a:cxn>
                    <a:cxn ang="0">
                      <a:pos x="127" y="78"/>
                    </a:cxn>
                    <a:cxn ang="0">
                      <a:pos x="127" y="63"/>
                    </a:cxn>
                    <a:cxn ang="0">
                      <a:pos x="135" y="57"/>
                    </a:cxn>
                    <a:cxn ang="0">
                      <a:pos x="136" y="54"/>
                    </a:cxn>
                    <a:cxn ang="0">
                      <a:pos x="86" y="91"/>
                    </a:cxn>
                    <a:cxn ang="0">
                      <a:pos x="47" y="87"/>
                    </a:cxn>
                    <a:cxn ang="0">
                      <a:pos x="51" y="47"/>
                    </a:cxn>
                    <a:cxn ang="0">
                      <a:pos x="91" y="52"/>
                    </a:cxn>
                    <a:cxn ang="0">
                      <a:pos x="86" y="91"/>
                    </a:cxn>
                  </a:cxnLst>
                  <a:rect l="0" t="0" r="r" b="b"/>
                  <a:pathLst>
                    <a:path w="137" h="138">
                      <a:moveTo>
                        <a:pt x="136" y="54"/>
                      </a:moveTo>
                      <a:cubicBezTo>
                        <a:pt x="136" y="53"/>
                        <a:pt x="132" y="41"/>
                        <a:pt x="132" y="40"/>
                      </a:cubicBezTo>
                      <a:cubicBezTo>
                        <a:pt x="131" y="39"/>
                        <a:pt x="130" y="38"/>
                        <a:pt x="129" y="39"/>
                      </a:cubicBezTo>
                      <a:cubicBezTo>
                        <a:pt x="128" y="39"/>
                        <a:pt x="120" y="39"/>
                        <a:pt x="119" y="39"/>
                      </a:cubicBezTo>
                      <a:cubicBezTo>
                        <a:pt x="116" y="35"/>
                        <a:pt x="113" y="30"/>
                        <a:pt x="109" y="27"/>
                      </a:cubicBezTo>
                      <a:cubicBezTo>
                        <a:pt x="109" y="26"/>
                        <a:pt x="111" y="18"/>
                        <a:pt x="112" y="17"/>
                      </a:cubicBezTo>
                      <a:cubicBezTo>
                        <a:pt x="112" y="16"/>
                        <a:pt x="112" y="15"/>
                        <a:pt x="111" y="14"/>
                      </a:cubicBezTo>
                      <a:cubicBezTo>
                        <a:pt x="110" y="14"/>
                        <a:pt x="99" y="7"/>
                        <a:pt x="98" y="7"/>
                      </a:cubicBezTo>
                      <a:cubicBezTo>
                        <a:pt x="97" y="6"/>
                        <a:pt x="96" y="6"/>
                        <a:pt x="95" y="7"/>
                      </a:cubicBezTo>
                      <a:cubicBezTo>
                        <a:pt x="94" y="8"/>
                        <a:pt x="89" y="13"/>
                        <a:pt x="88" y="14"/>
                      </a:cubicBezTo>
                      <a:cubicBezTo>
                        <a:pt x="83" y="12"/>
                        <a:pt x="78" y="11"/>
                        <a:pt x="72" y="11"/>
                      </a:cubicBezTo>
                      <a:cubicBezTo>
                        <a:pt x="72" y="10"/>
                        <a:pt x="69" y="3"/>
                        <a:pt x="68" y="2"/>
                      </a:cubicBezTo>
                      <a:cubicBezTo>
                        <a:pt x="68" y="1"/>
                        <a:pt x="67" y="0"/>
                        <a:pt x="65" y="0"/>
                      </a:cubicBezTo>
                      <a:cubicBezTo>
                        <a:pt x="51" y="2"/>
                        <a:pt x="51" y="2"/>
                        <a:pt x="51" y="2"/>
                      </a:cubicBezTo>
                      <a:cubicBezTo>
                        <a:pt x="50" y="2"/>
                        <a:pt x="49" y="3"/>
                        <a:pt x="49" y="4"/>
                      </a:cubicBezTo>
                      <a:cubicBezTo>
                        <a:pt x="49" y="6"/>
                        <a:pt x="48" y="13"/>
                        <a:pt x="48" y="15"/>
                      </a:cubicBezTo>
                      <a:cubicBezTo>
                        <a:pt x="43" y="17"/>
                        <a:pt x="38" y="19"/>
                        <a:pt x="34" y="22"/>
                      </a:cubicBezTo>
                      <a:cubicBezTo>
                        <a:pt x="33" y="22"/>
                        <a:pt x="26" y="19"/>
                        <a:pt x="25" y="18"/>
                      </a:cubicBezTo>
                      <a:cubicBezTo>
                        <a:pt x="24" y="17"/>
                        <a:pt x="23" y="17"/>
                        <a:pt x="22" y="19"/>
                      </a:cubicBezTo>
                      <a:cubicBezTo>
                        <a:pt x="21" y="19"/>
                        <a:pt x="13" y="29"/>
                        <a:pt x="12" y="29"/>
                      </a:cubicBezTo>
                      <a:cubicBezTo>
                        <a:pt x="11" y="30"/>
                        <a:pt x="11" y="31"/>
                        <a:pt x="12" y="32"/>
                      </a:cubicBezTo>
                      <a:cubicBezTo>
                        <a:pt x="13" y="34"/>
                        <a:pt x="17" y="40"/>
                        <a:pt x="18" y="41"/>
                      </a:cubicBezTo>
                      <a:cubicBezTo>
                        <a:pt x="15" y="46"/>
                        <a:pt x="13" y="50"/>
                        <a:pt x="12" y="56"/>
                      </a:cubicBezTo>
                      <a:cubicBezTo>
                        <a:pt x="11" y="56"/>
                        <a:pt x="4" y="58"/>
                        <a:pt x="2" y="58"/>
                      </a:cubicBezTo>
                      <a:cubicBezTo>
                        <a:pt x="1" y="59"/>
                        <a:pt x="0" y="59"/>
                        <a:pt x="0" y="61"/>
                      </a:cubicBezTo>
                      <a:cubicBezTo>
                        <a:pt x="0" y="61"/>
                        <a:pt x="0" y="74"/>
                        <a:pt x="0" y="75"/>
                      </a:cubicBezTo>
                      <a:cubicBezTo>
                        <a:pt x="0" y="76"/>
                        <a:pt x="1" y="77"/>
                        <a:pt x="2" y="77"/>
                      </a:cubicBezTo>
                      <a:cubicBezTo>
                        <a:pt x="3" y="78"/>
                        <a:pt x="10" y="80"/>
                        <a:pt x="11" y="80"/>
                      </a:cubicBezTo>
                      <a:cubicBezTo>
                        <a:pt x="12" y="86"/>
                        <a:pt x="14" y="91"/>
                        <a:pt x="17" y="95"/>
                      </a:cubicBezTo>
                      <a:cubicBezTo>
                        <a:pt x="16" y="96"/>
                        <a:pt x="11" y="102"/>
                        <a:pt x="11" y="104"/>
                      </a:cubicBezTo>
                      <a:cubicBezTo>
                        <a:pt x="10" y="105"/>
                        <a:pt x="10" y="106"/>
                        <a:pt x="11" y="107"/>
                      </a:cubicBezTo>
                      <a:cubicBezTo>
                        <a:pt x="11" y="107"/>
                        <a:pt x="19" y="118"/>
                        <a:pt x="20" y="118"/>
                      </a:cubicBezTo>
                      <a:cubicBezTo>
                        <a:pt x="21" y="119"/>
                        <a:pt x="22" y="119"/>
                        <a:pt x="23" y="119"/>
                      </a:cubicBezTo>
                      <a:cubicBezTo>
                        <a:pt x="24" y="118"/>
                        <a:pt x="31" y="115"/>
                        <a:pt x="32" y="115"/>
                      </a:cubicBezTo>
                      <a:cubicBezTo>
                        <a:pt x="36" y="118"/>
                        <a:pt x="41" y="121"/>
                        <a:pt x="46" y="123"/>
                      </a:cubicBezTo>
                      <a:cubicBezTo>
                        <a:pt x="46" y="124"/>
                        <a:pt x="46" y="132"/>
                        <a:pt x="46" y="133"/>
                      </a:cubicBezTo>
                      <a:cubicBezTo>
                        <a:pt x="46" y="134"/>
                        <a:pt x="47" y="135"/>
                        <a:pt x="48" y="135"/>
                      </a:cubicBezTo>
                      <a:cubicBezTo>
                        <a:pt x="49" y="136"/>
                        <a:pt x="62" y="138"/>
                        <a:pt x="62" y="138"/>
                      </a:cubicBezTo>
                      <a:cubicBezTo>
                        <a:pt x="64" y="138"/>
                        <a:pt x="65" y="138"/>
                        <a:pt x="65" y="137"/>
                      </a:cubicBezTo>
                      <a:cubicBezTo>
                        <a:pt x="66" y="135"/>
                        <a:pt x="69" y="129"/>
                        <a:pt x="70" y="128"/>
                      </a:cubicBezTo>
                      <a:cubicBezTo>
                        <a:pt x="72" y="128"/>
                        <a:pt x="75" y="127"/>
                        <a:pt x="78" y="127"/>
                      </a:cubicBezTo>
                      <a:cubicBezTo>
                        <a:pt x="80" y="127"/>
                        <a:pt x="83" y="126"/>
                        <a:pt x="86" y="125"/>
                      </a:cubicBezTo>
                      <a:cubicBezTo>
                        <a:pt x="86" y="126"/>
                        <a:pt x="92" y="132"/>
                        <a:pt x="93" y="133"/>
                      </a:cubicBezTo>
                      <a:cubicBezTo>
                        <a:pt x="93" y="133"/>
                        <a:pt x="95" y="134"/>
                        <a:pt x="96" y="133"/>
                      </a:cubicBezTo>
                      <a:cubicBezTo>
                        <a:pt x="96" y="133"/>
                        <a:pt x="108" y="126"/>
                        <a:pt x="108" y="126"/>
                      </a:cubicBezTo>
                      <a:cubicBezTo>
                        <a:pt x="110" y="126"/>
                        <a:pt x="110" y="124"/>
                        <a:pt x="110" y="123"/>
                      </a:cubicBezTo>
                      <a:cubicBezTo>
                        <a:pt x="109" y="122"/>
                        <a:pt x="108" y="115"/>
                        <a:pt x="107" y="113"/>
                      </a:cubicBezTo>
                      <a:cubicBezTo>
                        <a:pt x="111" y="110"/>
                        <a:pt x="115" y="106"/>
                        <a:pt x="118" y="101"/>
                      </a:cubicBezTo>
                      <a:cubicBezTo>
                        <a:pt x="119" y="102"/>
                        <a:pt x="126" y="102"/>
                        <a:pt x="128" y="102"/>
                      </a:cubicBezTo>
                      <a:cubicBezTo>
                        <a:pt x="129" y="103"/>
                        <a:pt x="130" y="102"/>
                        <a:pt x="130" y="101"/>
                      </a:cubicBezTo>
                      <a:cubicBezTo>
                        <a:pt x="131" y="100"/>
                        <a:pt x="135" y="88"/>
                        <a:pt x="136" y="88"/>
                      </a:cubicBezTo>
                      <a:cubicBezTo>
                        <a:pt x="136" y="86"/>
                        <a:pt x="136" y="85"/>
                        <a:pt x="135" y="85"/>
                      </a:cubicBezTo>
                      <a:cubicBezTo>
                        <a:pt x="133" y="84"/>
                        <a:pt x="128" y="79"/>
                        <a:pt x="127" y="78"/>
                      </a:cubicBezTo>
                      <a:cubicBezTo>
                        <a:pt x="127" y="73"/>
                        <a:pt x="128" y="68"/>
                        <a:pt x="127" y="63"/>
                      </a:cubicBezTo>
                      <a:cubicBezTo>
                        <a:pt x="128" y="62"/>
                        <a:pt x="134" y="58"/>
                        <a:pt x="135" y="57"/>
                      </a:cubicBezTo>
                      <a:cubicBezTo>
                        <a:pt x="136" y="56"/>
                        <a:pt x="137" y="55"/>
                        <a:pt x="136" y="54"/>
                      </a:cubicBezTo>
                      <a:close/>
                      <a:moveTo>
                        <a:pt x="86" y="91"/>
                      </a:moveTo>
                      <a:cubicBezTo>
                        <a:pt x="74" y="101"/>
                        <a:pt x="57" y="99"/>
                        <a:pt x="47" y="87"/>
                      </a:cubicBezTo>
                      <a:cubicBezTo>
                        <a:pt x="37" y="75"/>
                        <a:pt x="39" y="57"/>
                        <a:pt x="51" y="47"/>
                      </a:cubicBezTo>
                      <a:cubicBezTo>
                        <a:pt x="63" y="38"/>
                        <a:pt x="81" y="40"/>
                        <a:pt x="91" y="52"/>
                      </a:cubicBezTo>
                      <a:cubicBezTo>
                        <a:pt x="100" y="64"/>
                        <a:pt x="99" y="81"/>
                        <a:pt x="86" y="91"/>
                      </a:cubicBezTo>
                      <a:close/>
                    </a:path>
                  </a:pathLst>
                </a:custGeom>
                <a:grpFill/>
                <a:ln w="9525">
                  <a:noFill/>
                  <a:round/>
                  <a:headEnd/>
                  <a:tailEnd/>
                </a:ln>
              </p:spPr>
              <p:txBody>
                <a:bodyPr vert="horz" wrap="square" lIns="121888" tIns="60944" rIns="121888" bIns="60944" numCol="1" anchor="t" anchorCtr="0" compatLnSpc="1">
                  <a:prstTxWarp prst="textNoShape">
                    <a:avLst/>
                  </a:prstTxWarp>
                </a:bodyPr>
                <a:lstStyle/>
                <a:p>
                  <a:pPr defTabSz="514418" fontAlgn="auto">
                    <a:spcBef>
                      <a:spcPts val="0"/>
                    </a:spcBef>
                    <a:spcAft>
                      <a:spcPts val="0"/>
                    </a:spcAft>
                  </a:pPr>
                  <a:endParaRPr lang="en-US">
                    <a:solidFill>
                      <a:srgbClr val="676767"/>
                    </a:solidFill>
                    <a:latin typeface="Arial"/>
                    <a:ea typeface="+mn-ea"/>
                    <a:cs typeface="+mn-cs"/>
                  </a:endParaRPr>
                </a:p>
              </p:txBody>
            </p:sp>
            <p:sp>
              <p:nvSpPr>
                <p:cNvPr id="24" name="Freeform 131"/>
                <p:cNvSpPr>
                  <a:spLocks noEditPoints="1"/>
                </p:cNvSpPr>
                <p:nvPr/>
              </p:nvSpPr>
              <p:spPr bwMode="auto">
                <a:xfrm>
                  <a:off x="7104063" y="3678230"/>
                  <a:ext cx="665162" cy="657225"/>
                </a:xfrm>
                <a:custGeom>
                  <a:avLst/>
                  <a:gdLst/>
                  <a:ahLst/>
                  <a:cxnLst>
                    <a:cxn ang="0">
                      <a:pos x="259" y="120"/>
                    </a:cxn>
                    <a:cxn ang="0">
                      <a:pos x="254" y="93"/>
                    </a:cxn>
                    <a:cxn ang="0">
                      <a:pos x="250" y="89"/>
                    </a:cxn>
                    <a:cxn ang="0">
                      <a:pos x="231" y="87"/>
                    </a:cxn>
                    <a:cxn ang="0">
                      <a:pos x="216" y="62"/>
                    </a:cxn>
                    <a:cxn ang="0">
                      <a:pos x="224" y="44"/>
                    </a:cxn>
                    <a:cxn ang="0">
                      <a:pos x="222" y="39"/>
                    </a:cxn>
                    <a:cxn ang="0">
                      <a:pos x="202" y="22"/>
                    </a:cxn>
                    <a:cxn ang="0">
                      <a:pos x="196" y="21"/>
                    </a:cxn>
                    <a:cxn ang="0">
                      <a:pos x="180" y="32"/>
                    </a:cxn>
                    <a:cxn ang="0">
                      <a:pos x="152" y="22"/>
                    </a:cxn>
                    <a:cxn ang="0">
                      <a:pos x="147" y="4"/>
                    </a:cxn>
                    <a:cxn ang="0">
                      <a:pos x="143" y="0"/>
                    </a:cxn>
                    <a:cxn ang="0">
                      <a:pos x="116" y="0"/>
                    </a:cxn>
                    <a:cxn ang="0">
                      <a:pos x="111" y="4"/>
                    </a:cxn>
                    <a:cxn ang="0">
                      <a:pos x="106" y="22"/>
                    </a:cxn>
                    <a:cxn ang="0">
                      <a:pos x="78" y="32"/>
                    </a:cxn>
                    <a:cxn ang="0">
                      <a:pos x="62" y="22"/>
                    </a:cxn>
                    <a:cxn ang="0">
                      <a:pos x="56" y="22"/>
                    </a:cxn>
                    <a:cxn ang="0">
                      <a:pos x="36" y="39"/>
                    </a:cxn>
                    <a:cxn ang="0">
                      <a:pos x="35" y="45"/>
                    </a:cxn>
                    <a:cxn ang="0">
                      <a:pos x="43" y="62"/>
                    </a:cxn>
                    <a:cxn ang="0">
                      <a:pos x="28" y="88"/>
                    </a:cxn>
                    <a:cxn ang="0">
                      <a:pos x="9" y="90"/>
                    </a:cxn>
                    <a:cxn ang="0">
                      <a:pos x="5" y="94"/>
                    </a:cxn>
                    <a:cxn ang="0">
                      <a:pos x="0" y="120"/>
                    </a:cxn>
                    <a:cxn ang="0">
                      <a:pos x="3" y="126"/>
                    </a:cxn>
                    <a:cxn ang="0">
                      <a:pos x="20" y="134"/>
                    </a:cxn>
                    <a:cxn ang="0">
                      <a:pos x="25" y="163"/>
                    </a:cxn>
                    <a:cxn ang="0">
                      <a:pos x="12" y="177"/>
                    </a:cxn>
                    <a:cxn ang="0">
                      <a:pos x="11" y="183"/>
                    </a:cxn>
                    <a:cxn ang="0">
                      <a:pos x="25" y="206"/>
                    </a:cxn>
                    <a:cxn ang="0">
                      <a:pos x="30" y="208"/>
                    </a:cxn>
                    <a:cxn ang="0">
                      <a:pos x="49" y="203"/>
                    </a:cxn>
                    <a:cxn ang="0">
                      <a:pos x="71" y="222"/>
                    </a:cxn>
                    <a:cxn ang="0">
                      <a:pos x="70" y="241"/>
                    </a:cxn>
                    <a:cxn ang="0">
                      <a:pos x="73" y="246"/>
                    </a:cxn>
                    <a:cxn ang="0">
                      <a:pos x="98" y="255"/>
                    </a:cxn>
                    <a:cxn ang="0">
                      <a:pos x="104" y="254"/>
                    </a:cxn>
                    <a:cxn ang="0">
                      <a:pos x="115" y="238"/>
                    </a:cxn>
                    <a:cxn ang="0">
                      <a:pos x="130" y="239"/>
                    </a:cxn>
                    <a:cxn ang="0">
                      <a:pos x="145" y="238"/>
                    </a:cxn>
                    <a:cxn ang="0">
                      <a:pos x="156" y="253"/>
                    </a:cxn>
                    <a:cxn ang="0">
                      <a:pos x="161" y="255"/>
                    </a:cxn>
                    <a:cxn ang="0">
                      <a:pos x="187" y="246"/>
                    </a:cxn>
                    <a:cxn ang="0">
                      <a:pos x="190" y="241"/>
                    </a:cxn>
                    <a:cxn ang="0">
                      <a:pos x="188" y="222"/>
                    </a:cxn>
                    <a:cxn ang="0">
                      <a:pos x="211" y="203"/>
                    </a:cxn>
                    <a:cxn ang="0">
                      <a:pos x="230" y="207"/>
                    </a:cxn>
                    <a:cxn ang="0">
                      <a:pos x="235" y="205"/>
                    </a:cxn>
                    <a:cxn ang="0">
                      <a:pos x="248" y="182"/>
                    </a:cxn>
                    <a:cxn ang="0">
                      <a:pos x="248" y="176"/>
                    </a:cxn>
                    <a:cxn ang="0">
                      <a:pos x="234" y="162"/>
                    </a:cxn>
                    <a:cxn ang="0">
                      <a:pos x="239" y="133"/>
                    </a:cxn>
                    <a:cxn ang="0">
                      <a:pos x="256" y="125"/>
                    </a:cxn>
                    <a:cxn ang="0">
                      <a:pos x="259" y="120"/>
                    </a:cxn>
                    <a:cxn ang="0">
                      <a:pos x="165" y="190"/>
                    </a:cxn>
                    <a:cxn ang="0">
                      <a:pos x="69" y="165"/>
                    </a:cxn>
                    <a:cxn ang="0">
                      <a:pos x="94" y="69"/>
                    </a:cxn>
                    <a:cxn ang="0">
                      <a:pos x="190" y="94"/>
                    </a:cxn>
                    <a:cxn ang="0">
                      <a:pos x="165" y="190"/>
                    </a:cxn>
                  </a:cxnLst>
                  <a:rect l="0" t="0" r="r" b="b"/>
                  <a:pathLst>
                    <a:path w="259" h="256">
                      <a:moveTo>
                        <a:pt x="259" y="120"/>
                      </a:moveTo>
                      <a:cubicBezTo>
                        <a:pt x="259" y="118"/>
                        <a:pt x="254" y="94"/>
                        <a:pt x="254" y="93"/>
                      </a:cubicBezTo>
                      <a:cubicBezTo>
                        <a:pt x="254" y="91"/>
                        <a:pt x="252" y="89"/>
                        <a:pt x="250" y="89"/>
                      </a:cubicBezTo>
                      <a:cubicBezTo>
                        <a:pt x="247" y="89"/>
                        <a:pt x="233" y="88"/>
                        <a:pt x="231" y="87"/>
                      </a:cubicBezTo>
                      <a:cubicBezTo>
                        <a:pt x="227" y="78"/>
                        <a:pt x="222" y="70"/>
                        <a:pt x="216" y="62"/>
                      </a:cubicBezTo>
                      <a:cubicBezTo>
                        <a:pt x="217" y="60"/>
                        <a:pt x="223" y="47"/>
                        <a:pt x="224" y="44"/>
                      </a:cubicBezTo>
                      <a:cubicBezTo>
                        <a:pt x="225" y="42"/>
                        <a:pt x="224" y="40"/>
                        <a:pt x="222" y="39"/>
                      </a:cubicBezTo>
                      <a:cubicBezTo>
                        <a:pt x="222" y="38"/>
                        <a:pt x="203" y="22"/>
                        <a:pt x="202" y="22"/>
                      </a:cubicBezTo>
                      <a:cubicBezTo>
                        <a:pt x="200" y="20"/>
                        <a:pt x="198" y="20"/>
                        <a:pt x="196" y="21"/>
                      </a:cubicBezTo>
                      <a:cubicBezTo>
                        <a:pt x="194" y="23"/>
                        <a:pt x="182" y="31"/>
                        <a:pt x="180" y="32"/>
                      </a:cubicBezTo>
                      <a:cubicBezTo>
                        <a:pt x="172" y="27"/>
                        <a:pt x="162" y="24"/>
                        <a:pt x="152" y="22"/>
                      </a:cubicBezTo>
                      <a:cubicBezTo>
                        <a:pt x="152" y="20"/>
                        <a:pt x="148" y="6"/>
                        <a:pt x="147" y="4"/>
                      </a:cubicBezTo>
                      <a:cubicBezTo>
                        <a:pt x="147" y="2"/>
                        <a:pt x="145" y="0"/>
                        <a:pt x="143" y="0"/>
                      </a:cubicBezTo>
                      <a:cubicBezTo>
                        <a:pt x="116" y="0"/>
                        <a:pt x="116" y="0"/>
                        <a:pt x="116" y="0"/>
                      </a:cubicBezTo>
                      <a:cubicBezTo>
                        <a:pt x="113" y="0"/>
                        <a:pt x="112" y="2"/>
                        <a:pt x="111" y="4"/>
                      </a:cubicBezTo>
                      <a:cubicBezTo>
                        <a:pt x="110" y="7"/>
                        <a:pt x="107" y="20"/>
                        <a:pt x="106" y="22"/>
                      </a:cubicBezTo>
                      <a:cubicBezTo>
                        <a:pt x="96" y="24"/>
                        <a:pt x="87" y="28"/>
                        <a:pt x="78" y="32"/>
                      </a:cubicBezTo>
                      <a:cubicBezTo>
                        <a:pt x="76" y="31"/>
                        <a:pt x="65" y="23"/>
                        <a:pt x="62" y="22"/>
                      </a:cubicBezTo>
                      <a:cubicBezTo>
                        <a:pt x="61" y="21"/>
                        <a:pt x="58" y="20"/>
                        <a:pt x="56" y="22"/>
                      </a:cubicBezTo>
                      <a:cubicBezTo>
                        <a:pt x="56" y="23"/>
                        <a:pt x="37" y="38"/>
                        <a:pt x="36" y="39"/>
                      </a:cubicBezTo>
                      <a:cubicBezTo>
                        <a:pt x="34" y="41"/>
                        <a:pt x="34" y="43"/>
                        <a:pt x="35" y="45"/>
                      </a:cubicBezTo>
                      <a:cubicBezTo>
                        <a:pt x="36" y="48"/>
                        <a:pt x="42" y="60"/>
                        <a:pt x="43" y="62"/>
                      </a:cubicBezTo>
                      <a:cubicBezTo>
                        <a:pt x="37" y="70"/>
                        <a:pt x="32" y="79"/>
                        <a:pt x="28" y="88"/>
                      </a:cubicBezTo>
                      <a:cubicBezTo>
                        <a:pt x="25" y="88"/>
                        <a:pt x="12" y="90"/>
                        <a:pt x="9" y="90"/>
                      </a:cubicBezTo>
                      <a:cubicBezTo>
                        <a:pt x="7" y="90"/>
                        <a:pt x="5" y="91"/>
                        <a:pt x="5" y="94"/>
                      </a:cubicBezTo>
                      <a:cubicBezTo>
                        <a:pt x="4" y="95"/>
                        <a:pt x="0" y="119"/>
                        <a:pt x="0" y="120"/>
                      </a:cubicBezTo>
                      <a:cubicBezTo>
                        <a:pt x="0" y="123"/>
                        <a:pt x="1" y="125"/>
                        <a:pt x="3" y="126"/>
                      </a:cubicBezTo>
                      <a:cubicBezTo>
                        <a:pt x="6" y="127"/>
                        <a:pt x="18" y="133"/>
                        <a:pt x="20" y="134"/>
                      </a:cubicBezTo>
                      <a:cubicBezTo>
                        <a:pt x="20" y="144"/>
                        <a:pt x="22" y="154"/>
                        <a:pt x="25" y="163"/>
                      </a:cubicBezTo>
                      <a:cubicBezTo>
                        <a:pt x="24" y="165"/>
                        <a:pt x="14" y="175"/>
                        <a:pt x="12" y="177"/>
                      </a:cubicBezTo>
                      <a:cubicBezTo>
                        <a:pt x="10" y="178"/>
                        <a:pt x="10" y="180"/>
                        <a:pt x="11" y="183"/>
                      </a:cubicBezTo>
                      <a:cubicBezTo>
                        <a:pt x="12" y="184"/>
                        <a:pt x="24" y="205"/>
                        <a:pt x="25" y="206"/>
                      </a:cubicBezTo>
                      <a:cubicBezTo>
                        <a:pt x="26" y="208"/>
                        <a:pt x="28" y="208"/>
                        <a:pt x="30" y="208"/>
                      </a:cubicBezTo>
                      <a:cubicBezTo>
                        <a:pt x="33" y="207"/>
                        <a:pt x="46" y="204"/>
                        <a:pt x="49" y="203"/>
                      </a:cubicBezTo>
                      <a:cubicBezTo>
                        <a:pt x="55" y="210"/>
                        <a:pt x="63" y="217"/>
                        <a:pt x="71" y="222"/>
                      </a:cubicBezTo>
                      <a:cubicBezTo>
                        <a:pt x="71" y="224"/>
                        <a:pt x="70" y="238"/>
                        <a:pt x="70" y="241"/>
                      </a:cubicBezTo>
                      <a:cubicBezTo>
                        <a:pt x="70" y="243"/>
                        <a:pt x="71" y="245"/>
                        <a:pt x="73" y="246"/>
                      </a:cubicBezTo>
                      <a:cubicBezTo>
                        <a:pt x="74" y="247"/>
                        <a:pt x="97" y="255"/>
                        <a:pt x="98" y="255"/>
                      </a:cubicBezTo>
                      <a:cubicBezTo>
                        <a:pt x="101" y="256"/>
                        <a:pt x="103" y="255"/>
                        <a:pt x="104" y="254"/>
                      </a:cubicBezTo>
                      <a:cubicBezTo>
                        <a:pt x="106" y="251"/>
                        <a:pt x="114" y="240"/>
                        <a:pt x="115" y="238"/>
                      </a:cubicBezTo>
                      <a:cubicBezTo>
                        <a:pt x="120" y="239"/>
                        <a:pt x="125" y="239"/>
                        <a:pt x="130" y="239"/>
                      </a:cubicBezTo>
                      <a:cubicBezTo>
                        <a:pt x="135" y="239"/>
                        <a:pt x="140" y="239"/>
                        <a:pt x="145" y="238"/>
                      </a:cubicBezTo>
                      <a:cubicBezTo>
                        <a:pt x="146" y="240"/>
                        <a:pt x="154" y="251"/>
                        <a:pt x="156" y="253"/>
                      </a:cubicBezTo>
                      <a:cubicBezTo>
                        <a:pt x="157" y="255"/>
                        <a:pt x="159" y="256"/>
                        <a:pt x="161" y="255"/>
                      </a:cubicBezTo>
                      <a:cubicBezTo>
                        <a:pt x="163" y="255"/>
                        <a:pt x="186" y="246"/>
                        <a:pt x="187" y="246"/>
                      </a:cubicBezTo>
                      <a:cubicBezTo>
                        <a:pt x="189" y="245"/>
                        <a:pt x="190" y="243"/>
                        <a:pt x="190" y="241"/>
                      </a:cubicBezTo>
                      <a:cubicBezTo>
                        <a:pt x="190" y="238"/>
                        <a:pt x="188" y="224"/>
                        <a:pt x="188" y="222"/>
                      </a:cubicBezTo>
                      <a:cubicBezTo>
                        <a:pt x="197" y="216"/>
                        <a:pt x="204" y="210"/>
                        <a:pt x="211" y="203"/>
                      </a:cubicBezTo>
                      <a:cubicBezTo>
                        <a:pt x="213" y="203"/>
                        <a:pt x="227" y="207"/>
                        <a:pt x="230" y="207"/>
                      </a:cubicBezTo>
                      <a:cubicBezTo>
                        <a:pt x="231" y="208"/>
                        <a:pt x="234" y="207"/>
                        <a:pt x="235" y="205"/>
                      </a:cubicBezTo>
                      <a:cubicBezTo>
                        <a:pt x="235" y="204"/>
                        <a:pt x="248" y="183"/>
                        <a:pt x="248" y="182"/>
                      </a:cubicBezTo>
                      <a:cubicBezTo>
                        <a:pt x="249" y="180"/>
                        <a:pt x="249" y="178"/>
                        <a:pt x="248" y="176"/>
                      </a:cubicBezTo>
                      <a:cubicBezTo>
                        <a:pt x="245" y="174"/>
                        <a:pt x="236" y="164"/>
                        <a:pt x="234" y="162"/>
                      </a:cubicBezTo>
                      <a:cubicBezTo>
                        <a:pt x="237" y="153"/>
                        <a:pt x="239" y="143"/>
                        <a:pt x="239" y="133"/>
                      </a:cubicBezTo>
                      <a:cubicBezTo>
                        <a:pt x="241" y="132"/>
                        <a:pt x="254" y="126"/>
                        <a:pt x="256" y="125"/>
                      </a:cubicBezTo>
                      <a:cubicBezTo>
                        <a:pt x="258" y="124"/>
                        <a:pt x="259" y="122"/>
                        <a:pt x="259" y="120"/>
                      </a:cubicBezTo>
                      <a:close/>
                      <a:moveTo>
                        <a:pt x="165" y="190"/>
                      </a:moveTo>
                      <a:cubicBezTo>
                        <a:pt x="131" y="209"/>
                        <a:pt x="88" y="198"/>
                        <a:pt x="69" y="165"/>
                      </a:cubicBezTo>
                      <a:cubicBezTo>
                        <a:pt x="50" y="131"/>
                        <a:pt x="61" y="88"/>
                        <a:pt x="94" y="69"/>
                      </a:cubicBezTo>
                      <a:cubicBezTo>
                        <a:pt x="128" y="49"/>
                        <a:pt x="171" y="60"/>
                        <a:pt x="190" y="94"/>
                      </a:cubicBezTo>
                      <a:cubicBezTo>
                        <a:pt x="210" y="127"/>
                        <a:pt x="198" y="170"/>
                        <a:pt x="165" y="190"/>
                      </a:cubicBezTo>
                      <a:close/>
                    </a:path>
                  </a:pathLst>
                </a:custGeom>
                <a:grpFill/>
                <a:ln w="9525">
                  <a:noFill/>
                  <a:round/>
                  <a:headEnd/>
                  <a:tailEnd/>
                </a:ln>
              </p:spPr>
              <p:txBody>
                <a:bodyPr vert="horz" wrap="square" lIns="121888" tIns="60944" rIns="121888" bIns="60944" numCol="1" anchor="t" anchorCtr="0" compatLnSpc="1">
                  <a:prstTxWarp prst="textNoShape">
                    <a:avLst/>
                  </a:prstTxWarp>
                </a:bodyPr>
                <a:lstStyle/>
                <a:p>
                  <a:pPr defTabSz="514418" fontAlgn="auto">
                    <a:spcBef>
                      <a:spcPts val="0"/>
                    </a:spcBef>
                    <a:spcAft>
                      <a:spcPts val="0"/>
                    </a:spcAft>
                  </a:pPr>
                  <a:endParaRPr lang="en-US">
                    <a:solidFill>
                      <a:srgbClr val="676767"/>
                    </a:solidFill>
                    <a:latin typeface="Arial"/>
                    <a:ea typeface="+mn-ea"/>
                    <a:cs typeface="+mn-cs"/>
                  </a:endParaRPr>
                </a:p>
              </p:txBody>
            </p:sp>
          </p:grpSp>
          <p:sp>
            <p:nvSpPr>
              <p:cNvPr id="21" name="Freeform 132"/>
              <p:cNvSpPr>
                <a:spLocks/>
              </p:cNvSpPr>
              <p:nvPr/>
            </p:nvSpPr>
            <p:spPr bwMode="auto">
              <a:xfrm>
                <a:off x="7170738" y="3767130"/>
                <a:ext cx="495300" cy="468313"/>
              </a:xfrm>
              <a:custGeom>
                <a:avLst/>
                <a:gdLst/>
                <a:ahLst/>
                <a:cxnLst>
                  <a:cxn ang="0">
                    <a:pos x="139" y="98"/>
                  </a:cxn>
                  <a:cxn ang="0">
                    <a:pos x="136" y="76"/>
                  </a:cxn>
                  <a:cxn ang="0">
                    <a:pos x="177" y="36"/>
                  </a:cxn>
                  <a:cxn ang="0">
                    <a:pos x="161" y="18"/>
                  </a:cxn>
                  <a:cxn ang="0">
                    <a:pos x="121" y="61"/>
                  </a:cxn>
                  <a:cxn ang="0">
                    <a:pos x="99" y="58"/>
                  </a:cxn>
                  <a:cxn ang="0">
                    <a:pos x="70" y="0"/>
                  </a:cxn>
                  <a:cxn ang="0">
                    <a:pos x="51" y="14"/>
                  </a:cxn>
                  <a:cxn ang="0">
                    <a:pos x="80" y="67"/>
                  </a:cxn>
                  <a:cxn ang="0">
                    <a:pos x="70" y="87"/>
                  </a:cxn>
                  <a:cxn ang="0">
                    <a:pos x="1" y="97"/>
                  </a:cxn>
                  <a:cxn ang="0">
                    <a:pos x="2" y="121"/>
                  </a:cxn>
                  <a:cxn ang="0">
                    <a:pos x="73" y="108"/>
                  </a:cxn>
                  <a:cxn ang="0">
                    <a:pos x="89" y="124"/>
                  </a:cxn>
                  <a:cxn ang="0">
                    <a:pos x="79" y="182"/>
                  </a:cxn>
                  <a:cxn ang="0">
                    <a:pos x="103" y="181"/>
                  </a:cxn>
                  <a:cxn ang="0">
                    <a:pos x="110" y="127"/>
                  </a:cxn>
                  <a:cxn ang="0">
                    <a:pos x="130" y="117"/>
                  </a:cxn>
                  <a:cxn ang="0">
                    <a:pos x="180" y="143"/>
                  </a:cxn>
                  <a:cxn ang="0">
                    <a:pos x="193" y="123"/>
                  </a:cxn>
                  <a:cxn ang="0">
                    <a:pos x="139" y="98"/>
                  </a:cxn>
                </a:cxnLst>
                <a:rect l="0" t="0" r="r" b="b"/>
                <a:pathLst>
                  <a:path w="193" h="182">
                    <a:moveTo>
                      <a:pt x="139" y="98"/>
                    </a:moveTo>
                    <a:cubicBezTo>
                      <a:pt x="128" y="93"/>
                      <a:pt x="127" y="85"/>
                      <a:pt x="136" y="76"/>
                    </a:cubicBezTo>
                    <a:cubicBezTo>
                      <a:pt x="141" y="71"/>
                      <a:pt x="161" y="51"/>
                      <a:pt x="177" y="36"/>
                    </a:cubicBezTo>
                    <a:cubicBezTo>
                      <a:pt x="172" y="30"/>
                      <a:pt x="167" y="24"/>
                      <a:pt x="161" y="18"/>
                    </a:cubicBezTo>
                    <a:cubicBezTo>
                      <a:pt x="146" y="35"/>
                      <a:pt x="126" y="56"/>
                      <a:pt x="121" y="61"/>
                    </a:cubicBezTo>
                    <a:cubicBezTo>
                      <a:pt x="112" y="70"/>
                      <a:pt x="104" y="69"/>
                      <a:pt x="99" y="58"/>
                    </a:cubicBezTo>
                    <a:cubicBezTo>
                      <a:pt x="95" y="50"/>
                      <a:pt x="80" y="20"/>
                      <a:pt x="70" y="0"/>
                    </a:cubicBezTo>
                    <a:cubicBezTo>
                      <a:pt x="63" y="4"/>
                      <a:pt x="57" y="9"/>
                      <a:pt x="51" y="14"/>
                    </a:cubicBezTo>
                    <a:cubicBezTo>
                      <a:pt x="62" y="34"/>
                      <a:pt x="76" y="60"/>
                      <a:pt x="80" y="67"/>
                    </a:cubicBezTo>
                    <a:cubicBezTo>
                      <a:pt x="86" y="78"/>
                      <a:pt x="82" y="85"/>
                      <a:pt x="70" y="87"/>
                    </a:cubicBezTo>
                    <a:cubicBezTo>
                      <a:pt x="61" y="89"/>
                      <a:pt x="23" y="94"/>
                      <a:pt x="1" y="97"/>
                    </a:cubicBezTo>
                    <a:cubicBezTo>
                      <a:pt x="0" y="105"/>
                      <a:pt x="0" y="113"/>
                      <a:pt x="2" y="121"/>
                    </a:cubicBezTo>
                    <a:cubicBezTo>
                      <a:pt x="23" y="117"/>
                      <a:pt x="64" y="109"/>
                      <a:pt x="73" y="108"/>
                    </a:cubicBezTo>
                    <a:cubicBezTo>
                      <a:pt x="85" y="106"/>
                      <a:pt x="91" y="111"/>
                      <a:pt x="89" y="124"/>
                    </a:cubicBezTo>
                    <a:cubicBezTo>
                      <a:pt x="88" y="131"/>
                      <a:pt x="83" y="160"/>
                      <a:pt x="79" y="182"/>
                    </a:cubicBezTo>
                    <a:cubicBezTo>
                      <a:pt x="87" y="182"/>
                      <a:pt x="95" y="182"/>
                      <a:pt x="103" y="181"/>
                    </a:cubicBezTo>
                    <a:cubicBezTo>
                      <a:pt x="106" y="159"/>
                      <a:pt x="109" y="134"/>
                      <a:pt x="110" y="127"/>
                    </a:cubicBezTo>
                    <a:cubicBezTo>
                      <a:pt x="111" y="115"/>
                      <a:pt x="119" y="111"/>
                      <a:pt x="130" y="117"/>
                    </a:cubicBezTo>
                    <a:cubicBezTo>
                      <a:pt x="136" y="120"/>
                      <a:pt x="161" y="133"/>
                      <a:pt x="180" y="143"/>
                    </a:cubicBezTo>
                    <a:cubicBezTo>
                      <a:pt x="186" y="137"/>
                      <a:pt x="190" y="130"/>
                      <a:pt x="193" y="123"/>
                    </a:cubicBezTo>
                    <a:cubicBezTo>
                      <a:pt x="172" y="114"/>
                      <a:pt x="146" y="101"/>
                      <a:pt x="139" y="98"/>
                    </a:cubicBezTo>
                    <a:close/>
                  </a:path>
                </a:pathLst>
              </a:custGeom>
              <a:grpFill/>
              <a:ln w="9525">
                <a:noFill/>
                <a:round/>
                <a:headEnd/>
                <a:tailEnd/>
              </a:ln>
            </p:spPr>
            <p:txBody>
              <a:bodyPr vert="horz" wrap="square" lIns="121888" tIns="60944" rIns="121888" bIns="60944" numCol="1" anchor="t" anchorCtr="0" compatLnSpc="1">
                <a:prstTxWarp prst="textNoShape">
                  <a:avLst/>
                </a:prstTxWarp>
              </a:bodyPr>
              <a:lstStyle/>
              <a:p>
                <a:pPr defTabSz="514418" fontAlgn="auto">
                  <a:spcBef>
                    <a:spcPts val="0"/>
                  </a:spcBef>
                  <a:spcAft>
                    <a:spcPts val="0"/>
                  </a:spcAft>
                </a:pPr>
                <a:endParaRPr lang="en-US" dirty="0">
                  <a:solidFill>
                    <a:srgbClr val="676767"/>
                  </a:solidFill>
                  <a:latin typeface="Arial"/>
                  <a:ea typeface="+mn-ea"/>
                  <a:cs typeface="+mn-cs"/>
                </a:endParaRPr>
              </a:p>
            </p:txBody>
          </p:sp>
        </p:grpSp>
      </p:grpSp>
      <p:pic>
        <p:nvPicPr>
          <p:cNvPr id="34" name="Picture 3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43505" y="1782588"/>
            <a:ext cx="916485" cy="543616"/>
          </a:xfrm>
          <a:prstGeom prst="rect">
            <a:avLst/>
          </a:prstGeom>
        </p:spPr>
      </p:pic>
      <p:sp>
        <p:nvSpPr>
          <p:cNvPr id="27" name="Rectangle 5"/>
          <p:cNvSpPr/>
          <p:nvPr/>
        </p:nvSpPr>
        <p:spPr>
          <a:xfrm>
            <a:off x="437766" y="1415689"/>
            <a:ext cx="4877184" cy="548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79936" tIns="34281" rIns="68563" bIns="34281" rtlCol="0" anchor="ctr" anchorCtr="0"/>
          <a:lstStyle/>
          <a:p>
            <a:pPr defTabSz="914003">
              <a:spcAft>
                <a:spcPts val="451"/>
              </a:spcAft>
            </a:pPr>
            <a:endParaRPr lang="en-US" sz="1100" b="1" dirty="0">
              <a:solidFill>
                <a:prstClr val="white"/>
              </a:solidFill>
            </a:endParaRPr>
          </a:p>
        </p:txBody>
      </p:sp>
    </p:spTree>
    <p:extLst>
      <p:ext uri="{BB962C8B-B14F-4D97-AF65-F5344CB8AC3E}">
        <p14:creationId xmlns:p14="http://schemas.microsoft.com/office/powerpoint/2010/main" val="287382833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3" name="Expand"/>
          <p:cNvGrpSpPr/>
          <p:nvPr/>
        </p:nvGrpSpPr>
        <p:grpSpPr>
          <a:xfrm>
            <a:off x="400510" y="2053433"/>
            <a:ext cx="8283018" cy="2294616"/>
            <a:chOff x="576477" y="934429"/>
            <a:chExt cx="11044024" cy="3059488"/>
          </a:xfrm>
        </p:grpSpPr>
        <p:sp>
          <p:nvSpPr>
            <p:cNvPr id="382" name="Rectangle 121"/>
            <p:cNvSpPr/>
            <p:nvPr/>
          </p:nvSpPr>
          <p:spPr>
            <a:xfrm>
              <a:off x="576477" y="991244"/>
              <a:ext cx="11044024" cy="3002673"/>
            </a:xfrm>
            <a:prstGeom prst="rect">
              <a:avLst/>
            </a:prstGeom>
            <a:solidFill>
              <a:schemeClr val="bg1"/>
            </a:solidFill>
            <a:ln w="19050" cap="flat" cmpd="sng" algn="ctr">
              <a:solidFill>
                <a:schemeClr val="accent2"/>
              </a:solidFill>
              <a:prstDash val="solid"/>
            </a:ln>
            <a:effectLst/>
          </p:spPr>
          <p:txBody>
            <a:bodyPr rtlCol="0" anchor="ctr"/>
            <a:lstStyle/>
            <a:p>
              <a:pPr algn="ctr" defTabSz="913668">
                <a:defRPr/>
              </a:pPr>
              <a:endParaRPr lang="en-US" kern="0">
                <a:solidFill>
                  <a:prstClr val="white"/>
                </a:solidFill>
              </a:endParaRPr>
            </a:p>
          </p:txBody>
        </p:sp>
        <p:sp>
          <p:nvSpPr>
            <p:cNvPr id="383" name="Freeform 122"/>
            <p:cNvSpPr>
              <a:spLocks/>
            </p:cNvSpPr>
            <p:nvPr/>
          </p:nvSpPr>
          <p:spPr bwMode="auto">
            <a:xfrm>
              <a:off x="1906233" y="1549400"/>
              <a:ext cx="1175898" cy="2085975"/>
            </a:xfrm>
            <a:custGeom>
              <a:avLst/>
              <a:gdLst>
                <a:gd name="connsiteX0" fmla="*/ 0 w 1176097"/>
                <a:gd name="connsiteY0" fmla="*/ 0 h 2163591"/>
                <a:gd name="connsiteX1" fmla="*/ 102039 w 1176097"/>
                <a:gd name="connsiteY1" fmla="*/ 7446 h 2163591"/>
                <a:gd name="connsiteX2" fmla="*/ 962796 w 1176097"/>
                <a:gd name="connsiteY2" fmla="*/ 64117 h 2163591"/>
                <a:gd name="connsiteX3" fmla="*/ 1176097 w 1176097"/>
                <a:gd name="connsiteY3" fmla="*/ 76558 h 2163591"/>
                <a:gd name="connsiteX4" fmla="*/ 1176097 w 1176097"/>
                <a:gd name="connsiteY4" fmla="*/ 2089555 h 2163591"/>
                <a:gd name="connsiteX5" fmla="*/ 593730 w 1176097"/>
                <a:gd name="connsiteY5" fmla="*/ 2124889 h 2163591"/>
                <a:gd name="connsiteX6" fmla="*/ 0 w 1176097"/>
                <a:gd name="connsiteY6" fmla="*/ 2163591 h 2163591"/>
                <a:gd name="connsiteX0" fmla="*/ 0 w 1176097"/>
                <a:gd name="connsiteY0" fmla="*/ 0 h 2163591"/>
                <a:gd name="connsiteX1" fmla="*/ 962796 w 1176097"/>
                <a:gd name="connsiteY1" fmla="*/ 64117 h 2163591"/>
                <a:gd name="connsiteX2" fmla="*/ 1176097 w 1176097"/>
                <a:gd name="connsiteY2" fmla="*/ 76558 h 2163591"/>
                <a:gd name="connsiteX3" fmla="*/ 1176097 w 1176097"/>
                <a:gd name="connsiteY3" fmla="*/ 2089555 h 2163591"/>
                <a:gd name="connsiteX4" fmla="*/ 593730 w 1176097"/>
                <a:gd name="connsiteY4" fmla="*/ 2124889 h 2163591"/>
                <a:gd name="connsiteX5" fmla="*/ 0 w 1176097"/>
                <a:gd name="connsiteY5" fmla="*/ 2163591 h 2163591"/>
                <a:gd name="connsiteX6" fmla="*/ 0 w 1176097"/>
                <a:gd name="connsiteY6" fmla="*/ 0 h 2163591"/>
                <a:gd name="connsiteX0" fmla="*/ 0 w 1176097"/>
                <a:gd name="connsiteY0" fmla="*/ 0 h 2163591"/>
                <a:gd name="connsiteX1" fmla="*/ 1176097 w 1176097"/>
                <a:gd name="connsiteY1" fmla="*/ 76558 h 2163591"/>
                <a:gd name="connsiteX2" fmla="*/ 1176097 w 1176097"/>
                <a:gd name="connsiteY2" fmla="*/ 2089555 h 2163591"/>
                <a:gd name="connsiteX3" fmla="*/ 593730 w 1176097"/>
                <a:gd name="connsiteY3" fmla="*/ 2124889 h 2163591"/>
                <a:gd name="connsiteX4" fmla="*/ 0 w 1176097"/>
                <a:gd name="connsiteY4" fmla="*/ 2163591 h 2163591"/>
                <a:gd name="connsiteX5" fmla="*/ 0 w 1176097"/>
                <a:gd name="connsiteY5" fmla="*/ 0 h 2163591"/>
                <a:gd name="connsiteX0" fmla="*/ 0 w 1176097"/>
                <a:gd name="connsiteY0" fmla="*/ 0 h 2241240"/>
                <a:gd name="connsiteX1" fmla="*/ 1176097 w 1176097"/>
                <a:gd name="connsiteY1" fmla="*/ 154207 h 2241240"/>
                <a:gd name="connsiteX2" fmla="*/ 1176097 w 1176097"/>
                <a:gd name="connsiteY2" fmla="*/ 2167204 h 2241240"/>
                <a:gd name="connsiteX3" fmla="*/ 593730 w 1176097"/>
                <a:gd name="connsiteY3" fmla="*/ 2202538 h 2241240"/>
                <a:gd name="connsiteX4" fmla="*/ 0 w 1176097"/>
                <a:gd name="connsiteY4" fmla="*/ 2241240 h 2241240"/>
                <a:gd name="connsiteX5" fmla="*/ 0 w 1176097"/>
                <a:gd name="connsiteY5" fmla="*/ 0 h 2241240"/>
                <a:gd name="connsiteX0" fmla="*/ 0 w 1176097"/>
                <a:gd name="connsiteY0" fmla="*/ 0 h 2241240"/>
                <a:gd name="connsiteX1" fmla="*/ 1176097 w 1176097"/>
                <a:gd name="connsiteY1" fmla="*/ 154207 h 2241240"/>
                <a:gd name="connsiteX2" fmla="*/ 1176097 w 1176097"/>
                <a:gd name="connsiteY2" fmla="*/ 2167204 h 2241240"/>
                <a:gd name="connsiteX3" fmla="*/ 593730 w 1176097"/>
                <a:gd name="connsiteY3" fmla="*/ 2202538 h 2241240"/>
                <a:gd name="connsiteX4" fmla="*/ 0 w 1176097"/>
                <a:gd name="connsiteY4" fmla="*/ 2241240 h 2241240"/>
                <a:gd name="connsiteX5" fmla="*/ 0 w 1176097"/>
                <a:gd name="connsiteY5" fmla="*/ 0 h 2241240"/>
                <a:gd name="connsiteX0" fmla="*/ 0 w 1176097"/>
                <a:gd name="connsiteY0" fmla="*/ 0 h 2241240"/>
                <a:gd name="connsiteX1" fmla="*/ 1176097 w 1176097"/>
                <a:gd name="connsiteY1" fmla="*/ 154207 h 2241240"/>
                <a:gd name="connsiteX2" fmla="*/ 1176097 w 1176097"/>
                <a:gd name="connsiteY2" fmla="*/ 2167204 h 2241240"/>
                <a:gd name="connsiteX3" fmla="*/ 0 w 1176097"/>
                <a:gd name="connsiteY3" fmla="*/ 2241240 h 2241240"/>
                <a:gd name="connsiteX4" fmla="*/ 0 w 1176097"/>
                <a:gd name="connsiteY4" fmla="*/ 0 h 2241240"/>
                <a:gd name="connsiteX0" fmla="*/ 0 w 1176097"/>
                <a:gd name="connsiteY0" fmla="*/ 0 h 2318889"/>
                <a:gd name="connsiteX1" fmla="*/ 1176097 w 1176097"/>
                <a:gd name="connsiteY1" fmla="*/ 154207 h 2318889"/>
                <a:gd name="connsiteX2" fmla="*/ 1176097 w 1176097"/>
                <a:gd name="connsiteY2" fmla="*/ 2167204 h 2318889"/>
                <a:gd name="connsiteX3" fmla="*/ 3204 w 1176097"/>
                <a:gd name="connsiteY3" fmla="*/ 2318889 h 2318889"/>
                <a:gd name="connsiteX4" fmla="*/ 0 w 1176097"/>
                <a:gd name="connsiteY4" fmla="*/ 0 h 231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097" h="2318889">
                  <a:moveTo>
                    <a:pt x="0" y="0"/>
                  </a:moveTo>
                  <a:lnTo>
                    <a:pt x="1176097" y="154207"/>
                  </a:lnTo>
                  <a:lnTo>
                    <a:pt x="1176097" y="2167204"/>
                  </a:lnTo>
                  <a:lnTo>
                    <a:pt x="3204" y="2318889"/>
                  </a:lnTo>
                  <a:lnTo>
                    <a:pt x="0" y="0"/>
                  </a:lnTo>
                  <a:close/>
                </a:path>
              </a:pathLst>
            </a:custGeom>
            <a:solidFill>
              <a:schemeClr val="accent2"/>
            </a:solidFill>
            <a:ln>
              <a:noFill/>
            </a:ln>
          </p:spPr>
          <p:txBody>
            <a:bodyPr vert="horz" wrap="square" lIns="91416" tIns="365760" rIns="91416" bIns="45708" numCol="1" anchor="t" anchorCtr="0" compatLnSpc="1">
              <a:prstTxWarp prst="textNoShape">
                <a:avLst/>
              </a:prstTxWarp>
              <a:noAutofit/>
            </a:bodyPr>
            <a:lstStyle/>
            <a:p>
              <a:pPr algn="ctr" defTabSz="685605">
                <a:defRPr/>
              </a:pPr>
              <a:endParaRPr lang="en-US" sz="800" kern="0" dirty="0">
                <a:solidFill>
                  <a:srgbClr val="FFFFFF"/>
                </a:solidFill>
              </a:endParaRPr>
            </a:p>
          </p:txBody>
        </p:sp>
        <p:sp>
          <p:nvSpPr>
            <p:cNvPr id="384" name="Freeform 129"/>
            <p:cNvSpPr>
              <a:spLocks/>
            </p:cNvSpPr>
            <p:nvPr/>
          </p:nvSpPr>
          <p:spPr bwMode="auto">
            <a:xfrm>
              <a:off x="684494" y="1397794"/>
              <a:ext cx="1176231" cy="2402681"/>
            </a:xfrm>
            <a:custGeom>
              <a:avLst/>
              <a:gdLst>
                <a:gd name="connsiteX0" fmla="*/ 1082 w 1176097"/>
                <a:gd name="connsiteY0" fmla="*/ 0 h 2348139"/>
                <a:gd name="connsiteX1" fmla="*/ 897765 w 1176097"/>
                <a:gd name="connsiteY1" fmla="*/ 70453 h 2348139"/>
                <a:gd name="connsiteX2" fmla="*/ 1176097 w 1176097"/>
                <a:gd name="connsiteY2" fmla="*/ 90765 h 2348139"/>
                <a:gd name="connsiteX3" fmla="*/ 1176097 w 1176097"/>
                <a:gd name="connsiteY3" fmla="*/ 2260974 h 2348139"/>
                <a:gd name="connsiteX4" fmla="*/ 910080 w 1176097"/>
                <a:gd name="connsiteY4" fmla="*/ 2278314 h 2348139"/>
                <a:gd name="connsiteX5" fmla="*/ 0 w 1176097"/>
                <a:gd name="connsiteY5" fmla="*/ 2348139 h 2348139"/>
                <a:gd name="connsiteX6" fmla="*/ 1082 w 1176097"/>
                <a:gd name="connsiteY6" fmla="*/ 0 h 2348139"/>
                <a:gd name="connsiteX0" fmla="*/ 1082 w 1176097"/>
                <a:gd name="connsiteY0" fmla="*/ 0 h 2348139"/>
                <a:gd name="connsiteX1" fmla="*/ 1176097 w 1176097"/>
                <a:gd name="connsiteY1" fmla="*/ 90765 h 2348139"/>
                <a:gd name="connsiteX2" fmla="*/ 1176097 w 1176097"/>
                <a:gd name="connsiteY2" fmla="*/ 2260974 h 2348139"/>
                <a:gd name="connsiteX3" fmla="*/ 910080 w 1176097"/>
                <a:gd name="connsiteY3" fmla="*/ 2278314 h 2348139"/>
                <a:gd name="connsiteX4" fmla="*/ 0 w 1176097"/>
                <a:gd name="connsiteY4" fmla="*/ 2348139 h 2348139"/>
                <a:gd name="connsiteX5" fmla="*/ 1082 w 1176097"/>
                <a:gd name="connsiteY5" fmla="*/ 0 h 2348139"/>
                <a:gd name="connsiteX0" fmla="*/ 5846 w 1176097"/>
                <a:gd name="connsiteY0" fmla="*/ 0 h 2399612"/>
                <a:gd name="connsiteX1" fmla="*/ 1176097 w 1176097"/>
                <a:gd name="connsiteY1" fmla="*/ 142238 h 2399612"/>
                <a:gd name="connsiteX2" fmla="*/ 1176097 w 1176097"/>
                <a:gd name="connsiteY2" fmla="*/ 2312447 h 2399612"/>
                <a:gd name="connsiteX3" fmla="*/ 910080 w 1176097"/>
                <a:gd name="connsiteY3" fmla="*/ 2329787 h 2399612"/>
                <a:gd name="connsiteX4" fmla="*/ 0 w 1176097"/>
                <a:gd name="connsiteY4" fmla="*/ 2399612 h 2399612"/>
                <a:gd name="connsiteX5" fmla="*/ 5846 w 1176097"/>
                <a:gd name="connsiteY5" fmla="*/ 0 h 2399612"/>
                <a:gd name="connsiteX0" fmla="*/ 5846 w 1176097"/>
                <a:gd name="connsiteY0" fmla="*/ 0 h 2399612"/>
                <a:gd name="connsiteX1" fmla="*/ 1176097 w 1176097"/>
                <a:gd name="connsiteY1" fmla="*/ 142238 h 2399612"/>
                <a:gd name="connsiteX2" fmla="*/ 1176097 w 1176097"/>
                <a:gd name="connsiteY2" fmla="*/ 2312447 h 2399612"/>
                <a:gd name="connsiteX3" fmla="*/ 910080 w 1176097"/>
                <a:gd name="connsiteY3" fmla="*/ 2329787 h 2399612"/>
                <a:gd name="connsiteX4" fmla="*/ 0 w 1176097"/>
                <a:gd name="connsiteY4" fmla="*/ 2399612 h 2399612"/>
                <a:gd name="connsiteX5" fmla="*/ 5846 w 1176097"/>
                <a:gd name="connsiteY5" fmla="*/ 0 h 2399612"/>
                <a:gd name="connsiteX0" fmla="*/ 5846 w 1176097"/>
                <a:gd name="connsiteY0" fmla="*/ 0 h 2399612"/>
                <a:gd name="connsiteX1" fmla="*/ 1176097 w 1176097"/>
                <a:gd name="connsiteY1" fmla="*/ 142238 h 2399612"/>
                <a:gd name="connsiteX2" fmla="*/ 1176097 w 1176097"/>
                <a:gd name="connsiteY2" fmla="*/ 2312447 h 2399612"/>
                <a:gd name="connsiteX3" fmla="*/ 0 w 1176097"/>
                <a:gd name="connsiteY3" fmla="*/ 2399612 h 2399612"/>
                <a:gd name="connsiteX4" fmla="*/ 5846 w 1176097"/>
                <a:gd name="connsiteY4" fmla="*/ 0 h 2399612"/>
                <a:gd name="connsiteX0" fmla="*/ 3799 w 1174050"/>
                <a:gd name="connsiteY0" fmla="*/ 0 h 2478047"/>
                <a:gd name="connsiteX1" fmla="*/ 1174050 w 1174050"/>
                <a:gd name="connsiteY1" fmla="*/ 142238 h 2478047"/>
                <a:gd name="connsiteX2" fmla="*/ 1174050 w 1174050"/>
                <a:gd name="connsiteY2" fmla="*/ 2312447 h 2478047"/>
                <a:gd name="connsiteX3" fmla="*/ 334 w 1174050"/>
                <a:gd name="connsiteY3" fmla="*/ 2478047 h 2478047"/>
                <a:gd name="connsiteX4" fmla="*/ 3799 w 1174050"/>
                <a:gd name="connsiteY4" fmla="*/ 0 h 2478047"/>
                <a:gd name="connsiteX0" fmla="*/ 3134 w 1173385"/>
                <a:gd name="connsiteY0" fmla="*/ 0 h 2475595"/>
                <a:gd name="connsiteX1" fmla="*/ 1173385 w 1173385"/>
                <a:gd name="connsiteY1" fmla="*/ 142238 h 2475595"/>
                <a:gd name="connsiteX2" fmla="*/ 1173385 w 1173385"/>
                <a:gd name="connsiteY2" fmla="*/ 2312447 h 2475595"/>
                <a:gd name="connsiteX3" fmla="*/ 2050 w 1173385"/>
                <a:gd name="connsiteY3" fmla="*/ 2475595 h 2475595"/>
                <a:gd name="connsiteX4" fmla="*/ 3134 w 1173385"/>
                <a:gd name="connsiteY4" fmla="*/ 0 h 2475595"/>
                <a:gd name="connsiteX0" fmla="*/ 3798 w 1174049"/>
                <a:gd name="connsiteY0" fmla="*/ 0 h 2473144"/>
                <a:gd name="connsiteX1" fmla="*/ 1174049 w 1174049"/>
                <a:gd name="connsiteY1" fmla="*/ 142238 h 2473144"/>
                <a:gd name="connsiteX2" fmla="*/ 1174049 w 1174049"/>
                <a:gd name="connsiteY2" fmla="*/ 2312447 h 2473144"/>
                <a:gd name="connsiteX3" fmla="*/ 333 w 1174049"/>
                <a:gd name="connsiteY3" fmla="*/ 2473144 h 2473144"/>
                <a:gd name="connsiteX4" fmla="*/ 3798 w 1174049"/>
                <a:gd name="connsiteY4" fmla="*/ 0 h 2473144"/>
                <a:gd name="connsiteX0" fmla="*/ 3798 w 1176430"/>
                <a:gd name="connsiteY0" fmla="*/ 0 h 2473144"/>
                <a:gd name="connsiteX1" fmla="*/ 1176430 w 1176430"/>
                <a:gd name="connsiteY1" fmla="*/ 152042 h 2473144"/>
                <a:gd name="connsiteX2" fmla="*/ 1174049 w 1176430"/>
                <a:gd name="connsiteY2" fmla="*/ 2312447 h 2473144"/>
                <a:gd name="connsiteX3" fmla="*/ 333 w 1176430"/>
                <a:gd name="connsiteY3" fmla="*/ 2473144 h 2473144"/>
                <a:gd name="connsiteX4" fmla="*/ 3798 w 1176430"/>
                <a:gd name="connsiteY4" fmla="*/ 0 h 2473144"/>
                <a:gd name="connsiteX0" fmla="*/ 3798 w 1176430"/>
                <a:gd name="connsiteY0" fmla="*/ 0 h 2473144"/>
                <a:gd name="connsiteX1" fmla="*/ 1176430 w 1176430"/>
                <a:gd name="connsiteY1" fmla="*/ 152042 h 2473144"/>
                <a:gd name="connsiteX2" fmla="*/ 1174049 w 1176430"/>
                <a:gd name="connsiteY2" fmla="*/ 2312447 h 2473144"/>
                <a:gd name="connsiteX3" fmla="*/ 333 w 1176430"/>
                <a:gd name="connsiteY3" fmla="*/ 2473144 h 2473144"/>
                <a:gd name="connsiteX4" fmla="*/ 3798 w 1176430"/>
                <a:gd name="connsiteY4" fmla="*/ 0 h 2473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6430" h="2473144">
                  <a:moveTo>
                    <a:pt x="3798" y="0"/>
                  </a:moveTo>
                  <a:lnTo>
                    <a:pt x="1176430" y="152042"/>
                  </a:lnTo>
                  <a:cubicBezTo>
                    <a:pt x="1172460" y="989829"/>
                    <a:pt x="1174843" y="1592312"/>
                    <a:pt x="1174049" y="2312447"/>
                  </a:cubicBezTo>
                  <a:lnTo>
                    <a:pt x="333" y="2473144"/>
                  </a:lnTo>
                  <a:cubicBezTo>
                    <a:pt x="2858" y="119666"/>
                    <a:pt x="-3854" y="2349318"/>
                    <a:pt x="3798" y="0"/>
                  </a:cubicBezTo>
                  <a:close/>
                </a:path>
              </a:pathLst>
            </a:custGeom>
            <a:solidFill>
              <a:schemeClr val="accent1"/>
            </a:solidFill>
            <a:ln>
              <a:noFill/>
            </a:ln>
          </p:spPr>
          <p:txBody>
            <a:bodyPr vert="horz" wrap="square" lIns="91440" tIns="457200" rIns="91416" bIns="45708" numCol="1" anchor="t" anchorCtr="0" compatLnSpc="1">
              <a:prstTxWarp prst="textNoShape">
                <a:avLst/>
              </a:prstTxWarp>
              <a:noAutofit/>
            </a:bodyPr>
            <a:lstStyle/>
            <a:p>
              <a:pPr algn="ctr" defTabSz="685605">
                <a:defRPr/>
              </a:pPr>
              <a:endParaRPr lang="en-US" sz="800" kern="0" dirty="0">
                <a:solidFill>
                  <a:srgbClr val="FFFFFF"/>
                </a:solidFill>
              </a:endParaRPr>
            </a:p>
          </p:txBody>
        </p:sp>
        <p:sp>
          <p:nvSpPr>
            <p:cNvPr id="412" name="Freeform 130"/>
            <p:cNvSpPr/>
            <p:nvPr/>
          </p:nvSpPr>
          <p:spPr>
            <a:xfrm>
              <a:off x="3132641" y="1692560"/>
              <a:ext cx="3000473" cy="1807469"/>
            </a:xfrm>
            <a:custGeom>
              <a:avLst/>
              <a:gdLst>
                <a:gd name="connsiteX0" fmla="*/ 0 w 1176097"/>
                <a:gd name="connsiteY0" fmla="*/ 0 h 2007297"/>
                <a:gd name="connsiteX1" fmla="*/ 189033 w 1176097"/>
                <a:gd name="connsiteY1" fmla="*/ 11026 h 2007297"/>
                <a:gd name="connsiteX2" fmla="*/ 1173572 w 1176097"/>
                <a:gd name="connsiteY2" fmla="*/ 61504 h 2007297"/>
                <a:gd name="connsiteX3" fmla="*/ 1176097 w 1176097"/>
                <a:gd name="connsiteY3" fmla="*/ 1933609 h 2007297"/>
                <a:gd name="connsiteX4" fmla="*/ 274539 w 1176097"/>
                <a:gd name="connsiteY4" fmla="*/ 1990640 h 2007297"/>
                <a:gd name="connsiteX5" fmla="*/ 0 w 1176097"/>
                <a:gd name="connsiteY5" fmla="*/ 2007297 h 2007297"/>
                <a:gd name="connsiteX0" fmla="*/ 0 w 1176097"/>
                <a:gd name="connsiteY0" fmla="*/ 0 h 2007297"/>
                <a:gd name="connsiteX1" fmla="*/ 1173572 w 1176097"/>
                <a:gd name="connsiteY1" fmla="*/ 61504 h 2007297"/>
                <a:gd name="connsiteX2" fmla="*/ 1176097 w 1176097"/>
                <a:gd name="connsiteY2" fmla="*/ 1933609 h 2007297"/>
                <a:gd name="connsiteX3" fmla="*/ 274539 w 1176097"/>
                <a:gd name="connsiteY3" fmla="*/ 1990640 h 2007297"/>
                <a:gd name="connsiteX4" fmla="*/ 0 w 1176097"/>
                <a:gd name="connsiteY4" fmla="*/ 2007297 h 2007297"/>
                <a:gd name="connsiteX5" fmla="*/ 0 w 1176097"/>
                <a:gd name="connsiteY5" fmla="*/ 0 h 2007297"/>
                <a:gd name="connsiteX0" fmla="*/ 0 w 1176097"/>
                <a:gd name="connsiteY0" fmla="*/ 0 h 2007297"/>
                <a:gd name="connsiteX1" fmla="*/ 1171705 w 1176097"/>
                <a:gd name="connsiteY1" fmla="*/ 137704 h 2007297"/>
                <a:gd name="connsiteX2" fmla="*/ 1176097 w 1176097"/>
                <a:gd name="connsiteY2" fmla="*/ 1933609 h 2007297"/>
                <a:gd name="connsiteX3" fmla="*/ 274539 w 1176097"/>
                <a:gd name="connsiteY3" fmla="*/ 1990640 h 2007297"/>
                <a:gd name="connsiteX4" fmla="*/ 0 w 1176097"/>
                <a:gd name="connsiteY4" fmla="*/ 2007297 h 2007297"/>
                <a:gd name="connsiteX5" fmla="*/ 0 w 1176097"/>
                <a:gd name="connsiteY5" fmla="*/ 0 h 2007297"/>
                <a:gd name="connsiteX0" fmla="*/ 0 w 1176097"/>
                <a:gd name="connsiteY0" fmla="*/ 0 h 2007297"/>
                <a:gd name="connsiteX1" fmla="*/ 1171705 w 1176097"/>
                <a:gd name="connsiteY1" fmla="*/ 137704 h 2007297"/>
                <a:gd name="connsiteX2" fmla="*/ 1176097 w 1176097"/>
                <a:gd name="connsiteY2" fmla="*/ 1933609 h 2007297"/>
                <a:gd name="connsiteX3" fmla="*/ 0 w 1176097"/>
                <a:gd name="connsiteY3" fmla="*/ 2007297 h 2007297"/>
                <a:gd name="connsiteX4" fmla="*/ 0 w 1176097"/>
                <a:gd name="connsiteY4" fmla="*/ 0 h 2007297"/>
                <a:gd name="connsiteX0" fmla="*/ 0 w 1174230"/>
                <a:gd name="connsiteY0" fmla="*/ 0 h 2007297"/>
                <a:gd name="connsiteX1" fmla="*/ 1171705 w 1174230"/>
                <a:gd name="connsiteY1" fmla="*/ 137704 h 2007297"/>
                <a:gd name="connsiteX2" fmla="*/ 1174230 w 1174230"/>
                <a:gd name="connsiteY2" fmla="*/ 1871697 h 2007297"/>
                <a:gd name="connsiteX3" fmla="*/ 0 w 1174230"/>
                <a:gd name="connsiteY3" fmla="*/ 2007297 h 2007297"/>
                <a:gd name="connsiteX4" fmla="*/ 0 w 1174230"/>
                <a:gd name="connsiteY4" fmla="*/ 0 h 2007297"/>
                <a:gd name="connsiteX0" fmla="*/ 0 w 1174230"/>
                <a:gd name="connsiteY0" fmla="*/ 0 h 2007297"/>
                <a:gd name="connsiteX1" fmla="*/ 1171705 w 1174230"/>
                <a:gd name="connsiteY1" fmla="*/ 289322 h 2007297"/>
                <a:gd name="connsiteX2" fmla="*/ 1174230 w 1174230"/>
                <a:gd name="connsiteY2" fmla="*/ 1871697 h 2007297"/>
                <a:gd name="connsiteX3" fmla="*/ 0 w 1174230"/>
                <a:gd name="connsiteY3" fmla="*/ 2007297 h 2007297"/>
                <a:gd name="connsiteX4" fmla="*/ 0 w 1174230"/>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 name="connsiteX0" fmla="*/ 0 w 1172989"/>
                <a:gd name="connsiteY0" fmla="*/ 0 h 2007297"/>
                <a:gd name="connsiteX1" fmla="*/ 1171705 w 1172989"/>
                <a:gd name="connsiteY1" fmla="*/ 289322 h 2007297"/>
                <a:gd name="connsiteX2" fmla="*/ 1172989 w 1172989"/>
                <a:gd name="connsiteY2" fmla="*/ 1691870 h 2007297"/>
                <a:gd name="connsiteX3" fmla="*/ 0 w 1172989"/>
                <a:gd name="connsiteY3" fmla="*/ 2007297 h 2007297"/>
                <a:gd name="connsiteX4" fmla="*/ 0 w 1172989"/>
                <a:gd name="connsiteY4" fmla="*/ 0 h 20072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2989" h="2007297">
                  <a:moveTo>
                    <a:pt x="0" y="0"/>
                  </a:moveTo>
                  <a:cubicBezTo>
                    <a:pt x="399257" y="142279"/>
                    <a:pt x="786102" y="224616"/>
                    <a:pt x="1171705" y="289322"/>
                  </a:cubicBezTo>
                  <a:cubicBezTo>
                    <a:pt x="1172427" y="961711"/>
                    <a:pt x="1172268" y="1019481"/>
                    <a:pt x="1172989" y="1691870"/>
                  </a:cubicBezTo>
                  <a:cubicBezTo>
                    <a:pt x="711244" y="1782908"/>
                    <a:pt x="379825" y="1870421"/>
                    <a:pt x="0" y="2007297"/>
                  </a:cubicBezTo>
                  <a:lnTo>
                    <a:pt x="0" y="0"/>
                  </a:lnTo>
                  <a:close/>
                </a:path>
              </a:pathLst>
            </a:custGeom>
            <a:solidFill>
              <a:schemeClr val="accent2"/>
            </a:solidFill>
            <a:ln>
              <a:noFill/>
            </a:ln>
          </p:spPr>
          <p:txBody>
            <a:bodyPr vert="horz" wrap="square" lIns="457200" tIns="137160" rIns="91440" bIns="45708" numCol="1" anchor="t" anchorCtr="0" compatLnSpc="1">
              <a:prstTxWarp prst="textNoShape">
                <a:avLst/>
              </a:prstTxWarp>
              <a:noAutofit/>
            </a:bodyPr>
            <a:lstStyle/>
            <a:p>
              <a:pPr defTabSz="685605"/>
              <a:r>
                <a:rPr lang="ja-JP" altLang="en-US" sz="800" dirty="0">
                  <a:solidFill>
                    <a:srgbClr val="FFFFFF"/>
                  </a:solidFill>
                </a:rPr>
                <a:t>レイヤ</a:t>
              </a:r>
              <a:r>
                <a:rPr lang="en-US" sz="800" dirty="0">
                  <a:solidFill>
                    <a:srgbClr val="FFFFFF"/>
                  </a:solidFill>
                </a:rPr>
                <a:t>1</a:t>
              </a:r>
            </a:p>
          </p:txBody>
        </p:sp>
        <p:sp>
          <p:nvSpPr>
            <p:cNvPr id="413" name="Rectangle 131"/>
            <p:cNvSpPr/>
            <p:nvPr/>
          </p:nvSpPr>
          <p:spPr>
            <a:xfrm>
              <a:off x="769574" y="934429"/>
              <a:ext cx="10732884" cy="3002673"/>
            </a:xfrm>
            <a:prstGeom prst="rect">
              <a:avLst/>
            </a:prstGeom>
            <a:noFill/>
            <a:ln w="3175" cap="flat" cmpd="sng" algn="ctr">
              <a:noFill/>
              <a:prstDash val="solid"/>
            </a:ln>
            <a:effectLst/>
          </p:spPr>
          <p:txBody>
            <a:bodyPr rtlCol="0" anchor="ctr"/>
            <a:lstStyle/>
            <a:p>
              <a:pPr algn="ctr" defTabSz="913668">
                <a:defRPr/>
              </a:pPr>
              <a:endParaRPr lang="en-US" kern="0">
                <a:solidFill>
                  <a:prstClr val="white"/>
                </a:solidFill>
              </a:endParaRPr>
            </a:p>
          </p:txBody>
        </p:sp>
        <p:sp>
          <p:nvSpPr>
            <p:cNvPr id="414" name="Rectangle 132"/>
            <p:cNvSpPr/>
            <p:nvPr/>
          </p:nvSpPr>
          <p:spPr>
            <a:xfrm rot="204779">
              <a:off x="734174" y="1169134"/>
              <a:ext cx="3459559" cy="246221"/>
            </a:xfrm>
            <a:prstGeom prst="rect">
              <a:avLst/>
            </a:prstGeom>
            <a:noFill/>
            <a:ln w="25400" cap="flat" cmpd="sng" algn="ctr">
              <a:noFill/>
              <a:prstDash val="solid"/>
            </a:ln>
            <a:effectLst/>
          </p:spPr>
          <p:txBody>
            <a:bodyPr wrap="square" lIns="0" tIns="0" rIns="0" bIns="0" rtlCol="0" anchor="ctr">
              <a:spAutoFit/>
            </a:bodyPr>
            <a:lstStyle/>
            <a:p>
              <a:pPr defTabSz="913943">
                <a:defRPr/>
              </a:pPr>
              <a:r>
                <a:rPr lang="en-US" sz="1200" kern="0" dirty="0">
                  <a:solidFill>
                    <a:schemeClr val="accent1"/>
                  </a:solidFill>
                </a:rPr>
                <a:t>During</a:t>
              </a:r>
            </a:p>
          </p:txBody>
        </p:sp>
        <p:sp>
          <p:nvSpPr>
            <p:cNvPr id="415" name="Rectangle 133"/>
            <p:cNvSpPr/>
            <p:nvPr/>
          </p:nvSpPr>
          <p:spPr>
            <a:xfrm rot="60000">
              <a:off x="1944373" y="1194961"/>
              <a:ext cx="4200827" cy="246221"/>
            </a:xfrm>
            <a:prstGeom prst="rect">
              <a:avLst/>
            </a:prstGeom>
            <a:noFill/>
            <a:ln w="25400" cap="flat" cmpd="sng" algn="ctr">
              <a:noFill/>
              <a:prstDash val="solid"/>
            </a:ln>
            <a:effectLst/>
          </p:spPr>
          <p:txBody>
            <a:bodyPr wrap="square" lIns="0" tIns="0" rIns="0" bIns="0" rtlCol="0" anchor="ctr">
              <a:spAutoFit/>
            </a:bodyPr>
            <a:lstStyle/>
            <a:p>
              <a:pPr defTabSz="913943">
                <a:defRPr/>
              </a:pPr>
              <a:r>
                <a:rPr lang="en-US" sz="1200" kern="0" dirty="0">
                  <a:solidFill>
                    <a:schemeClr val="accent2"/>
                  </a:solidFill>
                </a:rPr>
                <a:t>After</a:t>
              </a:r>
            </a:p>
          </p:txBody>
        </p:sp>
        <p:sp>
          <p:nvSpPr>
            <p:cNvPr id="416" name="Freeform 134"/>
            <p:cNvSpPr/>
            <p:nvPr/>
          </p:nvSpPr>
          <p:spPr>
            <a:xfrm>
              <a:off x="6163732" y="1954751"/>
              <a:ext cx="2689271" cy="1264155"/>
            </a:xfrm>
            <a:custGeom>
              <a:avLst/>
              <a:gdLst>
                <a:gd name="connsiteX0" fmla="*/ 0 w 872969"/>
                <a:gd name="connsiteY0" fmla="*/ 0 h 1741045"/>
                <a:gd name="connsiteX1" fmla="*/ 146719 w 872969"/>
                <a:gd name="connsiteY1" fmla="*/ 4051 h 1741045"/>
                <a:gd name="connsiteX2" fmla="*/ 821075 w 872969"/>
                <a:gd name="connsiteY2" fmla="*/ 19904 h 1741045"/>
                <a:gd name="connsiteX3" fmla="*/ 872969 w 872969"/>
                <a:gd name="connsiteY3" fmla="*/ 21081 h 1741045"/>
                <a:gd name="connsiteX4" fmla="*/ 872969 w 872969"/>
                <a:gd name="connsiteY4" fmla="*/ 1714540 h 1741045"/>
                <a:gd name="connsiteX5" fmla="*/ 0 w 872969"/>
                <a:gd name="connsiteY5" fmla="*/ 1741045 h 1741045"/>
                <a:gd name="connsiteX0" fmla="*/ 0 w 872969"/>
                <a:gd name="connsiteY0" fmla="*/ 0 h 1741045"/>
                <a:gd name="connsiteX1" fmla="*/ 146719 w 872969"/>
                <a:gd name="connsiteY1" fmla="*/ 4051 h 1741045"/>
                <a:gd name="connsiteX2" fmla="*/ 821075 w 872969"/>
                <a:gd name="connsiteY2" fmla="*/ 19904 h 1741045"/>
                <a:gd name="connsiteX3" fmla="*/ 872969 w 872969"/>
                <a:gd name="connsiteY3" fmla="*/ 1714540 h 1741045"/>
                <a:gd name="connsiteX4" fmla="*/ 0 w 872969"/>
                <a:gd name="connsiteY4" fmla="*/ 1741045 h 1741045"/>
                <a:gd name="connsiteX5" fmla="*/ 0 w 872969"/>
                <a:gd name="connsiteY5" fmla="*/ 0 h 1741045"/>
                <a:gd name="connsiteX0" fmla="*/ 0 w 2560547"/>
                <a:gd name="connsiteY0" fmla="*/ 0 h 1741045"/>
                <a:gd name="connsiteX1" fmla="*/ 146719 w 2560547"/>
                <a:gd name="connsiteY1" fmla="*/ 4051 h 1741045"/>
                <a:gd name="connsiteX2" fmla="*/ 2560547 w 2560547"/>
                <a:gd name="connsiteY2" fmla="*/ 58004 h 1741045"/>
                <a:gd name="connsiteX3" fmla="*/ 872969 w 2560547"/>
                <a:gd name="connsiteY3" fmla="*/ 1714540 h 1741045"/>
                <a:gd name="connsiteX4" fmla="*/ 0 w 2560547"/>
                <a:gd name="connsiteY4" fmla="*/ 1741045 h 1741045"/>
                <a:gd name="connsiteX5" fmla="*/ 0 w 2560547"/>
                <a:gd name="connsiteY5" fmla="*/ 0 h 1741045"/>
                <a:gd name="connsiteX0" fmla="*/ 0 w 2684795"/>
                <a:gd name="connsiteY0" fmla="*/ 0 h 1741045"/>
                <a:gd name="connsiteX1" fmla="*/ 146719 w 2684795"/>
                <a:gd name="connsiteY1" fmla="*/ 4051 h 1741045"/>
                <a:gd name="connsiteX2" fmla="*/ 2684795 w 2684795"/>
                <a:gd name="connsiteY2" fmla="*/ 67529 h 1741045"/>
                <a:gd name="connsiteX3" fmla="*/ 872969 w 2684795"/>
                <a:gd name="connsiteY3" fmla="*/ 1714540 h 1741045"/>
                <a:gd name="connsiteX4" fmla="*/ 0 w 2684795"/>
                <a:gd name="connsiteY4" fmla="*/ 1741045 h 1741045"/>
                <a:gd name="connsiteX5" fmla="*/ 0 w 2684795"/>
                <a:gd name="connsiteY5" fmla="*/ 0 h 1741045"/>
                <a:gd name="connsiteX0" fmla="*/ 0 w 2698459"/>
                <a:gd name="connsiteY0" fmla="*/ 0 h 1741045"/>
                <a:gd name="connsiteX1" fmla="*/ 146719 w 2698459"/>
                <a:gd name="connsiteY1" fmla="*/ 4051 h 1741045"/>
                <a:gd name="connsiteX2" fmla="*/ 2684795 w 2698459"/>
                <a:gd name="connsiteY2" fmla="*/ 67529 h 1741045"/>
                <a:gd name="connsiteX3" fmla="*/ 2698459 w 2698459"/>
                <a:gd name="connsiteY3" fmla="*/ 1685965 h 1741045"/>
                <a:gd name="connsiteX4" fmla="*/ 0 w 2698459"/>
                <a:gd name="connsiteY4" fmla="*/ 1741045 h 1741045"/>
                <a:gd name="connsiteX5" fmla="*/ 0 w 2698459"/>
                <a:gd name="connsiteY5" fmla="*/ 0 h 1741045"/>
                <a:gd name="connsiteX0" fmla="*/ 0 w 2698459"/>
                <a:gd name="connsiteY0" fmla="*/ 0 h 1741045"/>
                <a:gd name="connsiteX1" fmla="*/ 146719 w 2698459"/>
                <a:gd name="connsiteY1" fmla="*/ 4051 h 1741045"/>
                <a:gd name="connsiteX2" fmla="*/ 2694353 w 2698459"/>
                <a:gd name="connsiteY2" fmla="*/ 67529 h 1741045"/>
                <a:gd name="connsiteX3" fmla="*/ 2698459 w 2698459"/>
                <a:gd name="connsiteY3" fmla="*/ 1685965 h 1741045"/>
                <a:gd name="connsiteX4" fmla="*/ 0 w 2698459"/>
                <a:gd name="connsiteY4" fmla="*/ 1741045 h 1741045"/>
                <a:gd name="connsiteX5" fmla="*/ 0 w 2698459"/>
                <a:gd name="connsiteY5" fmla="*/ 0 h 1741045"/>
                <a:gd name="connsiteX0" fmla="*/ 0 w 2698459"/>
                <a:gd name="connsiteY0" fmla="*/ 712 h 1736994"/>
                <a:gd name="connsiteX1" fmla="*/ 146719 w 2698459"/>
                <a:gd name="connsiteY1" fmla="*/ 0 h 1736994"/>
                <a:gd name="connsiteX2" fmla="*/ 2694353 w 2698459"/>
                <a:gd name="connsiteY2" fmla="*/ 63478 h 1736994"/>
                <a:gd name="connsiteX3" fmla="*/ 2698459 w 2698459"/>
                <a:gd name="connsiteY3" fmla="*/ 1681914 h 1736994"/>
                <a:gd name="connsiteX4" fmla="*/ 0 w 2698459"/>
                <a:gd name="connsiteY4" fmla="*/ 1736994 h 1736994"/>
                <a:gd name="connsiteX5" fmla="*/ 0 w 2698459"/>
                <a:gd name="connsiteY5" fmla="*/ 712 h 1736994"/>
                <a:gd name="connsiteX0" fmla="*/ 0 w 2698459"/>
                <a:gd name="connsiteY0" fmla="*/ 0 h 1736282"/>
                <a:gd name="connsiteX1" fmla="*/ 2694353 w 2698459"/>
                <a:gd name="connsiteY1" fmla="*/ 62766 h 1736282"/>
                <a:gd name="connsiteX2" fmla="*/ 2698459 w 2698459"/>
                <a:gd name="connsiteY2" fmla="*/ 1681202 h 1736282"/>
                <a:gd name="connsiteX3" fmla="*/ 0 w 2698459"/>
                <a:gd name="connsiteY3" fmla="*/ 1736282 h 1736282"/>
                <a:gd name="connsiteX4" fmla="*/ 0 w 2698459"/>
                <a:gd name="connsiteY4" fmla="*/ 0 h 1736282"/>
                <a:gd name="connsiteX0" fmla="*/ 0 w 2698459"/>
                <a:gd name="connsiteY0" fmla="*/ 0 h 1736282"/>
                <a:gd name="connsiteX1" fmla="*/ 2691964 w 2698459"/>
                <a:gd name="connsiteY1" fmla="*/ 137989 h 1736282"/>
                <a:gd name="connsiteX2" fmla="*/ 2698459 w 2698459"/>
                <a:gd name="connsiteY2" fmla="*/ 1681202 h 1736282"/>
                <a:gd name="connsiteX3" fmla="*/ 0 w 2698459"/>
                <a:gd name="connsiteY3" fmla="*/ 1736282 h 1736282"/>
                <a:gd name="connsiteX4" fmla="*/ 0 w 2698459"/>
                <a:gd name="connsiteY4" fmla="*/ 0 h 1736282"/>
                <a:gd name="connsiteX0" fmla="*/ 0 w 2696069"/>
                <a:gd name="connsiteY0" fmla="*/ 0 h 1736282"/>
                <a:gd name="connsiteX1" fmla="*/ 2691964 w 2696069"/>
                <a:gd name="connsiteY1" fmla="*/ 137989 h 1736282"/>
                <a:gd name="connsiteX2" fmla="*/ 2696069 w 2696069"/>
                <a:gd name="connsiteY2" fmla="*/ 1632143 h 1736282"/>
                <a:gd name="connsiteX3" fmla="*/ 0 w 2696069"/>
                <a:gd name="connsiteY3" fmla="*/ 1736282 h 1736282"/>
                <a:gd name="connsiteX4" fmla="*/ 0 w 2696069"/>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 name="connsiteX0" fmla="*/ 0 w 2698458"/>
                <a:gd name="connsiteY0" fmla="*/ 0 h 1736282"/>
                <a:gd name="connsiteX1" fmla="*/ 2691964 w 2698458"/>
                <a:gd name="connsiteY1" fmla="*/ 137989 h 1736282"/>
                <a:gd name="connsiteX2" fmla="*/ 2698458 w 2698458"/>
                <a:gd name="connsiteY2" fmla="*/ 1632143 h 1736282"/>
                <a:gd name="connsiteX3" fmla="*/ 0 w 2698458"/>
                <a:gd name="connsiteY3" fmla="*/ 1736282 h 1736282"/>
                <a:gd name="connsiteX4" fmla="*/ 0 w 2698458"/>
                <a:gd name="connsiteY4" fmla="*/ 0 h 1736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58" h="1736282">
                  <a:moveTo>
                    <a:pt x="0" y="0"/>
                  </a:moveTo>
                  <a:cubicBezTo>
                    <a:pt x="890950" y="60169"/>
                    <a:pt x="1705438" y="126877"/>
                    <a:pt x="2691964" y="137989"/>
                  </a:cubicBezTo>
                  <a:cubicBezTo>
                    <a:pt x="2693333" y="677468"/>
                    <a:pt x="2697089" y="1092664"/>
                    <a:pt x="2698458" y="1632143"/>
                  </a:cubicBezTo>
                  <a:cubicBezTo>
                    <a:pt x="1567202" y="1643961"/>
                    <a:pt x="1150372" y="1632886"/>
                    <a:pt x="0" y="1736282"/>
                  </a:cubicBezTo>
                  <a:lnTo>
                    <a:pt x="0" y="0"/>
                  </a:lnTo>
                  <a:close/>
                </a:path>
              </a:pathLst>
            </a:custGeom>
            <a:solidFill>
              <a:schemeClr val="accent2"/>
            </a:solidFill>
            <a:ln>
              <a:noFill/>
            </a:ln>
          </p:spPr>
          <p:txBody>
            <a:bodyPr vert="horz" wrap="square" lIns="457200" tIns="91440" rIns="91440" bIns="45708" numCol="1" anchor="t" anchorCtr="0" compatLnSpc="1">
              <a:prstTxWarp prst="textNoShape">
                <a:avLst/>
              </a:prstTxWarp>
              <a:noAutofit/>
            </a:bodyPr>
            <a:lstStyle/>
            <a:p>
              <a:pPr defTabSz="685605"/>
              <a:r>
                <a:rPr lang="en-US" sz="800" dirty="0">
                  <a:solidFill>
                    <a:srgbClr val="FFFFFF"/>
                  </a:solidFill>
                </a:rPr>
                <a:t> </a:t>
              </a:r>
              <a:r>
                <a:rPr lang="ja-JP" altLang="en-US" sz="800" dirty="0">
                  <a:solidFill>
                    <a:srgbClr val="FFFFFF"/>
                  </a:solidFill>
                </a:rPr>
                <a:t>レイヤ</a:t>
              </a:r>
              <a:r>
                <a:rPr lang="en-US" sz="800" dirty="0">
                  <a:solidFill>
                    <a:srgbClr val="FFFFFF"/>
                  </a:solidFill>
                </a:rPr>
                <a:t>2</a:t>
              </a:r>
            </a:p>
          </p:txBody>
        </p:sp>
        <p:sp>
          <p:nvSpPr>
            <p:cNvPr id="417" name="Freeform 10"/>
            <p:cNvSpPr>
              <a:spLocks/>
            </p:cNvSpPr>
            <p:nvPr/>
          </p:nvSpPr>
          <p:spPr bwMode="auto">
            <a:xfrm>
              <a:off x="684493" y="1399243"/>
              <a:ext cx="409099" cy="237744"/>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3656 w 342349"/>
                <a:gd name="connsiteY0" fmla="*/ 0 h 205919"/>
                <a:gd name="connsiteX1" fmla="*/ 342349 w 342349"/>
                <a:gd name="connsiteY1" fmla="*/ 26691 h 205919"/>
                <a:gd name="connsiteX2" fmla="*/ 340676 w 342349"/>
                <a:gd name="connsiteY2" fmla="*/ 205919 h 205919"/>
                <a:gd name="connsiteX3" fmla="*/ 0 w 342349"/>
                <a:gd name="connsiteY3" fmla="*/ 205919 h 205919"/>
                <a:gd name="connsiteX4" fmla="*/ 3656 w 342349"/>
                <a:gd name="connsiteY4" fmla="*/ 0 h 205919"/>
                <a:gd name="connsiteX0" fmla="*/ 3656 w 347833"/>
                <a:gd name="connsiteY0" fmla="*/ 0 h 205919"/>
                <a:gd name="connsiteX1" fmla="*/ 347833 w 347833"/>
                <a:gd name="connsiteY1" fmla="*/ 16975 h 205919"/>
                <a:gd name="connsiteX2" fmla="*/ 340676 w 347833"/>
                <a:gd name="connsiteY2" fmla="*/ 205919 h 205919"/>
                <a:gd name="connsiteX3" fmla="*/ 0 w 347833"/>
                <a:gd name="connsiteY3" fmla="*/ 205919 h 205919"/>
                <a:gd name="connsiteX4" fmla="*/ 3656 w 347833"/>
                <a:gd name="connsiteY4" fmla="*/ 0 h 205919"/>
                <a:gd name="connsiteX0" fmla="*/ 351 w 348184"/>
                <a:gd name="connsiteY0" fmla="*/ 0 h 213744"/>
                <a:gd name="connsiteX1" fmla="*/ 348184 w 348184"/>
                <a:gd name="connsiteY1" fmla="*/ 24800 h 213744"/>
                <a:gd name="connsiteX2" fmla="*/ 341027 w 348184"/>
                <a:gd name="connsiteY2" fmla="*/ 213744 h 213744"/>
                <a:gd name="connsiteX3" fmla="*/ 351 w 348184"/>
                <a:gd name="connsiteY3" fmla="*/ 213744 h 213744"/>
                <a:gd name="connsiteX4" fmla="*/ 351 w 348184"/>
                <a:gd name="connsiteY4" fmla="*/ 0 h 213744"/>
                <a:gd name="connsiteX0" fmla="*/ 351 w 348184"/>
                <a:gd name="connsiteY0" fmla="*/ 0 h 213744"/>
                <a:gd name="connsiteX1" fmla="*/ 348184 w 348184"/>
                <a:gd name="connsiteY1" fmla="*/ 24800 h 213744"/>
                <a:gd name="connsiteX2" fmla="*/ 341027 w 348184"/>
                <a:gd name="connsiteY2" fmla="*/ 213744 h 213744"/>
                <a:gd name="connsiteX3" fmla="*/ 351 w 348184"/>
                <a:gd name="connsiteY3" fmla="*/ 213744 h 213744"/>
                <a:gd name="connsiteX4" fmla="*/ 351 w 348184"/>
                <a:gd name="connsiteY4" fmla="*/ 0 h 213744"/>
                <a:gd name="connsiteX0" fmla="*/ 351 w 344528"/>
                <a:gd name="connsiteY0" fmla="*/ 0 h 213744"/>
                <a:gd name="connsiteX1" fmla="*/ 344528 w 344528"/>
                <a:gd name="connsiteY1" fmla="*/ 30668 h 213744"/>
                <a:gd name="connsiteX2" fmla="*/ 341027 w 344528"/>
                <a:gd name="connsiteY2" fmla="*/ 213744 h 213744"/>
                <a:gd name="connsiteX3" fmla="*/ 351 w 344528"/>
                <a:gd name="connsiteY3" fmla="*/ 213744 h 213744"/>
                <a:gd name="connsiteX4" fmla="*/ 351 w 344528"/>
                <a:gd name="connsiteY4" fmla="*/ 0 h 213744"/>
                <a:gd name="connsiteX0" fmla="*/ 351 w 342534"/>
                <a:gd name="connsiteY0" fmla="*/ 0 h 213744"/>
                <a:gd name="connsiteX1" fmla="*/ 342534 w 342534"/>
                <a:gd name="connsiteY1" fmla="*/ 43514 h 213744"/>
                <a:gd name="connsiteX2" fmla="*/ 341027 w 342534"/>
                <a:gd name="connsiteY2" fmla="*/ 213744 h 213744"/>
                <a:gd name="connsiteX3" fmla="*/ 351 w 342534"/>
                <a:gd name="connsiteY3" fmla="*/ 213744 h 213744"/>
                <a:gd name="connsiteX4" fmla="*/ 351 w 342534"/>
                <a:gd name="connsiteY4" fmla="*/ 0 h 213744"/>
                <a:gd name="connsiteX0" fmla="*/ 351 w 342534"/>
                <a:gd name="connsiteY0" fmla="*/ 0 h 213744"/>
                <a:gd name="connsiteX1" fmla="*/ 342534 w 342534"/>
                <a:gd name="connsiteY1" fmla="*/ 43514 h 213744"/>
                <a:gd name="connsiteX2" fmla="*/ 341027 w 342534"/>
                <a:gd name="connsiteY2" fmla="*/ 213744 h 213744"/>
                <a:gd name="connsiteX3" fmla="*/ 351 w 342534"/>
                <a:gd name="connsiteY3" fmla="*/ 213744 h 213744"/>
                <a:gd name="connsiteX4" fmla="*/ 351 w 342534"/>
                <a:gd name="connsiteY4" fmla="*/ 0 h 213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534" h="213744">
                  <a:moveTo>
                    <a:pt x="351" y="0"/>
                  </a:moveTo>
                  <a:cubicBezTo>
                    <a:pt x="121779" y="10676"/>
                    <a:pt x="226424" y="34239"/>
                    <a:pt x="342534" y="43514"/>
                  </a:cubicBezTo>
                  <a:cubicBezTo>
                    <a:pt x="341976" y="103814"/>
                    <a:pt x="341585" y="153444"/>
                    <a:pt x="341027" y="213744"/>
                  </a:cubicBezTo>
                  <a:lnTo>
                    <a:pt x="351" y="213744"/>
                  </a:lnTo>
                  <a:cubicBezTo>
                    <a:pt x="1570" y="145104"/>
                    <a:pt x="-868" y="68640"/>
                    <a:pt x="351" y="0"/>
                  </a:cubicBezTo>
                  <a:close/>
                </a:path>
              </a:pathLst>
            </a:custGeom>
            <a:solidFill>
              <a:srgbClr val="4D4D4D"/>
            </a:solidFill>
            <a:ln w="25400" cap="flat" cmpd="sng" algn="ctr">
              <a:noFill/>
              <a:prstDash val="solid"/>
            </a:ln>
            <a:effectLst/>
          </p:spPr>
          <p:txBody>
            <a:bodyPr lIns="0" tIns="0" rIns="0" bIns="0" rtlCol="0" anchor="ctr"/>
            <a:lstStyle/>
            <a:p>
              <a:pPr algn="ctr" defTabSz="913943"/>
              <a:r>
                <a:rPr lang="en-US" sz="900" b="1" kern="0" dirty="0">
                  <a:solidFill>
                    <a:prstClr val="white"/>
                  </a:solidFill>
                </a:rPr>
                <a:t>AMP</a:t>
              </a:r>
            </a:p>
          </p:txBody>
        </p:sp>
        <p:sp>
          <p:nvSpPr>
            <p:cNvPr id="418" name="Freeform 10"/>
            <p:cNvSpPr>
              <a:spLocks/>
            </p:cNvSpPr>
            <p:nvPr/>
          </p:nvSpPr>
          <p:spPr bwMode="auto">
            <a:xfrm>
              <a:off x="3132641" y="1694351"/>
              <a:ext cx="411480" cy="237744"/>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36768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36768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36768 h 187783"/>
                <a:gd name="connsiteX2" fmla="*/ 340676 w 342349"/>
                <a:gd name="connsiteY2" fmla="*/ 187783 h 187783"/>
                <a:gd name="connsiteX3" fmla="*/ 0 w 342349"/>
                <a:gd name="connsiteY3" fmla="*/ 187783 h 187783"/>
                <a:gd name="connsiteX4" fmla="*/ 0 w 342349"/>
                <a:gd name="connsiteY4" fmla="*/ 0 h 187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87783">
                  <a:moveTo>
                    <a:pt x="0" y="0"/>
                  </a:moveTo>
                  <a:cubicBezTo>
                    <a:pt x="120060" y="10376"/>
                    <a:pt x="222289" y="26393"/>
                    <a:pt x="342349" y="36768"/>
                  </a:cubicBezTo>
                  <a:cubicBezTo>
                    <a:pt x="341791" y="97068"/>
                    <a:pt x="341234" y="127483"/>
                    <a:pt x="340676" y="187783"/>
                  </a:cubicBezTo>
                  <a:lnTo>
                    <a:pt x="0" y="187783"/>
                  </a:lnTo>
                  <a:lnTo>
                    <a:pt x="0" y="0"/>
                  </a:lnTo>
                  <a:close/>
                </a:path>
              </a:pathLst>
            </a:custGeom>
            <a:solidFill>
              <a:schemeClr val="accent2">
                <a:lumMod val="75000"/>
              </a:schemeClr>
            </a:solidFill>
            <a:ln w="25400" cap="flat" cmpd="sng" algn="ctr">
              <a:noFill/>
              <a:prstDash val="solid"/>
            </a:ln>
            <a:effectLst/>
          </p:spPr>
          <p:txBody>
            <a:bodyPr lIns="0" tIns="0" rIns="0" bIns="0" rtlCol="0" anchor="ctr"/>
            <a:lstStyle/>
            <a:p>
              <a:pPr algn="ctr" defTabSz="914066"/>
              <a:r>
                <a:rPr lang="en-US" sz="900" b="1" dirty="0">
                  <a:solidFill>
                    <a:prstClr val="white"/>
                  </a:solidFill>
                </a:rPr>
                <a:t>CTA</a:t>
              </a:r>
            </a:p>
          </p:txBody>
        </p:sp>
        <p:sp>
          <p:nvSpPr>
            <p:cNvPr id="419" name="TextBox 137"/>
            <p:cNvSpPr txBox="1"/>
            <p:nvPr/>
          </p:nvSpPr>
          <p:spPr>
            <a:xfrm>
              <a:off x="4849812" y="1087014"/>
              <a:ext cx="3056463" cy="492443"/>
            </a:xfrm>
            <a:prstGeom prst="rect">
              <a:avLst/>
            </a:prstGeom>
            <a:noFill/>
          </p:spPr>
          <p:txBody>
            <a:bodyPr wrap="square" rtlCol="0">
              <a:spAutoFit/>
            </a:bodyPr>
            <a:lstStyle/>
            <a:p>
              <a:pPr algn="ctr"/>
              <a:r>
                <a:rPr lang="en-US" dirty="0" smtClean="0"/>
                <a:t>CWS </a:t>
              </a:r>
              <a:r>
                <a:rPr lang="ja-JP" altLang="en-US" dirty="0" smtClean="0"/>
                <a:t>プレミアム</a:t>
              </a:r>
              <a:endParaRPr lang="en-US" dirty="0"/>
            </a:p>
          </p:txBody>
        </p:sp>
        <p:sp>
          <p:nvSpPr>
            <p:cNvPr id="420" name="Freeform 10"/>
            <p:cNvSpPr>
              <a:spLocks/>
            </p:cNvSpPr>
            <p:nvPr/>
          </p:nvSpPr>
          <p:spPr bwMode="auto">
            <a:xfrm>
              <a:off x="1903906" y="1550170"/>
              <a:ext cx="427318" cy="224800"/>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14793 w 357142"/>
                <a:gd name="connsiteY3" fmla="*/ 222359 h 222359"/>
                <a:gd name="connsiteX4" fmla="*/ 0 w 357142"/>
                <a:gd name="connsiteY4" fmla="*/ 0 h 222359"/>
                <a:gd name="connsiteX0" fmla="*/ 0 w 357142"/>
                <a:gd name="connsiteY0" fmla="*/ 0 h 222359"/>
                <a:gd name="connsiteX1" fmla="*/ 357142 w 357142"/>
                <a:gd name="connsiteY1" fmla="*/ 43131 h 222359"/>
                <a:gd name="connsiteX2" fmla="*/ 355469 w 357142"/>
                <a:gd name="connsiteY2" fmla="*/ 222359 h 222359"/>
                <a:gd name="connsiteX3" fmla="*/ 0 w 357142"/>
                <a:gd name="connsiteY3" fmla="*/ 220325 h 222359"/>
                <a:gd name="connsiteX4" fmla="*/ 0 w 357142"/>
                <a:gd name="connsiteY4" fmla="*/ 0 h 222359"/>
                <a:gd name="connsiteX0" fmla="*/ 0 w 355526"/>
                <a:gd name="connsiteY0" fmla="*/ 0 h 222359"/>
                <a:gd name="connsiteX1" fmla="*/ 352915 w 355526"/>
                <a:gd name="connsiteY1" fmla="*/ 50668 h 222359"/>
                <a:gd name="connsiteX2" fmla="*/ 355469 w 355526"/>
                <a:gd name="connsiteY2" fmla="*/ 222359 h 222359"/>
                <a:gd name="connsiteX3" fmla="*/ 0 w 355526"/>
                <a:gd name="connsiteY3" fmla="*/ 220325 h 222359"/>
                <a:gd name="connsiteX4" fmla="*/ 0 w 355526"/>
                <a:gd name="connsiteY4" fmla="*/ 0 h 222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526" h="222359">
                  <a:moveTo>
                    <a:pt x="0" y="0"/>
                  </a:moveTo>
                  <a:cubicBezTo>
                    <a:pt x="122569" y="15056"/>
                    <a:pt x="175401" y="31545"/>
                    <a:pt x="352915" y="50668"/>
                  </a:cubicBezTo>
                  <a:cubicBezTo>
                    <a:pt x="352357" y="110968"/>
                    <a:pt x="356027" y="162059"/>
                    <a:pt x="355469" y="222359"/>
                  </a:cubicBezTo>
                  <a:lnTo>
                    <a:pt x="0" y="220325"/>
                  </a:lnTo>
                  <a:lnTo>
                    <a:pt x="0" y="0"/>
                  </a:lnTo>
                  <a:close/>
                </a:path>
              </a:pathLst>
            </a:custGeom>
            <a:solidFill>
              <a:srgbClr val="4D4D4D"/>
            </a:solidFill>
            <a:ln w="25400" cap="flat" cmpd="sng" algn="ctr">
              <a:noFill/>
              <a:prstDash val="solid"/>
            </a:ln>
            <a:effectLst/>
          </p:spPr>
          <p:txBody>
            <a:bodyPr lIns="0" tIns="0" rIns="0" bIns="0" rtlCol="0" anchor="ctr"/>
            <a:lstStyle/>
            <a:p>
              <a:pPr algn="ctr" defTabSz="913943"/>
              <a:r>
                <a:rPr lang="en-US" sz="900" b="1" kern="0" dirty="0">
                  <a:solidFill>
                    <a:prstClr val="white"/>
                  </a:solidFill>
                </a:rPr>
                <a:t>AMP</a:t>
              </a:r>
            </a:p>
          </p:txBody>
        </p:sp>
        <p:sp>
          <p:nvSpPr>
            <p:cNvPr id="421" name="Freeform 10"/>
            <p:cNvSpPr>
              <a:spLocks/>
            </p:cNvSpPr>
            <p:nvPr/>
          </p:nvSpPr>
          <p:spPr bwMode="auto">
            <a:xfrm>
              <a:off x="6163732" y="1957517"/>
              <a:ext cx="411480" cy="247269"/>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95306"/>
                <a:gd name="connsiteX1" fmla="*/ 342349 w 342349"/>
                <a:gd name="connsiteY1" fmla="*/ 16078 h 195306"/>
                <a:gd name="connsiteX2" fmla="*/ 340676 w 342349"/>
                <a:gd name="connsiteY2" fmla="*/ 195306 h 195306"/>
                <a:gd name="connsiteX3" fmla="*/ 0 w 342349"/>
                <a:gd name="connsiteY3" fmla="*/ 195306 h 195306"/>
                <a:gd name="connsiteX4" fmla="*/ 0 w 342349"/>
                <a:gd name="connsiteY4" fmla="*/ 0 h 195306"/>
                <a:gd name="connsiteX0" fmla="*/ 0 w 342349"/>
                <a:gd name="connsiteY0" fmla="*/ 0 h 195306"/>
                <a:gd name="connsiteX1" fmla="*/ 342349 w 342349"/>
                <a:gd name="connsiteY1" fmla="*/ 16078 h 195306"/>
                <a:gd name="connsiteX2" fmla="*/ 340676 w 342349"/>
                <a:gd name="connsiteY2" fmla="*/ 195306 h 195306"/>
                <a:gd name="connsiteX3" fmla="*/ 0 w 342349"/>
                <a:gd name="connsiteY3" fmla="*/ 195306 h 195306"/>
                <a:gd name="connsiteX4" fmla="*/ 0 w 342349"/>
                <a:gd name="connsiteY4" fmla="*/ 0 h 195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95306">
                  <a:moveTo>
                    <a:pt x="0" y="0"/>
                  </a:moveTo>
                  <a:cubicBezTo>
                    <a:pt x="114116" y="4733"/>
                    <a:pt x="228233" y="13226"/>
                    <a:pt x="342349" y="16078"/>
                  </a:cubicBezTo>
                  <a:cubicBezTo>
                    <a:pt x="341791" y="76378"/>
                    <a:pt x="341234" y="135006"/>
                    <a:pt x="340676" y="195306"/>
                  </a:cubicBezTo>
                  <a:lnTo>
                    <a:pt x="0" y="195306"/>
                  </a:lnTo>
                  <a:lnTo>
                    <a:pt x="0" y="0"/>
                  </a:lnTo>
                  <a:close/>
                </a:path>
              </a:pathLst>
            </a:custGeom>
            <a:solidFill>
              <a:schemeClr val="accent2">
                <a:lumMod val="75000"/>
              </a:schemeClr>
            </a:solidFill>
            <a:ln w="25400" cap="flat" cmpd="sng" algn="ctr">
              <a:noFill/>
              <a:prstDash val="solid"/>
            </a:ln>
            <a:effectLst/>
          </p:spPr>
          <p:txBody>
            <a:bodyPr lIns="0" tIns="0" rIns="0" bIns="0" rtlCol="0" anchor="ctr"/>
            <a:lstStyle/>
            <a:p>
              <a:pPr algn="ctr" defTabSz="914066"/>
              <a:r>
                <a:rPr lang="en-US" sz="900" b="1" dirty="0">
                  <a:solidFill>
                    <a:prstClr val="white"/>
                  </a:solidFill>
                </a:rPr>
                <a:t>CTA</a:t>
              </a:r>
            </a:p>
          </p:txBody>
        </p:sp>
        <p:sp>
          <p:nvSpPr>
            <p:cNvPr id="422" name="Freeform 140"/>
            <p:cNvSpPr/>
            <p:nvPr/>
          </p:nvSpPr>
          <p:spPr>
            <a:xfrm flipV="1">
              <a:off x="685798" y="1323228"/>
              <a:ext cx="10891437" cy="677328"/>
            </a:xfrm>
            <a:custGeom>
              <a:avLst/>
              <a:gdLst>
                <a:gd name="connsiteX0" fmla="*/ 0 w 10815781"/>
                <a:gd name="connsiteY0" fmla="*/ 147782 h 147782"/>
                <a:gd name="connsiteX1" fmla="*/ 10815781 w 10815781"/>
                <a:gd name="connsiteY1" fmla="*/ 0 h 147782"/>
                <a:gd name="connsiteX2" fmla="*/ 10815781 w 10815781"/>
                <a:gd name="connsiteY2" fmla="*/ 0 h 14778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1024305 h 1024305"/>
                <a:gd name="connsiteX1" fmla="*/ 10852726 w 10852726"/>
                <a:gd name="connsiteY1" fmla="*/ 91433 h 1024305"/>
                <a:gd name="connsiteX2" fmla="*/ 10852726 w 10852726"/>
                <a:gd name="connsiteY2" fmla="*/ 91433 h 1024305"/>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466936 h 1466936"/>
                <a:gd name="connsiteX1" fmla="*/ 10806544 w 10806544"/>
                <a:gd name="connsiteY1" fmla="*/ 109191 h 1466936"/>
                <a:gd name="connsiteX2" fmla="*/ 10806544 w 10806544"/>
                <a:gd name="connsiteY2" fmla="*/ 109191 h 1466936"/>
                <a:gd name="connsiteX0" fmla="*/ 0 w 10806544"/>
                <a:gd name="connsiteY0" fmla="*/ 1549021 h 1549021"/>
                <a:gd name="connsiteX1" fmla="*/ 10806544 w 10806544"/>
                <a:gd name="connsiteY1" fmla="*/ 191276 h 1549021"/>
                <a:gd name="connsiteX2" fmla="*/ 10806544 w 10806544"/>
                <a:gd name="connsiteY2" fmla="*/ 191276 h 1549021"/>
                <a:gd name="connsiteX0" fmla="*/ 0 w 10806544"/>
                <a:gd name="connsiteY0" fmla="*/ 1531686 h 1531686"/>
                <a:gd name="connsiteX1" fmla="*/ 10806544 w 10806544"/>
                <a:gd name="connsiteY1" fmla="*/ 173941 h 1531686"/>
                <a:gd name="connsiteX2" fmla="*/ 10806544 w 10806544"/>
                <a:gd name="connsiteY2" fmla="*/ 173941 h 1531686"/>
                <a:gd name="connsiteX0" fmla="*/ 0 w 10806544"/>
                <a:gd name="connsiteY0" fmla="*/ 1454063 h 1454063"/>
                <a:gd name="connsiteX1" fmla="*/ 10806544 w 10806544"/>
                <a:gd name="connsiteY1" fmla="*/ 96318 h 1454063"/>
                <a:gd name="connsiteX2" fmla="*/ 10806544 w 10806544"/>
                <a:gd name="connsiteY2" fmla="*/ 96318 h 1454063"/>
                <a:gd name="connsiteX0" fmla="*/ 0 w 10806544"/>
                <a:gd name="connsiteY0" fmla="*/ 1458141 h 1458141"/>
                <a:gd name="connsiteX1" fmla="*/ 10806544 w 10806544"/>
                <a:gd name="connsiteY1" fmla="*/ 100396 h 1458141"/>
                <a:gd name="connsiteX2" fmla="*/ 10806544 w 10806544"/>
                <a:gd name="connsiteY2" fmla="*/ 100396 h 1458141"/>
                <a:gd name="connsiteX0" fmla="*/ 0 w 10806544"/>
                <a:gd name="connsiteY0" fmla="*/ 1433682 h 1433682"/>
                <a:gd name="connsiteX1" fmla="*/ 10806544 w 10806544"/>
                <a:gd name="connsiteY1" fmla="*/ 75937 h 1433682"/>
                <a:gd name="connsiteX2" fmla="*/ 10806544 w 10806544"/>
                <a:gd name="connsiteY2" fmla="*/ 75937 h 1433682"/>
                <a:gd name="connsiteX0" fmla="*/ 0 w 10806544"/>
                <a:gd name="connsiteY0" fmla="*/ 1433682 h 1433682"/>
                <a:gd name="connsiteX1" fmla="*/ 10806544 w 10806544"/>
                <a:gd name="connsiteY1" fmla="*/ 75937 h 1433682"/>
                <a:gd name="connsiteX2" fmla="*/ 10806544 w 10806544"/>
                <a:gd name="connsiteY2" fmla="*/ 75937 h 1433682"/>
                <a:gd name="connsiteX0" fmla="*/ 0 w 11603743"/>
                <a:gd name="connsiteY0" fmla="*/ 1516495 h 1516495"/>
                <a:gd name="connsiteX1" fmla="*/ 10806544 w 11603743"/>
                <a:gd name="connsiteY1" fmla="*/ 158750 h 1516495"/>
                <a:gd name="connsiteX2" fmla="*/ 10793844 w 11603743"/>
                <a:gd name="connsiteY2" fmla="*/ 0 h 1516495"/>
                <a:gd name="connsiteX0" fmla="*/ 0 w 11580258"/>
                <a:gd name="connsiteY0" fmla="*/ 1679986 h 1679986"/>
                <a:gd name="connsiteX1" fmla="*/ 10774794 w 11580258"/>
                <a:gd name="connsiteY1" fmla="*/ 87291 h 1679986"/>
                <a:gd name="connsiteX2" fmla="*/ 10793844 w 11580258"/>
                <a:gd name="connsiteY2" fmla="*/ 163491 h 1679986"/>
                <a:gd name="connsiteX0" fmla="*/ 0 w 10774794"/>
                <a:gd name="connsiteY0" fmla="*/ 1592695 h 1592695"/>
                <a:gd name="connsiteX1" fmla="*/ 10774794 w 10774794"/>
                <a:gd name="connsiteY1" fmla="*/ 0 h 1592695"/>
                <a:gd name="connsiteX0" fmla="*/ 0 w 10819244"/>
                <a:gd name="connsiteY0" fmla="*/ 1535545 h 1535545"/>
                <a:gd name="connsiteX1" fmla="*/ 10819244 w 10819244"/>
                <a:gd name="connsiteY1" fmla="*/ 0 h 1535545"/>
                <a:gd name="connsiteX0" fmla="*/ 0 w 10819244"/>
                <a:gd name="connsiteY0" fmla="*/ 1545213 h 1545213"/>
                <a:gd name="connsiteX1" fmla="*/ 10819244 w 10819244"/>
                <a:gd name="connsiteY1" fmla="*/ 9668 h 1545213"/>
                <a:gd name="connsiteX0" fmla="*/ 0 w 10856189"/>
                <a:gd name="connsiteY0" fmla="*/ 1317751 h 1317751"/>
                <a:gd name="connsiteX1" fmla="*/ 10856189 w 10856189"/>
                <a:gd name="connsiteY1" fmla="*/ 59042 h 1317751"/>
                <a:gd name="connsiteX0" fmla="*/ 0 w 10856189"/>
                <a:gd name="connsiteY0" fmla="*/ 1371858 h 1371858"/>
                <a:gd name="connsiteX1" fmla="*/ 10856189 w 10856189"/>
                <a:gd name="connsiteY1" fmla="*/ 113149 h 1371858"/>
                <a:gd name="connsiteX0" fmla="*/ 0 w 10893135"/>
                <a:gd name="connsiteY0" fmla="*/ 1076303 h 1076303"/>
                <a:gd name="connsiteX1" fmla="*/ 10893135 w 10893135"/>
                <a:gd name="connsiteY1" fmla="*/ 304826 h 1076303"/>
                <a:gd name="connsiteX0" fmla="*/ 0 w 10893135"/>
                <a:gd name="connsiteY0" fmla="*/ 957796 h 957796"/>
                <a:gd name="connsiteX1" fmla="*/ 10893135 w 10893135"/>
                <a:gd name="connsiteY1" fmla="*/ 186319 h 957796"/>
                <a:gd name="connsiteX0" fmla="*/ 0 w 10893135"/>
                <a:gd name="connsiteY0" fmla="*/ 1033089 h 1033089"/>
                <a:gd name="connsiteX1" fmla="*/ 10893135 w 10893135"/>
                <a:gd name="connsiteY1" fmla="*/ 139805 h 1033089"/>
                <a:gd name="connsiteX0" fmla="*/ 0 w 10893135"/>
                <a:gd name="connsiteY0" fmla="*/ 1028289 h 1028289"/>
                <a:gd name="connsiteX1" fmla="*/ 10893135 w 10893135"/>
                <a:gd name="connsiteY1" fmla="*/ 135005 h 1028289"/>
                <a:gd name="connsiteX0" fmla="*/ 0 w 10893135"/>
                <a:gd name="connsiteY0" fmla="*/ 1034653 h 1034653"/>
                <a:gd name="connsiteX1" fmla="*/ 10893135 w 10893135"/>
                <a:gd name="connsiteY1" fmla="*/ 141369 h 1034653"/>
                <a:gd name="connsiteX0" fmla="*/ 0 w 10893135"/>
                <a:gd name="connsiteY0" fmla="*/ 998690 h 998690"/>
                <a:gd name="connsiteX1" fmla="*/ 10893135 w 10893135"/>
                <a:gd name="connsiteY1" fmla="*/ 105406 h 998690"/>
                <a:gd name="connsiteX0" fmla="*/ 0 w 10911608"/>
                <a:gd name="connsiteY0" fmla="*/ 1098208 h 1098208"/>
                <a:gd name="connsiteX1" fmla="*/ 10911608 w 10911608"/>
                <a:gd name="connsiteY1" fmla="*/ 72042 h 1098208"/>
                <a:gd name="connsiteX0" fmla="*/ 0 w 10911608"/>
                <a:gd name="connsiteY0" fmla="*/ 1083626 h 1083626"/>
                <a:gd name="connsiteX1" fmla="*/ 10911608 w 10911608"/>
                <a:gd name="connsiteY1" fmla="*/ 57460 h 1083626"/>
                <a:gd name="connsiteX0" fmla="*/ 0 w 10865426"/>
                <a:gd name="connsiteY0" fmla="*/ 1092493 h 1092493"/>
                <a:gd name="connsiteX1" fmla="*/ 10865426 w 10865426"/>
                <a:gd name="connsiteY1" fmla="*/ 55254 h 1092493"/>
                <a:gd name="connsiteX0" fmla="*/ 0 w 10865426"/>
                <a:gd name="connsiteY0" fmla="*/ 1058005 h 1058005"/>
                <a:gd name="connsiteX1" fmla="*/ 10865426 w 10865426"/>
                <a:gd name="connsiteY1" fmla="*/ 20766 h 1058005"/>
                <a:gd name="connsiteX0" fmla="*/ 0 w 10865426"/>
                <a:gd name="connsiteY0" fmla="*/ 1062175 h 1062175"/>
                <a:gd name="connsiteX1" fmla="*/ 10865426 w 10865426"/>
                <a:gd name="connsiteY1" fmla="*/ 24936 h 1062175"/>
                <a:gd name="connsiteX0" fmla="*/ 0 w 10865426"/>
                <a:gd name="connsiteY0" fmla="*/ 1072162 h 1072162"/>
                <a:gd name="connsiteX1" fmla="*/ 10865426 w 10865426"/>
                <a:gd name="connsiteY1" fmla="*/ 34923 h 1072162"/>
                <a:gd name="connsiteX0" fmla="*/ 0 w 10865426"/>
                <a:gd name="connsiteY0" fmla="*/ 1090127 h 1090127"/>
                <a:gd name="connsiteX1" fmla="*/ 10865426 w 10865426"/>
                <a:gd name="connsiteY1" fmla="*/ 52888 h 1090127"/>
                <a:gd name="connsiteX0" fmla="*/ 0 w 10865426"/>
                <a:gd name="connsiteY0" fmla="*/ 1037239 h 1037239"/>
                <a:gd name="connsiteX1" fmla="*/ 10865426 w 10865426"/>
                <a:gd name="connsiteY1" fmla="*/ 0 h 1037239"/>
                <a:gd name="connsiteX0" fmla="*/ 0 w 10865426"/>
                <a:gd name="connsiteY0" fmla="*/ 1037239 h 1037239"/>
                <a:gd name="connsiteX1" fmla="*/ 10865426 w 10865426"/>
                <a:gd name="connsiteY1" fmla="*/ 0 h 1037239"/>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12047 h 812047"/>
                <a:gd name="connsiteX1" fmla="*/ 10865426 w 10865426"/>
                <a:gd name="connsiteY1" fmla="*/ 3198 h 812047"/>
              </a:gdLst>
              <a:ahLst/>
              <a:cxnLst>
                <a:cxn ang="0">
                  <a:pos x="connsiteX0" y="connsiteY0"/>
                </a:cxn>
                <a:cxn ang="0">
                  <a:pos x="connsiteX1" y="connsiteY1"/>
                </a:cxn>
              </a:cxnLst>
              <a:rect l="l" t="t" r="r" b="b"/>
              <a:pathLst>
                <a:path w="10865426" h="812047">
                  <a:moveTo>
                    <a:pt x="0" y="812047"/>
                  </a:moveTo>
                  <a:cubicBezTo>
                    <a:pt x="5596016" y="-167183"/>
                    <a:pt x="8450502" y="22467"/>
                    <a:pt x="10865426" y="3198"/>
                  </a:cubicBezTo>
                </a:path>
              </a:pathLst>
            </a:custGeom>
            <a:noFill/>
            <a:ln w="28575">
              <a:gradFill flip="none" rotWithShape="1">
                <a:gsLst>
                  <a:gs pos="87000">
                    <a:schemeClr val="accent2"/>
                  </a:gs>
                  <a:gs pos="91000">
                    <a:schemeClr val="accent1"/>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3" name="Freeform 141"/>
            <p:cNvSpPr/>
            <p:nvPr/>
          </p:nvSpPr>
          <p:spPr>
            <a:xfrm>
              <a:off x="685798" y="3179419"/>
              <a:ext cx="10891437" cy="677328"/>
            </a:xfrm>
            <a:custGeom>
              <a:avLst/>
              <a:gdLst>
                <a:gd name="connsiteX0" fmla="*/ 0 w 10815781"/>
                <a:gd name="connsiteY0" fmla="*/ 147782 h 147782"/>
                <a:gd name="connsiteX1" fmla="*/ 10815781 w 10815781"/>
                <a:gd name="connsiteY1" fmla="*/ 0 h 147782"/>
                <a:gd name="connsiteX2" fmla="*/ 10815781 w 10815781"/>
                <a:gd name="connsiteY2" fmla="*/ 0 h 14778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932872 h 932872"/>
                <a:gd name="connsiteX1" fmla="*/ 10852726 w 10852726"/>
                <a:gd name="connsiteY1" fmla="*/ 0 h 932872"/>
                <a:gd name="connsiteX2" fmla="*/ 10852726 w 10852726"/>
                <a:gd name="connsiteY2" fmla="*/ 0 h 932872"/>
                <a:gd name="connsiteX0" fmla="*/ 0 w 10852726"/>
                <a:gd name="connsiteY0" fmla="*/ 1024305 h 1024305"/>
                <a:gd name="connsiteX1" fmla="*/ 10852726 w 10852726"/>
                <a:gd name="connsiteY1" fmla="*/ 91433 h 1024305"/>
                <a:gd name="connsiteX2" fmla="*/ 10852726 w 10852726"/>
                <a:gd name="connsiteY2" fmla="*/ 91433 h 1024305"/>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52726"/>
                <a:gd name="connsiteY0" fmla="*/ 1061851 h 1061851"/>
                <a:gd name="connsiteX1" fmla="*/ 10852726 w 10852726"/>
                <a:gd name="connsiteY1" fmla="*/ 128979 h 1061851"/>
                <a:gd name="connsiteX2" fmla="*/ 10852726 w 10852726"/>
                <a:gd name="connsiteY2" fmla="*/ 128979 h 1061851"/>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357745 h 1357745"/>
                <a:gd name="connsiteX1" fmla="*/ 10806544 w 10806544"/>
                <a:gd name="connsiteY1" fmla="*/ 0 h 1357745"/>
                <a:gd name="connsiteX2" fmla="*/ 10806544 w 10806544"/>
                <a:gd name="connsiteY2" fmla="*/ 0 h 1357745"/>
                <a:gd name="connsiteX0" fmla="*/ 0 w 10806544"/>
                <a:gd name="connsiteY0" fmla="*/ 1466936 h 1466936"/>
                <a:gd name="connsiteX1" fmla="*/ 10806544 w 10806544"/>
                <a:gd name="connsiteY1" fmla="*/ 109191 h 1466936"/>
                <a:gd name="connsiteX2" fmla="*/ 10806544 w 10806544"/>
                <a:gd name="connsiteY2" fmla="*/ 109191 h 1466936"/>
                <a:gd name="connsiteX0" fmla="*/ 0 w 10806544"/>
                <a:gd name="connsiteY0" fmla="*/ 1549021 h 1549021"/>
                <a:gd name="connsiteX1" fmla="*/ 10806544 w 10806544"/>
                <a:gd name="connsiteY1" fmla="*/ 191276 h 1549021"/>
                <a:gd name="connsiteX2" fmla="*/ 10806544 w 10806544"/>
                <a:gd name="connsiteY2" fmla="*/ 191276 h 1549021"/>
                <a:gd name="connsiteX0" fmla="*/ 0 w 10806544"/>
                <a:gd name="connsiteY0" fmla="*/ 1531686 h 1531686"/>
                <a:gd name="connsiteX1" fmla="*/ 10806544 w 10806544"/>
                <a:gd name="connsiteY1" fmla="*/ 173941 h 1531686"/>
                <a:gd name="connsiteX2" fmla="*/ 10806544 w 10806544"/>
                <a:gd name="connsiteY2" fmla="*/ 173941 h 1531686"/>
                <a:gd name="connsiteX0" fmla="*/ 0 w 10806544"/>
                <a:gd name="connsiteY0" fmla="*/ 1454063 h 1454063"/>
                <a:gd name="connsiteX1" fmla="*/ 10806544 w 10806544"/>
                <a:gd name="connsiteY1" fmla="*/ 96318 h 1454063"/>
                <a:gd name="connsiteX2" fmla="*/ 10806544 w 10806544"/>
                <a:gd name="connsiteY2" fmla="*/ 96318 h 1454063"/>
                <a:gd name="connsiteX0" fmla="*/ 0 w 10806544"/>
                <a:gd name="connsiteY0" fmla="*/ 1458141 h 1458141"/>
                <a:gd name="connsiteX1" fmla="*/ 10806544 w 10806544"/>
                <a:gd name="connsiteY1" fmla="*/ 100396 h 1458141"/>
                <a:gd name="connsiteX2" fmla="*/ 10806544 w 10806544"/>
                <a:gd name="connsiteY2" fmla="*/ 100396 h 1458141"/>
                <a:gd name="connsiteX0" fmla="*/ 0 w 10806544"/>
                <a:gd name="connsiteY0" fmla="*/ 1433682 h 1433682"/>
                <a:gd name="connsiteX1" fmla="*/ 10806544 w 10806544"/>
                <a:gd name="connsiteY1" fmla="*/ 75937 h 1433682"/>
                <a:gd name="connsiteX2" fmla="*/ 10806544 w 10806544"/>
                <a:gd name="connsiteY2" fmla="*/ 75937 h 1433682"/>
                <a:gd name="connsiteX0" fmla="*/ 0 w 10806544"/>
                <a:gd name="connsiteY0" fmla="*/ 1433682 h 1433682"/>
                <a:gd name="connsiteX1" fmla="*/ 10806544 w 10806544"/>
                <a:gd name="connsiteY1" fmla="*/ 75937 h 1433682"/>
                <a:gd name="connsiteX2" fmla="*/ 10806544 w 10806544"/>
                <a:gd name="connsiteY2" fmla="*/ 75937 h 1433682"/>
                <a:gd name="connsiteX0" fmla="*/ 0 w 11603743"/>
                <a:gd name="connsiteY0" fmla="*/ 1516495 h 1516495"/>
                <a:gd name="connsiteX1" fmla="*/ 10806544 w 11603743"/>
                <a:gd name="connsiteY1" fmla="*/ 158750 h 1516495"/>
                <a:gd name="connsiteX2" fmla="*/ 10793844 w 11603743"/>
                <a:gd name="connsiteY2" fmla="*/ 0 h 1516495"/>
                <a:gd name="connsiteX0" fmla="*/ 0 w 11580258"/>
                <a:gd name="connsiteY0" fmla="*/ 1679986 h 1679986"/>
                <a:gd name="connsiteX1" fmla="*/ 10774794 w 11580258"/>
                <a:gd name="connsiteY1" fmla="*/ 87291 h 1679986"/>
                <a:gd name="connsiteX2" fmla="*/ 10793844 w 11580258"/>
                <a:gd name="connsiteY2" fmla="*/ 163491 h 1679986"/>
                <a:gd name="connsiteX0" fmla="*/ 0 w 10774794"/>
                <a:gd name="connsiteY0" fmla="*/ 1592695 h 1592695"/>
                <a:gd name="connsiteX1" fmla="*/ 10774794 w 10774794"/>
                <a:gd name="connsiteY1" fmla="*/ 0 h 1592695"/>
                <a:gd name="connsiteX0" fmla="*/ 0 w 10819244"/>
                <a:gd name="connsiteY0" fmla="*/ 1535545 h 1535545"/>
                <a:gd name="connsiteX1" fmla="*/ 10819244 w 10819244"/>
                <a:gd name="connsiteY1" fmla="*/ 0 h 1535545"/>
                <a:gd name="connsiteX0" fmla="*/ 0 w 10819244"/>
                <a:gd name="connsiteY0" fmla="*/ 1545213 h 1545213"/>
                <a:gd name="connsiteX1" fmla="*/ 10819244 w 10819244"/>
                <a:gd name="connsiteY1" fmla="*/ 9668 h 1545213"/>
                <a:gd name="connsiteX0" fmla="*/ 0 w 10856189"/>
                <a:gd name="connsiteY0" fmla="*/ 1317751 h 1317751"/>
                <a:gd name="connsiteX1" fmla="*/ 10856189 w 10856189"/>
                <a:gd name="connsiteY1" fmla="*/ 59042 h 1317751"/>
                <a:gd name="connsiteX0" fmla="*/ 0 w 10856189"/>
                <a:gd name="connsiteY0" fmla="*/ 1371858 h 1371858"/>
                <a:gd name="connsiteX1" fmla="*/ 10856189 w 10856189"/>
                <a:gd name="connsiteY1" fmla="*/ 113149 h 1371858"/>
                <a:gd name="connsiteX0" fmla="*/ 0 w 10893135"/>
                <a:gd name="connsiteY0" fmla="*/ 1076303 h 1076303"/>
                <a:gd name="connsiteX1" fmla="*/ 10893135 w 10893135"/>
                <a:gd name="connsiteY1" fmla="*/ 304826 h 1076303"/>
                <a:gd name="connsiteX0" fmla="*/ 0 w 10893135"/>
                <a:gd name="connsiteY0" fmla="*/ 957796 h 957796"/>
                <a:gd name="connsiteX1" fmla="*/ 10893135 w 10893135"/>
                <a:gd name="connsiteY1" fmla="*/ 186319 h 957796"/>
                <a:gd name="connsiteX0" fmla="*/ 0 w 10893135"/>
                <a:gd name="connsiteY0" fmla="*/ 1033089 h 1033089"/>
                <a:gd name="connsiteX1" fmla="*/ 10893135 w 10893135"/>
                <a:gd name="connsiteY1" fmla="*/ 139805 h 1033089"/>
                <a:gd name="connsiteX0" fmla="*/ 0 w 10893135"/>
                <a:gd name="connsiteY0" fmla="*/ 1028289 h 1028289"/>
                <a:gd name="connsiteX1" fmla="*/ 10893135 w 10893135"/>
                <a:gd name="connsiteY1" fmla="*/ 135005 h 1028289"/>
                <a:gd name="connsiteX0" fmla="*/ 0 w 10893135"/>
                <a:gd name="connsiteY0" fmla="*/ 1034653 h 1034653"/>
                <a:gd name="connsiteX1" fmla="*/ 10893135 w 10893135"/>
                <a:gd name="connsiteY1" fmla="*/ 141369 h 1034653"/>
                <a:gd name="connsiteX0" fmla="*/ 0 w 10893135"/>
                <a:gd name="connsiteY0" fmla="*/ 998690 h 998690"/>
                <a:gd name="connsiteX1" fmla="*/ 10893135 w 10893135"/>
                <a:gd name="connsiteY1" fmla="*/ 105406 h 998690"/>
                <a:gd name="connsiteX0" fmla="*/ 0 w 10911608"/>
                <a:gd name="connsiteY0" fmla="*/ 1098208 h 1098208"/>
                <a:gd name="connsiteX1" fmla="*/ 10911608 w 10911608"/>
                <a:gd name="connsiteY1" fmla="*/ 72042 h 1098208"/>
                <a:gd name="connsiteX0" fmla="*/ 0 w 10911608"/>
                <a:gd name="connsiteY0" fmla="*/ 1083626 h 1083626"/>
                <a:gd name="connsiteX1" fmla="*/ 10911608 w 10911608"/>
                <a:gd name="connsiteY1" fmla="*/ 57460 h 1083626"/>
                <a:gd name="connsiteX0" fmla="*/ 0 w 10865426"/>
                <a:gd name="connsiteY0" fmla="*/ 1092493 h 1092493"/>
                <a:gd name="connsiteX1" fmla="*/ 10865426 w 10865426"/>
                <a:gd name="connsiteY1" fmla="*/ 55254 h 1092493"/>
                <a:gd name="connsiteX0" fmla="*/ 0 w 10865426"/>
                <a:gd name="connsiteY0" fmla="*/ 1058005 h 1058005"/>
                <a:gd name="connsiteX1" fmla="*/ 10865426 w 10865426"/>
                <a:gd name="connsiteY1" fmla="*/ 20766 h 1058005"/>
                <a:gd name="connsiteX0" fmla="*/ 0 w 10865426"/>
                <a:gd name="connsiteY0" fmla="*/ 1062175 h 1062175"/>
                <a:gd name="connsiteX1" fmla="*/ 10865426 w 10865426"/>
                <a:gd name="connsiteY1" fmla="*/ 24936 h 1062175"/>
                <a:gd name="connsiteX0" fmla="*/ 0 w 10865426"/>
                <a:gd name="connsiteY0" fmla="*/ 1072162 h 1072162"/>
                <a:gd name="connsiteX1" fmla="*/ 10865426 w 10865426"/>
                <a:gd name="connsiteY1" fmla="*/ 34923 h 1072162"/>
                <a:gd name="connsiteX0" fmla="*/ 0 w 10865426"/>
                <a:gd name="connsiteY0" fmla="*/ 1090127 h 1090127"/>
                <a:gd name="connsiteX1" fmla="*/ 10865426 w 10865426"/>
                <a:gd name="connsiteY1" fmla="*/ 52888 h 1090127"/>
                <a:gd name="connsiteX0" fmla="*/ 0 w 10865426"/>
                <a:gd name="connsiteY0" fmla="*/ 1037239 h 1037239"/>
                <a:gd name="connsiteX1" fmla="*/ 10865426 w 10865426"/>
                <a:gd name="connsiteY1" fmla="*/ 0 h 1037239"/>
                <a:gd name="connsiteX0" fmla="*/ 0 w 10865426"/>
                <a:gd name="connsiteY0" fmla="*/ 1037239 h 1037239"/>
                <a:gd name="connsiteX1" fmla="*/ 10865426 w 10865426"/>
                <a:gd name="connsiteY1" fmla="*/ 0 h 1037239"/>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45391 h 845391"/>
                <a:gd name="connsiteX1" fmla="*/ 10865426 w 10865426"/>
                <a:gd name="connsiteY1" fmla="*/ 0 h 845391"/>
                <a:gd name="connsiteX0" fmla="*/ 0 w 10865426"/>
                <a:gd name="connsiteY0" fmla="*/ 812047 h 812047"/>
                <a:gd name="connsiteX1" fmla="*/ 10865426 w 10865426"/>
                <a:gd name="connsiteY1" fmla="*/ 3198 h 812047"/>
              </a:gdLst>
              <a:ahLst/>
              <a:cxnLst>
                <a:cxn ang="0">
                  <a:pos x="connsiteX0" y="connsiteY0"/>
                </a:cxn>
                <a:cxn ang="0">
                  <a:pos x="connsiteX1" y="connsiteY1"/>
                </a:cxn>
              </a:cxnLst>
              <a:rect l="l" t="t" r="r" b="b"/>
              <a:pathLst>
                <a:path w="10865426" h="812047">
                  <a:moveTo>
                    <a:pt x="0" y="812047"/>
                  </a:moveTo>
                  <a:cubicBezTo>
                    <a:pt x="5596016" y="-167183"/>
                    <a:pt x="8450502" y="22467"/>
                    <a:pt x="10865426" y="3198"/>
                  </a:cubicBezTo>
                </a:path>
              </a:pathLst>
            </a:custGeom>
            <a:noFill/>
            <a:ln w="28575">
              <a:gradFill flip="none" rotWithShape="1">
                <a:gsLst>
                  <a:gs pos="87000">
                    <a:schemeClr val="accent2"/>
                  </a:gs>
                  <a:gs pos="91000">
                    <a:schemeClr val="accent1"/>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35" name="Freeform 142"/>
            <p:cNvSpPr/>
            <p:nvPr/>
          </p:nvSpPr>
          <p:spPr>
            <a:xfrm>
              <a:off x="8887110" y="2054416"/>
              <a:ext cx="2687681" cy="1089555"/>
            </a:xfrm>
            <a:custGeom>
              <a:avLst/>
              <a:gdLst>
                <a:gd name="connsiteX0" fmla="*/ 0 w 1782695"/>
                <a:gd name="connsiteY0" fmla="*/ 0 h 1609294"/>
                <a:gd name="connsiteX1" fmla="*/ 156074 w 1782695"/>
                <a:gd name="connsiteY1" fmla="*/ 1545 h 1609294"/>
                <a:gd name="connsiteX2" fmla="*/ 1781963 w 1782695"/>
                <a:gd name="connsiteY2" fmla="*/ 2164 h 1609294"/>
                <a:gd name="connsiteX3" fmla="*/ 1781963 w 1782695"/>
                <a:gd name="connsiteY3" fmla="*/ 1601979 h 1609294"/>
                <a:gd name="connsiteX4" fmla="*/ 0 w 1782695"/>
                <a:gd name="connsiteY4" fmla="*/ 1609294 h 1609294"/>
                <a:gd name="connsiteX0" fmla="*/ 0 w 1782695"/>
                <a:gd name="connsiteY0" fmla="*/ 0 h 1609294"/>
                <a:gd name="connsiteX1" fmla="*/ 1781963 w 1782695"/>
                <a:gd name="connsiteY1" fmla="*/ 2164 h 1609294"/>
                <a:gd name="connsiteX2" fmla="*/ 1781963 w 1782695"/>
                <a:gd name="connsiteY2" fmla="*/ 1601979 h 1609294"/>
                <a:gd name="connsiteX3" fmla="*/ 0 w 1782695"/>
                <a:gd name="connsiteY3" fmla="*/ 1609294 h 1609294"/>
                <a:gd name="connsiteX4" fmla="*/ 0 w 1782695"/>
                <a:gd name="connsiteY4" fmla="*/ 0 h 1609294"/>
                <a:gd name="connsiteX0" fmla="*/ 0 w 2712879"/>
                <a:gd name="connsiteY0" fmla="*/ 0 h 1616438"/>
                <a:gd name="connsiteX1" fmla="*/ 2712147 w 2712879"/>
                <a:gd name="connsiteY1" fmla="*/ 9308 h 1616438"/>
                <a:gd name="connsiteX2" fmla="*/ 2712147 w 2712879"/>
                <a:gd name="connsiteY2" fmla="*/ 1609123 h 1616438"/>
                <a:gd name="connsiteX3" fmla="*/ 930184 w 2712879"/>
                <a:gd name="connsiteY3" fmla="*/ 1616438 h 1616438"/>
                <a:gd name="connsiteX4" fmla="*/ 0 w 2712879"/>
                <a:gd name="connsiteY4" fmla="*/ 0 h 1616438"/>
                <a:gd name="connsiteX0" fmla="*/ 0 w 2712879"/>
                <a:gd name="connsiteY0" fmla="*/ 0 h 1614057"/>
                <a:gd name="connsiteX1" fmla="*/ 2712147 w 2712879"/>
                <a:gd name="connsiteY1" fmla="*/ 9308 h 1614057"/>
                <a:gd name="connsiteX2" fmla="*/ 2712147 w 2712879"/>
                <a:gd name="connsiteY2" fmla="*/ 1609123 h 1614057"/>
                <a:gd name="connsiteX3" fmla="*/ 2404 w 2712879"/>
                <a:gd name="connsiteY3" fmla="*/ 1614057 h 1614057"/>
                <a:gd name="connsiteX4" fmla="*/ 0 w 2712879"/>
                <a:gd name="connsiteY4" fmla="*/ 0 h 1614057"/>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9308 h 1618819"/>
                <a:gd name="connsiteX2" fmla="*/ 2712147 w 2712879"/>
                <a:gd name="connsiteY2" fmla="*/ 1609123 h 1618819"/>
                <a:gd name="connsiteX3" fmla="*/ 4808 w 2712879"/>
                <a:gd name="connsiteY3" fmla="*/ 1618819 h 1618819"/>
                <a:gd name="connsiteX4" fmla="*/ 0 w 2712879"/>
                <a:gd name="connsiteY4" fmla="*/ 0 h 1618819"/>
                <a:gd name="connsiteX0" fmla="*/ 0 w 2712879"/>
                <a:gd name="connsiteY0" fmla="*/ 0 h 1615281"/>
                <a:gd name="connsiteX1" fmla="*/ 2712147 w 2712879"/>
                <a:gd name="connsiteY1" fmla="*/ 5770 h 1615281"/>
                <a:gd name="connsiteX2" fmla="*/ 2712147 w 2712879"/>
                <a:gd name="connsiteY2" fmla="*/ 1605585 h 1615281"/>
                <a:gd name="connsiteX3" fmla="*/ 4808 w 2712879"/>
                <a:gd name="connsiteY3" fmla="*/ 1615281 h 1615281"/>
                <a:gd name="connsiteX4" fmla="*/ 0 w 2712879"/>
                <a:gd name="connsiteY4" fmla="*/ 0 h 1615281"/>
                <a:gd name="connsiteX0" fmla="*/ 0 w 2712879"/>
                <a:gd name="connsiteY0" fmla="*/ 0 h 1615281"/>
                <a:gd name="connsiteX1" fmla="*/ 2712147 w 2712879"/>
                <a:gd name="connsiteY1" fmla="*/ 5770 h 1615281"/>
                <a:gd name="connsiteX2" fmla="*/ 2712147 w 2712879"/>
                <a:gd name="connsiteY2" fmla="*/ 1605585 h 1615281"/>
                <a:gd name="connsiteX3" fmla="*/ 4808 w 2712879"/>
                <a:gd name="connsiteY3" fmla="*/ 1615281 h 1615281"/>
                <a:gd name="connsiteX4" fmla="*/ 0 w 2712879"/>
                <a:gd name="connsiteY4" fmla="*/ 0 h 1615281"/>
                <a:gd name="connsiteX0" fmla="*/ 0 w 2712879"/>
                <a:gd name="connsiteY0" fmla="*/ 0 h 1618819"/>
                <a:gd name="connsiteX1" fmla="*/ 2712147 w 2712879"/>
                <a:gd name="connsiteY1" fmla="*/ 5770 h 1618819"/>
                <a:gd name="connsiteX2" fmla="*/ 2712147 w 2712879"/>
                <a:gd name="connsiteY2" fmla="*/ 1605585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5770 h 1618819"/>
                <a:gd name="connsiteX2" fmla="*/ 2712147 w 2712879"/>
                <a:gd name="connsiteY2" fmla="*/ 1605585 h 1618819"/>
                <a:gd name="connsiteX3" fmla="*/ 4808 w 2712879"/>
                <a:gd name="connsiteY3" fmla="*/ 1618819 h 1618819"/>
                <a:gd name="connsiteX4" fmla="*/ 0 w 2712879"/>
                <a:gd name="connsiteY4" fmla="*/ 0 h 1618819"/>
                <a:gd name="connsiteX0" fmla="*/ 0 w 2712879"/>
                <a:gd name="connsiteY0" fmla="*/ 0 h 1618819"/>
                <a:gd name="connsiteX1" fmla="*/ 2712147 w 2712879"/>
                <a:gd name="connsiteY1" fmla="*/ 5770 h 1618819"/>
                <a:gd name="connsiteX2" fmla="*/ 2712147 w 2712879"/>
                <a:gd name="connsiteY2" fmla="*/ 1605585 h 1618819"/>
                <a:gd name="connsiteX3" fmla="*/ 4808 w 2712879"/>
                <a:gd name="connsiteY3" fmla="*/ 1618819 h 1618819"/>
                <a:gd name="connsiteX4" fmla="*/ 0 w 2712879"/>
                <a:gd name="connsiteY4" fmla="*/ 0 h 1618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879" h="1618819">
                  <a:moveTo>
                    <a:pt x="0" y="0"/>
                  </a:moveTo>
                  <a:cubicBezTo>
                    <a:pt x="913663" y="16074"/>
                    <a:pt x="1808098" y="3847"/>
                    <a:pt x="2712147" y="5770"/>
                  </a:cubicBezTo>
                  <a:cubicBezTo>
                    <a:pt x="2709607" y="548356"/>
                    <a:pt x="2714686" y="1063000"/>
                    <a:pt x="2712147" y="1605585"/>
                  </a:cubicBezTo>
                  <a:lnTo>
                    <a:pt x="4808" y="1618819"/>
                  </a:lnTo>
                  <a:cubicBezTo>
                    <a:pt x="4007" y="1080800"/>
                    <a:pt x="801" y="538019"/>
                    <a:pt x="0" y="0"/>
                  </a:cubicBezTo>
                  <a:close/>
                </a:path>
              </a:pathLst>
            </a:custGeom>
            <a:solidFill>
              <a:schemeClr val="accent2"/>
            </a:solidFill>
            <a:ln>
              <a:noFill/>
            </a:ln>
          </p:spPr>
          <p:txBody>
            <a:bodyPr vert="horz" wrap="square" lIns="457200" tIns="73152" rIns="91440" bIns="45708" numCol="1" anchor="t" anchorCtr="0" compatLnSpc="1">
              <a:prstTxWarp prst="textNoShape">
                <a:avLst/>
              </a:prstTxWarp>
              <a:noAutofit/>
            </a:bodyPr>
            <a:lstStyle/>
            <a:p>
              <a:pPr defTabSz="685605"/>
              <a:r>
                <a:rPr lang="ja-JP" altLang="en-US" sz="800" dirty="0">
                  <a:solidFill>
                    <a:srgbClr val="FFFFFF"/>
                  </a:solidFill>
                </a:rPr>
                <a:t>レイヤ</a:t>
              </a:r>
              <a:r>
                <a:rPr lang="en-US" sz="800" dirty="0">
                  <a:solidFill>
                    <a:srgbClr val="FFFFFF"/>
                  </a:solidFill>
                </a:rPr>
                <a:t>3</a:t>
              </a:r>
            </a:p>
          </p:txBody>
        </p:sp>
        <p:sp>
          <p:nvSpPr>
            <p:cNvPr id="458" name="Rectangle 143"/>
            <p:cNvSpPr/>
            <p:nvPr/>
          </p:nvSpPr>
          <p:spPr>
            <a:xfrm>
              <a:off x="784021" y="1667379"/>
              <a:ext cx="977177" cy="1828804"/>
            </a:xfrm>
            <a:prstGeom prst="rect">
              <a:avLst/>
            </a:prstGeom>
            <a:solidFill>
              <a:schemeClr val="tx1">
                <a:lumMod val="75000"/>
              </a:schemeClr>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857">
                <a:spcAft>
                  <a:spcPts val="450"/>
                </a:spcAft>
              </a:pPr>
              <a:r>
                <a:rPr lang="ja-JP" altLang="en-US" sz="800" dirty="0">
                  <a:solidFill>
                    <a:srgbClr val="FFFFFF"/>
                  </a:solidFill>
                </a:rPr>
                <a:t>ファイルレピュテーション</a:t>
              </a:r>
              <a:endParaRPr lang="en-US" sz="800" dirty="0">
                <a:solidFill>
                  <a:srgbClr val="FFFFFF"/>
                </a:solidFill>
              </a:endParaRPr>
            </a:p>
          </p:txBody>
        </p:sp>
        <p:grpSp>
          <p:nvGrpSpPr>
            <p:cNvPr id="459" name="Group 144"/>
            <p:cNvGrpSpPr/>
            <p:nvPr/>
          </p:nvGrpSpPr>
          <p:grpSpPr>
            <a:xfrm>
              <a:off x="3180797" y="2165006"/>
              <a:ext cx="2899780" cy="903825"/>
              <a:chOff x="3180797" y="2000555"/>
              <a:chExt cx="2882950" cy="1178864"/>
            </a:xfrm>
          </p:grpSpPr>
          <p:sp>
            <p:nvSpPr>
              <p:cNvPr id="468" name="Rectangle 153"/>
              <p:cNvSpPr/>
              <p:nvPr/>
            </p:nvSpPr>
            <p:spPr>
              <a:xfrm>
                <a:off x="3180797" y="2000556"/>
                <a:ext cx="1422891" cy="1178861"/>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74"/>
                <a:r>
                  <a:rPr lang="ja-JP" altLang="en-US" sz="800" dirty="0">
                    <a:solidFill>
                      <a:srgbClr val="FFFFFF"/>
                    </a:solidFill>
                  </a:rPr>
                  <a:t>異常検知</a:t>
                </a:r>
                <a:endParaRPr lang="en-US" sz="800" dirty="0">
                  <a:solidFill>
                    <a:srgbClr val="FFFFFF"/>
                  </a:solidFill>
                </a:endParaRPr>
              </a:p>
            </p:txBody>
          </p:sp>
          <p:sp>
            <p:nvSpPr>
              <p:cNvPr id="469" name="Rectangle 154"/>
              <p:cNvSpPr/>
              <p:nvPr/>
            </p:nvSpPr>
            <p:spPr>
              <a:xfrm>
                <a:off x="4641183" y="2000555"/>
                <a:ext cx="1422564" cy="1178864"/>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74"/>
                <a:r>
                  <a:rPr lang="ja-JP" altLang="en-US" sz="800" dirty="0">
                    <a:solidFill>
                      <a:srgbClr val="FFFFFF"/>
                    </a:solidFill>
                  </a:rPr>
                  <a:t>信頼モデル</a:t>
                </a:r>
                <a:endParaRPr lang="en-US" sz="800" dirty="0">
                  <a:solidFill>
                    <a:srgbClr val="FFFFFF"/>
                  </a:solidFill>
                </a:endParaRPr>
              </a:p>
            </p:txBody>
          </p:sp>
        </p:grpSp>
        <p:grpSp>
          <p:nvGrpSpPr>
            <p:cNvPr id="460" name="Group 145"/>
            <p:cNvGrpSpPr/>
            <p:nvPr/>
          </p:nvGrpSpPr>
          <p:grpSpPr>
            <a:xfrm>
              <a:off x="6212787" y="2235302"/>
              <a:ext cx="2584442" cy="763232"/>
              <a:chOff x="6224209" y="2099072"/>
              <a:chExt cx="2702641" cy="490040"/>
            </a:xfrm>
          </p:grpSpPr>
          <p:sp>
            <p:nvSpPr>
              <p:cNvPr id="466" name="Rectangle 151"/>
              <p:cNvSpPr/>
              <p:nvPr/>
            </p:nvSpPr>
            <p:spPr>
              <a:xfrm>
                <a:off x="6224209" y="2099072"/>
                <a:ext cx="1335434" cy="486529"/>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74"/>
                <a:r>
                  <a:rPr lang="ja-JP" altLang="en-US" sz="800" dirty="0">
                    <a:solidFill>
                      <a:srgbClr val="FFFFFF"/>
                    </a:solidFill>
                  </a:rPr>
                  <a:t>イベント分類</a:t>
                </a:r>
                <a:endParaRPr lang="en-US" sz="800" dirty="0">
                  <a:solidFill>
                    <a:srgbClr val="FFFFFF"/>
                  </a:solidFill>
                </a:endParaRPr>
              </a:p>
            </p:txBody>
          </p:sp>
          <p:sp>
            <p:nvSpPr>
              <p:cNvPr id="467" name="Rectangle 152"/>
              <p:cNvSpPr/>
              <p:nvPr/>
            </p:nvSpPr>
            <p:spPr>
              <a:xfrm>
                <a:off x="7591826" y="2099072"/>
                <a:ext cx="1335024" cy="490040"/>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74"/>
                <a:r>
                  <a:rPr lang="ja-JP" altLang="en-US" sz="800" dirty="0">
                    <a:solidFill>
                      <a:srgbClr val="FFFFFF"/>
                    </a:solidFill>
                  </a:rPr>
                  <a:t>実態モデリング</a:t>
                </a:r>
                <a:endParaRPr lang="en-US" sz="800" dirty="0">
                  <a:solidFill>
                    <a:srgbClr val="FFFFFF"/>
                  </a:solidFill>
                </a:endParaRPr>
              </a:p>
            </p:txBody>
          </p:sp>
        </p:grpSp>
        <p:grpSp>
          <p:nvGrpSpPr>
            <p:cNvPr id="461" name="Group 146"/>
            <p:cNvGrpSpPr/>
            <p:nvPr/>
          </p:nvGrpSpPr>
          <p:grpSpPr>
            <a:xfrm>
              <a:off x="2005594" y="1807571"/>
              <a:ext cx="977177" cy="1576363"/>
              <a:chOff x="2039345" y="1707610"/>
              <a:chExt cx="977177" cy="1776285"/>
            </a:xfrm>
          </p:grpSpPr>
          <p:sp>
            <p:nvSpPr>
              <p:cNvPr id="464" name="Rectangle 149"/>
              <p:cNvSpPr/>
              <p:nvPr/>
            </p:nvSpPr>
            <p:spPr>
              <a:xfrm>
                <a:off x="2039345" y="1707610"/>
                <a:ext cx="977177" cy="868680"/>
              </a:xfrm>
              <a:prstGeom prst="rect">
                <a:avLst/>
              </a:prstGeom>
              <a:solidFill>
                <a:schemeClr val="tx1">
                  <a:lumMod val="75000"/>
                </a:schemeClr>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857">
                  <a:spcAft>
                    <a:spcPts val="450"/>
                  </a:spcAft>
                </a:pPr>
                <a:r>
                  <a:rPr lang="ja-JP" altLang="en-US" sz="800" dirty="0">
                    <a:solidFill>
                      <a:srgbClr val="FFFFFF"/>
                    </a:solidFill>
                  </a:rPr>
                  <a:t>ダイナミック</a:t>
                </a:r>
                <a:r>
                  <a:rPr lang="en-US" altLang="ja-JP" sz="800" dirty="0">
                    <a:solidFill>
                      <a:srgbClr val="FFFFFF"/>
                    </a:solidFill>
                  </a:rPr>
                  <a:t/>
                </a:r>
                <a:br>
                  <a:rPr lang="en-US" altLang="ja-JP" sz="800" dirty="0">
                    <a:solidFill>
                      <a:srgbClr val="FFFFFF"/>
                    </a:solidFill>
                  </a:rPr>
                </a:br>
                <a:r>
                  <a:rPr lang="ja-JP" altLang="en-US" sz="800" dirty="0">
                    <a:solidFill>
                      <a:srgbClr val="FFFFFF"/>
                    </a:solidFill>
                  </a:rPr>
                  <a:t>マルウェア解析</a:t>
                </a:r>
                <a:endParaRPr lang="en-US" sz="800" dirty="0">
                  <a:solidFill>
                    <a:srgbClr val="FFFFFF"/>
                  </a:solidFill>
                </a:endParaRPr>
              </a:p>
            </p:txBody>
          </p:sp>
          <p:sp>
            <p:nvSpPr>
              <p:cNvPr id="465" name="Rectangle 150"/>
              <p:cNvSpPr/>
              <p:nvPr/>
            </p:nvSpPr>
            <p:spPr>
              <a:xfrm>
                <a:off x="2039345" y="2617419"/>
                <a:ext cx="977177" cy="866476"/>
              </a:xfrm>
              <a:prstGeom prst="rect">
                <a:avLst/>
              </a:prstGeom>
              <a:solidFill>
                <a:schemeClr val="tx1">
                  <a:lumMod val="75000"/>
                </a:schemeClr>
              </a:solidFill>
              <a:ln w="9525">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defTabSz="685857">
                  <a:spcAft>
                    <a:spcPts val="450"/>
                  </a:spcAft>
                </a:pPr>
                <a:r>
                  <a:rPr lang="ja-JP" altLang="en-US" sz="800" dirty="0">
                    <a:solidFill>
                      <a:srgbClr val="FFFFFF"/>
                    </a:solidFill>
                  </a:rPr>
                  <a:t>ファイル</a:t>
                </a:r>
                <a:r>
                  <a:rPr lang="en-US" altLang="ja-JP" sz="800" dirty="0">
                    <a:solidFill>
                      <a:srgbClr val="FFFFFF"/>
                    </a:solidFill>
                  </a:rPr>
                  <a:t/>
                </a:r>
                <a:br>
                  <a:rPr lang="en-US" altLang="ja-JP" sz="800" dirty="0">
                    <a:solidFill>
                      <a:srgbClr val="FFFFFF"/>
                    </a:solidFill>
                  </a:rPr>
                </a:br>
                <a:r>
                  <a:rPr lang="ja-JP" altLang="en-US" sz="800" dirty="0">
                    <a:solidFill>
                      <a:srgbClr val="FFFFFF"/>
                    </a:solidFill>
                  </a:rPr>
                  <a:t>レトロスペクション</a:t>
                </a:r>
                <a:endParaRPr lang="en-US" sz="800" dirty="0">
                  <a:solidFill>
                    <a:srgbClr val="FFFFFF"/>
                  </a:solidFill>
                </a:endParaRPr>
              </a:p>
            </p:txBody>
          </p:sp>
        </p:grpSp>
        <p:sp>
          <p:nvSpPr>
            <p:cNvPr id="462" name="Rectangle 147"/>
            <p:cNvSpPr/>
            <p:nvPr/>
          </p:nvSpPr>
          <p:spPr>
            <a:xfrm>
              <a:off x="8936779" y="2318665"/>
              <a:ext cx="2577104" cy="596506"/>
            </a:xfrm>
            <a:prstGeom prst="rect">
              <a:avLst/>
            </a:prstGeom>
            <a:solidFill>
              <a:schemeClr val="accent2">
                <a:lumMod val="50000"/>
              </a:schemeClr>
            </a:solidFill>
            <a:ln w="95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685874"/>
              <a:r>
                <a:rPr lang="ja-JP" altLang="en-US" sz="800" dirty="0">
                  <a:solidFill>
                    <a:srgbClr val="FFFFFF"/>
                  </a:solidFill>
                </a:rPr>
                <a:t>関連モデリング</a:t>
              </a:r>
              <a:endParaRPr lang="en-US" sz="800" dirty="0">
                <a:solidFill>
                  <a:srgbClr val="FFFFFF"/>
                </a:solidFill>
              </a:endParaRPr>
            </a:p>
          </p:txBody>
        </p:sp>
        <p:sp>
          <p:nvSpPr>
            <p:cNvPr id="463" name="Freeform 10"/>
            <p:cNvSpPr>
              <a:spLocks/>
            </p:cNvSpPr>
            <p:nvPr/>
          </p:nvSpPr>
          <p:spPr bwMode="auto">
            <a:xfrm>
              <a:off x="8888340" y="2045629"/>
              <a:ext cx="411480" cy="237744"/>
            </a:xfrm>
            <a:custGeom>
              <a:avLst/>
              <a:gdLst>
                <a:gd name="connsiteX0" fmla="*/ 0 w 342349"/>
                <a:gd name="connsiteY0" fmla="*/ 0 h 187783"/>
                <a:gd name="connsiteX1" fmla="*/ 342349 w 342349"/>
                <a:gd name="connsiteY1" fmla="*/ 6882 h 187783"/>
                <a:gd name="connsiteX2" fmla="*/ 340676 w 342349"/>
                <a:gd name="connsiteY2" fmla="*/ 187783 h 187783"/>
                <a:gd name="connsiteX3" fmla="*/ 0 w 342349"/>
                <a:gd name="connsiteY3" fmla="*/ 187783 h 187783"/>
                <a:gd name="connsiteX4" fmla="*/ 0 w 342349"/>
                <a:gd name="connsiteY4" fmla="*/ 0 h 187783"/>
                <a:gd name="connsiteX0" fmla="*/ 0 w 342349"/>
                <a:gd name="connsiteY0" fmla="*/ 0 h 187783"/>
                <a:gd name="connsiteX1" fmla="*/ 342349 w 342349"/>
                <a:gd name="connsiteY1" fmla="*/ 8555 h 187783"/>
                <a:gd name="connsiteX2" fmla="*/ 340676 w 342349"/>
                <a:gd name="connsiteY2" fmla="*/ 187783 h 187783"/>
                <a:gd name="connsiteX3" fmla="*/ 0 w 342349"/>
                <a:gd name="connsiteY3" fmla="*/ 187783 h 187783"/>
                <a:gd name="connsiteX4" fmla="*/ 0 w 342349"/>
                <a:gd name="connsiteY4" fmla="*/ 0 h 1877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349" h="187783">
                  <a:moveTo>
                    <a:pt x="0" y="0"/>
                  </a:moveTo>
                  <a:lnTo>
                    <a:pt x="342349" y="8555"/>
                  </a:lnTo>
                  <a:cubicBezTo>
                    <a:pt x="341791" y="68855"/>
                    <a:pt x="341234" y="127483"/>
                    <a:pt x="340676" y="187783"/>
                  </a:cubicBezTo>
                  <a:lnTo>
                    <a:pt x="0" y="187783"/>
                  </a:lnTo>
                  <a:lnTo>
                    <a:pt x="0" y="0"/>
                  </a:lnTo>
                  <a:close/>
                </a:path>
              </a:pathLst>
            </a:custGeom>
            <a:solidFill>
              <a:schemeClr val="accent2">
                <a:lumMod val="75000"/>
              </a:schemeClr>
            </a:solidFill>
            <a:ln w="25400" cap="flat" cmpd="sng" algn="ctr">
              <a:noFill/>
              <a:prstDash val="solid"/>
            </a:ln>
            <a:effectLst/>
          </p:spPr>
          <p:txBody>
            <a:bodyPr lIns="0" tIns="0" rIns="0" bIns="0" rtlCol="0" anchor="ctr"/>
            <a:lstStyle/>
            <a:p>
              <a:pPr algn="ctr" defTabSz="914066"/>
              <a:r>
                <a:rPr lang="en-US" sz="900" b="1" dirty="0">
                  <a:solidFill>
                    <a:prstClr val="white"/>
                  </a:solidFill>
                </a:rPr>
                <a:t>CTA</a:t>
              </a:r>
            </a:p>
          </p:txBody>
        </p:sp>
      </p:grpSp>
      <p:grpSp>
        <p:nvGrpSpPr>
          <p:cNvPr id="366" name="Group 365"/>
          <p:cNvGrpSpPr/>
          <p:nvPr/>
        </p:nvGrpSpPr>
        <p:grpSpPr>
          <a:xfrm>
            <a:off x="33133" y="660919"/>
            <a:ext cx="9141714" cy="3892033"/>
            <a:chOff x="-209476" y="2026610"/>
            <a:chExt cx="12226164" cy="5549226"/>
          </a:xfrm>
        </p:grpSpPr>
        <p:sp>
          <p:nvSpPr>
            <p:cNvPr id="367" name="Rectangle 366"/>
            <p:cNvSpPr/>
            <p:nvPr/>
          </p:nvSpPr>
          <p:spPr>
            <a:xfrm>
              <a:off x="-209476" y="2488314"/>
              <a:ext cx="1049033" cy="5087522"/>
            </a:xfrm>
            <a:prstGeom prst="rect">
              <a:avLst/>
            </a:prstGeom>
            <a:gradFill flip="none" rotWithShape="1">
              <a:gsLst>
                <a:gs pos="75000">
                  <a:schemeClr val="bg1">
                    <a:alpha val="96000"/>
                  </a:schemeClr>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E909E"/>
                </a:solidFill>
              </a:endParaRPr>
            </a:p>
          </p:txBody>
        </p:sp>
        <p:grpSp>
          <p:nvGrpSpPr>
            <p:cNvPr id="371" name="Group 370"/>
            <p:cNvGrpSpPr/>
            <p:nvPr/>
          </p:nvGrpSpPr>
          <p:grpSpPr>
            <a:xfrm>
              <a:off x="2285097" y="2026610"/>
              <a:ext cx="9731591" cy="5516078"/>
              <a:chOff x="2285097" y="2026610"/>
              <a:chExt cx="9731591" cy="5516078"/>
            </a:xfrm>
          </p:grpSpPr>
          <p:sp>
            <p:nvSpPr>
              <p:cNvPr id="372" name="Rectangle 371"/>
              <p:cNvSpPr/>
              <p:nvPr/>
            </p:nvSpPr>
            <p:spPr>
              <a:xfrm>
                <a:off x="2285097" y="2513488"/>
                <a:ext cx="9731591" cy="5029200"/>
              </a:xfrm>
              <a:prstGeom prst="rect">
                <a:avLst/>
              </a:prstGeom>
              <a:gradFill>
                <a:gsLst>
                  <a:gs pos="0">
                    <a:schemeClr val="bg1"/>
                  </a:gs>
                  <a:gs pos="15000">
                    <a:schemeClr val="bg1"/>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E909E"/>
                  </a:solidFill>
                </a:endParaRPr>
              </a:p>
            </p:txBody>
          </p:sp>
          <p:sp>
            <p:nvSpPr>
              <p:cNvPr id="373" name="Rectangle 372"/>
              <p:cNvSpPr/>
              <p:nvPr/>
            </p:nvSpPr>
            <p:spPr>
              <a:xfrm flipH="1">
                <a:off x="5381814" y="2026610"/>
                <a:ext cx="877824" cy="5200650"/>
              </a:xfrm>
              <a:prstGeom prst="rect">
                <a:avLst/>
              </a:prstGeom>
              <a:gradFill flip="none" rotWithShape="1">
                <a:gsLst>
                  <a:gs pos="75000">
                    <a:schemeClr val="bg1"/>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E909E"/>
                  </a:solidFill>
                </a:endParaRPr>
              </a:p>
            </p:txBody>
          </p:sp>
        </p:grpSp>
      </p:grpSp>
      <p:grpSp>
        <p:nvGrpSpPr>
          <p:cNvPr id="364" name="Group 2"/>
          <p:cNvGrpSpPr/>
          <p:nvPr/>
        </p:nvGrpSpPr>
        <p:grpSpPr>
          <a:xfrm>
            <a:off x="1197" y="971551"/>
            <a:ext cx="9141617" cy="3600450"/>
            <a:chOff x="2" y="1295400"/>
            <a:chExt cx="12188823" cy="5200650"/>
          </a:xfrm>
        </p:grpSpPr>
        <p:sp>
          <p:nvSpPr>
            <p:cNvPr id="365" name="Rectangle 7"/>
            <p:cNvSpPr/>
            <p:nvPr/>
          </p:nvSpPr>
          <p:spPr>
            <a:xfrm>
              <a:off x="2" y="1295400"/>
              <a:ext cx="781593" cy="5200650"/>
            </a:xfrm>
            <a:prstGeom prst="rect">
              <a:avLst/>
            </a:prstGeom>
            <a:gradFill flip="none" rotWithShape="1">
              <a:gsLst>
                <a:gs pos="75000">
                  <a:schemeClr val="bg1"/>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E909E"/>
                </a:solidFill>
              </a:endParaRPr>
            </a:p>
          </p:txBody>
        </p:sp>
        <p:grpSp>
          <p:nvGrpSpPr>
            <p:cNvPr id="368" name="Group 8"/>
            <p:cNvGrpSpPr/>
            <p:nvPr/>
          </p:nvGrpSpPr>
          <p:grpSpPr>
            <a:xfrm>
              <a:off x="1920978" y="1295400"/>
              <a:ext cx="10267847" cy="5200650"/>
              <a:chOff x="1920978" y="1295400"/>
              <a:chExt cx="10267847" cy="5200650"/>
            </a:xfrm>
          </p:grpSpPr>
          <p:sp>
            <p:nvSpPr>
              <p:cNvPr id="369" name="Rectangle 17"/>
              <p:cNvSpPr/>
              <p:nvPr/>
            </p:nvSpPr>
            <p:spPr>
              <a:xfrm>
                <a:off x="2786418" y="1295400"/>
                <a:ext cx="9402407" cy="5029200"/>
              </a:xfrm>
              <a:prstGeom prst="rect">
                <a:avLst/>
              </a:prstGeom>
              <a:gradFill>
                <a:gsLst>
                  <a:gs pos="0">
                    <a:schemeClr val="bg1"/>
                  </a:gs>
                  <a:gs pos="15000">
                    <a:schemeClr val="bg1"/>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E909E"/>
                  </a:solidFill>
                </a:endParaRPr>
              </a:p>
            </p:txBody>
          </p:sp>
          <p:sp>
            <p:nvSpPr>
              <p:cNvPr id="370" name="Rectangle 18"/>
              <p:cNvSpPr/>
              <p:nvPr/>
            </p:nvSpPr>
            <p:spPr>
              <a:xfrm flipH="1">
                <a:off x="1920978" y="1295400"/>
                <a:ext cx="877824" cy="5200650"/>
              </a:xfrm>
              <a:prstGeom prst="rect">
                <a:avLst/>
              </a:prstGeom>
              <a:gradFill flip="none" rotWithShape="1">
                <a:gsLst>
                  <a:gs pos="75000">
                    <a:schemeClr val="bg1"/>
                  </a:gs>
                  <a:gs pos="100000">
                    <a:schemeClr val="bg1">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8E909E"/>
                  </a:solidFill>
                </a:endParaRPr>
              </a:p>
            </p:txBody>
          </p:sp>
        </p:grpSp>
      </p:grpSp>
      <p:sp>
        <p:nvSpPr>
          <p:cNvPr id="2" name="Title 1"/>
          <p:cNvSpPr>
            <a:spLocks noGrp="1"/>
          </p:cNvSpPr>
          <p:nvPr>
            <p:ph type="title"/>
          </p:nvPr>
        </p:nvSpPr>
        <p:spPr/>
        <p:txBody>
          <a:bodyPr/>
          <a:lstStyle/>
          <a:p>
            <a:r>
              <a:rPr lang="ja-JP" altLang="en-US" dirty="0" smtClean="0"/>
              <a:t>異常検知により不正なトラフィックを特定</a:t>
            </a:r>
            <a:endParaRPr lang="en-US" dirty="0"/>
          </a:p>
        </p:txBody>
      </p:sp>
      <p:sp>
        <p:nvSpPr>
          <p:cNvPr id="376" name="grey block background"/>
          <p:cNvSpPr/>
          <p:nvPr/>
        </p:nvSpPr>
        <p:spPr>
          <a:xfrm>
            <a:off x="1820310" y="1460754"/>
            <a:ext cx="6895069" cy="310431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71405" tIns="171405" rIns="171405" bIns="171405" rtlCol="0" anchor="ctr"/>
          <a:lstStyle/>
          <a:p>
            <a:pPr>
              <a:spcAft>
                <a:spcPts val="1050"/>
              </a:spcAft>
            </a:pPr>
            <a:endParaRPr lang="en-US" sz="1500" dirty="0">
              <a:solidFill>
                <a:schemeClr val="tx1"/>
              </a:solidFill>
            </a:endParaRPr>
          </a:p>
        </p:txBody>
      </p:sp>
      <p:grpSp>
        <p:nvGrpSpPr>
          <p:cNvPr id="5" name="Group 4"/>
          <p:cNvGrpSpPr/>
          <p:nvPr/>
        </p:nvGrpSpPr>
        <p:grpSpPr>
          <a:xfrm>
            <a:off x="2399988" y="3714944"/>
            <a:ext cx="230103" cy="211892"/>
            <a:chOff x="6355475" y="2497701"/>
            <a:chExt cx="306804" cy="282522"/>
          </a:xfrm>
        </p:grpSpPr>
        <p:sp>
          <p:nvSpPr>
            <p:cNvPr id="304" name="Oval 303"/>
            <p:cNvSpPr/>
            <p:nvPr/>
          </p:nvSpPr>
          <p:spPr>
            <a:xfrm>
              <a:off x="6355475" y="2497701"/>
              <a:ext cx="107100" cy="107099"/>
            </a:xfrm>
            <a:prstGeom prst="ellipse">
              <a:avLst/>
            </a:prstGeom>
            <a:solidFill>
              <a:srgbClr val="FF0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06" name="Oval 305"/>
            <p:cNvSpPr/>
            <p:nvPr/>
          </p:nvSpPr>
          <p:spPr>
            <a:xfrm>
              <a:off x="6555179" y="2497701"/>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07" name="Oval 306"/>
            <p:cNvSpPr/>
            <p:nvPr/>
          </p:nvSpPr>
          <p:spPr>
            <a:xfrm>
              <a:off x="6355475" y="2673124"/>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08" name="Oval 307"/>
            <p:cNvSpPr/>
            <p:nvPr/>
          </p:nvSpPr>
          <p:spPr>
            <a:xfrm>
              <a:off x="6555179" y="2673124"/>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sp>
        <p:nvSpPr>
          <p:cNvPr id="441" name="Rectangle 440"/>
          <p:cNvSpPr/>
          <p:nvPr/>
        </p:nvSpPr>
        <p:spPr>
          <a:xfrm>
            <a:off x="6511316" y="2083891"/>
            <a:ext cx="282129" cy="1692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ja-JP" altLang="en-US" sz="1100" dirty="0">
                <a:solidFill>
                  <a:srgbClr val="00B050"/>
                </a:solidFill>
              </a:rPr>
              <a:t>通常</a:t>
            </a:r>
            <a:endParaRPr lang="en-US" sz="1100" dirty="0">
              <a:solidFill>
                <a:srgbClr val="00B050"/>
              </a:solidFill>
            </a:endParaRPr>
          </a:p>
        </p:txBody>
      </p:sp>
      <p:sp>
        <p:nvSpPr>
          <p:cNvPr id="215" name="Rectangle 214"/>
          <p:cNvSpPr/>
          <p:nvPr/>
        </p:nvSpPr>
        <p:spPr>
          <a:xfrm>
            <a:off x="6511336" y="3176292"/>
            <a:ext cx="282129" cy="1692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ja-JP" altLang="en-US" sz="1100" dirty="0">
                <a:solidFill>
                  <a:srgbClr val="FFC000"/>
                </a:solidFill>
              </a:rPr>
              <a:t>未知</a:t>
            </a:r>
            <a:endParaRPr lang="en-US" sz="1100" dirty="0">
              <a:solidFill>
                <a:srgbClr val="FFC000"/>
              </a:solidFill>
            </a:endParaRPr>
          </a:p>
        </p:txBody>
      </p:sp>
      <p:sp>
        <p:nvSpPr>
          <p:cNvPr id="216" name="Rectangle 215"/>
          <p:cNvSpPr/>
          <p:nvPr/>
        </p:nvSpPr>
        <p:spPr>
          <a:xfrm>
            <a:off x="6511276" y="4040821"/>
            <a:ext cx="282129" cy="16927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r>
              <a:rPr lang="ja-JP" altLang="en-US" sz="1100" dirty="0">
                <a:solidFill>
                  <a:srgbClr val="FF0000"/>
                </a:solidFill>
              </a:rPr>
              <a:t>異常</a:t>
            </a:r>
            <a:endParaRPr lang="en-US" sz="1100" dirty="0">
              <a:solidFill>
                <a:srgbClr val="FF0000"/>
              </a:solidFill>
            </a:endParaRPr>
          </a:p>
        </p:txBody>
      </p:sp>
      <p:grpSp>
        <p:nvGrpSpPr>
          <p:cNvPr id="283" name="Group 282"/>
          <p:cNvGrpSpPr/>
          <p:nvPr/>
        </p:nvGrpSpPr>
        <p:grpSpPr>
          <a:xfrm>
            <a:off x="2397758" y="3330657"/>
            <a:ext cx="1146977" cy="1127178"/>
            <a:chOff x="3213373" y="3842804"/>
            <a:chExt cx="1595919" cy="1568372"/>
          </a:xfrm>
        </p:grpSpPr>
        <p:sp>
          <p:nvSpPr>
            <p:cNvPr id="284" name="Can 283"/>
            <p:cNvSpPr/>
            <p:nvPr/>
          </p:nvSpPr>
          <p:spPr>
            <a:xfrm>
              <a:off x="3213373" y="3842804"/>
              <a:ext cx="1595919" cy="1568372"/>
            </a:xfrm>
            <a:prstGeom prst="can">
              <a:avLst>
                <a:gd name="adj" fmla="val 24028"/>
              </a:avLst>
            </a:prstGeom>
            <a:solidFill>
              <a:schemeClr val="accent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5" name="Freeform 284"/>
            <p:cNvSpPr/>
            <p:nvPr/>
          </p:nvSpPr>
          <p:spPr>
            <a:xfrm>
              <a:off x="3319018" y="4261514"/>
              <a:ext cx="1384629" cy="1008901"/>
            </a:xfrm>
            <a:custGeom>
              <a:avLst/>
              <a:gdLst>
                <a:gd name="connsiteX0" fmla="*/ 1203164 w 1203164"/>
                <a:gd name="connsiteY0" fmla="*/ 0 h 858923"/>
                <a:gd name="connsiteX1" fmla="*/ 1203164 w 1203164"/>
                <a:gd name="connsiteY1" fmla="*/ 781179 h 858923"/>
                <a:gd name="connsiteX2" fmla="*/ 1124350 w 1203164"/>
                <a:gd name="connsiteY2" fmla="*/ 803735 h 858923"/>
                <a:gd name="connsiteX3" fmla="*/ 560107 w 1203164"/>
                <a:gd name="connsiteY3" fmla="*/ 858923 h 858923"/>
                <a:gd name="connsiteX4" fmla="*/ 113960 w 1203164"/>
                <a:gd name="connsiteY4" fmla="*/ 826743 h 858923"/>
                <a:gd name="connsiteX5" fmla="*/ 0 w 1203164"/>
                <a:gd name="connsiteY5" fmla="*/ 804541 h 858923"/>
                <a:gd name="connsiteX6" fmla="*/ 0 w 1203164"/>
                <a:gd name="connsiteY6" fmla="*/ 23362 h 858923"/>
                <a:gd name="connsiteX7" fmla="*/ 113960 w 1203164"/>
                <a:gd name="connsiteY7" fmla="*/ 45564 h 858923"/>
                <a:gd name="connsiteX8" fmla="*/ 560107 w 1203164"/>
                <a:gd name="connsiteY8" fmla="*/ 77744 h 858923"/>
                <a:gd name="connsiteX9" fmla="*/ 1124350 w 1203164"/>
                <a:gd name="connsiteY9" fmla="*/ 22556 h 858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3164" h="858923">
                  <a:moveTo>
                    <a:pt x="1203164" y="0"/>
                  </a:moveTo>
                  <a:lnTo>
                    <a:pt x="1203164" y="781179"/>
                  </a:lnTo>
                  <a:lnTo>
                    <a:pt x="1124350" y="803735"/>
                  </a:lnTo>
                  <a:cubicBezTo>
                    <a:pt x="979948" y="837833"/>
                    <a:pt x="780458" y="858923"/>
                    <a:pt x="560107" y="858923"/>
                  </a:cubicBezTo>
                  <a:cubicBezTo>
                    <a:pt x="394844" y="858923"/>
                    <a:pt x="241315" y="847060"/>
                    <a:pt x="113960" y="826743"/>
                  </a:cubicBezTo>
                  <a:lnTo>
                    <a:pt x="0" y="804541"/>
                  </a:lnTo>
                  <a:lnTo>
                    <a:pt x="0" y="23362"/>
                  </a:lnTo>
                  <a:lnTo>
                    <a:pt x="113960" y="45564"/>
                  </a:lnTo>
                  <a:cubicBezTo>
                    <a:pt x="241315" y="65881"/>
                    <a:pt x="394844" y="77744"/>
                    <a:pt x="560107" y="77744"/>
                  </a:cubicBezTo>
                  <a:cubicBezTo>
                    <a:pt x="780458" y="77744"/>
                    <a:pt x="979948" y="56654"/>
                    <a:pt x="1124350" y="22556"/>
                  </a:cubicBezTo>
                  <a:close/>
                </a:path>
              </a:pathLst>
            </a:custGeom>
            <a:solidFill>
              <a:schemeClr val="accent2">
                <a:lumMod val="40000"/>
                <a:lumOff val="6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smtClean="0"/>
            </a:p>
          </p:txBody>
        </p:sp>
      </p:grpSp>
      <p:cxnSp>
        <p:nvCxnSpPr>
          <p:cNvPr id="4" name="Straight Arrow Connector 3"/>
          <p:cNvCxnSpPr/>
          <p:nvPr/>
        </p:nvCxnSpPr>
        <p:spPr>
          <a:xfrm>
            <a:off x="2958496" y="2371832"/>
            <a:ext cx="0" cy="754380"/>
          </a:xfrm>
          <a:prstGeom prst="straightConnector1">
            <a:avLst/>
          </a:prstGeom>
          <a:ln w="38100">
            <a:prstDash val="dash"/>
            <a:tailEnd type="arrow"/>
          </a:ln>
        </p:spPr>
        <p:style>
          <a:lnRef idx="1">
            <a:schemeClr val="accent1"/>
          </a:lnRef>
          <a:fillRef idx="0">
            <a:schemeClr val="accent1"/>
          </a:fillRef>
          <a:effectRef idx="0">
            <a:schemeClr val="accent1"/>
          </a:effectRef>
          <a:fontRef idx="minor">
            <a:schemeClr val="tx1"/>
          </a:fontRef>
        </p:style>
      </p:cxnSp>
      <p:grpSp>
        <p:nvGrpSpPr>
          <p:cNvPr id="1401" name="G 1"/>
          <p:cNvGrpSpPr/>
          <p:nvPr/>
        </p:nvGrpSpPr>
        <p:grpSpPr>
          <a:xfrm>
            <a:off x="2752780" y="3808631"/>
            <a:ext cx="447788" cy="448394"/>
            <a:chOff x="5673345" y="1340908"/>
            <a:chExt cx="597050" cy="597858"/>
          </a:xfrm>
        </p:grpSpPr>
        <p:sp>
          <p:nvSpPr>
            <p:cNvPr id="1402" name="Oval 1401"/>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1403" name="Freeform 1402"/>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416" name="1 Column 1 HTTP Request"/>
          <p:cNvGrpSpPr/>
          <p:nvPr/>
        </p:nvGrpSpPr>
        <p:grpSpPr>
          <a:xfrm>
            <a:off x="2703401" y="1951261"/>
            <a:ext cx="445770" cy="445770"/>
            <a:chOff x="3688509" y="2254977"/>
            <a:chExt cx="743776" cy="744783"/>
          </a:xfrm>
        </p:grpSpPr>
        <p:sp>
          <p:nvSpPr>
            <p:cNvPr id="1417" name="Oval 1416"/>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418" name="Freeform 1417"/>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419" name="2 Column 1 HTTP Request"/>
          <p:cNvGrpSpPr/>
          <p:nvPr/>
        </p:nvGrpSpPr>
        <p:grpSpPr>
          <a:xfrm>
            <a:off x="2703401" y="1951261"/>
            <a:ext cx="445770" cy="445770"/>
            <a:chOff x="3688509" y="2254977"/>
            <a:chExt cx="743776" cy="744783"/>
          </a:xfrm>
        </p:grpSpPr>
        <p:sp>
          <p:nvSpPr>
            <p:cNvPr id="1420" name="Oval 1419"/>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421" name="Freeform 1420"/>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422" name="3 Column 1 HTTP Request"/>
          <p:cNvGrpSpPr/>
          <p:nvPr/>
        </p:nvGrpSpPr>
        <p:grpSpPr>
          <a:xfrm>
            <a:off x="2703401" y="1951261"/>
            <a:ext cx="445770" cy="445770"/>
            <a:chOff x="3688509" y="2254977"/>
            <a:chExt cx="743776" cy="744783"/>
          </a:xfrm>
        </p:grpSpPr>
        <p:sp>
          <p:nvSpPr>
            <p:cNvPr id="1423" name="Oval 1422"/>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424" name="Freeform 1423"/>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425" name="4 Column 1 HTTP Request"/>
          <p:cNvGrpSpPr/>
          <p:nvPr/>
        </p:nvGrpSpPr>
        <p:grpSpPr>
          <a:xfrm>
            <a:off x="2703401" y="1951261"/>
            <a:ext cx="445770" cy="445770"/>
            <a:chOff x="3688509" y="2254977"/>
            <a:chExt cx="743776" cy="744783"/>
          </a:xfrm>
        </p:grpSpPr>
        <p:sp>
          <p:nvSpPr>
            <p:cNvPr id="1426" name="Oval 1425"/>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427" name="Freeform 1426"/>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428" name="Group 1427"/>
          <p:cNvGrpSpPr/>
          <p:nvPr/>
        </p:nvGrpSpPr>
        <p:grpSpPr>
          <a:xfrm>
            <a:off x="2703401" y="1951261"/>
            <a:ext cx="445770" cy="445770"/>
            <a:chOff x="3688509" y="2254977"/>
            <a:chExt cx="743776" cy="744783"/>
          </a:xfrm>
        </p:grpSpPr>
        <p:sp>
          <p:nvSpPr>
            <p:cNvPr id="1429" name="Oval 1428"/>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430" name="Freeform 1429"/>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76" name="Group 1375"/>
          <p:cNvGrpSpPr/>
          <p:nvPr/>
        </p:nvGrpSpPr>
        <p:grpSpPr>
          <a:xfrm>
            <a:off x="2226566" y="1951261"/>
            <a:ext cx="445770" cy="445770"/>
            <a:chOff x="3688509" y="2254977"/>
            <a:chExt cx="743776" cy="744783"/>
          </a:xfrm>
        </p:grpSpPr>
        <p:sp>
          <p:nvSpPr>
            <p:cNvPr id="1377" name="Oval 1376"/>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378" name="Freeform 1377"/>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79" name="Group 1378"/>
          <p:cNvGrpSpPr/>
          <p:nvPr/>
        </p:nvGrpSpPr>
        <p:grpSpPr>
          <a:xfrm>
            <a:off x="3224894" y="1978967"/>
            <a:ext cx="445770" cy="445770"/>
            <a:chOff x="3688509" y="2254977"/>
            <a:chExt cx="743776" cy="744783"/>
          </a:xfrm>
        </p:grpSpPr>
        <p:sp>
          <p:nvSpPr>
            <p:cNvPr id="1380" name="Oval 1379"/>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381" name="Freeform 1380"/>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82" name="Group 1381"/>
          <p:cNvGrpSpPr/>
          <p:nvPr/>
        </p:nvGrpSpPr>
        <p:grpSpPr>
          <a:xfrm>
            <a:off x="2984501" y="2234431"/>
            <a:ext cx="445770" cy="445770"/>
            <a:chOff x="3688509" y="2254977"/>
            <a:chExt cx="743776" cy="744783"/>
          </a:xfrm>
        </p:grpSpPr>
        <p:sp>
          <p:nvSpPr>
            <p:cNvPr id="1383" name="Oval 1382"/>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384" name="Freeform 1383"/>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85" name="Group 1384"/>
          <p:cNvGrpSpPr/>
          <p:nvPr/>
        </p:nvGrpSpPr>
        <p:grpSpPr>
          <a:xfrm>
            <a:off x="2484714" y="2149372"/>
            <a:ext cx="445770" cy="445770"/>
            <a:chOff x="3688509" y="2254977"/>
            <a:chExt cx="743776" cy="744783"/>
          </a:xfrm>
        </p:grpSpPr>
        <p:sp>
          <p:nvSpPr>
            <p:cNvPr id="1386" name="Oval 1385"/>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387" name="Freeform 1386"/>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88" name="Group 1387"/>
          <p:cNvGrpSpPr/>
          <p:nvPr/>
        </p:nvGrpSpPr>
        <p:grpSpPr>
          <a:xfrm>
            <a:off x="1929511" y="2102792"/>
            <a:ext cx="445770" cy="445770"/>
            <a:chOff x="3688509" y="2254977"/>
            <a:chExt cx="743776" cy="744783"/>
          </a:xfrm>
        </p:grpSpPr>
        <p:sp>
          <p:nvSpPr>
            <p:cNvPr id="1389" name="Oval 1388"/>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390" name="Freeform 1389"/>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91" name="Group 1390"/>
          <p:cNvGrpSpPr/>
          <p:nvPr/>
        </p:nvGrpSpPr>
        <p:grpSpPr>
          <a:xfrm>
            <a:off x="3449654" y="2241358"/>
            <a:ext cx="445770" cy="445770"/>
            <a:chOff x="3688509" y="2254977"/>
            <a:chExt cx="743776" cy="744783"/>
          </a:xfrm>
        </p:grpSpPr>
        <p:sp>
          <p:nvSpPr>
            <p:cNvPr id="1392" name="Oval 1391"/>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393" name="Freeform 1392"/>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94" name="Group 1393"/>
          <p:cNvGrpSpPr/>
          <p:nvPr/>
        </p:nvGrpSpPr>
        <p:grpSpPr>
          <a:xfrm>
            <a:off x="2212712" y="2377663"/>
            <a:ext cx="445770" cy="445770"/>
            <a:chOff x="3688509" y="2254977"/>
            <a:chExt cx="743776" cy="744783"/>
          </a:xfrm>
        </p:grpSpPr>
        <p:sp>
          <p:nvSpPr>
            <p:cNvPr id="1395" name="Oval 1394"/>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396" name="Freeform 1395"/>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397" name="Group 1396"/>
          <p:cNvGrpSpPr/>
          <p:nvPr/>
        </p:nvGrpSpPr>
        <p:grpSpPr>
          <a:xfrm>
            <a:off x="3224894" y="2523128"/>
            <a:ext cx="445770" cy="445770"/>
            <a:chOff x="3688509" y="2254977"/>
            <a:chExt cx="743776" cy="744783"/>
          </a:xfrm>
        </p:grpSpPr>
        <p:sp>
          <p:nvSpPr>
            <p:cNvPr id="1398" name="Oval 1397"/>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399" name="Freeform 1398"/>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00" name="Group 1499"/>
          <p:cNvGrpSpPr/>
          <p:nvPr/>
        </p:nvGrpSpPr>
        <p:grpSpPr>
          <a:xfrm>
            <a:off x="2226566" y="1957964"/>
            <a:ext cx="445770" cy="445770"/>
            <a:chOff x="3688509" y="2254977"/>
            <a:chExt cx="743776" cy="744783"/>
          </a:xfrm>
        </p:grpSpPr>
        <p:sp>
          <p:nvSpPr>
            <p:cNvPr id="1501" name="Oval 1500"/>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02" name="Freeform 1501"/>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03" name="Group 1502"/>
          <p:cNvGrpSpPr/>
          <p:nvPr/>
        </p:nvGrpSpPr>
        <p:grpSpPr>
          <a:xfrm>
            <a:off x="3224894" y="1985674"/>
            <a:ext cx="445770" cy="445770"/>
            <a:chOff x="3688509" y="2254977"/>
            <a:chExt cx="743776" cy="744783"/>
          </a:xfrm>
        </p:grpSpPr>
        <p:sp>
          <p:nvSpPr>
            <p:cNvPr id="1504" name="Oval 1503"/>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05" name="Freeform 1504"/>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06" name="Group 1505"/>
          <p:cNvGrpSpPr/>
          <p:nvPr/>
        </p:nvGrpSpPr>
        <p:grpSpPr>
          <a:xfrm>
            <a:off x="2984501" y="2241135"/>
            <a:ext cx="445770" cy="445770"/>
            <a:chOff x="3688509" y="2254977"/>
            <a:chExt cx="743776" cy="744783"/>
          </a:xfrm>
        </p:grpSpPr>
        <p:sp>
          <p:nvSpPr>
            <p:cNvPr id="1507" name="Oval 1506"/>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08" name="Freeform 1507"/>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09" name="Group 1508"/>
          <p:cNvGrpSpPr/>
          <p:nvPr/>
        </p:nvGrpSpPr>
        <p:grpSpPr>
          <a:xfrm>
            <a:off x="2484714" y="2156076"/>
            <a:ext cx="445770" cy="445770"/>
            <a:chOff x="3688509" y="2254977"/>
            <a:chExt cx="743776" cy="744783"/>
          </a:xfrm>
        </p:grpSpPr>
        <p:sp>
          <p:nvSpPr>
            <p:cNvPr id="1510" name="Oval 1509"/>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11" name="Freeform 1510"/>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12" name="Group 1511"/>
          <p:cNvGrpSpPr/>
          <p:nvPr/>
        </p:nvGrpSpPr>
        <p:grpSpPr>
          <a:xfrm>
            <a:off x="1929511" y="2109497"/>
            <a:ext cx="445770" cy="445770"/>
            <a:chOff x="3688509" y="2254977"/>
            <a:chExt cx="743776" cy="744783"/>
          </a:xfrm>
        </p:grpSpPr>
        <p:sp>
          <p:nvSpPr>
            <p:cNvPr id="1513" name="Oval 1512"/>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14" name="Freeform 1513"/>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15" name="Group 1514"/>
          <p:cNvGrpSpPr/>
          <p:nvPr/>
        </p:nvGrpSpPr>
        <p:grpSpPr>
          <a:xfrm>
            <a:off x="3449654" y="2248064"/>
            <a:ext cx="445770" cy="445770"/>
            <a:chOff x="3688509" y="2254977"/>
            <a:chExt cx="743776" cy="744783"/>
          </a:xfrm>
        </p:grpSpPr>
        <p:sp>
          <p:nvSpPr>
            <p:cNvPr id="1516" name="Oval 1515"/>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17" name="Freeform 1516"/>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18" name="Group 1517"/>
          <p:cNvGrpSpPr/>
          <p:nvPr/>
        </p:nvGrpSpPr>
        <p:grpSpPr>
          <a:xfrm>
            <a:off x="2212712" y="2384367"/>
            <a:ext cx="445770" cy="445770"/>
            <a:chOff x="3688509" y="2254977"/>
            <a:chExt cx="743776" cy="744783"/>
          </a:xfrm>
        </p:grpSpPr>
        <p:sp>
          <p:nvSpPr>
            <p:cNvPr id="1519" name="Oval 1518"/>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20" name="Freeform 1519"/>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21" name="Group 1520"/>
          <p:cNvGrpSpPr/>
          <p:nvPr/>
        </p:nvGrpSpPr>
        <p:grpSpPr>
          <a:xfrm>
            <a:off x="3224894" y="2529834"/>
            <a:ext cx="445770" cy="445770"/>
            <a:chOff x="3688509" y="2254977"/>
            <a:chExt cx="743776" cy="744783"/>
          </a:xfrm>
        </p:grpSpPr>
        <p:sp>
          <p:nvSpPr>
            <p:cNvPr id="1522" name="Oval 1521"/>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23" name="Freeform 1522"/>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24" name="Group 1523"/>
          <p:cNvGrpSpPr/>
          <p:nvPr/>
        </p:nvGrpSpPr>
        <p:grpSpPr>
          <a:xfrm>
            <a:off x="2226566" y="1958387"/>
            <a:ext cx="445770" cy="445770"/>
            <a:chOff x="3688509" y="2254977"/>
            <a:chExt cx="743776" cy="744783"/>
          </a:xfrm>
        </p:grpSpPr>
        <p:sp>
          <p:nvSpPr>
            <p:cNvPr id="1525" name="Oval 1524"/>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26" name="Freeform 1525"/>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27" name="Group 1526"/>
          <p:cNvGrpSpPr/>
          <p:nvPr/>
        </p:nvGrpSpPr>
        <p:grpSpPr>
          <a:xfrm>
            <a:off x="3224894" y="1986095"/>
            <a:ext cx="445770" cy="445770"/>
            <a:chOff x="3688509" y="2254977"/>
            <a:chExt cx="743776" cy="744783"/>
          </a:xfrm>
        </p:grpSpPr>
        <p:sp>
          <p:nvSpPr>
            <p:cNvPr id="1528" name="Oval 1527"/>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29" name="Freeform 1528"/>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30" name="Group 1529"/>
          <p:cNvGrpSpPr/>
          <p:nvPr/>
        </p:nvGrpSpPr>
        <p:grpSpPr>
          <a:xfrm>
            <a:off x="2984501" y="2241561"/>
            <a:ext cx="445770" cy="445770"/>
            <a:chOff x="3688509" y="2254977"/>
            <a:chExt cx="743776" cy="744783"/>
          </a:xfrm>
        </p:grpSpPr>
        <p:sp>
          <p:nvSpPr>
            <p:cNvPr id="1531" name="Oval 1530"/>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32" name="Freeform 1531"/>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33" name="Group 1532"/>
          <p:cNvGrpSpPr/>
          <p:nvPr/>
        </p:nvGrpSpPr>
        <p:grpSpPr>
          <a:xfrm>
            <a:off x="2484714" y="2156502"/>
            <a:ext cx="445770" cy="445770"/>
            <a:chOff x="3688509" y="2254977"/>
            <a:chExt cx="743776" cy="744783"/>
          </a:xfrm>
        </p:grpSpPr>
        <p:sp>
          <p:nvSpPr>
            <p:cNvPr id="1534" name="Oval 1533"/>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35" name="Freeform 1534"/>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36" name="Group 1535"/>
          <p:cNvGrpSpPr/>
          <p:nvPr/>
        </p:nvGrpSpPr>
        <p:grpSpPr>
          <a:xfrm>
            <a:off x="1929511" y="2109922"/>
            <a:ext cx="445770" cy="445770"/>
            <a:chOff x="3688509" y="2254977"/>
            <a:chExt cx="743776" cy="744783"/>
          </a:xfrm>
        </p:grpSpPr>
        <p:sp>
          <p:nvSpPr>
            <p:cNvPr id="1537" name="Oval 1536"/>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38" name="Freeform 1537"/>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39" name="Group 1538"/>
          <p:cNvGrpSpPr/>
          <p:nvPr/>
        </p:nvGrpSpPr>
        <p:grpSpPr>
          <a:xfrm>
            <a:off x="3449654" y="2248486"/>
            <a:ext cx="445770" cy="445770"/>
            <a:chOff x="3688509" y="2254977"/>
            <a:chExt cx="743776" cy="744783"/>
          </a:xfrm>
        </p:grpSpPr>
        <p:sp>
          <p:nvSpPr>
            <p:cNvPr id="1540" name="Oval 1539"/>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41" name="Freeform 1540"/>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42" name="Group 1541"/>
          <p:cNvGrpSpPr/>
          <p:nvPr/>
        </p:nvGrpSpPr>
        <p:grpSpPr>
          <a:xfrm>
            <a:off x="2212712" y="2384789"/>
            <a:ext cx="445770" cy="445770"/>
            <a:chOff x="3688509" y="2254977"/>
            <a:chExt cx="743776" cy="744783"/>
          </a:xfrm>
        </p:grpSpPr>
        <p:sp>
          <p:nvSpPr>
            <p:cNvPr id="1543" name="Oval 1542"/>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44" name="Freeform 1543"/>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45" name="Group 1544"/>
          <p:cNvGrpSpPr/>
          <p:nvPr/>
        </p:nvGrpSpPr>
        <p:grpSpPr>
          <a:xfrm>
            <a:off x="3224894" y="2530258"/>
            <a:ext cx="445770" cy="445770"/>
            <a:chOff x="3688509" y="2254977"/>
            <a:chExt cx="743776" cy="744783"/>
          </a:xfrm>
        </p:grpSpPr>
        <p:sp>
          <p:nvSpPr>
            <p:cNvPr id="1546" name="Oval 1545"/>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47" name="Freeform 1546"/>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48" name="Group 1547"/>
          <p:cNvGrpSpPr/>
          <p:nvPr/>
        </p:nvGrpSpPr>
        <p:grpSpPr>
          <a:xfrm>
            <a:off x="2226566" y="1957964"/>
            <a:ext cx="445770" cy="445770"/>
            <a:chOff x="3688509" y="2254977"/>
            <a:chExt cx="743776" cy="744783"/>
          </a:xfrm>
        </p:grpSpPr>
        <p:sp>
          <p:nvSpPr>
            <p:cNvPr id="1549" name="Oval 1548"/>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50" name="Freeform 1549"/>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51" name="Group 1550"/>
          <p:cNvGrpSpPr/>
          <p:nvPr/>
        </p:nvGrpSpPr>
        <p:grpSpPr>
          <a:xfrm>
            <a:off x="3224894" y="1985674"/>
            <a:ext cx="445770" cy="445770"/>
            <a:chOff x="3688509" y="2254977"/>
            <a:chExt cx="743776" cy="744783"/>
          </a:xfrm>
        </p:grpSpPr>
        <p:sp>
          <p:nvSpPr>
            <p:cNvPr id="1552" name="Oval 1551"/>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53" name="Freeform 1552"/>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54" name="Group 1553"/>
          <p:cNvGrpSpPr/>
          <p:nvPr/>
        </p:nvGrpSpPr>
        <p:grpSpPr>
          <a:xfrm>
            <a:off x="2984501" y="2241135"/>
            <a:ext cx="445770" cy="445770"/>
            <a:chOff x="3688509" y="2254977"/>
            <a:chExt cx="743776" cy="744783"/>
          </a:xfrm>
        </p:grpSpPr>
        <p:sp>
          <p:nvSpPr>
            <p:cNvPr id="1555" name="Oval 1554"/>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56" name="Freeform 1555"/>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57" name="Group 1556"/>
          <p:cNvGrpSpPr/>
          <p:nvPr/>
        </p:nvGrpSpPr>
        <p:grpSpPr>
          <a:xfrm>
            <a:off x="2484714" y="2156076"/>
            <a:ext cx="445770" cy="445770"/>
            <a:chOff x="3688509" y="2254977"/>
            <a:chExt cx="743776" cy="744783"/>
          </a:xfrm>
        </p:grpSpPr>
        <p:sp>
          <p:nvSpPr>
            <p:cNvPr id="1558" name="Oval 1557"/>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59" name="Freeform 1558"/>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60" name="Group 1559"/>
          <p:cNvGrpSpPr/>
          <p:nvPr/>
        </p:nvGrpSpPr>
        <p:grpSpPr>
          <a:xfrm>
            <a:off x="1929511" y="2109497"/>
            <a:ext cx="445770" cy="445770"/>
            <a:chOff x="3688509" y="2254977"/>
            <a:chExt cx="743776" cy="744783"/>
          </a:xfrm>
        </p:grpSpPr>
        <p:sp>
          <p:nvSpPr>
            <p:cNvPr id="1561" name="Oval 1560"/>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62" name="Freeform 1561"/>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63" name="Group 1562"/>
          <p:cNvGrpSpPr/>
          <p:nvPr/>
        </p:nvGrpSpPr>
        <p:grpSpPr>
          <a:xfrm>
            <a:off x="3449654" y="2248064"/>
            <a:ext cx="445770" cy="445770"/>
            <a:chOff x="3688509" y="2254977"/>
            <a:chExt cx="743776" cy="744783"/>
          </a:xfrm>
        </p:grpSpPr>
        <p:sp>
          <p:nvSpPr>
            <p:cNvPr id="1564" name="Oval 1563"/>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dirty="0">
                  <a:solidFill>
                    <a:schemeClr val="bg1"/>
                  </a:solidFill>
                  <a:cs typeface="CiscoSans"/>
                </a:rPr>
                <a:t>HTTP(S)</a:t>
              </a:r>
              <a:br>
                <a:rPr lang="en-US" sz="600" b="1" dirty="0">
                  <a:solidFill>
                    <a:schemeClr val="bg1"/>
                  </a:solidFill>
                  <a:cs typeface="CiscoSans"/>
                </a:rPr>
              </a:br>
              <a:r>
                <a:rPr lang="en-US" sz="600" b="1" dirty="0">
                  <a:solidFill>
                    <a:schemeClr val="bg1"/>
                  </a:solidFill>
                  <a:cs typeface="CiscoSans"/>
                </a:rPr>
                <a:t>Request</a:t>
              </a:r>
            </a:p>
          </p:txBody>
        </p:sp>
        <p:sp>
          <p:nvSpPr>
            <p:cNvPr id="1565" name="Freeform 1564"/>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66" name="Group 1565"/>
          <p:cNvGrpSpPr/>
          <p:nvPr/>
        </p:nvGrpSpPr>
        <p:grpSpPr>
          <a:xfrm>
            <a:off x="2212712" y="2384367"/>
            <a:ext cx="445770" cy="445770"/>
            <a:chOff x="3688509" y="2254977"/>
            <a:chExt cx="743776" cy="744783"/>
          </a:xfrm>
        </p:grpSpPr>
        <p:sp>
          <p:nvSpPr>
            <p:cNvPr id="1567" name="Oval 1566"/>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68" name="Freeform 1567"/>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569" name="Group 1568"/>
          <p:cNvGrpSpPr/>
          <p:nvPr/>
        </p:nvGrpSpPr>
        <p:grpSpPr>
          <a:xfrm>
            <a:off x="3224894" y="2529834"/>
            <a:ext cx="445770" cy="445770"/>
            <a:chOff x="3688509" y="2254977"/>
            <a:chExt cx="743776" cy="744783"/>
          </a:xfrm>
        </p:grpSpPr>
        <p:sp>
          <p:nvSpPr>
            <p:cNvPr id="1570" name="Oval 1569"/>
            <p:cNvSpPr/>
            <p:nvPr/>
          </p:nvSpPr>
          <p:spPr>
            <a:xfrm>
              <a:off x="3688509" y="2254977"/>
              <a:ext cx="743776" cy="744783"/>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600" b="1">
                  <a:solidFill>
                    <a:schemeClr val="bg1"/>
                  </a:solidFill>
                  <a:cs typeface="CiscoSans"/>
                </a:rPr>
                <a:t>HTTP(S</a:t>
              </a:r>
              <a:r>
                <a:rPr lang="en-US" sz="600" b="1" dirty="0">
                  <a:solidFill>
                    <a:schemeClr val="bg1"/>
                  </a:solidFill>
                  <a:cs typeface="CiscoSans"/>
                </a:rPr>
                <a:t>)</a:t>
              </a:r>
              <a:br>
                <a:rPr lang="en-US" sz="600" b="1" dirty="0">
                  <a:solidFill>
                    <a:schemeClr val="bg1"/>
                  </a:solidFill>
                  <a:cs typeface="CiscoSans"/>
                </a:rPr>
              </a:br>
              <a:r>
                <a:rPr lang="en-US" sz="600" b="1" dirty="0">
                  <a:solidFill>
                    <a:schemeClr val="bg1"/>
                  </a:solidFill>
                  <a:cs typeface="CiscoSans"/>
                </a:rPr>
                <a:t>Request</a:t>
              </a:r>
            </a:p>
          </p:txBody>
        </p:sp>
        <p:sp>
          <p:nvSpPr>
            <p:cNvPr id="1571" name="Freeform 1570"/>
            <p:cNvSpPr/>
            <p:nvPr/>
          </p:nvSpPr>
          <p:spPr>
            <a:xfrm rot="18928190">
              <a:off x="3968556" y="2318443"/>
              <a:ext cx="171044" cy="250142"/>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sp>
        <p:nvSpPr>
          <p:cNvPr id="1587" name="Rectangle 1586"/>
          <p:cNvSpPr/>
          <p:nvPr/>
        </p:nvSpPr>
        <p:spPr>
          <a:xfrm>
            <a:off x="2426290" y="362357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1" name="Freeform 10"/>
          <p:cNvSpPr/>
          <p:nvPr/>
        </p:nvSpPr>
        <p:spPr>
          <a:xfrm>
            <a:off x="2654904" y="362106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20" name="Rectangle 1719"/>
          <p:cNvSpPr/>
          <p:nvPr/>
        </p:nvSpPr>
        <p:spPr>
          <a:xfrm>
            <a:off x="2426290" y="3697465"/>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721" name="Freeform 1720"/>
          <p:cNvSpPr/>
          <p:nvPr/>
        </p:nvSpPr>
        <p:spPr>
          <a:xfrm>
            <a:off x="2654904" y="3694952"/>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22" name="Rectangle 1721"/>
          <p:cNvSpPr/>
          <p:nvPr/>
        </p:nvSpPr>
        <p:spPr>
          <a:xfrm>
            <a:off x="2426290" y="3771352"/>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723" name="Freeform 1722"/>
          <p:cNvSpPr/>
          <p:nvPr/>
        </p:nvSpPr>
        <p:spPr>
          <a:xfrm>
            <a:off x="2654904" y="3768838"/>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24" name="Rectangle 1723"/>
          <p:cNvSpPr/>
          <p:nvPr/>
        </p:nvSpPr>
        <p:spPr>
          <a:xfrm>
            <a:off x="2426290" y="3845238"/>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725" name="Freeform 1724"/>
          <p:cNvSpPr/>
          <p:nvPr/>
        </p:nvSpPr>
        <p:spPr>
          <a:xfrm>
            <a:off x="2654904" y="3842724"/>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26" name="Rectangle 1725"/>
          <p:cNvSpPr/>
          <p:nvPr/>
        </p:nvSpPr>
        <p:spPr>
          <a:xfrm>
            <a:off x="2426290" y="3919124"/>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727" name="Freeform 1726"/>
          <p:cNvSpPr/>
          <p:nvPr/>
        </p:nvSpPr>
        <p:spPr>
          <a:xfrm>
            <a:off x="2654904" y="3916610"/>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28" name="Rectangle 1727"/>
          <p:cNvSpPr/>
          <p:nvPr/>
        </p:nvSpPr>
        <p:spPr>
          <a:xfrm>
            <a:off x="2426290" y="3993010"/>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729" name="Freeform 1728"/>
          <p:cNvSpPr/>
          <p:nvPr/>
        </p:nvSpPr>
        <p:spPr>
          <a:xfrm>
            <a:off x="2654904" y="3990497"/>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30" name="Rectangle 1729"/>
          <p:cNvSpPr/>
          <p:nvPr/>
        </p:nvSpPr>
        <p:spPr>
          <a:xfrm>
            <a:off x="2426290" y="406689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1731" name="Freeform 1730"/>
          <p:cNvSpPr/>
          <p:nvPr/>
        </p:nvSpPr>
        <p:spPr>
          <a:xfrm>
            <a:off x="2654904" y="406438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732" name="Rectangle 1731"/>
          <p:cNvSpPr/>
          <p:nvPr/>
        </p:nvSpPr>
        <p:spPr>
          <a:xfrm>
            <a:off x="2426290" y="4140783"/>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291" name="Freeform 2290"/>
          <p:cNvSpPr/>
          <p:nvPr/>
        </p:nvSpPr>
        <p:spPr>
          <a:xfrm>
            <a:off x="2654904" y="4138269"/>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292" name="Rectangle 2291"/>
          <p:cNvSpPr/>
          <p:nvPr/>
        </p:nvSpPr>
        <p:spPr>
          <a:xfrm>
            <a:off x="2426290" y="421466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293" name="Freeform 2292"/>
          <p:cNvSpPr/>
          <p:nvPr/>
        </p:nvSpPr>
        <p:spPr>
          <a:xfrm>
            <a:off x="2654904" y="421215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294" name="Rectangle 2293"/>
          <p:cNvSpPr/>
          <p:nvPr/>
        </p:nvSpPr>
        <p:spPr>
          <a:xfrm>
            <a:off x="2426290" y="428855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295" name="Freeform 2294"/>
          <p:cNvSpPr/>
          <p:nvPr/>
        </p:nvSpPr>
        <p:spPr>
          <a:xfrm>
            <a:off x="2654904" y="428604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296" name="Rectangle 2295"/>
          <p:cNvSpPr/>
          <p:nvPr/>
        </p:nvSpPr>
        <p:spPr>
          <a:xfrm>
            <a:off x="2711740" y="362357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297" name="Freeform 2296"/>
          <p:cNvSpPr/>
          <p:nvPr/>
        </p:nvSpPr>
        <p:spPr>
          <a:xfrm>
            <a:off x="2940354" y="362106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298" name="Rectangle 2297"/>
          <p:cNvSpPr/>
          <p:nvPr/>
        </p:nvSpPr>
        <p:spPr>
          <a:xfrm>
            <a:off x="2711740" y="3697465"/>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38" name="Freeform 2337"/>
          <p:cNvSpPr/>
          <p:nvPr/>
        </p:nvSpPr>
        <p:spPr>
          <a:xfrm>
            <a:off x="2940354" y="3694952"/>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39" name="Rectangle 2338"/>
          <p:cNvSpPr/>
          <p:nvPr/>
        </p:nvSpPr>
        <p:spPr>
          <a:xfrm>
            <a:off x="2711740" y="3771352"/>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40" name="Freeform 2339"/>
          <p:cNvSpPr/>
          <p:nvPr/>
        </p:nvSpPr>
        <p:spPr>
          <a:xfrm>
            <a:off x="2940354" y="3768838"/>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41" name="Rectangle 2340"/>
          <p:cNvSpPr/>
          <p:nvPr/>
        </p:nvSpPr>
        <p:spPr>
          <a:xfrm>
            <a:off x="2711740" y="3845238"/>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42" name="Freeform 2341"/>
          <p:cNvSpPr/>
          <p:nvPr/>
        </p:nvSpPr>
        <p:spPr>
          <a:xfrm>
            <a:off x="2940354" y="3842724"/>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43" name="Rectangle 2342"/>
          <p:cNvSpPr/>
          <p:nvPr/>
        </p:nvSpPr>
        <p:spPr>
          <a:xfrm>
            <a:off x="2711740" y="3919124"/>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44" name="Freeform 2343"/>
          <p:cNvSpPr/>
          <p:nvPr/>
        </p:nvSpPr>
        <p:spPr>
          <a:xfrm>
            <a:off x="2940354" y="3916610"/>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45" name="Rectangle 2344"/>
          <p:cNvSpPr/>
          <p:nvPr/>
        </p:nvSpPr>
        <p:spPr>
          <a:xfrm>
            <a:off x="2711740" y="3993010"/>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46" name="Freeform 2345"/>
          <p:cNvSpPr/>
          <p:nvPr/>
        </p:nvSpPr>
        <p:spPr>
          <a:xfrm>
            <a:off x="2940354" y="3990497"/>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47" name="Rectangle 2346"/>
          <p:cNvSpPr/>
          <p:nvPr/>
        </p:nvSpPr>
        <p:spPr>
          <a:xfrm>
            <a:off x="2711740" y="406689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48" name="Freeform 2347"/>
          <p:cNvSpPr/>
          <p:nvPr/>
        </p:nvSpPr>
        <p:spPr>
          <a:xfrm>
            <a:off x="2940354" y="406438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49" name="Rectangle 2348"/>
          <p:cNvSpPr/>
          <p:nvPr/>
        </p:nvSpPr>
        <p:spPr>
          <a:xfrm>
            <a:off x="2711740" y="4140783"/>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50" name="Freeform 2349"/>
          <p:cNvSpPr/>
          <p:nvPr/>
        </p:nvSpPr>
        <p:spPr>
          <a:xfrm>
            <a:off x="2940354" y="4138269"/>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51" name="Rectangle 2350"/>
          <p:cNvSpPr/>
          <p:nvPr/>
        </p:nvSpPr>
        <p:spPr>
          <a:xfrm>
            <a:off x="2711740" y="421466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52" name="Freeform 2351"/>
          <p:cNvSpPr/>
          <p:nvPr/>
        </p:nvSpPr>
        <p:spPr>
          <a:xfrm>
            <a:off x="2940354" y="421215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53" name="Rectangle 2352"/>
          <p:cNvSpPr/>
          <p:nvPr/>
        </p:nvSpPr>
        <p:spPr>
          <a:xfrm>
            <a:off x="2711740" y="428855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54" name="Freeform 2353"/>
          <p:cNvSpPr/>
          <p:nvPr/>
        </p:nvSpPr>
        <p:spPr>
          <a:xfrm>
            <a:off x="2940354" y="428604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55" name="Rectangle 2354"/>
          <p:cNvSpPr/>
          <p:nvPr/>
        </p:nvSpPr>
        <p:spPr>
          <a:xfrm>
            <a:off x="2984156" y="362357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56" name="Freeform 2355"/>
          <p:cNvSpPr/>
          <p:nvPr/>
        </p:nvSpPr>
        <p:spPr>
          <a:xfrm>
            <a:off x="3212770" y="362106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57" name="Rectangle 2356"/>
          <p:cNvSpPr/>
          <p:nvPr/>
        </p:nvSpPr>
        <p:spPr>
          <a:xfrm>
            <a:off x="2984156" y="3697465"/>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58" name="Freeform 2357"/>
          <p:cNvSpPr/>
          <p:nvPr/>
        </p:nvSpPr>
        <p:spPr>
          <a:xfrm>
            <a:off x="3212770" y="3694952"/>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59" name="Rectangle 2358"/>
          <p:cNvSpPr/>
          <p:nvPr/>
        </p:nvSpPr>
        <p:spPr>
          <a:xfrm>
            <a:off x="2984156" y="3771352"/>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60" name="Freeform 2359"/>
          <p:cNvSpPr/>
          <p:nvPr/>
        </p:nvSpPr>
        <p:spPr>
          <a:xfrm>
            <a:off x="3212770" y="3768838"/>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61" name="Rectangle 2360"/>
          <p:cNvSpPr/>
          <p:nvPr/>
        </p:nvSpPr>
        <p:spPr>
          <a:xfrm>
            <a:off x="2984156" y="3845238"/>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62" name="Freeform 2361"/>
          <p:cNvSpPr/>
          <p:nvPr/>
        </p:nvSpPr>
        <p:spPr>
          <a:xfrm>
            <a:off x="3212770" y="3842724"/>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63" name="Rectangle 2362"/>
          <p:cNvSpPr/>
          <p:nvPr/>
        </p:nvSpPr>
        <p:spPr>
          <a:xfrm>
            <a:off x="2984156" y="3919124"/>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64" name="Freeform 2363"/>
          <p:cNvSpPr/>
          <p:nvPr/>
        </p:nvSpPr>
        <p:spPr>
          <a:xfrm>
            <a:off x="3212770" y="3916610"/>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65" name="Rectangle 2364"/>
          <p:cNvSpPr/>
          <p:nvPr/>
        </p:nvSpPr>
        <p:spPr>
          <a:xfrm>
            <a:off x="2984156" y="3993010"/>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66" name="Freeform 2365"/>
          <p:cNvSpPr/>
          <p:nvPr/>
        </p:nvSpPr>
        <p:spPr>
          <a:xfrm>
            <a:off x="3212770" y="3990497"/>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67" name="Rectangle 2366"/>
          <p:cNvSpPr/>
          <p:nvPr/>
        </p:nvSpPr>
        <p:spPr>
          <a:xfrm>
            <a:off x="2984156" y="406689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68" name="Freeform 2367"/>
          <p:cNvSpPr/>
          <p:nvPr/>
        </p:nvSpPr>
        <p:spPr>
          <a:xfrm>
            <a:off x="3212770" y="406438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69" name="Rectangle 2368"/>
          <p:cNvSpPr/>
          <p:nvPr/>
        </p:nvSpPr>
        <p:spPr>
          <a:xfrm>
            <a:off x="2984156" y="4140783"/>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70" name="Freeform 2369"/>
          <p:cNvSpPr/>
          <p:nvPr/>
        </p:nvSpPr>
        <p:spPr>
          <a:xfrm>
            <a:off x="3212770" y="4138269"/>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71" name="Rectangle 2370"/>
          <p:cNvSpPr/>
          <p:nvPr/>
        </p:nvSpPr>
        <p:spPr>
          <a:xfrm>
            <a:off x="2984156" y="421466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72" name="Freeform 2371"/>
          <p:cNvSpPr/>
          <p:nvPr/>
        </p:nvSpPr>
        <p:spPr>
          <a:xfrm>
            <a:off x="3212770" y="421215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73" name="Rectangle 2372"/>
          <p:cNvSpPr/>
          <p:nvPr/>
        </p:nvSpPr>
        <p:spPr>
          <a:xfrm>
            <a:off x="2984156" y="428855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74" name="Freeform 2373"/>
          <p:cNvSpPr/>
          <p:nvPr/>
        </p:nvSpPr>
        <p:spPr>
          <a:xfrm>
            <a:off x="3212770" y="428604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75" name="Rectangle 2374"/>
          <p:cNvSpPr/>
          <p:nvPr/>
        </p:nvSpPr>
        <p:spPr>
          <a:xfrm>
            <a:off x="3265310" y="362357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76" name="Freeform 2375"/>
          <p:cNvSpPr/>
          <p:nvPr/>
        </p:nvSpPr>
        <p:spPr>
          <a:xfrm>
            <a:off x="3493924" y="362106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77" name="Rectangle 2376"/>
          <p:cNvSpPr/>
          <p:nvPr/>
        </p:nvSpPr>
        <p:spPr>
          <a:xfrm>
            <a:off x="3265310" y="3697465"/>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78" name="Freeform 2377"/>
          <p:cNvSpPr/>
          <p:nvPr/>
        </p:nvSpPr>
        <p:spPr>
          <a:xfrm>
            <a:off x="3493924" y="3694952"/>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79" name="Rectangle 2378"/>
          <p:cNvSpPr/>
          <p:nvPr/>
        </p:nvSpPr>
        <p:spPr>
          <a:xfrm>
            <a:off x="3265310" y="3771352"/>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80" name="Freeform 2379"/>
          <p:cNvSpPr/>
          <p:nvPr/>
        </p:nvSpPr>
        <p:spPr>
          <a:xfrm>
            <a:off x="3493924" y="3768838"/>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81" name="Rectangle 2380"/>
          <p:cNvSpPr/>
          <p:nvPr/>
        </p:nvSpPr>
        <p:spPr>
          <a:xfrm>
            <a:off x="3265310" y="3845238"/>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82" name="Freeform 2381"/>
          <p:cNvSpPr/>
          <p:nvPr/>
        </p:nvSpPr>
        <p:spPr>
          <a:xfrm>
            <a:off x="3493924" y="3842724"/>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83" name="Rectangle 2382"/>
          <p:cNvSpPr/>
          <p:nvPr/>
        </p:nvSpPr>
        <p:spPr>
          <a:xfrm>
            <a:off x="3265310" y="3919124"/>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84" name="Freeform 2383"/>
          <p:cNvSpPr/>
          <p:nvPr/>
        </p:nvSpPr>
        <p:spPr>
          <a:xfrm>
            <a:off x="3493924" y="3916610"/>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85" name="Rectangle 2384"/>
          <p:cNvSpPr/>
          <p:nvPr/>
        </p:nvSpPr>
        <p:spPr>
          <a:xfrm>
            <a:off x="3265310" y="3993010"/>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86" name="Freeform 2385"/>
          <p:cNvSpPr/>
          <p:nvPr/>
        </p:nvSpPr>
        <p:spPr>
          <a:xfrm>
            <a:off x="3493924" y="3990497"/>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87" name="Rectangle 2386"/>
          <p:cNvSpPr/>
          <p:nvPr/>
        </p:nvSpPr>
        <p:spPr>
          <a:xfrm>
            <a:off x="3265310" y="406689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88" name="Freeform 2387"/>
          <p:cNvSpPr/>
          <p:nvPr/>
        </p:nvSpPr>
        <p:spPr>
          <a:xfrm>
            <a:off x="3493924" y="406438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89" name="Rectangle 2388"/>
          <p:cNvSpPr/>
          <p:nvPr/>
        </p:nvSpPr>
        <p:spPr>
          <a:xfrm>
            <a:off x="3265310" y="4140783"/>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90" name="Freeform 2389"/>
          <p:cNvSpPr/>
          <p:nvPr/>
        </p:nvSpPr>
        <p:spPr>
          <a:xfrm>
            <a:off x="3493924" y="4138269"/>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91" name="Rectangle 2390"/>
          <p:cNvSpPr/>
          <p:nvPr/>
        </p:nvSpPr>
        <p:spPr>
          <a:xfrm>
            <a:off x="3265310" y="4214669"/>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92" name="Freeform 2391"/>
          <p:cNvSpPr/>
          <p:nvPr/>
        </p:nvSpPr>
        <p:spPr>
          <a:xfrm>
            <a:off x="3493924" y="4212155"/>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393" name="Rectangle 2392"/>
          <p:cNvSpPr/>
          <p:nvPr/>
        </p:nvSpPr>
        <p:spPr>
          <a:xfrm>
            <a:off x="3265310" y="4288557"/>
            <a:ext cx="228614" cy="53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dirty="0" smtClean="0"/>
          </a:p>
        </p:txBody>
      </p:sp>
      <p:sp>
        <p:nvSpPr>
          <p:cNvPr id="2394" name="Freeform 2393"/>
          <p:cNvSpPr/>
          <p:nvPr/>
        </p:nvSpPr>
        <p:spPr>
          <a:xfrm>
            <a:off x="3493924" y="4286043"/>
            <a:ext cx="0" cy="58783"/>
          </a:xfrm>
          <a:custGeom>
            <a:avLst/>
            <a:gdLst>
              <a:gd name="connsiteX0" fmla="*/ 0 w 0"/>
              <a:gd name="connsiteY0" fmla="*/ 0 h 78377"/>
              <a:gd name="connsiteX1" fmla="*/ 0 w 0"/>
              <a:gd name="connsiteY1" fmla="*/ 78377 h 78377"/>
            </a:gdLst>
            <a:ahLst/>
            <a:cxnLst>
              <a:cxn ang="0">
                <a:pos x="connsiteX0" y="connsiteY0"/>
              </a:cxn>
              <a:cxn ang="0">
                <a:pos x="connsiteX1" y="connsiteY1"/>
              </a:cxn>
            </a:cxnLst>
            <a:rect l="l" t="t" r="r" b="b"/>
            <a:pathLst>
              <a:path h="78377">
                <a:moveTo>
                  <a:pt x="0" y="0"/>
                </a:moveTo>
                <a:lnTo>
                  <a:pt x="0" y="78377"/>
                </a:lnTo>
              </a:path>
            </a:pathLst>
          </a:custGeom>
          <a:noFill/>
          <a:ln w="9525">
            <a:solidFill>
              <a:schemeClr val="bg1"/>
            </a:solidFill>
          </a:ln>
          <a:effectLst>
            <a:glow rad="63500">
              <a:schemeClr val="accent6">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grpSp>
        <p:nvGrpSpPr>
          <p:cNvPr id="385" name="G 1"/>
          <p:cNvGrpSpPr/>
          <p:nvPr/>
        </p:nvGrpSpPr>
        <p:grpSpPr>
          <a:xfrm>
            <a:off x="2752780" y="3808631"/>
            <a:ext cx="447788" cy="448394"/>
            <a:chOff x="5673345" y="1340908"/>
            <a:chExt cx="597050" cy="597858"/>
          </a:xfrm>
        </p:grpSpPr>
        <p:sp>
          <p:nvSpPr>
            <p:cNvPr id="386" name="Oval 385"/>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387" name="Freeform 386"/>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388" name="G 1"/>
          <p:cNvGrpSpPr/>
          <p:nvPr/>
        </p:nvGrpSpPr>
        <p:grpSpPr>
          <a:xfrm>
            <a:off x="2752780" y="3808631"/>
            <a:ext cx="447788" cy="448394"/>
            <a:chOff x="5673345" y="1340908"/>
            <a:chExt cx="597050" cy="597858"/>
          </a:xfrm>
        </p:grpSpPr>
        <p:sp>
          <p:nvSpPr>
            <p:cNvPr id="389" name="Oval 388"/>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390" name="Freeform 389"/>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391" name="G 1"/>
          <p:cNvGrpSpPr/>
          <p:nvPr/>
        </p:nvGrpSpPr>
        <p:grpSpPr>
          <a:xfrm>
            <a:off x="2752780" y="3808631"/>
            <a:ext cx="447788" cy="448394"/>
            <a:chOff x="5673345" y="1340908"/>
            <a:chExt cx="597050" cy="597858"/>
          </a:xfrm>
        </p:grpSpPr>
        <p:sp>
          <p:nvSpPr>
            <p:cNvPr id="392" name="Oval 391"/>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393" name="Freeform 392"/>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394" name="G 1"/>
          <p:cNvGrpSpPr/>
          <p:nvPr/>
        </p:nvGrpSpPr>
        <p:grpSpPr>
          <a:xfrm>
            <a:off x="2752780" y="3808631"/>
            <a:ext cx="447788" cy="448394"/>
            <a:chOff x="5673345" y="1340908"/>
            <a:chExt cx="597050" cy="597858"/>
          </a:xfrm>
        </p:grpSpPr>
        <p:sp>
          <p:nvSpPr>
            <p:cNvPr id="395" name="Oval 394"/>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396" name="Freeform 395"/>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397" name="G 1"/>
          <p:cNvGrpSpPr/>
          <p:nvPr/>
        </p:nvGrpSpPr>
        <p:grpSpPr>
          <a:xfrm>
            <a:off x="2752780" y="3808631"/>
            <a:ext cx="447788" cy="448394"/>
            <a:chOff x="5673345" y="1340908"/>
            <a:chExt cx="597050" cy="597858"/>
          </a:xfrm>
        </p:grpSpPr>
        <p:sp>
          <p:nvSpPr>
            <p:cNvPr id="398" name="Oval 397"/>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399" name="Freeform 398"/>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00" name="G 1"/>
          <p:cNvGrpSpPr/>
          <p:nvPr/>
        </p:nvGrpSpPr>
        <p:grpSpPr>
          <a:xfrm>
            <a:off x="2752780" y="3808631"/>
            <a:ext cx="447788" cy="448394"/>
            <a:chOff x="5673345" y="1340908"/>
            <a:chExt cx="597050" cy="597858"/>
          </a:xfrm>
        </p:grpSpPr>
        <p:sp>
          <p:nvSpPr>
            <p:cNvPr id="401" name="Oval 400"/>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02" name="Freeform 401"/>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03" name="G 1"/>
          <p:cNvGrpSpPr/>
          <p:nvPr/>
        </p:nvGrpSpPr>
        <p:grpSpPr>
          <a:xfrm>
            <a:off x="2752780" y="3808631"/>
            <a:ext cx="447788" cy="448394"/>
            <a:chOff x="5673345" y="1340908"/>
            <a:chExt cx="597050" cy="597858"/>
          </a:xfrm>
        </p:grpSpPr>
        <p:sp>
          <p:nvSpPr>
            <p:cNvPr id="404" name="Oval 403"/>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05" name="Freeform 404"/>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06" name="G 1"/>
          <p:cNvGrpSpPr/>
          <p:nvPr/>
        </p:nvGrpSpPr>
        <p:grpSpPr>
          <a:xfrm>
            <a:off x="2752780" y="3808631"/>
            <a:ext cx="447788" cy="448394"/>
            <a:chOff x="5673345" y="1340908"/>
            <a:chExt cx="597050" cy="597858"/>
          </a:xfrm>
        </p:grpSpPr>
        <p:sp>
          <p:nvSpPr>
            <p:cNvPr id="407" name="Oval 406"/>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08" name="Freeform 407"/>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09" name="G 1"/>
          <p:cNvGrpSpPr/>
          <p:nvPr/>
        </p:nvGrpSpPr>
        <p:grpSpPr>
          <a:xfrm>
            <a:off x="2752780" y="3808631"/>
            <a:ext cx="447788" cy="448394"/>
            <a:chOff x="5673345" y="1340908"/>
            <a:chExt cx="597050" cy="597858"/>
          </a:xfrm>
        </p:grpSpPr>
        <p:sp>
          <p:nvSpPr>
            <p:cNvPr id="410" name="Oval 409"/>
            <p:cNvSpPr/>
            <p:nvPr/>
          </p:nvSpPr>
          <p:spPr>
            <a:xfrm>
              <a:off x="5673345" y="1340908"/>
              <a:ext cx="597050" cy="597858"/>
            </a:xfrm>
            <a:prstGeom prst="ellipse">
              <a:avLst/>
            </a:prstGeom>
            <a:solidFill>
              <a:schemeClr val="tx1"/>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11" name="Freeform 410"/>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6" name="Group 5"/>
          <p:cNvGrpSpPr/>
          <p:nvPr/>
        </p:nvGrpSpPr>
        <p:grpSpPr>
          <a:xfrm>
            <a:off x="2714313" y="4165573"/>
            <a:ext cx="230103" cy="212530"/>
            <a:chOff x="6355475" y="3247355"/>
            <a:chExt cx="306804" cy="283373"/>
          </a:xfrm>
        </p:grpSpPr>
        <p:sp>
          <p:nvSpPr>
            <p:cNvPr id="167" name="Oval 166"/>
            <p:cNvSpPr/>
            <p:nvPr/>
          </p:nvSpPr>
          <p:spPr>
            <a:xfrm>
              <a:off x="6355475" y="324735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68" name="Oval 167"/>
            <p:cNvSpPr/>
            <p:nvPr/>
          </p:nvSpPr>
          <p:spPr>
            <a:xfrm>
              <a:off x="6555179" y="324735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69" name="Oval 168"/>
            <p:cNvSpPr/>
            <p:nvPr/>
          </p:nvSpPr>
          <p:spPr>
            <a:xfrm>
              <a:off x="6355475" y="3423629"/>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78" name="Oval 177"/>
            <p:cNvSpPr/>
            <p:nvPr/>
          </p:nvSpPr>
          <p:spPr>
            <a:xfrm>
              <a:off x="6555179" y="3423629"/>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7" name="Group 6"/>
          <p:cNvGrpSpPr/>
          <p:nvPr/>
        </p:nvGrpSpPr>
        <p:grpSpPr>
          <a:xfrm>
            <a:off x="3271525" y="3955896"/>
            <a:ext cx="230103" cy="204146"/>
            <a:chOff x="6355475" y="3980483"/>
            <a:chExt cx="306804" cy="272194"/>
          </a:xfrm>
        </p:grpSpPr>
        <p:sp>
          <p:nvSpPr>
            <p:cNvPr id="179" name="Oval 178"/>
            <p:cNvSpPr/>
            <p:nvPr/>
          </p:nvSpPr>
          <p:spPr>
            <a:xfrm>
              <a:off x="6355475" y="3980483"/>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80" name="Oval 179"/>
            <p:cNvSpPr/>
            <p:nvPr/>
          </p:nvSpPr>
          <p:spPr>
            <a:xfrm>
              <a:off x="6555179" y="3980483"/>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81" name="Oval 180"/>
            <p:cNvSpPr/>
            <p:nvPr/>
          </p:nvSpPr>
          <p:spPr>
            <a:xfrm>
              <a:off x="6355475" y="4145578"/>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74" name="Oval 173"/>
            <p:cNvSpPr/>
            <p:nvPr/>
          </p:nvSpPr>
          <p:spPr>
            <a:xfrm>
              <a:off x="6555179" y="4145578"/>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0" name="Group 9"/>
          <p:cNvGrpSpPr/>
          <p:nvPr/>
        </p:nvGrpSpPr>
        <p:grpSpPr>
          <a:xfrm>
            <a:off x="3007206" y="4122033"/>
            <a:ext cx="230103" cy="195435"/>
            <a:chOff x="6355475" y="4735396"/>
            <a:chExt cx="306804" cy="260580"/>
          </a:xfrm>
        </p:grpSpPr>
        <p:sp>
          <p:nvSpPr>
            <p:cNvPr id="175" name="Oval 174"/>
            <p:cNvSpPr/>
            <p:nvPr/>
          </p:nvSpPr>
          <p:spPr>
            <a:xfrm>
              <a:off x="6355475" y="4735396"/>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76" name="Oval 175"/>
            <p:cNvSpPr/>
            <p:nvPr/>
          </p:nvSpPr>
          <p:spPr>
            <a:xfrm>
              <a:off x="6555179" y="4735396"/>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77" name="Oval 176"/>
            <p:cNvSpPr/>
            <p:nvPr/>
          </p:nvSpPr>
          <p:spPr>
            <a:xfrm>
              <a:off x="6355475" y="4888877"/>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89" name="Oval 188"/>
            <p:cNvSpPr/>
            <p:nvPr/>
          </p:nvSpPr>
          <p:spPr>
            <a:xfrm>
              <a:off x="6555179" y="4888877"/>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2" name="Group 11"/>
          <p:cNvGrpSpPr/>
          <p:nvPr/>
        </p:nvGrpSpPr>
        <p:grpSpPr>
          <a:xfrm>
            <a:off x="3271525" y="3714522"/>
            <a:ext cx="230103" cy="212740"/>
            <a:chOff x="6355475" y="5481415"/>
            <a:chExt cx="306804" cy="283653"/>
          </a:xfrm>
        </p:grpSpPr>
        <p:sp>
          <p:nvSpPr>
            <p:cNvPr id="190" name="Oval 189"/>
            <p:cNvSpPr/>
            <p:nvPr/>
          </p:nvSpPr>
          <p:spPr>
            <a:xfrm>
              <a:off x="6355475" y="548141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91" name="Oval 190"/>
            <p:cNvSpPr/>
            <p:nvPr/>
          </p:nvSpPr>
          <p:spPr>
            <a:xfrm>
              <a:off x="6555179" y="5481415"/>
              <a:ext cx="107100" cy="107099"/>
            </a:xfrm>
            <a:prstGeom prst="ellipse">
              <a:avLst/>
            </a:prstGeom>
            <a:solidFill>
              <a:srgbClr val="FF0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92" name="Oval 191"/>
            <p:cNvSpPr/>
            <p:nvPr/>
          </p:nvSpPr>
          <p:spPr>
            <a:xfrm>
              <a:off x="6355475" y="5657969"/>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85" name="Oval 184"/>
            <p:cNvSpPr/>
            <p:nvPr/>
          </p:nvSpPr>
          <p:spPr>
            <a:xfrm>
              <a:off x="6555179" y="5657969"/>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4" name="Group 13"/>
          <p:cNvGrpSpPr/>
          <p:nvPr/>
        </p:nvGrpSpPr>
        <p:grpSpPr>
          <a:xfrm>
            <a:off x="2449040" y="3901084"/>
            <a:ext cx="237210" cy="211892"/>
            <a:chOff x="7840108" y="2497701"/>
            <a:chExt cx="316280" cy="282522"/>
          </a:xfrm>
        </p:grpSpPr>
        <p:sp>
          <p:nvSpPr>
            <p:cNvPr id="186" name="Oval 185"/>
            <p:cNvSpPr/>
            <p:nvPr/>
          </p:nvSpPr>
          <p:spPr>
            <a:xfrm>
              <a:off x="7840108" y="2497701"/>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87" name="Oval 186"/>
            <p:cNvSpPr/>
            <p:nvPr/>
          </p:nvSpPr>
          <p:spPr>
            <a:xfrm>
              <a:off x="8049288" y="2497701"/>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188" name="Oval 187"/>
            <p:cNvSpPr/>
            <p:nvPr/>
          </p:nvSpPr>
          <p:spPr>
            <a:xfrm>
              <a:off x="7840108" y="2673124"/>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208" name="Oval 207"/>
            <p:cNvSpPr/>
            <p:nvPr/>
          </p:nvSpPr>
          <p:spPr>
            <a:xfrm>
              <a:off x="8049288" y="2673124"/>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5" name="Group 14"/>
          <p:cNvGrpSpPr/>
          <p:nvPr/>
        </p:nvGrpSpPr>
        <p:grpSpPr>
          <a:xfrm>
            <a:off x="2449040" y="4098996"/>
            <a:ext cx="237210" cy="212530"/>
            <a:chOff x="7840108" y="3247355"/>
            <a:chExt cx="316280" cy="283373"/>
          </a:xfrm>
        </p:grpSpPr>
        <p:sp>
          <p:nvSpPr>
            <p:cNvPr id="209" name="Oval 208"/>
            <p:cNvSpPr/>
            <p:nvPr/>
          </p:nvSpPr>
          <p:spPr>
            <a:xfrm>
              <a:off x="7840108" y="3247355"/>
              <a:ext cx="107100" cy="107099"/>
            </a:xfrm>
            <a:prstGeom prst="ellipse">
              <a:avLst/>
            </a:prstGeom>
            <a:solidFill>
              <a:srgbClr val="FF0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210" name="Oval 209"/>
            <p:cNvSpPr/>
            <p:nvPr/>
          </p:nvSpPr>
          <p:spPr>
            <a:xfrm>
              <a:off x="8049288" y="3247355"/>
              <a:ext cx="107100" cy="107099"/>
            </a:xfrm>
            <a:prstGeom prst="ellipse">
              <a:avLst/>
            </a:prstGeom>
            <a:solidFill>
              <a:srgbClr val="DF1D36"/>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211" name="Oval 210"/>
            <p:cNvSpPr/>
            <p:nvPr/>
          </p:nvSpPr>
          <p:spPr>
            <a:xfrm>
              <a:off x="7840108" y="3423629"/>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202" name="Oval 201"/>
            <p:cNvSpPr/>
            <p:nvPr/>
          </p:nvSpPr>
          <p:spPr>
            <a:xfrm>
              <a:off x="8049288" y="3423629"/>
              <a:ext cx="107100" cy="107099"/>
            </a:xfrm>
            <a:prstGeom prst="ellipse">
              <a:avLst/>
            </a:prstGeom>
            <a:solidFill>
              <a:srgbClr val="DF1D36"/>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6" name="Group 15"/>
          <p:cNvGrpSpPr/>
          <p:nvPr/>
        </p:nvGrpSpPr>
        <p:grpSpPr>
          <a:xfrm>
            <a:off x="2734790" y="3718819"/>
            <a:ext cx="237210" cy="204146"/>
            <a:chOff x="7840108" y="3980483"/>
            <a:chExt cx="316280" cy="272194"/>
          </a:xfrm>
        </p:grpSpPr>
        <p:sp>
          <p:nvSpPr>
            <p:cNvPr id="203" name="Oval 202"/>
            <p:cNvSpPr/>
            <p:nvPr/>
          </p:nvSpPr>
          <p:spPr>
            <a:xfrm>
              <a:off x="7840108" y="3980483"/>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205" name="Oval 204"/>
            <p:cNvSpPr/>
            <p:nvPr/>
          </p:nvSpPr>
          <p:spPr>
            <a:xfrm>
              <a:off x="8049288" y="3980483"/>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207" name="Oval 206"/>
            <p:cNvSpPr/>
            <p:nvPr/>
          </p:nvSpPr>
          <p:spPr>
            <a:xfrm>
              <a:off x="7840108" y="4145578"/>
              <a:ext cx="107100" cy="107099"/>
            </a:xfrm>
            <a:prstGeom prst="ellipse">
              <a:avLst/>
            </a:prstGeom>
            <a:solidFill>
              <a:srgbClr val="FF0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51" name="Oval 350"/>
            <p:cNvSpPr/>
            <p:nvPr/>
          </p:nvSpPr>
          <p:spPr>
            <a:xfrm>
              <a:off x="8049288" y="4145578"/>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7" name="Group 16"/>
          <p:cNvGrpSpPr/>
          <p:nvPr/>
        </p:nvGrpSpPr>
        <p:grpSpPr>
          <a:xfrm>
            <a:off x="3241996" y="4182670"/>
            <a:ext cx="237210" cy="195435"/>
            <a:chOff x="7840108" y="4735396"/>
            <a:chExt cx="316280" cy="260580"/>
          </a:xfrm>
        </p:grpSpPr>
        <p:sp>
          <p:nvSpPr>
            <p:cNvPr id="352" name="Oval 351"/>
            <p:cNvSpPr/>
            <p:nvPr/>
          </p:nvSpPr>
          <p:spPr>
            <a:xfrm>
              <a:off x="7840108" y="4735396"/>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53" name="Oval 352"/>
            <p:cNvSpPr/>
            <p:nvPr/>
          </p:nvSpPr>
          <p:spPr>
            <a:xfrm>
              <a:off x="8049288" y="4735396"/>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54" name="Oval 353"/>
            <p:cNvSpPr/>
            <p:nvPr/>
          </p:nvSpPr>
          <p:spPr>
            <a:xfrm>
              <a:off x="7840108" y="4888877"/>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47" name="Oval 346"/>
            <p:cNvSpPr/>
            <p:nvPr/>
          </p:nvSpPr>
          <p:spPr>
            <a:xfrm>
              <a:off x="8049288" y="4888877"/>
              <a:ext cx="107100" cy="107099"/>
            </a:xfrm>
            <a:prstGeom prst="ellipse">
              <a:avLst/>
            </a:prstGeom>
            <a:solidFill>
              <a:srgbClr val="FF0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13" name="Group 12"/>
          <p:cNvGrpSpPr/>
          <p:nvPr/>
        </p:nvGrpSpPr>
        <p:grpSpPr>
          <a:xfrm>
            <a:off x="2684783" y="3952883"/>
            <a:ext cx="237210" cy="212740"/>
            <a:chOff x="7840108" y="5481415"/>
            <a:chExt cx="316280" cy="283653"/>
          </a:xfrm>
        </p:grpSpPr>
        <p:sp>
          <p:nvSpPr>
            <p:cNvPr id="348" name="Oval 347"/>
            <p:cNvSpPr/>
            <p:nvPr/>
          </p:nvSpPr>
          <p:spPr>
            <a:xfrm>
              <a:off x="7840108" y="548141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49" name="Oval 348"/>
            <p:cNvSpPr/>
            <p:nvPr/>
          </p:nvSpPr>
          <p:spPr>
            <a:xfrm>
              <a:off x="8049288" y="548141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50" name="Oval 349"/>
            <p:cNvSpPr/>
            <p:nvPr/>
          </p:nvSpPr>
          <p:spPr>
            <a:xfrm>
              <a:off x="7840108" y="5657969"/>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341" name="Oval 340"/>
            <p:cNvSpPr/>
            <p:nvPr/>
          </p:nvSpPr>
          <p:spPr>
            <a:xfrm>
              <a:off x="8049288" y="5657969"/>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424" name="Group 423"/>
          <p:cNvGrpSpPr/>
          <p:nvPr/>
        </p:nvGrpSpPr>
        <p:grpSpPr>
          <a:xfrm>
            <a:off x="2442850" y="3608361"/>
            <a:ext cx="230103" cy="212530"/>
            <a:chOff x="6355475" y="3247355"/>
            <a:chExt cx="306804" cy="283373"/>
          </a:xfrm>
        </p:grpSpPr>
        <p:sp>
          <p:nvSpPr>
            <p:cNvPr id="425" name="Oval 424"/>
            <p:cNvSpPr/>
            <p:nvPr/>
          </p:nvSpPr>
          <p:spPr>
            <a:xfrm>
              <a:off x="6355475" y="324735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426" name="Oval 425"/>
            <p:cNvSpPr/>
            <p:nvPr/>
          </p:nvSpPr>
          <p:spPr>
            <a:xfrm>
              <a:off x="6555179" y="3247355"/>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427" name="Oval 426"/>
            <p:cNvSpPr/>
            <p:nvPr/>
          </p:nvSpPr>
          <p:spPr>
            <a:xfrm>
              <a:off x="6355475" y="3423629"/>
              <a:ext cx="107100" cy="107099"/>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sp>
          <p:nvSpPr>
            <p:cNvPr id="428" name="Oval 427"/>
            <p:cNvSpPr/>
            <p:nvPr/>
          </p:nvSpPr>
          <p:spPr>
            <a:xfrm>
              <a:off x="6555179" y="3423629"/>
              <a:ext cx="107100" cy="107099"/>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endParaRPr lang="en-US" sz="600" b="1" dirty="0">
                <a:solidFill>
                  <a:schemeClr val="bg1"/>
                </a:solidFill>
                <a:cs typeface="CiscoSans"/>
              </a:endParaRPr>
            </a:p>
          </p:txBody>
        </p:sp>
      </p:grpSp>
      <p:grpSp>
        <p:nvGrpSpPr>
          <p:cNvPr id="429" name="Green 1"/>
          <p:cNvGrpSpPr/>
          <p:nvPr/>
        </p:nvGrpSpPr>
        <p:grpSpPr>
          <a:xfrm>
            <a:off x="4263356" y="2459800"/>
            <a:ext cx="445770" cy="445770"/>
            <a:chOff x="5673345" y="1340908"/>
            <a:chExt cx="597050" cy="597858"/>
          </a:xfrm>
        </p:grpSpPr>
        <p:sp>
          <p:nvSpPr>
            <p:cNvPr id="430" name="Oval 429"/>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31" name="Freeform 430"/>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32" name="Green 1"/>
          <p:cNvGrpSpPr/>
          <p:nvPr/>
        </p:nvGrpSpPr>
        <p:grpSpPr>
          <a:xfrm>
            <a:off x="4263356" y="2987700"/>
            <a:ext cx="445770" cy="445770"/>
            <a:chOff x="5673345" y="1340908"/>
            <a:chExt cx="597050" cy="597858"/>
          </a:xfrm>
        </p:grpSpPr>
        <p:sp>
          <p:nvSpPr>
            <p:cNvPr id="433" name="Oval 432"/>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34" name="Freeform 433"/>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36" name="Green 1"/>
          <p:cNvGrpSpPr/>
          <p:nvPr/>
        </p:nvGrpSpPr>
        <p:grpSpPr>
          <a:xfrm>
            <a:off x="4263356" y="3515598"/>
            <a:ext cx="445770" cy="445770"/>
            <a:chOff x="5673345" y="1340908"/>
            <a:chExt cx="597050" cy="597858"/>
          </a:xfrm>
        </p:grpSpPr>
        <p:sp>
          <p:nvSpPr>
            <p:cNvPr id="437" name="Oval 436"/>
            <p:cNvSpPr/>
            <p:nvPr/>
          </p:nvSpPr>
          <p:spPr>
            <a:xfrm>
              <a:off x="5673345" y="1340908"/>
              <a:ext cx="597050" cy="597858"/>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38" name="Freeform 437"/>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39" name="Green 1"/>
          <p:cNvGrpSpPr/>
          <p:nvPr/>
        </p:nvGrpSpPr>
        <p:grpSpPr>
          <a:xfrm>
            <a:off x="4263356" y="4043498"/>
            <a:ext cx="445770" cy="445770"/>
            <a:chOff x="5673345" y="1340908"/>
            <a:chExt cx="597050" cy="597858"/>
          </a:xfrm>
        </p:grpSpPr>
        <p:sp>
          <p:nvSpPr>
            <p:cNvPr id="440" name="Oval 439"/>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42" name="Freeform 441"/>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43" name="Green 1"/>
          <p:cNvGrpSpPr/>
          <p:nvPr/>
        </p:nvGrpSpPr>
        <p:grpSpPr>
          <a:xfrm>
            <a:off x="5390877" y="1931899"/>
            <a:ext cx="445770" cy="445770"/>
            <a:chOff x="5673345" y="1340908"/>
            <a:chExt cx="597050" cy="597858"/>
          </a:xfrm>
        </p:grpSpPr>
        <p:sp>
          <p:nvSpPr>
            <p:cNvPr id="444" name="Oval 443"/>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45" name="Freeform 444"/>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46" name="Green 1"/>
          <p:cNvGrpSpPr/>
          <p:nvPr/>
        </p:nvGrpSpPr>
        <p:grpSpPr>
          <a:xfrm>
            <a:off x="5390877" y="2459800"/>
            <a:ext cx="445770" cy="445770"/>
            <a:chOff x="5673345" y="1340908"/>
            <a:chExt cx="597050" cy="597858"/>
          </a:xfrm>
        </p:grpSpPr>
        <p:sp>
          <p:nvSpPr>
            <p:cNvPr id="447" name="Oval 446"/>
            <p:cNvSpPr/>
            <p:nvPr/>
          </p:nvSpPr>
          <p:spPr>
            <a:xfrm>
              <a:off x="5673345" y="1340908"/>
              <a:ext cx="597050" cy="597858"/>
            </a:xfrm>
            <a:prstGeom prst="ellipse">
              <a:avLst/>
            </a:prstGeom>
            <a:solidFill>
              <a:schemeClr val="accent6"/>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48" name="Freeform 447"/>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49" name="Green 1"/>
          <p:cNvGrpSpPr/>
          <p:nvPr/>
        </p:nvGrpSpPr>
        <p:grpSpPr>
          <a:xfrm>
            <a:off x="5390877" y="2987700"/>
            <a:ext cx="445770" cy="445770"/>
            <a:chOff x="5673345" y="1340908"/>
            <a:chExt cx="597050" cy="597858"/>
          </a:xfrm>
        </p:grpSpPr>
        <p:sp>
          <p:nvSpPr>
            <p:cNvPr id="450" name="Oval 449"/>
            <p:cNvSpPr/>
            <p:nvPr/>
          </p:nvSpPr>
          <p:spPr>
            <a:xfrm>
              <a:off x="5673345" y="1340908"/>
              <a:ext cx="597050" cy="597858"/>
            </a:xfrm>
            <a:prstGeom prst="ellipse">
              <a:avLst/>
            </a:prstGeom>
            <a:solidFill>
              <a:srgbClr val="FFC00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51" name="Freeform 450"/>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52" name="Green 1"/>
          <p:cNvGrpSpPr/>
          <p:nvPr/>
        </p:nvGrpSpPr>
        <p:grpSpPr>
          <a:xfrm>
            <a:off x="5390877" y="3515598"/>
            <a:ext cx="445770" cy="445770"/>
            <a:chOff x="5673345" y="1340908"/>
            <a:chExt cx="597050" cy="597858"/>
          </a:xfrm>
        </p:grpSpPr>
        <p:sp>
          <p:nvSpPr>
            <p:cNvPr id="453" name="Oval 452"/>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54" name="Freeform 453"/>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455" name="Green 1"/>
          <p:cNvGrpSpPr/>
          <p:nvPr/>
        </p:nvGrpSpPr>
        <p:grpSpPr>
          <a:xfrm>
            <a:off x="5390877" y="4043498"/>
            <a:ext cx="445770" cy="445770"/>
            <a:chOff x="5673345" y="1340908"/>
            <a:chExt cx="597050" cy="597858"/>
          </a:xfrm>
        </p:grpSpPr>
        <p:sp>
          <p:nvSpPr>
            <p:cNvPr id="456" name="Oval 455"/>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457" name="Freeform 456"/>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grpSp>
        <p:nvGrpSpPr>
          <p:cNvPr id="1464" name="Green 1"/>
          <p:cNvGrpSpPr/>
          <p:nvPr/>
        </p:nvGrpSpPr>
        <p:grpSpPr>
          <a:xfrm>
            <a:off x="4263356" y="1931899"/>
            <a:ext cx="445770" cy="445770"/>
            <a:chOff x="5673345" y="1340908"/>
            <a:chExt cx="597050" cy="597858"/>
          </a:xfrm>
        </p:grpSpPr>
        <p:sp>
          <p:nvSpPr>
            <p:cNvPr id="1465" name="Oval 1464"/>
            <p:cNvSpPr/>
            <p:nvPr/>
          </p:nvSpPr>
          <p:spPr>
            <a:xfrm>
              <a:off x="5673345" y="1340908"/>
              <a:ext cx="597050" cy="597858"/>
            </a:xfrm>
            <a:prstGeom prst="ellipse">
              <a:avLst/>
            </a:prstGeom>
            <a:solidFill>
              <a:srgbClr val="00B050"/>
            </a:solidFill>
            <a:ln>
              <a:noFill/>
            </a:ln>
            <a:effectLst/>
          </p:spPr>
          <p:txBody>
            <a:bodyPr vert="horz" wrap="none" lIns="0" tIns="0" rIns="0" bIns="0" numCol="1" anchor="b" anchorCtr="0" compatLnSpc="1">
              <a:prstTxWarp prst="textNoShape">
                <a:avLst/>
              </a:prstTxWarp>
              <a:noAutofit/>
            </a:bodyPr>
            <a:lstStyle/>
            <a:p>
              <a:pPr algn="ctr" defTabSz="513125"/>
              <a:r>
                <a:rPr lang="en-US" sz="500" b="1" dirty="0">
                  <a:solidFill>
                    <a:schemeClr val="bg1"/>
                  </a:solidFill>
                  <a:cs typeface="CiscoSans"/>
                </a:rPr>
                <a:t>HTTP(S)</a:t>
              </a:r>
              <a:br>
                <a:rPr lang="en-US" sz="500" b="1" dirty="0">
                  <a:solidFill>
                    <a:schemeClr val="bg1"/>
                  </a:solidFill>
                  <a:cs typeface="CiscoSans"/>
                </a:rPr>
              </a:br>
              <a:r>
                <a:rPr lang="en-US" sz="500" b="1" dirty="0">
                  <a:solidFill>
                    <a:schemeClr val="bg1"/>
                  </a:solidFill>
                  <a:cs typeface="CiscoSans"/>
                </a:rPr>
                <a:t>Request</a:t>
              </a:r>
            </a:p>
          </p:txBody>
        </p:sp>
        <p:sp>
          <p:nvSpPr>
            <p:cNvPr id="1466" name="Freeform 1465"/>
            <p:cNvSpPr/>
            <p:nvPr/>
          </p:nvSpPr>
          <p:spPr>
            <a:xfrm rot="18928190">
              <a:off x="5908237" y="1427605"/>
              <a:ext cx="127266" cy="186120"/>
            </a:xfrm>
            <a:custGeom>
              <a:avLst/>
              <a:gdLst>
                <a:gd name="connsiteX0" fmla="*/ 63633 w 127266"/>
                <a:gd name="connsiteY0" fmla="*/ 0 h 186120"/>
                <a:gd name="connsiteX1" fmla="*/ 127266 w 127266"/>
                <a:gd name="connsiteY1" fmla="*/ 111054 h 186120"/>
                <a:gd name="connsiteX2" fmla="*/ 82373 w 127266"/>
                <a:gd name="connsiteY2" fmla="*/ 104935 h 186120"/>
                <a:gd name="connsiteX3" fmla="*/ 82373 w 127266"/>
                <a:gd name="connsiteY3" fmla="*/ 186120 h 186120"/>
                <a:gd name="connsiteX4" fmla="*/ 48481 w 127266"/>
                <a:gd name="connsiteY4" fmla="*/ 186120 h 186120"/>
                <a:gd name="connsiteX5" fmla="*/ 48481 w 127266"/>
                <a:gd name="connsiteY5" fmla="*/ 104813 h 186120"/>
                <a:gd name="connsiteX6" fmla="*/ 0 w 127266"/>
                <a:gd name="connsiteY6" fmla="*/ 111054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266" h="186120">
                  <a:moveTo>
                    <a:pt x="63633" y="0"/>
                  </a:moveTo>
                  <a:lnTo>
                    <a:pt x="127266" y="111054"/>
                  </a:lnTo>
                  <a:lnTo>
                    <a:pt x="82373" y="104935"/>
                  </a:lnTo>
                  <a:lnTo>
                    <a:pt x="82373" y="186120"/>
                  </a:lnTo>
                  <a:lnTo>
                    <a:pt x="48481" y="186120"/>
                  </a:lnTo>
                  <a:lnTo>
                    <a:pt x="48481" y="104813"/>
                  </a:lnTo>
                  <a:lnTo>
                    <a:pt x="0" y="111054"/>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smtClean="0"/>
            </a:p>
          </p:txBody>
        </p:sp>
      </p:grpSp>
      <p:sp>
        <p:nvSpPr>
          <p:cNvPr id="374" name="Rectangle 373"/>
          <p:cNvSpPr/>
          <p:nvPr/>
        </p:nvSpPr>
        <p:spPr>
          <a:xfrm>
            <a:off x="1816732" y="1159005"/>
            <a:ext cx="2383764" cy="2421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defTabSz="914003">
              <a:spcAft>
                <a:spcPts val="451"/>
              </a:spcAft>
            </a:pPr>
            <a:r>
              <a:rPr lang="ja-JP" altLang="en-US" b="1" dirty="0" smtClean="0">
                <a:solidFill>
                  <a:schemeClr val="accent1"/>
                </a:solidFill>
              </a:rPr>
              <a:t>異常検知</a:t>
            </a:r>
            <a:endParaRPr lang="en-US" b="1" dirty="0">
              <a:solidFill>
                <a:schemeClr val="accent1"/>
              </a:solidFill>
            </a:endParaRPr>
          </a:p>
        </p:txBody>
      </p:sp>
      <p:sp>
        <p:nvSpPr>
          <p:cNvPr id="375" name="Rectangle 374"/>
          <p:cNvSpPr/>
          <p:nvPr/>
        </p:nvSpPr>
        <p:spPr>
          <a:xfrm>
            <a:off x="1816735" y="1405960"/>
            <a:ext cx="6895069" cy="5486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79936" tIns="34281" rIns="68563" bIns="34281" rtlCol="0" anchor="ctr" anchorCtr="0"/>
          <a:lstStyle/>
          <a:p>
            <a:pPr defTabSz="914003">
              <a:spcAft>
                <a:spcPts val="451"/>
              </a:spcAft>
            </a:pPr>
            <a:endParaRPr lang="en-US" sz="1100" b="1" dirty="0">
              <a:solidFill>
                <a:prstClr val="white"/>
              </a:solidFill>
            </a:endParaRPr>
          </a:p>
        </p:txBody>
      </p:sp>
      <p:sp>
        <p:nvSpPr>
          <p:cNvPr id="377" name="Rectangle 376"/>
          <p:cNvSpPr/>
          <p:nvPr/>
        </p:nvSpPr>
        <p:spPr>
          <a:xfrm>
            <a:off x="1816732" y="1492553"/>
            <a:ext cx="2263140" cy="4963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p>
            <a:pPr algn="ctr"/>
            <a:r>
              <a:rPr lang="en-US" sz="1050" b="1" dirty="0">
                <a:solidFill>
                  <a:schemeClr val="tx1"/>
                </a:solidFill>
              </a:rPr>
              <a:t>100</a:t>
            </a:r>
            <a:r>
              <a:rPr lang="ja-JP" altLang="en-US" sz="1050" b="1" dirty="0">
                <a:solidFill>
                  <a:schemeClr val="tx1"/>
                </a:solidFill>
              </a:rPr>
              <a:t>億以上のトラフィックを</a:t>
            </a:r>
            <a:r>
              <a:rPr lang="en-US" altLang="ja-JP" sz="1050" b="1" dirty="0">
                <a:solidFill>
                  <a:schemeClr val="tx1"/>
                </a:solidFill>
              </a:rPr>
              <a:t>40</a:t>
            </a:r>
            <a:r>
              <a:rPr lang="ja-JP" altLang="en-US" sz="1050" b="1" dirty="0">
                <a:solidFill>
                  <a:schemeClr val="tx1"/>
                </a:solidFill>
              </a:rPr>
              <a:t>以上の検知システムにて分析</a:t>
            </a:r>
            <a:endParaRPr lang="en-US" sz="1050" b="1" dirty="0">
              <a:solidFill>
                <a:schemeClr val="tx1"/>
              </a:solidFill>
            </a:endParaRPr>
          </a:p>
        </p:txBody>
      </p:sp>
      <p:sp>
        <p:nvSpPr>
          <p:cNvPr id="378" name="Rectangle 377"/>
          <p:cNvSpPr/>
          <p:nvPr/>
        </p:nvSpPr>
        <p:spPr>
          <a:xfrm>
            <a:off x="4121020" y="1492553"/>
            <a:ext cx="2263140" cy="4963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p>
            <a:pPr algn="ctr"/>
            <a:r>
              <a:rPr lang="ja-JP" altLang="en-US" sz="1050" b="1" dirty="0">
                <a:solidFill>
                  <a:schemeClr val="tx1"/>
                </a:solidFill>
              </a:rPr>
              <a:t>ディテクター毎に異常なスコアを提供</a:t>
            </a:r>
            <a:endParaRPr lang="en-US" sz="1050" b="1" dirty="0">
              <a:solidFill>
                <a:schemeClr val="tx1"/>
              </a:solidFill>
            </a:endParaRPr>
          </a:p>
        </p:txBody>
      </p:sp>
      <p:sp>
        <p:nvSpPr>
          <p:cNvPr id="379" name="Rectangle 378"/>
          <p:cNvSpPr/>
          <p:nvPr/>
        </p:nvSpPr>
        <p:spPr>
          <a:xfrm>
            <a:off x="6425308" y="1492553"/>
            <a:ext cx="2263140" cy="4963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t" anchorCtr="0"/>
          <a:lstStyle/>
          <a:p>
            <a:pPr algn="ctr"/>
            <a:r>
              <a:rPr lang="ja-JP" altLang="en-US" sz="1050" b="1" dirty="0">
                <a:solidFill>
                  <a:schemeClr val="tx1"/>
                </a:solidFill>
              </a:rPr>
              <a:t>集めれたスコアにより</a:t>
            </a:r>
            <a:endParaRPr lang="en-US" altLang="ja-JP" sz="1050" b="1" dirty="0">
              <a:solidFill>
                <a:schemeClr val="tx1"/>
              </a:solidFill>
            </a:endParaRPr>
          </a:p>
          <a:p>
            <a:pPr algn="ctr"/>
            <a:r>
              <a:rPr lang="ja-JP" altLang="en-US" sz="1050" b="1" dirty="0">
                <a:solidFill>
                  <a:schemeClr val="tx1"/>
                </a:solidFill>
              </a:rPr>
              <a:t>通常のトラフィックと分離</a:t>
            </a:r>
            <a:endParaRPr lang="en-US" sz="1050" b="1" dirty="0">
              <a:solidFill>
                <a:schemeClr val="tx1"/>
              </a:solidFill>
            </a:endParaRPr>
          </a:p>
        </p:txBody>
      </p:sp>
      <p:cxnSp>
        <p:nvCxnSpPr>
          <p:cNvPr id="380" name="Straight Connector 379"/>
          <p:cNvCxnSpPr/>
          <p:nvPr/>
        </p:nvCxnSpPr>
        <p:spPr>
          <a:xfrm>
            <a:off x="4100446" y="1666494"/>
            <a:ext cx="0" cy="28803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1" name="Straight Connector 380"/>
          <p:cNvCxnSpPr/>
          <p:nvPr/>
        </p:nvCxnSpPr>
        <p:spPr>
          <a:xfrm>
            <a:off x="6404734" y="1666494"/>
            <a:ext cx="0" cy="288036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573507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4.79167E-6 3.33333E-6 L -0.20664 -0.00811 " pathEditMode="relative" rAng="0" ptsTypes="AA">
                                      <p:cBhvr>
                                        <p:cTn id="6" dur="1000" fill="hold"/>
                                        <p:tgtEl>
                                          <p:spTgt spid="363"/>
                                        </p:tgtEl>
                                        <p:attrNameLst>
                                          <p:attrName>ppt_x</p:attrName>
                                          <p:attrName>ppt_y</p:attrName>
                                        </p:attrNameLst>
                                      </p:cBhvr>
                                      <p:rCtr x="-10339" y="-417"/>
                                    </p:animMotion>
                                  </p:childTnLst>
                                </p:cTn>
                              </p:par>
                            </p:childTnLst>
                          </p:cTn>
                        </p:par>
                        <p:par>
                          <p:cTn id="7" fill="hold">
                            <p:stCondLst>
                              <p:cond delay="1000"/>
                            </p:stCondLst>
                            <p:childTnLst>
                              <p:par>
                                <p:cTn id="8" presetID="42" presetClass="path" presetSubtype="0" accel="50000" decel="50000" fill="hold" nodeType="afterEffect">
                                  <p:stCondLst>
                                    <p:cond delay="0"/>
                                  </p:stCondLst>
                                  <p:childTnLst>
                                    <p:animMotion origin="layout" path="M 3.95833E-6 -4.44444E-6 L 0.05924 0.27708 " pathEditMode="relative" rAng="0" ptsTypes="AA">
                                      <p:cBhvr>
                                        <p:cTn id="9" dur="150" fill="hold"/>
                                        <p:tgtEl>
                                          <p:spTgt spid="1542"/>
                                        </p:tgtEl>
                                        <p:attrNameLst>
                                          <p:attrName>ppt_x</p:attrName>
                                          <p:attrName>ppt_y</p:attrName>
                                        </p:attrNameLst>
                                      </p:cBhvr>
                                      <p:rCtr x="2956" y="13819"/>
                                    </p:animMotion>
                                  </p:childTnLst>
                                </p:cTn>
                              </p:par>
                            </p:childTnLst>
                          </p:cTn>
                        </p:par>
                        <p:par>
                          <p:cTn id="10" fill="hold">
                            <p:stCondLst>
                              <p:cond delay="1150"/>
                            </p:stCondLst>
                            <p:childTnLst>
                              <p:par>
                                <p:cTn id="11" presetID="42" presetClass="path" presetSubtype="0" accel="50000" decel="50000" fill="hold" nodeType="afterEffect">
                                  <p:stCondLst>
                                    <p:cond delay="0"/>
                                  </p:stCondLst>
                                  <p:childTnLst>
                                    <p:animMotion origin="layout" path="M -2.5E-6 -4.07407E-6 L -0.07604 0.3037 " pathEditMode="relative" rAng="0" ptsTypes="AA">
                                      <p:cBhvr>
                                        <p:cTn id="12" dur="150" fill="hold"/>
                                        <p:tgtEl>
                                          <p:spTgt spid="1515"/>
                                        </p:tgtEl>
                                        <p:attrNameLst>
                                          <p:attrName>ppt_x</p:attrName>
                                          <p:attrName>ppt_y</p:attrName>
                                        </p:attrNameLst>
                                      </p:cBhvr>
                                      <p:rCtr x="-3815" y="15208"/>
                                    </p:animMotion>
                                  </p:childTnLst>
                                </p:cTn>
                              </p:par>
                            </p:childTnLst>
                          </p:cTn>
                        </p:par>
                        <p:par>
                          <p:cTn id="13" fill="hold">
                            <p:stCondLst>
                              <p:cond delay="1300"/>
                            </p:stCondLst>
                            <p:childTnLst>
                              <p:par>
                                <p:cTn id="14" presetID="42" presetClass="path" presetSubtype="0" accel="50000" decel="50000" fill="hold" nodeType="afterEffect">
                                  <p:stCondLst>
                                    <p:cond delay="0"/>
                                  </p:stCondLst>
                                  <p:childTnLst>
                                    <p:animMotion origin="layout" path="M -2.08333E-6 4.81481E-6 L 0.00547 0.36134 " pathEditMode="relative" rAng="0" ptsTypes="AA">
                                      <p:cBhvr>
                                        <p:cTn id="15" dur="150" fill="hold"/>
                                        <p:tgtEl>
                                          <p:spTgt spid="1425"/>
                                        </p:tgtEl>
                                        <p:attrNameLst>
                                          <p:attrName>ppt_x</p:attrName>
                                          <p:attrName>ppt_y</p:attrName>
                                        </p:attrNameLst>
                                      </p:cBhvr>
                                      <p:rCtr x="273" y="18102"/>
                                    </p:animMotion>
                                  </p:childTnLst>
                                </p:cTn>
                              </p:par>
                            </p:childTnLst>
                          </p:cTn>
                        </p:par>
                        <p:par>
                          <p:cTn id="16" fill="hold">
                            <p:stCondLst>
                              <p:cond delay="1450"/>
                            </p:stCondLst>
                            <p:childTnLst>
                              <p:par>
                                <p:cTn id="17" presetID="42" presetClass="path" presetSubtype="0" accel="50000" decel="50000" fill="hold" nodeType="afterEffect">
                                  <p:stCondLst>
                                    <p:cond delay="0"/>
                                  </p:stCondLst>
                                  <p:childTnLst>
                                    <p:animMotion origin="layout" path="M 3.33333E-6 -3.33333E-6 L 0.0901 0.33194 " pathEditMode="relative" rAng="0" ptsTypes="AA">
                                      <p:cBhvr>
                                        <p:cTn id="18" dur="150" fill="hold"/>
                                        <p:tgtEl>
                                          <p:spTgt spid="1388"/>
                                        </p:tgtEl>
                                        <p:attrNameLst>
                                          <p:attrName>ppt_x</p:attrName>
                                          <p:attrName>ppt_y</p:attrName>
                                        </p:attrNameLst>
                                      </p:cBhvr>
                                      <p:rCtr x="4518" y="16551"/>
                                    </p:animMotion>
                                  </p:childTnLst>
                                </p:cTn>
                              </p:par>
                            </p:childTnLst>
                          </p:cTn>
                        </p:par>
                        <p:par>
                          <p:cTn id="19" fill="hold">
                            <p:stCondLst>
                              <p:cond delay="1600"/>
                            </p:stCondLst>
                            <p:childTnLst>
                              <p:par>
                                <p:cTn id="20" presetID="42" presetClass="path" presetSubtype="0" accel="50000" decel="50000" fill="hold" nodeType="afterEffect">
                                  <p:stCondLst>
                                    <p:cond delay="0"/>
                                  </p:stCondLst>
                                  <p:childTnLst>
                                    <p:animMotion origin="layout" path="M 1.45833E-6 -2.59259E-6 L 0.05768 0.36018 " pathEditMode="relative" rAng="0" ptsTypes="AA">
                                      <p:cBhvr>
                                        <p:cTn id="21" dur="150" fill="hold"/>
                                        <p:tgtEl>
                                          <p:spTgt spid="1500"/>
                                        </p:tgtEl>
                                        <p:attrNameLst>
                                          <p:attrName>ppt_x</p:attrName>
                                          <p:attrName>ppt_y</p:attrName>
                                        </p:attrNameLst>
                                      </p:cBhvr>
                                      <p:rCtr x="2865" y="17986"/>
                                    </p:animMotion>
                                  </p:childTnLst>
                                </p:cTn>
                              </p:par>
                            </p:childTnLst>
                          </p:cTn>
                        </p:par>
                        <p:par>
                          <p:cTn id="22" fill="hold">
                            <p:stCondLst>
                              <p:cond delay="1750"/>
                            </p:stCondLst>
                            <p:childTnLst>
                              <p:par>
                                <p:cTn id="23" presetID="42" presetClass="path" presetSubtype="0" accel="50000" decel="50000" fill="hold" nodeType="afterEffect">
                                  <p:stCondLst>
                                    <p:cond delay="0"/>
                                  </p:stCondLst>
                                  <p:childTnLst>
                                    <p:animMotion origin="layout" path="M 3.95833E-6 -4.44444E-6 L 0.05924 0.27708 " pathEditMode="relative" rAng="0" ptsTypes="AA">
                                      <p:cBhvr>
                                        <p:cTn id="24" dur="150" fill="hold"/>
                                        <p:tgtEl>
                                          <p:spTgt spid="1518"/>
                                        </p:tgtEl>
                                        <p:attrNameLst>
                                          <p:attrName>ppt_x</p:attrName>
                                          <p:attrName>ppt_y</p:attrName>
                                        </p:attrNameLst>
                                      </p:cBhvr>
                                      <p:rCtr x="2956" y="13866"/>
                                    </p:animMotion>
                                  </p:childTnLst>
                                </p:cTn>
                              </p:par>
                            </p:childTnLst>
                          </p:cTn>
                        </p:par>
                        <p:par>
                          <p:cTn id="25" fill="hold">
                            <p:stCondLst>
                              <p:cond delay="1900"/>
                            </p:stCondLst>
                            <p:childTnLst>
                              <p:par>
                                <p:cTn id="26" presetID="42" presetClass="path" presetSubtype="0" accel="50000" decel="50000" fill="hold" nodeType="afterEffect">
                                  <p:stCondLst>
                                    <p:cond delay="0"/>
                                  </p:stCondLst>
                                  <p:childTnLst>
                                    <p:animMotion origin="layout" path="M -2.5E-6 -4.07407E-6 L -0.07604 0.3037 " pathEditMode="relative" rAng="0" ptsTypes="AA">
                                      <p:cBhvr>
                                        <p:cTn id="27" dur="150" fill="hold"/>
                                        <p:tgtEl>
                                          <p:spTgt spid="1539"/>
                                        </p:tgtEl>
                                        <p:attrNameLst>
                                          <p:attrName>ppt_x</p:attrName>
                                          <p:attrName>ppt_y</p:attrName>
                                        </p:attrNameLst>
                                      </p:cBhvr>
                                      <p:rCtr x="-3789" y="15139"/>
                                    </p:animMotion>
                                  </p:childTnLst>
                                </p:cTn>
                              </p:par>
                            </p:childTnLst>
                          </p:cTn>
                        </p:par>
                        <p:par>
                          <p:cTn id="28" fill="hold">
                            <p:stCondLst>
                              <p:cond delay="2050"/>
                            </p:stCondLst>
                            <p:childTnLst>
                              <p:par>
                                <p:cTn id="29" presetID="42" presetClass="path" presetSubtype="0" accel="50000" decel="50000" fill="hold" nodeType="afterEffect">
                                  <p:stCondLst>
                                    <p:cond delay="0"/>
                                  </p:stCondLst>
                                  <p:childTnLst>
                                    <p:animMotion origin="layout" path="M 1.45833E-6 4.81481E-6 L 0.05768 0.36134 " pathEditMode="relative" rAng="0" ptsTypes="AA">
                                      <p:cBhvr>
                                        <p:cTn id="30" dur="150" fill="hold"/>
                                        <p:tgtEl>
                                          <p:spTgt spid="1376"/>
                                        </p:tgtEl>
                                        <p:attrNameLst>
                                          <p:attrName>ppt_x</p:attrName>
                                          <p:attrName>ppt_y</p:attrName>
                                        </p:attrNameLst>
                                      </p:cBhvr>
                                      <p:rCtr x="2891" y="18056"/>
                                    </p:animMotion>
                                  </p:childTnLst>
                                </p:cTn>
                              </p:par>
                            </p:childTnLst>
                          </p:cTn>
                        </p:par>
                        <p:par>
                          <p:cTn id="31" fill="hold">
                            <p:stCondLst>
                              <p:cond delay="2200"/>
                            </p:stCondLst>
                            <p:childTnLst>
                              <p:par>
                                <p:cTn id="32" presetID="42" presetClass="path" presetSubtype="0" accel="50000" decel="50000" fill="hold" nodeType="afterEffect">
                                  <p:stCondLst>
                                    <p:cond delay="0"/>
                                  </p:stCondLst>
                                  <p:childTnLst>
                                    <p:animMotion origin="layout" path="M -1.25E-6 2.22222E-6 L -0.02526 0.30625 " pathEditMode="relative" rAng="0" ptsTypes="AA">
                                      <p:cBhvr>
                                        <p:cTn id="33" dur="150" fill="hold"/>
                                        <p:tgtEl>
                                          <p:spTgt spid="1382"/>
                                        </p:tgtEl>
                                        <p:attrNameLst>
                                          <p:attrName>ppt_x</p:attrName>
                                          <p:attrName>ppt_y</p:attrName>
                                        </p:attrNameLst>
                                      </p:cBhvr>
                                      <p:rCtr x="-1263" y="15324"/>
                                    </p:animMotion>
                                  </p:childTnLst>
                                </p:cTn>
                              </p:par>
                            </p:childTnLst>
                          </p:cTn>
                        </p:par>
                        <p:par>
                          <p:cTn id="34" fill="hold">
                            <p:stCondLst>
                              <p:cond delay="2350"/>
                            </p:stCondLst>
                            <p:childTnLst>
                              <p:par>
                                <p:cTn id="35" presetID="42" presetClass="path" presetSubtype="0" accel="50000" decel="50000" fill="hold" nodeType="afterEffect">
                                  <p:stCondLst>
                                    <p:cond delay="0"/>
                                  </p:stCondLst>
                                  <p:childTnLst>
                                    <p:animMotion origin="layout" path="M -1.25E-6 4.81481E-6 L -0.02526 0.30509 " pathEditMode="relative" rAng="0" ptsTypes="AA">
                                      <p:cBhvr>
                                        <p:cTn id="36" dur="150" fill="hold"/>
                                        <p:tgtEl>
                                          <p:spTgt spid="1506"/>
                                        </p:tgtEl>
                                        <p:attrNameLst>
                                          <p:attrName>ppt_x</p:attrName>
                                          <p:attrName>ppt_y</p:attrName>
                                        </p:attrNameLst>
                                      </p:cBhvr>
                                      <p:rCtr x="-1263" y="15278"/>
                                    </p:animMotion>
                                  </p:childTnLst>
                                </p:cTn>
                              </p:par>
                            </p:childTnLst>
                          </p:cTn>
                        </p:par>
                        <p:par>
                          <p:cTn id="37" fill="hold">
                            <p:stCondLst>
                              <p:cond delay="2500"/>
                            </p:stCondLst>
                            <p:childTnLst>
                              <p:par>
                                <p:cTn id="38" presetID="42" presetClass="path" presetSubtype="0" accel="50000" decel="50000" fill="hold" nodeType="afterEffect">
                                  <p:stCondLst>
                                    <p:cond delay="0"/>
                                  </p:stCondLst>
                                  <p:childTnLst>
                                    <p:animMotion origin="layout" path="M -2.08333E-6 4.81481E-6 L 0.00547 0.36134 " pathEditMode="relative" rAng="0" ptsTypes="AA">
                                      <p:cBhvr>
                                        <p:cTn id="39" dur="150" fill="hold"/>
                                        <p:tgtEl>
                                          <p:spTgt spid="1422"/>
                                        </p:tgtEl>
                                        <p:attrNameLst>
                                          <p:attrName>ppt_x</p:attrName>
                                          <p:attrName>ppt_y</p:attrName>
                                        </p:attrNameLst>
                                      </p:cBhvr>
                                      <p:rCtr x="286" y="18056"/>
                                    </p:animMotion>
                                  </p:childTnLst>
                                </p:cTn>
                              </p:par>
                            </p:childTnLst>
                          </p:cTn>
                        </p:par>
                        <p:par>
                          <p:cTn id="40" fill="hold">
                            <p:stCondLst>
                              <p:cond delay="2650"/>
                            </p:stCondLst>
                            <p:childTnLst>
                              <p:par>
                                <p:cTn id="41" presetID="42" presetClass="path" presetSubtype="0" accel="50000" decel="50000" fill="hold" nodeType="afterEffect">
                                  <p:stCondLst>
                                    <p:cond delay="0"/>
                                  </p:stCondLst>
                                  <p:childTnLst>
                                    <p:animMotion origin="layout" path="M -2.5E-6 3.33333E-6 L -0.07604 0.30486 " pathEditMode="relative" rAng="0" ptsTypes="AA">
                                      <p:cBhvr>
                                        <p:cTn id="42" dur="150" fill="hold"/>
                                        <p:tgtEl>
                                          <p:spTgt spid="1391"/>
                                        </p:tgtEl>
                                        <p:attrNameLst>
                                          <p:attrName>ppt_x</p:attrName>
                                          <p:attrName>ppt_y</p:attrName>
                                        </p:attrNameLst>
                                      </p:cBhvr>
                                      <p:rCtr x="-3802" y="15255"/>
                                    </p:animMotion>
                                  </p:childTnLst>
                                </p:cTn>
                              </p:par>
                            </p:childTnLst>
                          </p:cTn>
                        </p:par>
                        <p:par>
                          <p:cTn id="43" fill="hold">
                            <p:stCondLst>
                              <p:cond delay="2800"/>
                            </p:stCondLst>
                            <p:childTnLst>
                              <p:par>
                                <p:cTn id="44" presetID="42" presetClass="path" presetSubtype="0" accel="50000" decel="50000" fill="hold" nodeType="afterEffect">
                                  <p:stCondLst>
                                    <p:cond delay="0"/>
                                  </p:stCondLst>
                                  <p:childTnLst>
                                    <p:animMotion origin="layout" path="M -3.33333E-6 7.40741E-7 L -0.05156 0.35602 " pathEditMode="relative" rAng="0" ptsTypes="AA">
                                      <p:cBhvr>
                                        <p:cTn id="45" dur="150" fill="hold"/>
                                        <p:tgtEl>
                                          <p:spTgt spid="1379"/>
                                        </p:tgtEl>
                                        <p:attrNameLst>
                                          <p:attrName>ppt_x</p:attrName>
                                          <p:attrName>ppt_y</p:attrName>
                                        </p:attrNameLst>
                                      </p:cBhvr>
                                      <p:rCtr x="-2591" y="17824"/>
                                    </p:animMotion>
                                  </p:childTnLst>
                                </p:cTn>
                              </p:par>
                            </p:childTnLst>
                          </p:cTn>
                        </p:par>
                        <p:par>
                          <p:cTn id="46" fill="hold">
                            <p:stCondLst>
                              <p:cond delay="2950"/>
                            </p:stCondLst>
                            <p:childTnLst>
                              <p:par>
                                <p:cTn id="47" presetID="42" presetClass="path" presetSubtype="0" accel="50000" decel="50000" fill="hold" nodeType="afterEffect">
                                  <p:stCondLst>
                                    <p:cond delay="0"/>
                                  </p:stCondLst>
                                  <p:childTnLst>
                                    <p:animMotion origin="layout" path="M 3.33333E-6 -2.22222E-6 L 0.0901 0.33056 " pathEditMode="relative" rAng="0" ptsTypes="AA">
                                      <p:cBhvr>
                                        <p:cTn id="48" dur="150" fill="hold"/>
                                        <p:tgtEl>
                                          <p:spTgt spid="1512"/>
                                        </p:tgtEl>
                                        <p:attrNameLst>
                                          <p:attrName>ppt_x</p:attrName>
                                          <p:attrName>ppt_y</p:attrName>
                                        </p:attrNameLst>
                                      </p:cBhvr>
                                      <p:rCtr x="4518" y="16528"/>
                                    </p:animMotion>
                                  </p:childTnLst>
                                </p:cTn>
                              </p:par>
                            </p:childTnLst>
                          </p:cTn>
                        </p:par>
                        <p:par>
                          <p:cTn id="49" fill="hold">
                            <p:stCondLst>
                              <p:cond delay="3100"/>
                            </p:stCondLst>
                            <p:childTnLst>
                              <p:par>
                                <p:cTn id="50" presetID="42" presetClass="path" presetSubtype="0" accel="50000" decel="50000" fill="hold" nodeType="afterEffect">
                                  <p:stCondLst>
                                    <p:cond delay="0"/>
                                  </p:stCondLst>
                                  <p:childTnLst>
                                    <p:animMotion origin="layout" path="M -3.33333E-6 3.7037E-6 L -0.05156 0.25023 " pathEditMode="relative" rAng="0" ptsTypes="AA">
                                      <p:cBhvr>
                                        <p:cTn id="51" dur="150" fill="hold"/>
                                        <p:tgtEl>
                                          <p:spTgt spid="1397"/>
                                        </p:tgtEl>
                                        <p:attrNameLst>
                                          <p:attrName>ppt_x</p:attrName>
                                          <p:attrName>ppt_y</p:attrName>
                                        </p:attrNameLst>
                                      </p:cBhvr>
                                      <p:rCtr x="-2591" y="12500"/>
                                    </p:animMotion>
                                  </p:childTnLst>
                                </p:cTn>
                              </p:par>
                            </p:childTnLst>
                          </p:cTn>
                        </p:par>
                        <p:par>
                          <p:cTn id="52" fill="hold">
                            <p:stCondLst>
                              <p:cond delay="3250"/>
                            </p:stCondLst>
                            <p:childTnLst>
                              <p:par>
                                <p:cTn id="53" presetID="42" presetClass="path" presetSubtype="0" accel="50000" decel="50000" fill="hold" nodeType="afterEffect">
                                  <p:stCondLst>
                                    <p:cond delay="0"/>
                                  </p:stCondLst>
                                  <p:childTnLst>
                                    <p:animMotion origin="layout" path="M 1.45833E-6 -4.07407E-6 L 0.05768 0.35995 " pathEditMode="relative" rAng="0" ptsTypes="AA">
                                      <p:cBhvr>
                                        <p:cTn id="54" dur="150" fill="hold"/>
                                        <p:tgtEl>
                                          <p:spTgt spid="1524"/>
                                        </p:tgtEl>
                                        <p:attrNameLst>
                                          <p:attrName>ppt_x</p:attrName>
                                          <p:attrName>ppt_y</p:attrName>
                                        </p:attrNameLst>
                                      </p:cBhvr>
                                      <p:rCtr x="2878" y="18009"/>
                                    </p:animMotion>
                                  </p:childTnLst>
                                </p:cTn>
                              </p:par>
                            </p:childTnLst>
                          </p:cTn>
                        </p:par>
                        <p:par>
                          <p:cTn id="55" fill="hold">
                            <p:stCondLst>
                              <p:cond delay="3400"/>
                            </p:stCondLst>
                            <p:childTnLst>
                              <p:par>
                                <p:cTn id="56" presetID="42" presetClass="path" presetSubtype="0" accel="50000" decel="50000" fill="hold" nodeType="afterEffect">
                                  <p:stCondLst>
                                    <p:cond delay="0"/>
                                  </p:stCondLst>
                                  <p:childTnLst>
                                    <p:animMotion origin="layout" path="M 3.33333E-6 -2.22222E-6 L 0.0901 0.33056 " pathEditMode="relative" rAng="0" ptsTypes="AA">
                                      <p:cBhvr>
                                        <p:cTn id="57" dur="150" fill="hold"/>
                                        <p:tgtEl>
                                          <p:spTgt spid="1536"/>
                                        </p:tgtEl>
                                        <p:attrNameLst>
                                          <p:attrName>ppt_x</p:attrName>
                                          <p:attrName>ppt_y</p:attrName>
                                        </p:attrNameLst>
                                      </p:cBhvr>
                                      <p:rCtr x="4492" y="16528"/>
                                    </p:animMotion>
                                  </p:childTnLst>
                                </p:cTn>
                              </p:par>
                            </p:childTnLst>
                          </p:cTn>
                        </p:par>
                        <p:par>
                          <p:cTn id="58" fill="hold">
                            <p:stCondLst>
                              <p:cond delay="3550"/>
                            </p:stCondLst>
                            <p:childTnLst>
                              <p:par>
                                <p:cTn id="59" presetID="42" presetClass="path" presetSubtype="0" accel="50000" decel="50000" fill="hold" nodeType="afterEffect">
                                  <p:stCondLst>
                                    <p:cond delay="0"/>
                                  </p:stCondLst>
                                  <p:childTnLst>
                                    <p:animMotion origin="layout" path="M -1.25E-6 3.33333E-6 L -0.02526 0.30486 " pathEditMode="relative" rAng="0" ptsTypes="AA">
                                      <p:cBhvr>
                                        <p:cTn id="60" dur="150" fill="hold"/>
                                        <p:tgtEl>
                                          <p:spTgt spid="1530"/>
                                        </p:tgtEl>
                                        <p:attrNameLst>
                                          <p:attrName>ppt_x</p:attrName>
                                          <p:attrName>ppt_y</p:attrName>
                                        </p:attrNameLst>
                                      </p:cBhvr>
                                      <p:rCtr x="-1250" y="15231"/>
                                    </p:animMotion>
                                  </p:childTnLst>
                                </p:cTn>
                              </p:par>
                            </p:childTnLst>
                          </p:cTn>
                        </p:par>
                        <p:par>
                          <p:cTn id="61" fill="hold">
                            <p:stCondLst>
                              <p:cond delay="3700"/>
                            </p:stCondLst>
                            <p:childTnLst>
                              <p:par>
                                <p:cTn id="62" presetID="42" presetClass="path" presetSubtype="0" accel="50000" decel="50000" fill="hold" nodeType="afterEffect">
                                  <p:stCondLst>
                                    <p:cond delay="0"/>
                                  </p:stCondLst>
                                  <p:childTnLst>
                                    <p:animMotion origin="layout" path="M -3.75E-6 0 L 0.02943 0.32153 " pathEditMode="relative" rAng="0" ptsTypes="AA">
                                      <p:cBhvr>
                                        <p:cTn id="63" dur="150" fill="hold"/>
                                        <p:tgtEl>
                                          <p:spTgt spid="1509"/>
                                        </p:tgtEl>
                                        <p:attrNameLst>
                                          <p:attrName>ppt_x</p:attrName>
                                          <p:attrName>ppt_y</p:attrName>
                                        </p:attrNameLst>
                                      </p:cBhvr>
                                      <p:rCtr x="1458" y="16065"/>
                                    </p:animMotion>
                                  </p:childTnLst>
                                </p:cTn>
                              </p:par>
                            </p:childTnLst>
                          </p:cTn>
                        </p:par>
                        <p:par>
                          <p:cTn id="64" fill="hold">
                            <p:stCondLst>
                              <p:cond delay="3850"/>
                            </p:stCondLst>
                            <p:childTnLst>
                              <p:par>
                                <p:cTn id="65" presetID="42" presetClass="path" presetSubtype="0" accel="50000" decel="50000" fill="hold" nodeType="afterEffect">
                                  <p:stCondLst>
                                    <p:cond delay="0"/>
                                  </p:stCondLst>
                                  <p:childTnLst>
                                    <p:animMotion origin="layout" path="M -3.75E-6 -1.11111E-6 L 0.02942 0.32292 " pathEditMode="relative" rAng="0" ptsTypes="AA">
                                      <p:cBhvr>
                                        <p:cTn id="66" dur="150" fill="hold"/>
                                        <p:tgtEl>
                                          <p:spTgt spid="1385"/>
                                        </p:tgtEl>
                                        <p:attrNameLst>
                                          <p:attrName>ppt_x</p:attrName>
                                          <p:attrName>ppt_y</p:attrName>
                                        </p:attrNameLst>
                                      </p:cBhvr>
                                      <p:rCtr x="1536" y="16134"/>
                                    </p:animMotion>
                                  </p:childTnLst>
                                </p:cTn>
                              </p:par>
                            </p:childTnLst>
                          </p:cTn>
                        </p:par>
                        <p:par>
                          <p:cTn id="67" fill="hold">
                            <p:stCondLst>
                              <p:cond delay="4000"/>
                            </p:stCondLst>
                            <p:childTnLst>
                              <p:par>
                                <p:cTn id="68" presetID="42" presetClass="path" presetSubtype="0" accel="50000" decel="50000" fill="hold" nodeType="afterEffect">
                                  <p:stCondLst>
                                    <p:cond delay="0"/>
                                  </p:stCondLst>
                                  <p:childTnLst>
                                    <p:animMotion origin="layout" path="M 3.95833E-6 4.44444E-6 L 0.05924 0.27847 " pathEditMode="relative" rAng="0" ptsTypes="AA">
                                      <p:cBhvr>
                                        <p:cTn id="69" dur="150" fill="hold"/>
                                        <p:tgtEl>
                                          <p:spTgt spid="1394"/>
                                        </p:tgtEl>
                                        <p:attrNameLst>
                                          <p:attrName>ppt_x</p:attrName>
                                          <p:attrName>ppt_y</p:attrName>
                                        </p:attrNameLst>
                                      </p:cBhvr>
                                      <p:rCtr x="2969" y="13889"/>
                                    </p:animMotion>
                                  </p:childTnLst>
                                </p:cTn>
                              </p:par>
                            </p:childTnLst>
                          </p:cTn>
                        </p:par>
                        <p:par>
                          <p:cTn id="70" fill="hold">
                            <p:stCondLst>
                              <p:cond delay="4150"/>
                            </p:stCondLst>
                            <p:childTnLst>
                              <p:par>
                                <p:cTn id="71" presetID="42" presetClass="path" presetSubtype="0" accel="50000" decel="50000" fill="hold" nodeType="afterEffect">
                                  <p:stCondLst>
                                    <p:cond delay="0"/>
                                  </p:stCondLst>
                                  <p:childTnLst>
                                    <p:animMotion origin="layout" path="M -3.33333E-6 4.81481E-6 L -0.05156 0.24884 " pathEditMode="relative" rAng="0" ptsTypes="AA">
                                      <p:cBhvr>
                                        <p:cTn id="72" dur="150" fill="hold"/>
                                        <p:tgtEl>
                                          <p:spTgt spid="1521"/>
                                        </p:tgtEl>
                                        <p:attrNameLst>
                                          <p:attrName>ppt_x</p:attrName>
                                          <p:attrName>ppt_y</p:attrName>
                                        </p:attrNameLst>
                                      </p:cBhvr>
                                      <p:rCtr x="-2565" y="12407"/>
                                    </p:animMotion>
                                  </p:childTnLst>
                                </p:cTn>
                              </p:par>
                            </p:childTnLst>
                          </p:cTn>
                        </p:par>
                        <p:par>
                          <p:cTn id="73" fill="hold">
                            <p:stCondLst>
                              <p:cond delay="4300"/>
                            </p:stCondLst>
                            <p:childTnLst>
                              <p:par>
                                <p:cTn id="74" presetID="42" presetClass="path" presetSubtype="0" accel="50000" decel="50000" fill="hold" nodeType="afterEffect">
                                  <p:stCondLst>
                                    <p:cond delay="0"/>
                                  </p:stCondLst>
                                  <p:childTnLst>
                                    <p:animMotion origin="layout" path="M -3.33333E-6 4.81481E-6 L -0.05156 0.24884 " pathEditMode="relative" rAng="0" ptsTypes="AA">
                                      <p:cBhvr>
                                        <p:cTn id="75" dur="150" fill="hold"/>
                                        <p:tgtEl>
                                          <p:spTgt spid="1545"/>
                                        </p:tgtEl>
                                        <p:attrNameLst>
                                          <p:attrName>ppt_x</p:attrName>
                                          <p:attrName>ppt_y</p:attrName>
                                        </p:attrNameLst>
                                      </p:cBhvr>
                                      <p:rCtr x="-2604" y="12477"/>
                                    </p:animMotion>
                                  </p:childTnLst>
                                </p:cTn>
                              </p:par>
                            </p:childTnLst>
                          </p:cTn>
                        </p:par>
                        <p:par>
                          <p:cTn id="76" fill="hold">
                            <p:stCondLst>
                              <p:cond delay="4450"/>
                            </p:stCondLst>
                            <p:childTnLst>
                              <p:par>
                                <p:cTn id="77" presetID="42" presetClass="path" presetSubtype="0" accel="50000" decel="50000" fill="hold" nodeType="afterEffect">
                                  <p:stCondLst>
                                    <p:cond delay="0"/>
                                  </p:stCondLst>
                                  <p:childTnLst>
                                    <p:animMotion origin="layout" path="M -2.08333E-6 4.81481E-6 L 0.00547 0.36134 " pathEditMode="relative" rAng="0" ptsTypes="AA">
                                      <p:cBhvr>
                                        <p:cTn id="78" dur="150" fill="hold"/>
                                        <p:tgtEl>
                                          <p:spTgt spid="1419"/>
                                        </p:tgtEl>
                                        <p:attrNameLst>
                                          <p:attrName>ppt_x</p:attrName>
                                          <p:attrName>ppt_y</p:attrName>
                                        </p:attrNameLst>
                                      </p:cBhvr>
                                      <p:rCtr x="260" y="18102"/>
                                    </p:animMotion>
                                  </p:childTnLst>
                                </p:cTn>
                              </p:par>
                            </p:childTnLst>
                          </p:cTn>
                        </p:par>
                        <p:par>
                          <p:cTn id="79" fill="hold">
                            <p:stCondLst>
                              <p:cond delay="4600"/>
                            </p:stCondLst>
                            <p:childTnLst>
                              <p:par>
                                <p:cTn id="80" presetID="42" presetClass="path" presetSubtype="0" accel="50000" decel="50000" fill="hold" nodeType="afterEffect">
                                  <p:stCondLst>
                                    <p:cond delay="0"/>
                                  </p:stCondLst>
                                  <p:childTnLst>
                                    <p:animMotion origin="layout" path="M -3.33333E-6 1.85185E-6 L -0.05156 0.35463 " pathEditMode="relative" rAng="0" ptsTypes="AA">
                                      <p:cBhvr>
                                        <p:cTn id="81" dur="150" fill="hold"/>
                                        <p:tgtEl>
                                          <p:spTgt spid="1503"/>
                                        </p:tgtEl>
                                        <p:attrNameLst>
                                          <p:attrName>ppt_x</p:attrName>
                                          <p:attrName>ppt_y</p:attrName>
                                        </p:attrNameLst>
                                      </p:cBhvr>
                                      <p:rCtr x="-2591" y="17755"/>
                                    </p:animMotion>
                                  </p:childTnLst>
                                </p:cTn>
                              </p:par>
                            </p:childTnLst>
                          </p:cTn>
                        </p:par>
                        <p:par>
                          <p:cTn id="82" fill="hold">
                            <p:stCondLst>
                              <p:cond delay="4750"/>
                            </p:stCondLst>
                            <p:childTnLst>
                              <p:par>
                                <p:cTn id="83" presetID="42" presetClass="path" presetSubtype="0" accel="50000" decel="50000" fill="hold" nodeType="afterEffect">
                                  <p:stCondLst>
                                    <p:cond delay="0"/>
                                  </p:stCondLst>
                                  <p:childTnLst>
                                    <p:animMotion origin="layout" path="M -3.75E-6 0 L 0.02943 0.32153 " pathEditMode="relative" rAng="0" ptsTypes="AA">
                                      <p:cBhvr>
                                        <p:cTn id="84" dur="150" fill="hold"/>
                                        <p:tgtEl>
                                          <p:spTgt spid="1533"/>
                                        </p:tgtEl>
                                        <p:attrNameLst>
                                          <p:attrName>ppt_x</p:attrName>
                                          <p:attrName>ppt_y</p:attrName>
                                        </p:attrNameLst>
                                      </p:cBhvr>
                                      <p:rCtr x="1497" y="16065"/>
                                    </p:animMotion>
                                  </p:childTnLst>
                                </p:cTn>
                              </p:par>
                            </p:childTnLst>
                          </p:cTn>
                        </p:par>
                        <p:par>
                          <p:cTn id="85" fill="hold">
                            <p:stCondLst>
                              <p:cond delay="4900"/>
                            </p:stCondLst>
                            <p:childTnLst>
                              <p:par>
                                <p:cTn id="86" presetID="42" presetClass="path" presetSubtype="0" accel="50000" decel="50000" fill="hold" nodeType="afterEffect">
                                  <p:stCondLst>
                                    <p:cond delay="0"/>
                                  </p:stCondLst>
                                  <p:childTnLst>
                                    <p:animMotion origin="layout" path="M -2.08333E-6 4.81481E-6 L 0.00547 0.36134 " pathEditMode="relative" rAng="0" ptsTypes="AA">
                                      <p:cBhvr>
                                        <p:cTn id="87" dur="150" fill="hold"/>
                                        <p:tgtEl>
                                          <p:spTgt spid="1416"/>
                                        </p:tgtEl>
                                        <p:attrNameLst>
                                          <p:attrName>ppt_x</p:attrName>
                                          <p:attrName>ppt_y</p:attrName>
                                        </p:attrNameLst>
                                      </p:cBhvr>
                                      <p:rCtr x="286" y="18102"/>
                                    </p:animMotion>
                                  </p:childTnLst>
                                </p:cTn>
                              </p:par>
                            </p:childTnLst>
                          </p:cTn>
                        </p:par>
                        <p:par>
                          <p:cTn id="88" fill="hold">
                            <p:stCondLst>
                              <p:cond delay="5050"/>
                            </p:stCondLst>
                            <p:childTnLst>
                              <p:par>
                                <p:cTn id="89" presetID="42" presetClass="path" presetSubtype="0" accel="50000" decel="50000" fill="hold" nodeType="afterEffect">
                                  <p:stCondLst>
                                    <p:cond delay="0"/>
                                  </p:stCondLst>
                                  <p:childTnLst>
                                    <p:animMotion origin="layout" path="M -3.33333E-6 1.85185E-6 L -0.05156 0.35463 " pathEditMode="relative" rAng="0" ptsTypes="AA">
                                      <p:cBhvr>
                                        <p:cTn id="90" dur="150" fill="hold"/>
                                        <p:tgtEl>
                                          <p:spTgt spid="1527"/>
                                        </p:tgtEl>
                                        <p:attrNameLst>
                                          <p:attrName>ppt_x</p:attrName>
                                          <p:attrName>ppt_y</p:attrName>
                                        </p:attrNameLst>
                                      </p:cBhvr>
                                      <p:rCtr x="-2604" y="17801"/>
                                    </p:animMotion>
                                  </p:childTnLst>
                                </p:cTn>
                              </p:par>
                            </p:childTnLst>
                          </p:cTn>
                        </p:par>
                        <p:par>
                          <p:cTn id="91" fill="hold">
                            <p:stCondLst>
                              <p:cond delay="5200"/>
                            </p:stCondLst>
                            <p:childTnLst>
                              <p:par>
                                <p:cTn id="92" presetID="10" presetClass="entr" presetSubtype="0" fill="hold" grpId="0" nodeType="afterEffect">
                                  <p:stCondLst>
                                    <p:cond delay="0"/>
                                  </p:stCondLst>
                                  <p:childTnLst>
                                    <p:set>
                                      <p:cBhvr>
                                        <p:cTn id="93" dur="1" fill="hold">
                                          <p:stCondLst>
                                            <p:cond delay="0"/>
                                          </p:stCondLst>
                                        </p:cTn>
                                        <p:tgtEl>
                                          <p:spTgt spid="1587"/>
                                        </p:tgtEl>
                                        <p:attrNameLst>
                                          <p:attrName>style.visibility</p:attrName>
                                        </p:attrNameLst>
                                      </p:cBhvr>
                                      <p:to>
                                        <p:strVal val="visible"/>
                                      </p:to>
                                    </p:set>
                                    <p:animEffect transition="in" filter="fade">
                                      <p:cBhvr>
                                        <p:cTn id="94" dur="500"/>
                                        <p:tgtEl>
                                          <p:spTgt spid="1587"/>
                                        </p:tgtEl>
                                      </p:cBhvr>
                                    </p:animEffect>
                                  </p:childTnLst>
                                </p:cTn>
                              </p:par>
                              <p:par>
                                <p:cTn id="95" presetID="10" presetClass="entr" presetSubtype="0" fill="hold" grpId="1" nodeType="withEffect">
                                  <p:stCondLst>
                                    <p:cond delay="0"/>
                                  </p:stCondLst>
                                  <p:childTnLst>
                                    <p:set>
                                      <p:cBhvr>
                                        <p:cTn id="96" dur="1" fill="hold">
                                          <p:stCondLst>
                                            <p:cond delay="0"/>
                                          </p:stCondLst>
                                        </p:cTn>
                                        <p:tgtEl>
                                          <p:spTgt spid="11"/>
                                        </p:tgtEl>
                                        <p:attrNameLst>
                                          <p:attrName>style.visibility</p:attrName>
                                        </p:attrNameLst>
                                      </p:cBhvr>
                                      <p:to>
                                        <p:strVal val="visible"/>
                                      </p:to>
                                    </p:set>
                                    <p:animEffect transition="in" filter="fade">
                                      <p:cBhvr>
                                        <p:cTn id="97" dur="500"/>
                                        <p:tgtEl>
                                          <p:spTgt spid="11"/>
                                        </p:tgtEl>
                                      </p:cBhvr>
                                    </p:animEffect>
                                  </p:childTnLst>
                                </p:cTn>
                              </p:par>
                              <p:par>
                                <p:cTn id="98" presetID="42" presetClass="path" presetSubtype="0" repeatCount="2000" accel="50000" decel="50000" autoRev="1" fill="hold" grpId="0" nodeType="withEffect">
                                  <p:stCondLst>
                                    <p:cond delay="0"/>
                                  </p:stCondLst>
                                  <p:childTnLst>
                                    <p:animMotion origin="layout" path="M 2.5E-6 7.40741E-7 L -0.02526 7.40741E-7 " pathEditMode="relative" rAng="0" ptsTypes="AA">
                                      <p:cBhvr>
                                        <p:cTn id="99" dur="750" fill="hold"/>
                                        <p:tgtEl>
                                          <p:spTgt spid="11"/>
                                        </p:tgtEl>
                                        <p:attrNameLst>
                                          <p:attrName>ppt_x</p:attrName>
                                          <p:attrName>ppt_y</p:attrName>
                                        </p:attrNameLst>
                                      </p:cBhvr>
                                      <p:rCtr x="-1263" y="0"/>
                                    </p:animMotion>
                                  </p:childTnLst>
                                </p:cTn>
                              </p:par>
                              <p:par>
                                <p:cTn id="100" presetID="10" presetClass="entr" presetSubtype="0" fill="hold" grpId="0" nodeType="withEffect">
                                  <p:stCondLst>
                                    <p:cond delay="0"/>
                                  </p:stCondLst>
                                  <p:childTnLst>
                                    <p:set>
                                      <p:cBhvr>
                                        <p:cTn id="101" dur="1" fill="hold">
                                          <p:stCondLst>
                                            <p:cond delay="0"/>
                                          </p:stCondLst>
                                        </p:cTn>
                                        <p:tgtEl>
                                          <p:spTgt spid="1720"/>
                                        </p:tgtEl>
                                        <p:attrNameLst>
                                          <p:attrName>style.visibility</p:attrName>
                                        </p:attrNameLst>
                                      </p:cBhvr>
                                      <p:to>
                                        <p:strVal val="visible"/>
                                      </p:to>
                                    </p:set>
                                    <p:animEffect transition="in" filter="fade">
                                      <p:cBhvr>
                                        <p:cTn id="102" dur="500"/>
                                        <p:tgtEl>
                                          <p:spTgt spid="1720"/>
                                        </p:tgtEl>
                                      </p:cBhvr>
                                    </p:animEffect>
                                  </p:childTnLst>
                                </p:cTn>
                              </p:par>
                              <p:par>
                                <p:cTn id="103" presetID="10" presetClass="entr" presetSubtype="0" fill="hold" grpId="1" nodeType="withEffect">
                                  <p:stCondLst>
                                    <p:cond delay="0"/>
                                  </p:stCondLst>
                                  <p:childTnLst>
                                    <p:set>
                                      <p:cBhvr>
                                        <p:cTn id="104" dur="1" fill="hold">
                                          <p:stCondLst>
                                            <p:cond delay="0"/>
                                          </p:stCondLst>
                                        </p:cTn>
                                        <p:tgtEl>
                                          <p:spTgt spid="1721"/>
                                        </p:tgtEl>
                                        <p:attrNameLst>
                                          <p:attrName>style.visibility</p:attrName>
                                        </p:attrNameLst>
                                      </p:cBhvr>
                                      <p:to>
                                        <p:strVal val="visible"/>
                                      </p:to>
                                    </p:set>
                                    <p:animEffect transition="in" filter="fade">
                                      <p:cBhvr>
                                        <p:cTn id="105" dur="500"/>
                                        <p:tgtEl>
                                          <p:spTgt spid="1721"/>
                                        </p:tgtEl>
                                      </p:cBhvr>
                                    </p:animEffect>
                                  </p:childTnLst>
                                </p:cTn>
                              </p:par>
                              <p:par>
                                <p:cTn id="106" presetID="42" presetClass="path" presetSubtype="0" repeatCount="2000" accel="50000" decel="50000" autoRev="1" fill="hold" grpId="0" nodeType="withEffect">
                                  <p:stCondLst>
                                    <p:cond delay="0"/>
                                  </p:stCondLst>
                                  <p:childTnLst>
                                    <p:animMotion origin="layout" path="M 2.5E-6 -1.11111E-6 L -0.02526 -1.11111E-6 " pathEditMode="relative" rAng="0" ptsTypes="AA">
                                      <p:cBhvr>
                                        <p:cTn id="107" dur="750" fill="hold"/>
                                        <p:tgtEl>
                                          <p:spTgt spid="1721"/>
                                        </p:tgtEl>
                                        <p:attrNameLst>
                                          <p:attrName>ppt_x</p:attrName>
                                          <p:attrName>ppt_y</p:attrName>
                                        </p:attrNameLst>
                                      </p:cBhvr>
                                      <p:rCtr x="-1263" y="0"/>
                                    </p:animMotion>
                                  </p:childTnLst>
                                </p:cTn>
                              </p:par>
                              <p:par>
                                <p:cTn id="108" presetID="10" presetClass="entr" presetSubtype="0" fill="hold" grpId="0" nodeType="withEffect">
                                  <p:stCondLst>
                                    <p:cond delay="0"/>
                                  </p:stCondLst>
                                  <p:childTnLst>
                                    <p:set>
                                      <p:cBhvr>
                                        <p:cTn id="109" dur="1" fill="hold">
                                          <p:stCondLst>
                                            <p:cond delay="0"/>
                                          </p:stCondLst>
                                        </p:cTn>
                                        <p:tgtEl>
                                          <p:spTgt spid="1722"/>
                                        </p:tgtEl>
                                        <p:attrNameLst>
                                          <p:attrName>style.visibility</p:attrName>
                                        </p:attrNameLst>
                                      </p:cBhvr>
                                      <p:to>
                                        <p:strVal val="visible"/>
                                      </p:to>
                                    </p:set>
                                    <p:animEffect transition="in" filter="fade">
                                      <p:cBhvr>
                                        <p:cTn id="110" dur="500"/>
                                        <p:tgtEl>
                                          <p:spTgt spid="1722"/>
                                        </p:tgtEl>
                                      </p:cBhvr>
                                    </p:animEffect>
                                  </p:childTnLst>
                                </p:cTn>
                              </p:par>
                              <p:par>
                                <p:cTn id="111" presetID="10" presetClass="entr" presetSubtype="0" fill="hold" grpId="1" nodeType="withEffect">
                                  <p:stCondLst>
                                    <p:cond delay="0"/>
                                  </p:stCondLst>
                                  <p:childTnLst>
                                    <p:set>
                                      <p:cBhvr>
                                        <p:cTn id="112" dur="1" fill="hold">
                                          <p:stCondLst>
                                            <p:cond delay="0"/>
                                          </p:stCondLst>
                                        </p:cTn>
                                        <p:tgtEl>
                                          <p:spTgt spid="1723"/>
                                        </p:tgtEl>
                                        <p:attrNameLst>
                                          <p:attrName>style.visibility</p:attrName>
                                        </p:attrNameLst>
                                      </p:cBhvr>
                                      <p:to>
                                        <p:strVal val="visible"/>
                                      </p:to>
                                    </p:set>
                                    <p:animEffect transition="in" filter="fade">
                                      <p:cBhvr>
                                        <p:cTn id="113" dur="500"/>
                                        <p:tgtEl>
                                          <p:spTgt spid="1723"/>
                                        </p:tgtEl>
                                      </p:cBhvr>
                                    </p:animEffect>
                                  </p:childTnLst>
                                </p:cTn>
                              </p:par>
                              <p:par>
                                <p:cTn id="114" presetID="42" presetClass="path" presetSubtype="0" repeatCount="2000" accel="50000" decel="50000" autoRev="1" fill="hold" grpId="0" nodeType="withEffect">
                                  <p:stCondLst>
                                    <p:cond delay="0"/>
                                  </p:stCondLst>
                                  <p:childTnLst>
                                    <p:animMotion origin="layout" path="M 2.5E-6 -2.96296E-6 L -0.02526 -2.96296E-6 " pathEditMode="relative" rAng="0" ptsTypes="AA">
                                      <p:cBhvr>
                                        <p:cTn id="115" dur="750" fill="hold"/>
                                        <p:tgtEl>
                                          <p:spTgt spid="1723"/>
                                        </p:tgtEl>
                                        <p:attrNameLst>
                                          <p:attrName>ppt_x</p:attrName>
                                          <p:attrName>ppt_y</p:attrName>
                                        </p:attrNameLst>
                                      </p:cBhvr>
                                      <p:rCtr x="-1263" y="0"/>
                                    </p:animMotion>
                                  </p:childTnLst>
                                </p:cTn>
                              </p:par>
                              <p:par>
                                <p:cTn id="116" presetID="10" presetClass="entr" presetSubtype="0" fill="hold" grpId="0" nodeType="withEffect">
                                  <p:stCondLst>
                                    <p:cond delay="0"/>
                                  </p:stCondLst>
                                  <p:childTnLst>
                                    <p:set>
                                      <p:cBhvr>
                                        <p:cTn id="117" dur="1" fill="hold">
                                          <p:stCondLst>
                                            <p:cond delay="0"/>
                                          </p:stCondLst>
                                        </p:cTn>
                                        <p:tgtEl>
                                          <p:spTgt spid="1724"/>
                                        </p:tgtEl>
                                        <p:attrNameLst>
                                          <p:attrName>style.visibility</p:attrName>
                                        </p:attrNameLst>
                                      </p:cBhvr>
                                      <p:to>
                                        <p:strVal val="visible"/>
                                      </p:to>
                                    </p:set>
                                    <p:animEffect transition="in" filter="fade">
                                      <p:cBhvr>
                                        <p:cTn id="118" dur="500"/>
                                        <p:tgtEl>
                                          <p:spTgt spid="1724"/>
                                        </p:tgtEl>
                                      </p:cBhvr>
                                    </p:animEffect>
                                  </p:childTnLst>
                                </p:cTn>
                              </p:par>
                              <p:par>
                                <p:cTn id="119" presetID="10" presetClass="entr" presetSubtype="0" fill="hold" grpId="1" nodeType="withEffect">
                                  <p:stCondLst>
                                    <p:cond delay="0"/>
                                  </p:stCondLst>
                                  <p:childTnLst>
                                    <p:set>
                                      <p:cBhvr>
                                        <p:cTn id="120" dur="1" fill="hold">
                                          <p:stCondLst>
                                            <p:cond delay="0"/>
                                          </p:stCondLst>
                                        </p:cTn>
                                        <p:tgtEl>
                                          <p:spTgt spid="1725"/>
                                        </p:tgtEl>
                                        <p:attrNameLst>
                                          <p:attrName>style.visibility</p:attrName>
                                        </p:attrNameLst>
                                      </p:cBhvr>
                                      <p:to>
                                        <p:strVal val="visible"/>
                                      </p:to>
                                    </p:set>
                                    <p:animEffect transition="in" filter="fade">
                                      <p:cBhvr>
                                        <p:cTn id="121" dur="500"/>
                                        <p:tgtEl>
                                          <p:spTgt spid="1725"/>
                                        </p:tgtEl>
                                      </p:cBhvr>
                                    </p:animEffect>
                                  </p:childTnLst>
                                </p:cTn>
                              </p:par>
                              <p:par>
                                <p:cTn id="122" presetID="42" presetClass="path" presetSubtype="0" repeatCount="2000" accel="50000" decel="50000" autoRev="1" fill="hold" grpId="0" nodeType="withEffect">
                                  <p:stCondLst>
                                    <p:cond delay="0"/>
                                  </p:stCondLst>
                                  <p:childTnLst>
                                    <p:animMotion origin="layout" path="M 2.5E-6 -4.81481E-6 L -0.02526 -4.81481E-6 " pathEditMode="relative" rAng="0" ptsTypes="AA">
                                      <p:cBhvr>
                                        <p:cTn id="123" dur="750" fill="hold"/>
                                        <p:tgtEl>
                                          <p:spTgt spid="1725"/>
                                        </p:tgtEl>
                                        <p:attrNameLst>
                                          <p:attrName>ppt_x</p:attrName>
                                          <p:attrName>ppt_y</p:attrName>
                                        </p:attrNameLst>
                                      </p:cBhvr>
                                      <p:rCtr x="-1263" y="0"/>
                                    </p:animMotion>
                                  </p:childTnLst>
                                </p:cTn>
                              </p:par>
                              <p:par>
                                <p:cTn id="124" presetID="10" presetClass="entr" presetSubtype="0" fill="hold" grpId="0" nodeType="withEffect">
                                  <p:stCondLst>
                                    <p:cond delay="0"/>
                                  </p:stCondLst>
                                  <p:childTnLst>
                                    <p:set>
                                      <p:cBhvr>
                                        <p:cTn id="125" dur="1" fill="hold">
                                          <p:stCondLst>
                                            <p:cond delay="0"/>
                                          </p:stCondLst>
                                        </p:cTn>
                                        <p:tgtEl>
                                          <p:spTgt spid="1726"/>
                                        </p:tgtEl>
                                        <p:attrNameLst>
                                          <p:attrName>style.visibility</p:attrName>
                                        </p:attrNameLst>
                                      </p:cBhvr>
                                      <p:to>
                                        <p:strVal val="visible"/>
                                      </p:to>
                                    </p:set>
                                    <p:animEffect transition="in" filter="fade">
                                      <p:cBhvr>
                                        <p:cTn id="126" dur="500"/>
                                        <p:tgtEl>
                                          <p:spTgt spid="1726"/>
                                        </p:tgtEl>
                                      </p:cBhvr>
                                    </p:animEffect>
                                  </p:childTnLst>
                                </p:cTn>
                              </p:par>
                              <p:par>
                                <p:cTn id="127" presetID="10" presetClass="entr" presetSubtype="0" fill="hold" grpId="1" nodeType="withEffect">
                                  <p:stCondLst>
                                    <p:cond delay="0"/>
                                  </p:stCondLst>
                                  <p:childTnLst>
                                    <p:set>
                                      <p:cBhvr>
                                        <p:cTn id="128" dur="1" fill="hold">
                                          <p:stCondLst>
                                            <p:cond delay="0"/>
                                          </p:stCondLst>
                                        </p:cTn>
                                        <p:tgtEl>
                                          <p:spTgt spid="1727"/>
                                        </p:tgtEl>
                                        <p:attrNameLst>
                                          <p:attrName>style.visibility</p:attrName>
                                        </p:attrNameLst>
                                      </p:cBhvr>
                                      <p:to>
                                        <p:strVal val="visible"/>
                                      </p:to>
                                    </p:set>
                                    <p:animEffect transition="in" filter="fade">
                                      <p:cBhvr>
                                        <p:cTn id="129" dur="500"/>
                                        <p:tgtEl>
                                          <p:spTgt spid="1727"/>
                                        </p:tgtEl>
                                      </p:cBhvr>
                                    </p:animEffect>
                                  </p:childTnLst>
                                </p:cTn>
                              </p:par>
                              <p:par>
                                <p:cTn id="130" presetID="42" presetClass="path" presetSubtype="0" repeatCount="2000" accel="50000" decel="50000" autoRev="1" fill="hold" grpId="0" nodeType="withEffect">
                                  <p:stCondLst>
                                    <p:cond delay="0"/>
                                  </p:stCondLst>
                                  <p:childTnLst>
                                    <p:animMotion origin="layout" path="M 2.5E-6 3.33333E-6 L -0.02526 3.33333E-6 " pathEditMode="relative" rAng="0" ptsTypes="AA">
                                      <p:cBhvr>
                                        <p:cTn id="131" dur="750" fill="hold"/>
                                        <p:tgtEl>
                                          <p:spTgt spid="1727"/>
                                        </p:tgtEl>
                                        <p:attrNameLst>
                                          <p:attrName>ppt_x</p:attrName>
                                          <p:attrName>ppt_y</p:attrName>
                                        </p:attrNameLst>
                                      </p:cBhvr>
                                      <p:rCtr x="-1263" y="0"/>
                                    </p:animMotion>
                                  </p:childTnLst>
                                </p:cTn>
                              </p:par>
                              <p:par>
                                <p:cTn id="132" presetID="10" presetClass="entr" presetSubtype="0" fill="hold" grpId="0" nodeType="withEffect">
                                  <p:stCondLst>
                                    <p:cond delay="0"/>
                                  </p:stCondLst>
                                  <p:childTnLst>
                                    <p:set>
                                      <p:cBhvr>
                                        <p:cTn id="133" dur="1" fill="hold">
                                          <p:stCondLst>
                                            <p:cond delay="0"/>
                                          </p:stCondLst>
                                        </p:cTn>
                                        <p:tgtEl>
                                          <p:spTgt spid="1728"/>
                                        </p:tgtEl>
                                        <p:attrNameLst>
                                          <p:attrName>style.visibility</p:attrName>
                                        </p:attrNameLst>
                                      </p:cBhvr>
                                      <p:to>
                                        <p:strVal val="visible"/>
                                      </p:to>
                                    </p:set>
                                    <p:animEffect transition="in" filter="fade">
                                      <p:cBhvr>
                                        <p:cTn id="134" dur="500"/>
                                        <p:tgtEl>
                                          <p:spTgt spid="1728"/>
                                        </p:tgtEl>
                                      </p:cBhvr>
                                    </p:animEffect>
                                  </p:childTnLst>
                                </p:cTn>
                              </p:par>
                              <p:par>
                                <p:cTn id="135" presetID="10" presetClass="entr" presetSubtype="0" fill="hold" grpId="1" nodeType="withEffect">
                                  <p:stCondLst>
                                    <p:cond delay="0"/>
                                  </p:stCondLst>
                                  <p:childTnLst>
                                    <p:set>
                                      <p:cBhvr>
                                        <p:cTn id="136" dur="1" fill="hold">
                                          <p:stCondLst>
                                            <p:cond delay="0"/>
                                          </p:stCondLst>
                                        </p:cTn>
                                        <p:tgtEl>
                                          <p:spTgt spid="1729"/>
                                        </p:tgtEl>
                                        <p:attrNameLst>
                                          <p:attrName>style.visibility</p:attrName>
                                        </p:attrNameLst>
                                      </p:cBhvr>
                                      <p:to>
                                        <p:strVal val="visible"/>
                                      </p:to>
                                    </p:set>
                                    <p:animEffect transition="in" filter="fade">
                                      <p:cBhvr>
                                        <p:cTn id="137" dur="500"/>
                                        <p:tgtEl>
                                          <p:spTgt spid="1729"/>
                                        </p:tgtEl>
                                      </p:cBhvr>
                                    </p:animEffect>
                                  </p:childTnLst>
                                </p:cTn>
                              </p:par>
                              <p:par>
                                <p:cTn id="138" presetID="42" presetClass="path" presetSubtype="0" repeatCount="2000" accel="50000" decel="50000" autoRev="1" fill="hold" grpId="0" nodeType="withEffect">
                                  <p:stCondLst>
                                    <p:cond delay="0"/>
                                  </p:stCondLst>
                                  <p:childTnLst>
                                    <p:animMotion origin="layout" path="M 2.5E-6 1.48148E-6 L -0.02526 1.48148E-6 " pathEditMode="relative" rAng="0" ptsTypes="AA">
                                      <p:cBhvr>
                                        <p:cTn id="139" dur="750" fill="hold"/>
                                        <p:tgtEl>
                                          <p:spTgt spid="1729"/>
                                        </p:tgtEl>
                                        <p:attrNameLst>
                                          <p:attrName>ppt_x</p:attrName>
                                          <p:attrName>ppt_y</p:attrName>
                                        </p:attrNameLst>
                                      </p:cBhvr>
                                      <p:rCtr x="-1263" y="0"/>
                                    </p:animMotion>
                                  </p:childTnLst>
                                </p:cTn>
                              </p:par>
                              <p:par>
                                <p:cTn id="140" presetID="10" presetClass="entr" presetSubtype="0" fill="hold" grpId="0" nodeType="withEffect">
                                  <p:stCondLst>
                                    <p:cond delay="0"/>
                                  </p:stCondLst>
                                  <p:childTnLst>
                                    <p:set>
                                      <p:cBhvr>
                                        <p:cTn id="141" dur="1" fill="hold">
                                          <p:stCondLst>
                                            <p:cond delay="0"/>
                                          </p:stCondLst>
                                        </p:cTn>
                                        <p:tgtEl>
                                          <p:spTgt spid="1730"/>
                                        </p:tgtEl>
                                        <p:attrNameLst>
                                          <p:attrName>style.visibility</p:attrName>
                                        </p:attrNameLst>
                                      </p:cBhvr>
                                      <p:to>
                                        <p:strVal val="visible"/>
                                      </p:to>
                                    </p:set>
                                    <p:animEffect transition="in" filter="fade">
                                      <p:cBhvr>
                                        <p:cTn id="142" dur="500"/>
                                        <p:tgtEl>
                                          <p:spTgt spid="1730"/>
                                        </p:tgtEl>
                                      </p:cBhvr>
                                    </p:animEffect>
                                  </p:childTnLst>
                                </p:cTn>
                              </p:par>
                              <p:par>
                                <p:cTn id="143" presetID="10" presetClass="entr" presetSubtype="0" fill="hold" grpId="1" nodeType="withEffect">
                                  <p:stCondLst>
                                    <p:cond delay="0"/>
                                  </p:stCondLst>
                                  <p:childTnLst>
                                    <p:set>
                                      <p:cBhvr>
                                        <p:cTn id="144" dur="1" fill="hold">
                                          <p:stCondLst>
                                            <p:cond delay="0"/>
                                          </p:stCondLst>
                                        </p:cTn>
                                        <p:tgtEl>
                                          <p:spTgt spid="1731"/>
                                        </p:tgtEl>
                                        <p:attrNameLst>
                                          <p:attrName>style.visibility</p:attrName>
                                        </p:attrNameLst>
                                      </p:cBhvr>
                                      <p:to>
                                        <p:strVal val="visible"/>
                                      </p:to>
                                    </p:set>
                                    <p:animEffect transition="in" filter="fade">
                                      <p:cBhvr>
                                        <p:cTn id="145" dur="500"/>
                                        <p:tgtEl>
                                          <p:spTgt spid="1731"/>
                                        </p:tgtEl>
                                      </p:cBhvr>
                                    </p:animEffect>
                                  </p:childTnLst>
                                </p:cTn>
                              </p:par>
                              <p:par>
                                <p:cTn id="146" presetID="42" presetClass="path" presetSubtype="0" repeatCount="2000" accel="50000" decel="50000" autoRev="1" fill="hold" grpId="0" nodeType="withEffect">
                                  <p:stCondLst>
                                    <p:cond delay="0"/>
                                  </p:stCondLst>
                                  <p:childTnLst>
                                    <p:animMotion origin="layout" path="M 2.5E-6 -3.7037E-7 L -0.02526 -3.7037E-7 " pathEditMode="relative" rAng="0" ptsTypes="AA">
                                      <p:cBhvr>
                                        <p:cTn id="147" dur="750" fill="hold"/>
                                        <p:tgtEl>
                                          <p:spTgt spid="1731"/>
                                        </p:tgtEl>
                                        <p:attrNameLst>
                                          <p:attrName>ppt_x</p:attrName>
                                          <p:attrName>ppt_y</p:attrName>
                                        </p:attrNameLst>
                                      </p:cBhvr>
                                      <p:rCtr x="-1263" y="0"/>
                                    </p:animMotion>
                                  </p:childTnLst>
                                </p:cTn>
                              </p:par>
                              <p:par>
                                <p:cTn id="148" presetID="10" presetClass="entr" presetSubtype="0" fill="hold" grpId="0" nodeType="withEffect">
                                  <p:stCondLst>
                                    <p:cond delay="0"/>
                                  </p:stCondLst>
                                  <p:childTnLst>
                                    <p:set>
                                      <p:cBhvr>
                                        <p:cTn id="149" dur="1" fill="hold">
                                          <p:stCondLst>
                                            <p:cond delay="0"/>
                                          </p:stCondLst>
                                        </p:cTn>
                                        <p:tgtEl>
                                          <p:spTgt spid="1732"/>
                                        </p:tgtEl>
                                        <p:attrNameLst>
                                          <p:attrName>style.visibility</p:attrName>
                                        </p:attrNameLst>
                                      </p:cBhvr>
                                      <p:to>
                                        <p:strVal val="visible"/>
                                      </p:to>
                                    </p:set>
                                    <p:animEffect transition="in" filter="fade">
                                      <p:cBhvr>
                                        <p:cTn id="150" dur="500"/>
                                        <p:tgtEl>
                                          <p:spTgt spid="1732"/>
                                        </p:tgtEl>
                                      </p:cBhvr>
                                    </p:animEffect>
                                  </p:childTnLst>
                                </p:cTn>
                              </p:par>
                              <p:par>
                                <p:cTn id="151" presetID="10" presetClass="entr" presetSubtype="0" fill="hold" grpId="1" nodeType="withEffect">
                                  <p:stCondLst>
                                    <p:cond delay="0"/>
                                  </p:stCondLst>
                                  <p:childTnLst>
                                    <p:set>
                                      <p:cBhvr>
                                        <p:cTn id="152" dur="1" fill="hold">
                                          <p:stCondLst>
                                            <p:cond delay="0"/>
                                          </p:stCondLst>
                                        </p:cTn>
                                        <p:tgtEl>
                                          <p:spTgt spid="2291"/>
                                        </p:tgtEl>
                                        <p:attrNameLst>
                                          <p:attrName>style.visibility</p:attrName>
                                        </p:attrNameLst>
                                      </p:cBhvr>
                                      <p:to>
                                        <p:strVal val="visible"/>
                                      </p:to>
                                    </p:set>
                                    <p:animEffect transition="in" filter="fade">
                                      <p:cBhvr>
                                        <p:cTn id="153" dur="500"/>
                                        <p:tgtEl>
                                          <p:spTgt spid="2291"/>
                                        </p:tgtEl>
                                      </p:cBhvr>
                                    </p:animEffect>
                                  </p:childTnLst>
                                </p:cTn>
                              </p:par>
                              <p:par>
                                <p:cTn id="154" presetID="42" presetClass="path" presetSubtype="0" repeatCount="2000" accel="50000" decel="50000" autoRev="1" fill="hold" grpId="0" nodeType="withEffect">
                                  <p:stCondLst>
                                    <p:cond delay="0"/>
                                  </p:stCondLst>
                                  <p:childTnLst>
                                    <p:animMotion origin="layout" path="M 2.5E-6 -2.22222E-6 L -0.02526 -2.22222E-6 " pathEditMode="relative" rAng="0" ptsTypes="AA">
                                      <p:cBhvr>
                                        <p:cTn id="155" dur="750" fill="hold"/>
                                        <p:tgtEl>
                                          <p:spTgt spid="2291"/>
                                        </p:tgtEl>
                                        <p:attrNameLst>
                                          <p:attrName>ppt_x</p:attrName>
                                          <p:attrName>ppt_y</p:attrName>
                                        </p:attrNameLst>
                                      </p:cBhvr>
                                      <p:rCtr x="-1263" y="0"/>
                                    </p:animMotion>
                                  </p:childTnLst>
                                </p:cTn>
                              </p:par>
                              <p:par>
                                <p:cTn id="156" presetID="10" presetClass="entr" presetSubtype="0" fill="hold" grpId="0" nodeType="withEffect">
                                  <p:stCondLst>
                                    <p:cond delay="0"/>
                                  </p:stCondLst>
                                  <p:childTnLst>
                                    <p:set>
                                      <p:cBhvr>
                                        <p:cTn id="157" dur="1" fill="hold">
                                          <p:stCondLst>
                                            <p:cond delay="0"/>
                                          </p:stCondLst>
                                        </p:cTn>
                                        <p:tgtEl>
                                          <p:spTgt spid="2292"/>
                                        </p:tgtEl>
                                        <p:attrNameLst>
                                          <p:attrName>style.visibility</p:attrName>
                                        </p:attrNameLst>
                                      </p:cBhvr>
                                      <p:to>
                                        <p:strVal val="visible"/>
                                      </p:to>
                                    </p:set>
                                    <p:animEffect transition="in" filter="fade">
                                      <p:cBhvr>
                                        <p:cTn id="158" dur="500"/>
                                        <p:tgtEl>
                                          <p:spTgt spid="2292"/>
                                        </p:tgtEl>
                                      </p:cBhvr>
                                    </p:animEffect>
                                  </p:childTnLst>
                                </p:cTn>
                              </p:par>
                              <p:par>
                                <p:cTn id="159" presetID="10" presetClass="entr" presetSubtype="0" fill="hold" grpId="1" nodeType="withEffect">
                                  <p:stCondLst>
                                    <p:cond delay="0"/>
                                  </p:stCondLst>
                                  <p:childTnLst>
                                    <p:set>
                                      <p:cBhvr>
                                        <p:cTn id="160" dur="1" fill="hold">
                                          <p:stCondLst>
                                            <p:cond delay="0"/>
                                          </p:stCondLst>
                                        </p:cTn>
                                        <p:tgtEl>
                                          <p:spTgt spid="2293"/>
                                        </p:tgtEl>
                                        <p:attrNameLst>
                                          <p:attrName>style.visibility</p:attrName>
                                        </p:attrNameLst>
                                      </p:cBhvr>
                                      <p:to>
                                        <p:strVal val="visible"/>
                                      </p:to>
                                    </p:set>
                                    <p:animEffect transition="in" filter="fade">
                                      <p:cBhvr>
                                        <p:cTn id="161" dur="500"/>
                                        <p:tgtEl>
                                          <p:spTgt spid="2293"/>
                                        </p:tgtEl>
                                      </p:cBhvr>
                                    </p:animEffect>
                                  </p:childTnLst>
                                </p:cTn>
                              </p:par>
                              <p:par>
                                <p:cTn id="162" presetID="42" presetClass="path" presetSubtype="0" repeatCount="2000" accel="50000" decel="50000" autoRev="1" fill="hold" grpId="0" nodeType="withEffect">
                                  <p:stCondLst>
                                    <p:cond delay="0"/>
                                  </p:stCondLst>
                                  <p:childTnLst>
                                    <p:animMotion origin="layout" path="M 2.5E-6 -4.07407E-6 L -0.02526 -4.07407E-6 " pathEditMode="relative" rAng="0" ptsTypes="AA">
                                      <p:cBhvr>
                                        <p:cTn id="163" dur="750" fill="hold"/>
                                        <p:tgtEl>
                                          <p:spTgt spid="2293"/>
                                        </p:tgtEl>
                                        <p:attrNameLst>
                                          <p:attrName>ppt_x</p:attrName>
                                          <p:attrName>ppt_y</p:attrName>
                                        </p:attrNameLst>
                                      </p:cBhvr>
                                      <p:rCtr x="-1263" y="0"/>
                                    </p:animMotion>
                                  </p:childTnLst>
                                </p:cTn>
                              </p:par>
                              <p:par>
                                <p:cTn id="164" presetID="10" presetClass="entr" presetSubtype="0" fill="hold" grpId="0" nodeType="withEffect">
                                  <p:stCondLst>
                                    <p:cond delay="0"/>
                                  </p:stCondLst>
                                  <p:childTnLst>
                                    <p:set>
                                      <p:cBhvr>
                                        <p:cTn id="165" dur="1" fill="hold">
                                          <p:stCondLst>
                                            <p:cond delay="0"/>
                                          </p:stCondLst>
                                        </p:cTn>
                                        <p:tgtEl>
                                          <p:spTgt spid="2294"/>
                                        </p:tgtEl>
                                        <p:attrNameLst>
                                          <p:attrName>style.visibility</p:attrName>
                                        </p:attrNameLst>
                                      </p:cBhvr>
                                      <p:to>
                                        <p:strVal val="visible"/>
                                      </p:to>
                                    </p:set>
                                    <p:animEffect transition="in" filter="fade">
                                      <p:cBhvr>
                                        <p:cTn id="166" dur="500"/>
                                        <p:tgtEl>
                                          <p:spTgt spid="2294"/>
                                        </p:tgtEl>
                                      </p:cBhvr>
                                    </p:animEffect>
                                  </p:childTnLst>
                                </p:cTn>
                              </p:par>
                              <p:par>
                                <p:cTn id="167" presetID="10" presetClass="entr" presetSubtype="0" fill="hold" grpId="1" nodeType="withEffect">
                                  <p:stCondLst>
                                    <p:cond delay="0"/>
                                  </p:stCondLst>
                                  <p:childTnLst>
                                    <p:set>
                                      <p:cBhvr>
                                        <p:cTn id="168" dur="1" fill="hold">
                                          <p:stCondLst>
                                            <p:cond delay="0"/>
                                          </p:stCondLst>
                                        </p:cTn>
                                        <p:tgtEl>
                                          <p:spTgt spid="2295"/>
                                        </p:tgtEl>
                                        <p:attrNameLst>
                                          <p:attrName>style.visibility</p:attrName>
                                        </p:attrNameLst>
                                      </p:cBhvr>
                                      <p:to>
                                        <p:strVal val="visible"/>
                                      </p:to>
                                    </p:set>
                                    <p:animEffect transition="in" filter="fade">
                                      <p:cBhvr>
                                        <p:cTn id="169" dur="500"/>
                                        <p:tgtEl>
                                          <p:spTgt spid="2295"/>
                                        </p:tgtEl>
                                      </p:cBhvr>
                                    </p:animEffect>
                                  </p:childTnLst>
                                </p:cTn>
                              </p:par>
                              <p:par>
                                <p:cTn id="170" presetID="42" presetClass="path" presetSubtype="0" repeatCount="2000" accel="50000" decel="50000" autoRev="1" fill="hold" grpId="0" nodeType="withEffect">
                                  <p:stCondLst>
                                    <p:cond delay="0"/>
                                  </p:stCondLst>
                                  <p:childTnLst>
                                    <p:animMotion origin="layout" path="M 2.5E-6 4.07407E-6 L -0.02526 4.07407E-6 " pathEditMode="relative" rAng="0" ptsTypes="AA">
                                      <p:cBhvr>
                                        <p:cTn id="171" dur="750" fill="hold"/>
                                        <p:tgtEl>
                                          <p:spTgt spid="2295"/>
                                        </p:tgtEl>
                                        <p:attrNameLst>
                                          <p:attrName>ppt_x</p:attrName>
                                          <p:attrName>ppt_y</p:attrName>
                                        </p:attrNameLst>
                                      </p:cBhvr>
                                      <p:rCtr x="-1263" y="0"/>
                                    </p:animMotion>
                                  </p:childTnLst>
                                </p:cTn>
                              </p:par>
                              <p:par>
                                <p:cTn id="172" presetID="10" presetClass="entr" presetSubtype="0" fill="hold" grpId="0" nodeType="withEffect">
                                  <p:stCondLst>
                                    <p:cond delay="0"/>
                                  </p:stCondLst>
                                  <p:childTnLst>
                                    <p:set>
                                      <p:cBhvr>
                                        <p:cTn id="173" dur="1" fill="hold">
                                          <p:stCondLst>
                                            <p:cond delay="0"/>
                                          </p:stCondLst>
                                        </p:cTn>
                                        <p:tgtEl>
                                          <p:spTgt spid="2296"/>
                                        </p:tgtEl>
                                        <p:attrNameLst>
                                          <p:attrName>style.visibility</p:attrName>
                                        </p:attrNameLst>
                                      </p:cBhvr>
                                      <p:to>
                                        <p:strVal val="visible"/>
                                      </p:to>
                                    </p:set>
                                    <p:animEffect transition="in" filter="fade">
                                      <p:cBhvr>
                                        <p:cTn id="174" dur="500"/>
                                        <p:tgtEl>
                                          <p:spTgt spid="2296"/>
                                        </p:tgtEl>
                                      </p:cBhvr>
                                    </p:animEffect>
                                  </p:childTnLst>
                                </p:cTn>
                              </p:par>
                              <p:par>
                                <p:cTn id="175" presetID="10" presetClass="entr" presetSubtype="0" fill="hold" grpId="1" nodeType="withEffect">
                                  <p:stCondLst>
                                    <p:cond delay="0"/>
                                  </p:stCondLst>
                                  <p:childTnLst>
                                    <p:set>
                                      <p:cBhvr>
                                        <p:cTn id="176" dur="1" fill="hold">
                                          <p:stCondLst>
                                            <p:cond delay="0"/>
                                          </p:stCondLst>
                                        </p:cTn>
                                        <p:tgtEl>
                                          <p:spTgt spid="2297"/>
                                        </p:tgtEl>
                                        <p:attrNameLst>
                                          <p:attrName>style.visibility</p:attrName>
                                        </p:attrNameLst>
                                      </p:cBhvr>
                                      <p:to>
                                        <p:strVal val="visible"/>
                                      </p:to>
                                    </p:set>
                                    <p:animEffect transition="in" filter="fade">
                                      <p:cBhvr>
                                        <p:cTn id="177" dur="500"/>
                                        <p:tgtEl>
                                          <p:spTgt spid="2297"/>
                                        </p:tgtEl>
                                      </p:cBhvr>
                                    </p:animEffect>
                                  </p:childTnLst>
                                </p:cTn>
                              </p:par>
                              <p:par>
                                <p:cTn id="178" presetID="42" presetClass="path" presetSubtype="0" repeatCount="2000" accel="50000" decel="50000" autoRev="1" fill="hold" grpId="0" nodeType="withEffect">
                                  <p:stCondLst>
                                    <p:cond delay="0"/>
                                  </p:stCondLst>
                                  <p:childTnLst>
                                    <p:animMotion origin="layout" path="M 2.70833E-6 7.40741E-7 L -0.02526 7.40741E-7 " pathEditMode="relative" rAng="0" ptsTypes="AA">
                                      <p:cBhvr>
                                        <p:cTn id="179" dur="750" fill="hold"/>
                                        <p:tgtEl>
                                          <p:spTgt spid="2297"/>
                                        </p:tgtEl>
                                        <p:attrNameLst>
                                          <p:attrName>ppt_x</p:attrName>
                                          <p:attrName>ppt_y</p:attrName>
                                        </p:attrNameLst>
                                      </p:cBhvr>
                                      <p:rCtr x="-1263" y="0"/>
                                    </p:animMotion>
                                  </p:childTnLst>
                                </p:cTn>
                              </p:par>
                              <p:par>
                                <p:cTn id="180" presetID="10" presetClass="entr" presetSubtype="0" fill="hold" grpId="0" nodeType="withEffect">
                                  <p:stCondLst>
                                    <p:cond delay="0"/>
                                  </p:stCondLst>
                                  <p:childTnLst>
                                    <p:set>
                                      <p:cBhvr>
                                        <p:cTn id="181" dur="1" fill="hold">
                                          <p:stCondLst>
                                            <p:cond delay="0"/>
                                          </p:stCondLst>
                                        </p:cTn>
                                        <p:tgtEl>
                                          <p:spTgt spid="2298"/>
                                        </p:tgtEl>
                                        <p:attrNameLst>
                                          <p:attrName>style.visibility</p:attrName>
                                        </p:attrNameLst>
                                      </p:cBhvr>
                                      <p:to>
                                        <p:strVal val="visible"/>
                                      </p:to>
                                    </p:set>
                                    <p:animEffect transition="in" filter="fade">
                                      <p:cBhvr>
                                        <p:cTn id="182" dur="500"/>
                                        <p:tgtEl>
                                          <p:spTgt spid="2298"/>
                                        </p:tgtEl>
                                      </p:cBhvr>
                                    </p:animEffect>
                                  </p:childTnLst>
                                </p:cTn>
                              </p:par>
                              <p:par>
                                <p:cTn id="183" presetID="10" presetClass="entr" presetSubtype="0" fill="hold" grpId="1" nodeType="withEffect">
                                  <p:stCondLst>
                                    <p:cond delay="0"/>
                                  </p:stCondLst>
                                  <p:childTnLst>
                                    <p:set>
                                      <p:cBhvr>
                                        <p:cTn id="184" dur="1" fill="hold">
                                          <p:stCondLst>
                                            <p:cond delay="0"/>
                                          </p:stCondLst>
                                        </p:cTn>
                                        <p:tgtEl>
                                          <p:spTgt spid="2338"/>
                                        </p:tgtEl>
                                        <p:attrNameLst>
                                          <p:attrName>style.visibility</p:attrName>
                                        </p:attrNameLst>
                                      </p:cBhvr>
                                      <p:to>
                                        <p:strVal val="visible"/>
                                      </p:to>
                                    </p:set>
                                    <p:animEffect transition="in" filter="fade">
                                      <p:cBhvr>
                                        <p:cTn id="185" dur="500"/>
                                        <p:tgtEl>
                                          <p:spTgt spid="2338"/>
                                        </p:tgtEl>
                                      </p:cBhvr>
                                    </p:animEffect>
                                  </p:childTnLst>
                                </p:cTn>
                              </p:par>
                              <p:par>
                                <p:cTn id="186" presetID="42" presetClass="path" presetSubtype="0" repeatCount="2000" accel="50000" decel="50000" autoRev="1" fill="hold" grpId="0" nodeType="withEffect">
                                  <p:stCondLst>
                                    <p:cond delay="0"/>
                                  </p:stCondLst>
                                  <p:childTnLst>
                                    <p:animMotion origin="layout" path="M 2.70833E-6 -1.11111E-6 L -0.02526 -1.11111E-6 " pathEditMode="relative" rAng="0" ptsTypes="AA">
                                      <p:cBhvr>
                                        <p:cTn id="187" dur="750" fill="hold"/>
                                        <p:tgtEl>
                                          <p:spTgt spid="2338"/>
                                        </p:tgtEl>
                                        <p:attrNameLst>
                                          <p:attrName>ppt_x</p:attrName>
                                          <p:attrName>ppt_y</p:attrName>
                                        </p:attrNameLst>
                                      </p:cBhvr>
                                      <p:rCtr x="-1263" y="0"/>
                                    </p:animMotion>
                                  </p:childTnLst>
                                </p:cTn>
                              </p:par>
                              <p:par>
                                <p:cTn id="188" presetID="10" presetClass="entr" presetSubtype="0" fill="hold" grpId="0" nodeType="withEffect">
                                  <p:stCondLst>
                                    <p:cond delay="0"/>
                                  </p:stCondLst>
                                  <p:childTnLst>
                                    <p:set>
                                      <p:cBhvr>
                                        <p:cTn id="189" dur="1" fill="hold">
                                          <p:stCondLst>
                                            <p:cond delay="0"/>
                                          </p:stCondLst>
                                        </p:cTn>
                                        <p:tgtEl>
                                          <p:spTgt spid="2339"/>
                                        </p:tgtEl>
                                        <p:attrNameLst>
                                          <p:attrName>style.visibility</p:attrName>
                                        </p:attrNameLst>
                                      </p:cBhvr>
                                      <p:to>
                                        <p:strVal val="visible"/>
                                      </p:to>
                                    </p:set>
                                    <p:animEffect transition="in" filter="fade">
                                      <p:cBhvr>
                                        <p:cTn id="190" dur="500"/>
                                        <p:tgtEl>
                                          <p:spTgt spid="2339"/>
                                        </p:tgtEl>
                                      </p:cBhvr>
                                    </p:animEffect>
                                  </p:childTnLst>
                                </p:cTn>
                              </p:par>
                              <p:par>
                                <p:cTn id="191" presetID="10" presetClass="entr" presetSubtype="0" fill="hold" grpId="1" nodeType="withEffect">
                                  <p:stCondLst>
                                    <p:cond delay="0"/>
                                  </p:stCondLst>
                                  <p:childTnLst>
                                    <p:set>
                                      <p:cBhvr>
                                        <p:cTn id="192" dur="1" fill="hold">
                                          <p:stCondLst>
                                            <p:cond delay="0"/>
                                          </p:stCondLst>
                                        </p:cTn>
                                        <p:tgtEl>
                                          <p:spTgt spid="2340"/>
                                        </p:tgtEl>
                                        <p:attrNameLst>
                                          <p:attrName>style.visibility</p:attrName>
                                        </p:attrNameLst>
                                      </p:cBhvr>
                                      <p:to>
                                        <p:strVal val="visible"/>
                                      </p:to>
                                    </p:set>
                                    <p:animEffect transition="in" filter="fade">
                                      <p:cBhvr>
                                        <p:cTn id="193" dur="500"/>
                                        <p:tgtEl>
                                          <p:spTgt spid="2340"/>
                                        </p:tgtEl>
                                      </p:cBhvr>
                                    </p:animEffect>
                                  </p:childTnLst>
                                </p:cTn>
                              </p:par>
                              <p:par>
                                <p:cTn id="194" presetID="42" presetClass="path" presetSubtype="0" repeatCount="2000" accel="50000" decel="50000" autoRev="1" fill="hold" grpId="0" nodeType="withEffect">
                                  <p:stCondLst>
                                    <p:cond delay="0"/>
                                  </p:stCondLst>
                                  <p:childTnLst>
                                    <p:animMotion origin="layout" path="M 2.70833E-6 -2.96296E-6 L -0.02526 -2.96296E-6 " pathEditMode="relative" rAng="0" ptsTypes="AA">
                                      <p:cBhvr>
                                        <p:cTn id="195" dur="750" fill="hold"/>
                                        <p:tgtEl>
                                          <p:spTgt spid="2340"/>
                                        </p:tgtEl>
                                        <p:attrNameLst>
                                          <p:attrName>ppt_x</p:attrName>
                                          <p:attrName>ppt_y</p:attrName>
                                        </p:attrNameLst>
                                      </p:cBhvr>
                                      <p:rCtr x="-1263" y="0"/>
                                    </p:animMotion>
                                  </p:childTnLst>
                                </p:cTn>
                              </p:par>
                              <p:par>
                                <p:cTn id="196" presetID="10" presetClass="entr" presetSubtype="0" fill="hold" grpId="0" nodeType="withEffect">
                                  <p:stCondLst>
                                    <p:cond delay="0"/>
                                  </p:stCondLst>
                                  <p:childTnLst>
                                    <p:set>
                                      <p:cBhvr>
                                        <p:cTn id="197" dur="1" fill="hold">
                                          <p:stCondLst>
                                            <p:cond delay="0"/>
                                          </p:stCondLst>
                                        </p:cTn>
                                        <p:tgtEl>
                                          <p:spTgt spid="2341"/>
                                        </p:tgtEl>
                                        <p:attrNameLst>
                                          <p:attrName>style.visibility</p:attrName>
                                        </p:attrNameLst>
                                      </p:cBhvr>
                                      <p:to>
                                        <p:strVal val="visible"/>
                                      </p:to>
                                    </p:set>
                                    <p:animEffect transition="in" filter="fade">
                                      <p:cBhvr>
                                        <p:cTn id="198" dur="500"/>
                                        <p:tgtEl>
                                          <p:spTgt spid="2341"/>
                                        </p:tgtEl>
                                      </p:cBhvr>
                                    </p:animEffect>
                                  </p:childTnLst>
                                </p:cTn>
                              </p:par>
                              <p:par>
                                <p:cTn id="199" presetID="10" presetClass="entr" presetSubtype="0" fill="hold" grpId="1" nodeType="withEffect">
                                  <p:stCondLst>
                                    <p:cond delay="0"/>
                                  </p:stCondLst>
                                  <p:childTnLst>
                                    <p:set>
                                      <p:cBhvr>
                                        <p:cTn id="200" dur="1" fill="hold">
                                          <p:stCondLst>
                                            <p:cond delay="0"/>
                                          </p:stCondLst>
                                        </p:cTn>
                                        <p:tgtEl>
                                          <p:spTgt spid="2342"/>
                                        </p:tgtEl>
                                        <p:attrNameLst>
                                          <p:attrName>style.visibility</p:attrName>
                                        </p:attrNameLst>
                                      </p:cBhvr>
                                      <p:to>
                                        <p:strVal val="visible"/>
                                      </p:to>
                                    </p:set>
                                    <p:animEffect transition="in" filter="fade">
                                      <p:cBhvr>
                                        <p:cTn id="201" dur="500"/>
                                        <p:tgtEl>
                                          <p:spTgt spid="2342"/>
                                        </p:tgtEl>
                                      </p:cBhvr>
                                    </p:animEffect>
                                  </p:childTnLst>
                                </p:cTn>
                              </p:par>
                              <p:par>
                                <p:cTn id="202" presetID="42" presetClass="path" presetSubtype="0" repeatCount="2000" accel="50000" decel="50000" autoRev="1" fill="hold" grpId="0" nodeType="withEffect">
                                  <p:stCondLst>
                                    <p:cond delay="0"/>
                                  </p:stCondLst>
                                  <p:childTnLst>
                                    <p:animMotion origin="layout" path="M 2.70833E-6 -4.81481E-6 L -0.02526 -4.81481E-6 " pathEditMode="relative" rAng="0" ptsTypes="AA">
                                      <p:cBhvr>
                                        <p:cTn id="203" dur="750" fill="hold"/>
                                        <p:tgtEl>
                                          <p:spTgt spid="2342"/>
                                        </p:tgtEl>
                                        <p:attrNameLst>
                                          <p:attrName>ppt_x</p:attrName>
                                          <p:attrName>ppt_y</p:attrName>
                                        </p:attrNameLst>
                                      </p:cBhvr>
                                      <p:rCtr x="-1263" y="0"/>
                                    </p:animMotion>
                                  </p:childTnLst>
                                </p:cTn>
                              </p:par>
                              <p:par>
                                <p:cTn id="204" presetID="10" presetClass="entr" presetSubtype="0" fill="hold" grpId="0" nodeType="withEffect">
                                  <p:stCondLst>
                                    <p:cond delay="0"/>
                                  </p:stCondLst>
                                  <p:childTnLst>
                                    <p:set>
                                      <p:cBhvr>
                                        <p:cTn id="205" dur="1" fill="hold">
                                          <p:stCondLst>
                                            <p:cond delay="0"/>
                                          </p:stCondLst>
                                        </p:cTn>
                                        <p:tgtEl>
                                          <p:spTgt spid="2343"/>
                                        </p:tgtEl>
                                        <p:attrNameLst>
                                          <p:attrName>style.visibility</p:attrName>
                                        </p:attrNameLst>
                                      </p:cBhvr>
                                      <p:to>
                                        <p:strVal val="visible"/>
                                      </p:to>
                                    </p:set>
                                    <p:animEffect transition="in" filter="fade">
                                      <p:cBhvr>
                                        <p:cTn id="206" dur="500"/>
                                        <p:tgtEl>
                                          <p:spTgt spid="2343"/>
                                        </p:tgtEl>
                                      </p:cBhvr>
                                    </p:animEffect>
                                  </p:childTnLst>
                                </p:cTn>
                              </p:par>
                              <p:par>
                                <p:cTn id="207" presetID="10" presetClass="entr" presetSubtype="0" fill="hold" grpId="1" nodeType="withEffect">
                                  <p:stCondLst>
                                    <p:cond delay="0"/>
                                  </p:stCondLst>
                                  <p:childTnLst>
                                    <p:set>
                                      <p:cBhvr>
                                        <p:cTn id="208" dur="1" fill="hold">
                                          <p:stCondLst>
                                            <p:cond delay="0"/>
                                          </p:stCondLst>
                                        </p:cTn>
                                        <p:tgtEl>
                                          <p:spTgt spid="2344"/>
                                        </p:tgtEl>
                                        <p:attrNameLst>
                                          <p:attrName>style.visibility</p:attrName>
                                        </p:attrNameLst>
                                      </p:cBhvr>
                                      <p:to>
                                        <p:strVal val="visible"/>
                                      </p:to>
                                    </p:set>
                                    <p:animEffect transition="in" filter="fade">
                                      <p:cBhvr>
                                        <p:cTn id="209" dur="500"/>
                                        <p:tgtEl>
                                          <p:spTgt spid="2344"/>
                                        </p:tgtEl>
                                      </p:cBhvr>
                                    </p:animEffect>
                                  </p:childTnLst>
                                </p:cTn>
                              </p:par>
                              <p:par>
                                <p:cTn id="210" presetID="42" presetClass="path" presetSubtype="0" repeatCount="2000" accel="50000" decel="50000" autoRev="1" fill="hold" grpId="0" nodeType="withEffect">
                                  <p:stCondLst>
                                    <p:cond delay="0"/>
                                  </p:stCondLst>
                                  <p:childTnLst>
                                    <p:animMotion origin="layout" path="M 2.70833E-6 3.33333E-6 L -0.02526 3.33333E-6 " pathEditMode="relative" rAng="0" ptsTypes="AA">
                                      <p:cBhvr>
                                        <p:cTn id="211" dur="750" fill="hold"/>
                                        <p:tgtEl>
                                          <p:spTgt spid="2344"/>
                                        </p:tgtEl>
                                        <p:attrNameLst>
                                          <p:attrName>ppt_x</p:attrName>
                                          <p:attrName>ppt_y</p:attrName>
                                        </p:attrNameLst>
                                      </p:cBhvr>
                                      <p:rCtr x="-1263" y="0"/>
                                    </p:animMotion>
                                  </p:childTnLst>
                                </p:cTn>
                              </p:par>
                              <p:par>
                                <p:cTn id="212" presetID="10" presetClass="entr" presetSubtype="0" fill="hold" grpId="0" nodeType="withEffect">
                                  <p:stCondLst>
                                    <p:cond delay="0"/>
                                  </p:stCondLst>
                                  <p:childTnLst>
                                    <p:set>
                                      <p:cBhvr>
                                        <p:cTn id="213" dur="1" fill="hold">
                                          <p:stCondLst>
                                            <p:cond delay="0"/>
                                          </p:stCondLst>
                                        </p:cTn>
                                        <p:tgtEl>
                                          <p:spTgt spid="2345"/>
                                        </p:tgtEl>
                                        <p:attrNameLst>
                                          <p:attrName>style.visibility</p:attrName>
                                        </p:attrNameLst>
                                      </p:cBhvr>
                                      <p:to>
                                        <p:strVal val="visible"/>
                                      </p:to>
                                    </p:set>
                                    <p:animEffect transition="in" filter="fade">
                                      <p:cBhvr>
                                        <p:cTn id="214" dur="500"/>
                                        <p:tgtEl>
                                          <p:spTgt spid="2345"/>
                                        </p:tgtEl>
                                      </p:cBhvr>
                                    </p:animEffect>
                                  </p:childTnLst>
                                </p:cTn>
                              </p:par>
                              <p:par>
                                <p:cTn id="215" presetID="10" presetClass="entr" presetSubtype="0" fill="hold" grpId="1" nodeType="withEffect">
                                  <p:stCondLst>
                                    <p:cond delay="0"/>
                                  </p:stCondLst>
                                  <p:childTnLst>
                                    <p:set>
                                      <p:cBhvr>
                                        <p:cTn id="216" dur="1" fill="hold">
                                          <p:stCondLst>
                                            <p:cond delay="0"/>
                                          </p:stCondLst>
                                        </p:cTn>
                                        <p:tgtEl>
                                          <p:spTgt spid="2346"/>
                                        </p:tgtEl>
                                        <p:attrNameLst>
                                          <p:attrName>style.visibility</p:attrName>
                                        </p:attrNameLst>
                                      </p:cBhvr>
                                      <p:to>
                                        <p:strVal val="visible"/>
                                      </p:to>
                                    </p:set>
                                    <p:animEffect transition="in" filter="fade">
                                      <p:cBhvr>
                                        <p:cTn id="217" dur="500"/>
                                        <p:tgtEl>
                                          <p:spTgt spid="2346"/>
                                        </p:tgtEl>
                                      </p:cBhvr>
                                    </p:animEffect>
                                  </p:childTnLst>
                                </p:cTn>
                              </p:par>
                              <p:par>
                                <p:cTn id="218" presetID="42" presetClass="path" presetSubtype="0" repeatCount="2000" accel="50000" decel="50000" autoRev="1" fill="hold" grpId="0" nodeType="withEffect">
                                  <p:stCondLst>
                                    <p:cond delay="0"/>
                                  </p:stCondLst>
                                  <p:childTnLst>
                                    <p:animMotion origin="layout" path="M 2.70833E-6 1.48148E-6 L -0.02526 1.48148E-6 " pathEditMode="relative" rAng="0" ptsTypes="AA">
                                      <p:cBhvr>
                                        <p:cTn id="219" dur="750" fill="hold"/>
                                        <p:tgtEl>
                                          <p:spTgt spid="2346"/>
                                        </p:tgtEl>
                                        <p:attrNameLst>
                                          <p:attrName>ppt_x</p:attrName>
                                          <p:attrName>ppt_y</p:attrName>
                                        </p:attrNameLst>
                                      </p:cBhvr>
                                      <p:rCtr x="-1263" y="0"/>
                                    </p:animMotion>
                                  </p:childTnLst>
                                </p:cTn>
                              </p:par>
                              <p:par>
                                <p:cTn id="220" presetID="10" presetClass="entr" presetSubtype="0" fill="hold" grpId="0" nodeType="withEffect">
                                  <p:stCondLst>
                                    <p:cond delay="0"/>
                                  </p:stCondLst>
                                  <p:childTnLst>
                                    <p:set>
                                      <p:cBhvr>
                                        <p:cTn id="221" dur="1" fill="hold">
                                          <p:stCondLst>
                                            <p:cond delay="0"/>
                                          </p:stCondLst>
                                        </p:cTn>
                                        <p:tgtEl>
                                          <p:spTgt spid="2347"/>
                                        </p:tgtEl>
                                        <p:attrNameLst>
                                          <p:attrName>style.visibility</p:attrName>
                                        </p:attrNameLst>
                                      </p:cBhvr>
                                      <p:to>
                                        <p:strVal val="visible"/>
                                      </p:to>
                                    </p:set>
                                    <p:animEffect transition="in" filter="fade">
                                      <p:cBhvr>
                                        <p:cTn id="222" dur="500"/>
                                        <p:tgtEl>
                                          <p:spTgt spid="2347"/>
                                        </p:tgtEl>
                                      </p:cBhvr>
                                    </p:animEffect>
                                  </p:childTnLst>
                                </p:cTn>
                              </p:par>
                              <p:par>
                                <p:cTn id="223" presetID="10" presetClass="entr" presetSubtype="0" fill="hold" grpId="1" nodeType="withEffect">
                                  <p:stCondLst>
                                    <p:cond delay="0"/>
                                  </p:stCondLst>
                                  <p:childTnLst>
                                    <p:set>
                                      <p:cBhvr>
                                        <p:cTn id="224" dur="1" fill="hold">
                                          <p:stCondLst>
                                            <p:cond delay="0"/>
                                          </p:stCondLst>
                                        </p:cTn>
                                        <p:tgtEl>
                                          <p:spTgt spid="2348"/>
                                        </p:tgtEl>
                                        <p:attrNameLst>
                                          <p:attrName>style.visibility</p:attrName>
                                        </p:attrNameLst>
                                      </p:cBhvr>
                                      <p:to>
                                        <p:strVal val="visible"/>
                                      </p:to>
                                    </p:set>
                                    <p:animEffect transition="in" filter="fade">
                                      <p:cBhvr>
                                        <p:cTn id="225" dur="500"/>
                                        <p:tgtEl>
                                          <p:spTgt spid="2348"/>
                                        </p:tgtEl>
                                      </p:cBhvr>
                                    </p:animEffect>
                                  </p:childTnLst>
                                </p:cTn>
                              </p:par>
                              <p:par>
                                <p:cTn id="226" presetID="42" presetClass="path" presetSubtype="0" repeatCount="2000" accel="50000" decel="50000" autoRev="1" fill="hold" grpId="0" nodeType="withEffect">
                                  <p:stCondLst>
                                    <p:cond delay="0"/>
                                  </p:stCondLst>
                                  <p:childTnLst>
                                    <p:animMotion origin="layout" path="M 2.70833E-6 -3.7037E-7 L -0.02526 -3.7037E-7 " pathEditMode="relative" rAng="0" ptsTypes="AA">
                                      <p:cBhvr>
                                        <p:cTn id="227" dur="750" fill="hold"/>
                                        <p:tgtEl>
                                          <p:spTgt spid="2348"/>
                                        </p:tgtEl>
                                        <p:attrNameLst>
                                          <p:attrName>ppt_x</p:attrName>
                                          <p:attrName>ppt_y</p:attrName>
                                        </p:attrNameLst>
                                      </p:cBhvr>
                                      <p:rCtr x="-1263" y="0"/>
                                    </p:animMotion>
                                  </p:childTnLst>
                                </p:cTn>
                              </p:par>
                              <p:par>
                                <p:cTn id="228" presetID="10" presetClass="entr" presetSubtype="0" fill="hold" grpId="0" nodeType="withEffect">
                                  <p:stCondLst>
                                    <p:cond delay="0"/>
                                  </p:stCondLst>
                                  <p:childTnLst>
                                    <p:set>
                                      <p:cBhvr>
                                        <p:cTn id="229" dur="1" fill="hold">
                                          <p:stCondLst>
                                            <p:cond delay="0"/>
                                          </p:stCondLst>
                                        </p:cTn>
                                        <p:tgtEl>
                                          <p:spTgt spid="2349"/>
                                        </p:tgtEl>
                                        <p:attrNameLst>
                                          <p:attrName>style.visibility</p:attrName>
                                        </p:attrNameLst>
                                      </p:cBhvr>
                                      <p:to>
                                        <p:strVal val="visible"/>
                                      </p:to>
                                    </p:set>
                                    <p:animEffect transition="in" filter="fade">
                                      <p:cBhvr>
                                        <p:cTn id="230" dur="500"/>
                                        <p:tgtEl>
                                          <p:spTgt spid="2349"/>
                                        </p:tgtEl>
                                      </p:cBhvr>
                                    </p:animEffect>
                                  </p:childTnLst>
                                </p:cTn>
                              </p:par>
                              <p:par>
                                <p:cTn id="231" presetID="10" presetClass="entr" presetSubtype="0" fill="hold" grpId="1" nodeType="withEffect">
                                  <p:stCondLst>
                                    <p:cond delay="0"/>
                                  </p:stCondLst>
                                  <p:childTnLst>
                                    <p:set>
                                      <p:cBhvr>
                                        <p:cTn id="232" dur="1" fill="hold">
                                          <p:stCondLst>
                                            <p:cond delay="0"/>
                                          </p:stCondLst>
                                        </p:cTn>
                                        <p:tgtEl>
                                          <p:spTgt spid="2350"/>
                                        </p:tgtEl>
                                        <p:attrNameLst>
                                          <p:attrName>style.visibility</p:attrName>
                                        </p:attrNameLst>
                                      </p:cBhvr>
                                      <p:to>
                                        <p:strVal val="visible"/>
                                      </p:to>
                                    </p:set>
                                    <p:animEffect transition="in" filter="fade">
                                      <p:cBhvr>
                                        <p:cTn id="233" dur="500"/>
                                        <p:tgtEl>
                                          <p:spTgt spid="2350"/>
                                        </p:tgtEl>
                                      </p:cBhvr>
                                    </p:animEffect>
                                  </p:childTnLst>
                                </p:cTn>
                              </p:par>
                              <p:par>
                                <p:cTn id="234" presetID="42" presetClass="path" presetSubtype="0" repeatCount="2000" accel="50000" decel="50000" autoRev="1" fill="hold" grpId="0" nodeType="withEffect">
                                  <p:stCondLst>
                                    <p:cond delay="0"/>
                                  </p:stCondLst>
                                  <p:childTnLst>
                                    <p:animMotion origin="layout" path="M 2.70833E-6 -2.22222E-6 L -0.02526 -2.22222E-6 " pathEditMode="relative" rAng="0" ptsTypes="AA">
                                      <p:cBhvr>
                                        <p:cTn id="235" dur="750" fill="hold"/>
                                        <p:tgtEl>
                                          <p:spTgt spid="2350"/>
                                        </p:tgtEl>
                                        <p:attrNameLst>
                                          <p:attrName>ppt_x</p:attrName>
                                          <p:attrName>ppt_y</p:attrName>
                                        </p:attrNameLst>
                                      </p:cBhvr>
                                      <p:rCtr x="-1263" y="0"/>
                                    </p:animMotion>
                                  </p:childTnLst>
                                </p:cTn>
                              </p:par>
                              <p:par>
                                <p:cTn id="236" presetID="10" presetClass="entr" presetSubtype="0" fill="hold" grpId="0" nodeType="withEffect">
                                  <p:stCondLst>
                                    <p:cond delay="0"/>
                                  </p:stCondLst>
                                  <p:childTnLst>
                                    <p:set>
                                      <p:cBhvr>
                                        <p:cTn id="237" dur="1" fill="hold">
                                          <p:stCondLst>
                                            <p:cond delay="0"/>
                                          </p:stCondLst>
                                        </p:cTn>
                                        <p:tgtEl>
                                          <p:spTgt spid="2351"/>
                                        </p:tgtEl>
                                        <p:attrNameLst>
                                          <p:attrName>style.visibility</p:attrName>
                                        </p:attrNameLst>
                                      </p:cBhvr>
                                      <p:to>
                                        <p:strVal val="visible"/>
                                      </p:to>
                                    </p:set>
                                    <p:animEffect transition="in" filter="fade">
                                      <p:cBhvr>
                                        <p:cTn id="238" dur="500"/>
                                        <p:tgtEl>
                                          <p:spTgt spid="2351"/>
                                        </p:tgtEl>
                                      </p:cBhvr>
                                    </p:animEffect>
                                  </p:childTnLst>
                                </p:cTn>
                              </p:par>
                              <p:par>
                                <p:cTn id="239" presetID="10" presetClass="entr" presetSubtype="0" fill="hold" grpId="1" nodeType="withEffect">
                                  <p:stCondLst>
                                    <p:cond delay="0"/>
                                  </p:stCondLst>
                                  <p:childTnLst>
                                    <p:set>
                                      <p:cBhvr>
                                        <p:cTn id="240" dur="1" fill="hold">
                                          <p:stCondLst>
                                            <p:cond delay="0"/>
                                          </p:stCondLst>
                                        </p:cTn>
                                        <p:tgtEl>
                                          <p:spTgt spid="2352"/>
                                        </p:tgtEl>
                                        <p:attrNameLst>
                                          <p:attrName>style.visibility</p:attrName>
                                        </p:attrNameLst>
                                      </p:cBhvr>
                                      <p:to>
                                        <p:strVal val="visible"/>
                                      </p:to>
                                    </p:set>
                                    <p:animEffect transition="in" filter="fade">
                                      <p:cBhvr>
                                        <p:cTn id="241" dur="500"/>
                                        <p:tgtEl>
                                          <p:spTgt spid="2352"/>
                                        </p:tgtEl>
                                      </p:cBhvr>
                                    </p:animEffect>
                                  </p:childTnLst>
                                </p:cTn>
                              </p:par>
                              <p:par>
                                <p:cTn id="242" presetID="42" presetClass="path" presetSubtype="0" repeatCount="2000" accel="50000" decel="50000" autoRev="1" fill="hold" grpId="0" nodeType="withEffect">
                                  <p:stCondLst>
                                    <p:cond delay="0"/>
                                  </p:stCondLst>
                                  <p:childTnLst>
                                    <p:animMotion origin="layout" path="M 2.70833E-6 -4.07407E-6 L -0.02526 -4.07407E-6 " pathEditMode="relative" rAng="0" ptsTypes="AA">
                                      <p:cBhvr>
                                        <p:cTn id="243" dur="750" fill="hold"/>
                                        <p:tgtEl>
                                          <p:spTgt spid="2352"/>
                                        </p:tgtEl>
                                        <p:attrNameLst>
                                          <p:attrName>ppt_x</p:attrName>
                                          <p:attrName>ppt_y</p:attrName>
                                        </p:attrNameLst>
                                      </p:cBhvr>
                                      <p:rCtr x="-1263" y="0"/>
                                    </p:animMotion>
                                  </p:childTnLst>
                                </p:cTn>
                              </p:par>
                              <p:par>
                                <p:cTn id="244" presetID="10" presetClass="entr" presetSubtype="0" fill="hold" grpId="0" nodeType="withEffect">
                                  <p:stCondLst>
                                    <p:cond delay="0"/>
                                  </p:stCondLst>
                                  <p:childTnLst>
                                    <p:set>
                                      <p:cBhvr>
                                        <p:cTn id="245" dur="1" fill="hold">
                                          <p:stCondLst>
                                            <p:cond delay="0"/>
                                          </p:stCondLst>
                                        </p:cTn>
                                        <p:tgtEl>
                                          <p:spTgt spid="2353"/>
                                        </p:tgtEl>
                                        <p:attrNameLst>
                                          <p:attrName>style.visibility</p:attrName>
                                        </p:attrNameLst>
                                      </p:cBhvr>
                                      <p:to>
                                        <p:strVal val="visible"/>
                                      </p:to>
                                    </p:set>
                                    <p:animEffect transition="in" filter="fade">
                                      <p:cBhvr>
                                        <p:cTn id="246" dur="500"/>
                                        <p:tgtEl>
                                          <p:spTgt spid="2353"/>
                                        </p:tgtEl>
                                      </p:cBhvr>
                                    </p:animEffect>
                                  </p:childTnLst>
                                </p:cTn>
                              </p:par>
                              <p:par>
                                <p:cTn id="247" presetID="10" presetClass="entr" presetSubtype="0" fill="hold" grpId="1" nodeType="withEffect">
                                  <p:stCondLst>
                                    <p:cond delay="0"/>
                                  </p:stCondLst>
                                  <p:childTnLst>
                                    <p:set>
                                      <p:cBhvr>
                                        <p:cTn id="248" dur="1" fill="hold">
                                          <p:stCondLst>
                                            <p:cond delay="0"/>
                                          </p:stCondLst>
                                        </p:cTn>
                                        <p:tgtEl>
                                          <p:spTgt spid="2354"/>
                                        </p:tgtEl>
                                        <p:attrNameLst>
                                          <p:attrName>style.visibility</p:attrName>
                                        </p:attrNameLst>
                                      </p:cBhvr>
                                      <p:to>
                                        <p:strVal val="visible"/>
                                      </p:to>
                                    </p:set>
                                    <p:animEffect transition="in" filter="fade">
                                      <p:cBhvr>
                                        <p:cTn id="249" dur="500"/>
                                        <p:tgtEl>
                                          <p:spTgt spid="2354"/>
                                        </p:tgtEl>
                                      </p:cBhvr>
                                    </p:animEffect>
                                  </p:childTnLst>
                                </p:cTn>
                              </p:par>
                              <p:par>
                                <p:cTn id="250" presetID="42" presetClass="path" presetSubtype="0" repeatCount="2000" accel="50000" decel="50000" autoRev="1" fill="hold" grpId="0" nodeType="withEffect">
                                  <p:stCondLst>
                                    <p:cond delay="0"/>
                                  </p:stCondLst>
                                  <p:childTnLst>
                                    <p:animMotion origin="layout" path="M 2.70833E-6 4.07407E-6 L -0.02526 4.07407E-6 " pathEditMode="relative" rAng="0" ptsTypes="AA">
                                      <p:cBhvr>
                                        <p:cTn id="251" dur="750" fill="hold"/>
                                        <p:tgtEl>
                                          <p:spTgt spid="2354"/>
                                        </p:tgtEl>
                                        <p:attrNameLst>
                                          <p:attrName>ppt_x</p:attrName>
                                          <p:attrName>ppt_y</p:attrName>
                                        </p:attrNameLst>
                                      </p:cBhvr>
                                      <p:rCtr x="-1263" y="0"/>
                                    </p:animMotion>
                                  </p:childTnLst>
                                </p:cTn>
                              </p:par>
                              <p:par>
                                <p:cTn id="252" presetID="10" presetClass="entr" presetSubtype="0" fill="hold" grpId="0" nodeType="withEffect">
                                  <p:stCondLst>
                                    <p:cond delay="0"/>
                                  </p:stCondLst>
                                  <p:childTnLst>
                                    <p:set>
                                      <p:cBhvr>
                                        <p:cTn id="253" dur="1" fill="hold">
                                          <p:stCondLst>
                                            <p:cond delay="0"/>
                                          </p:stCondLst>
                                        </p:cTn>
                                        <p:tgtEl>
                                          <p:spTgt spid="2355"/>
                                        </p:tgtEl>
                                        <p:attrNameLst>
                                          <p:attrName>style.visibility</p:attrName>
                                        </p:attrNameLst>
                                      </p:cBhvr>
                                      <p:to>
                                        <p:strVal val="visible"/>
                                      </p:to>
                                    </p:set>
                                    <p:animEffect transition="in" filter="fade">
                                      <p:cBhvr>
                                        <p:cTn id="254" dur="500"/>
                                        <p:tgtEl>
                                          <p:spTgt spid="2355"/>
                                        </p:tgtEl>
                                      </p:cBhvr>
                                    </p:animEffect>
                                  </p:childTnLst>
                                </p:cTn>
                              </p:par>
                              <p:par>
                                <p:cTn id="255" presetID="10" presetClass="entr" presetSubtype="0" fill="hold" grpId="1" nodeType="withEffect">
                                  <p:stCondLst>
                                    <p:cond delay="0"/>
                                  </p:stCondLst>
                                  <p:childTnLst>
                                    <p:set>
                                      <p:cBhvr>
                                        <p:cTn id="256" dur="1" fill="hold">
                                          <p:stCondLst>
                                            <p:cond delay="0"/>
                                          </p:stCondLst>
                                        </p:cTn>
                                        <p:tgtEl>
                                          <p:spTgt spid="2356"/>
                                        </p:tgtEl>
                                        <p:attrNameLst>
                                          <p:attrName>style.visibility</p:attrName>
                                        </p:attrNameLst>
                                      </p:cBhvr>
                                      <p:to>
                                        <p:strVal val="visible"/>
                                      </p:to>
                                    </p:set>
                                    <p:animEffect transition="in" filter="fade">
                                      <p:cBhvr>
                                        <p:cTn id="257" dur="500"/>
                                        <p:tgtEl>
                                          <p:spTgt spid="2356"/>
                                        </p:tgtEl>
                                      </p:cBhvr>
                                    </p:animEffect>
                                  </p:childTnLst>
                                </p:cTn>
                              </p:par>
                              <p:par>
                                <p:cTn id="258" presetID="42" presetClass="path" presetSubtype="0" repeatCount="2000" accel="50000" decel="50000" autoRev="1" fill="hold" grpId="0" nodeType="withEffect">
                                  <p:stCondLst>
                                    <p:cond delay="0"/>
                                  </p:stCondLst>
                                  <p:childTnLst>
                                    <p:animMotion origin="layout" path="M 5E-6 7.40741E-7 L -0.02526 7.40741E-7 " pathEditMode="relative" rAng="0" ptsTypes="AA">
                                      <p:cBhvr>
                                        <p:cTn id="259" dur="750" fill="hold"/>
                                        <p:tgtEl>
                                          <p:spTgt spid="2356"/>
                                        </p:tgtEl>
                                        <p:attrNameLst>
                                          <p:attrName>ppt_x</p:attrName>
                                          <p:attrName>ppt_y</p:attrName>
                                        </p:attrNameLst>
                                      </p:cBhvr>
                                      <p:rCtr x="-1263" y="0"/>
                                    </p:animMotion>
                                  </p:childTnLst>
                                </p:cTn>
                              </p:par>
                              <p:par>
                                <p:cTn id="260" presetID="10" presetClass="entr" presetSubtype="0" fill="hold" grpId="0" nodeType="withEffect">
                                  <p:stCondLst>
                                    <p:cond delay="0"/>
                                  </p:stCondLst>
                                  <p:childTnLst>
                                    <p:set>
                                      <p:cBhvr>
                                        <p:cTn id="261" dur="1" fill="hold">
                                          <p:stCondLst>
                                            <p:cond delay="0"/>
                                          </p:stCondLst>
                                        </p:cTn>
                                        <p:tgtEl>
                                          <p:spTgt spid="2357"/>
                                        </p:tgtEl>
                                        <p:attrNameLst>
                                          <p:attrName>style.visibility</p:attrName>
                                        </p:attrNameLst>
                                      </p:cBhvr>
                                      <p:to>
                                        <p:strVal val="visible"/>
                                      </p:to>
                                    </p:set>
                                    <p:animEffect transition="in" filter="fade">
                                      <p:cBhvr>
                                        <p:cTn id="262" dur="500"/>
                                        <p:tgtEl>
                                          <p:spTgt spid="2357"/>
                                        </p:tgtEl>
                                      </p:cBhvr>
                                    </p:animEffect>
                                  </p:childTnLst>
                                </p:cTn>
                              </p:par>
                              <p:par>
                                <p:cTn id="263" presetID="10" presetClass="entr" presetSubtype="0" fill="hold" grpId="1" nodeType="withEffect">
                                  <p:stCondLst>
                                    <p:cond delay="0"/>
                                  </p:stCondLst>
                                  <p:childTnLst>
                                    <p:set>
                                      <p:cBhvr>
                                        <p:cTn id="264" dur="1" fill="hold">
                                          <p:stCondLst>
                                            <p:cond delay="0"/>
                                          </p:stCondLst>
                                        </p:cTn>
                                        <p:tgtEl>
                                          <p:spTgt spid="2358"/>
                                        </p:tgtEl>
                                        <p:attrNameLst>
                                          <p:attrName>style.visibility</p:attrName>
                                        </p:attrNameLst>
                                      </p:cBhvr>
                                      <p:to>
                                        <p:strVal val="visible"/>
                                      </p:to>
                                    </p:set>
                                    <p:animEffect transition="in" filter="fade">
                                      <p:cBhvr>
                                        <p:cTn id="265" dur="500"/>
                                        <p:tgtEl>
                                          <p:spTgt spid="2358"/>
                                        </p:tgtEl>
                                      </p:cBhvr>
                                    </p:animEffect>
                                  </p:childTnLst>
                                </p:cTn>
                              </p:par>
                              <p:par>
                                <p:cTn id="266" presetID="42" presetClass="path" presetSubtype="0" repeatCount="2000" accel="50000" decel="50000" autoRev="1" fill="hold" grpId="0" nodeType="withEffect">
                                  <p:stCondLst>
                                    <p:cond delay="0"/>
                                  </p:stCondLst>
                                  <p:childTnLst>
                                    <p:animMotion origin="layout" path="M 5E-6 -1.11111E-6 L -0.02526 -1.11111E-6 " pathEditMode="relative" rAng="0" ptsTypes="AA">
                                      <p:cBhvr>
                                        <p:cTn id="267" dur="750" fill="hold"/>
                                        <p:tgtEl>
                                          <p:spTgt spid="2358"/>
                                        </p:tgtEl>
                                        <p:attrNameLst>
                                          <p:attrName>ppt_x</p:attrName>
                                          <p:attrName>ppt_y</p:attrName>
                                        </p:attrNameLst>
                                      </p:cBhvr>
                                      <p:rCtr x="-1263" y="0"/>
                                    </p:animMotion>
                                  </p:childTnLst>
                                </p:cTn>
                              </p:par>
                              <p:par>
                                <p:cTn id="268" presetID="10" presetClass="entr" presetSubtype="0" fill="hold" grpId="0" nodeType="withEffect">
                                  <p:stCondLst>
                                    <p:cond delay="0"/>
                                  </p:stCondLst>
                                  <p:childTnLst>
                                    <p:set>
                                      <p:cBhvr>
                                        <p:cTn id="269" dur="1" fill="hold">
                                          <p:stCondLst>
                                            <p:cond delay="0"/>
                                          </p:stCondLst>
                                        </p:cTn>
                                        <p:tgtEl>
                                          <p:spTgt spid="2359"/>
                                        </p:tgtEl>
                                        <p:attrNameLst>
                                          <p:attrName>style.visibility</p:attrName>
                                        </p:attrNameLst>
                                      </p:cBhvr>
                                      <p:to>
                                        <p:strVal val="visible"/>
                                      </p:to>
                                    </p:set>
                                    <p:animEffect transition="in" filter="fade">
                                      <p:cBhvr>
                                        <p:cTn id="270" dur="500"/>
                                        <p:tgtEl>
                                          <p:spTgt spid="2359"/>
                                        </p:tgtEl>
                                      </p:cBhvr>
                                    </p:animEffect>
                                  </p:childTnLst>
                                </p:cTn>
                              </p:par>
                              <p:par>
                                <p:cTn id="271" presetID="10" presetClass="entr" presetSubtype="0" fill="hold" grpId="1" nodeType="withEffect">
                                  <p:stCondLst>
                                    <p:cond delay="0"/>
                                  </p:stCondLst>
                                  <p:childTnLst>
                                    <p:set>
                                      <p:cBhvr>
                                        <p:cTn id="272" dur="1" fill="hold">
                                          <p:stCondLst>
                                            <p:cond delay="0"/>
                                          </p:stCondLst>
                                        </p:cTn>
                                        <p:tgtEl>
                                          <p:spTgt spid="2360"/>
                                        </p:tgtEl>
                                        <p:attrNameLst>
                                          <p:attrName>style.visibility</p:attrName>
                                        </p:attrNameLst>
                                      </p:cBhvr>
                                      <p:to>
                                        <p:strVal val="visible"/>
                                      </p:to>
                                    </p:set>
                                    <p:animEffect transition="in" filter="fade">
                                      <p:cBhvr>
                                        <p:cTn id="273" dur="500"/>
                                        <p:tgtEl>
                                          <p:spTgt spid="2360"/>
                                        </p:tgtEl>
                                      </p:cBhvr>
                                    </p:animEffect>
                                  </p:childTnLst>
                                </p:cTn>
                              </p:par>
                              <p:par>
                                <p:cTn id="274" presetID="42" presetClass="path" presetSubtype="0" repeatCount="2000" accel="50000" decel="50000" autoRev="1" fill="hold" grpId="0" nodeType="withEffect">
                                  <p:stCondLst>
                                    <p:cond delay="0"/>
                                  </p:stCondLst>
                                  <p:childTnLst>
                                    <p:animMotion origin="layout" path="M 5E-6 -2.96296E-6 L -0.02526 -2.96296E-6 " pathEditMode="relative" rAng="0" ptsTypes="AA">
                                      <p:cBhvr>
                                        <p:cTn id="275" dur="750" fill="hold"/>
                                        <p:tgtEl>
                                          <p:spTgt spid="2360"/>
                                        </p:tgtEl>
                                        <p:attrNameLst>
                                          <p:attrName>ppt_x</p:attrName>
                                          <p:attrName>ppt_y</p:attrName>
                                        </p:attrNameLst>
                                      </p:cBhvr>
                                      <p:rCtr x="-1263" y="0"/>
                                    </p:animMotion>
                                  </p:childTnLst>
                                </p:cTn>
                              </p:par>
                              <p:par>
                                <p:cTn id="276" presetID="10" presetClass="entr" presetSubtype="0" fill="hold" grpId="0" nodeType="withEffect">
                                  <p:stCondLst>
                                    <p:cond delay="0"/>
                                  </p:stCondLst>
                                  <p:childTnLst>
                                    <p:set>
                                      <p:cBhvr>
                                        <p:cTn id="277" dur="1" fill="hold">
                                          <p:stCondLst>
                                            <p:cond delay="0"/>
                                          </p:stCondLst>
                                        </p:cTn>
                                        <p:tgtEl>
                                          <p:spTgt spid="2361"/>
                                        </p:tgtEl>
                                        <p:attrNameLst>
                                          <p:attrName>style.visibility</p:attrName>
                                        </p:attrNameLst>
                                      </p:cBhvr>
                                      <p:to>
                                        <p:strVal val="visible"/>
                                      </p:to>
                                    </p:set>
                                    <p:animEffect transition="in" filter="fade">
                                      <p:cBhvr>
                                        <p:cTn id="278" dur="500"/>
                                        <p:tgtEl>
                                          <p:spTgt spid="2361"/>
                                        </p:tgtEl>
                                      </p:cBhvr>
                                    </p:animEffect>
                                  </p:childTnLst>
                                </p:cTn>
                              </p:par>
                              <p:par>
                                <p:cTn id="279" presetID="10" presetClass="entr" presetSubtype="0" fill="hold" grpId="1" nodeType="withEffect">
                                  <p:stCondLst>
                                    <p:cond delay="0"/>
                                  </p:stCondLst>
                                  <p:childTnLst>
                                    <p:set>
                                      <p:cBhvr>
                                        <p:cTn id="280" dur="1" fill="hold">
                                          <p:stCondLst>
                                            <p:cond delay="0"/>
                                          </p:stCondLst>
                                        </p:cTn>
                                        <p:tgtEl>
                                          <p:spTgt spid="2362"/>
                                        </p:tgtEl>
                                        <p:attrNameLst>
                                          <p:attrName>style.visibility</p:attrName>
                                        </p:attrNameLst>
                                      </p:cBhvr>
                                      <p:to>
                                        <p:strVal val="visible"/>
                                      </p:to>
                                    </p:set>
                                    <p:animEffect transition="in" filter="fade">
                                      <p:cBhvr>
                                        <p:cTn id="281" dur="500"/>
                                        <p:tgtEl>
                                          <p:spTgt spid="2362"/>
                                        </p:tgtEl>
                                      </p:cBhvr>
                                    </p:animEffect>
                                  </p:childTnLst>
                                </p:cTn>
                              </p:par>
                              <p:par>
                                <p:cTn id="282" presetID="42" presetClass="path" presetSubtype="0" repeatCount="2000" accel="50000" decel="50000" autoRev="1" fill="hold" grpId="0" nodeType="withEffect">
                                  <p:stCondLst>
                                    <p:cond delay="0"/>
                                  </p:stCondLst>
                                  <p:childTnLst>
                                    <p:animMotion origin="layout" path="M 5E-6 -4.81481E-6 L -0.02526 -4.81481E-6 " pathEditMode="relative" rAng="0" ptsTypes="AA">
                                      <p:cBhvr>
                                        <p:cTn id="283" dur="750" fill="hold"/>
                                        <p:tgtEl>
                                          <p:spTgt spid="2362"/>
                                        </p:tgtEl>
                                        <p:attrNameLst>
                                          <p:attrName>ppt_x</p:attrName>
                                          <p:attrName>ppt_y</p:attrName>
                                        </p:attrNameLst>
                                      </p:cBhvr>
                                      <p:rCtr x="-1263" y="0"/>
                                    </p:animMotion>
                                  </p:childTnLst>
                                </p:cTn>
                              </p:par>
                              <p:par>
                                <p:cTn id="284" presetID="10" presetClass="entr" presetSubtype="0" fill="hold" grpId="0" nodeType="withEffect">
                                  <p:stCondLst>
                                    <p:cond delay="0"/>
                                  </p:stCondLst>
                                  <p:childTnLst>
                                    <p:set>
                                      <p:cBhvr>
                                        <p:cTn id="285" dur="1" fill="hold">
                                          <p:stCondLst>
                                            <p:cond delay="0"/>
                                          </p:stCondLst>
                                        </p:cTn>
                                        <p:tgtEl>
                                          <p:spTgt spid="2363"/>
                                        </p:tgtEl>
                                        <p:attrNameLst>
                                          <p:attrName>style.visibility</p:attrName>
                                        </p:attrNameLst>
                                      </p:cBhvr>
                                      <p:to>
                                        <p:strVal val="visible"/>
                                      </p:to>
                                    </p:set>
                                    <p:animEffect transition="in" filter="fade">
                                      <p:cBhvr>
                                        <p:cTn id="286" dur="500"/>
                                        <p:tgtEl>
                                          <p:spTgt spid="2363"/>
                                        </p:tgtEl>
                                      </p:cBhvr>
                                    </p:animEffect>
                                  </p:childTnLst>
                                </p:cTn>
                              </p:par>
                              <p:par>
                                <p:cTn id="287" presetID="10" presetClass="entr" presetSubtype="0" fill="hold" grpId="1" nodeType="withEffect">
                                  <p:stCondLst>
                                    <p:cond delay="0"/>
                                  </p:stCondLst>
                                  <p:childTnLst>
                                    <p:set>
                                      <p:cBhvr>
                                        <p:cTn id="288" dur="1" fill="hold">
                                          <p:stCondLst>
                                            <p:cond delay="0"/>
                                          </p:stCondLst>
                                        </p:cTn>
                                        <p:tgtEl>
                                          <p:spTgt spid="2364"/>
                                        </p:tgtEl>
                                        <p:attrNameLst>
                                          <p:attrName>style.visibility</p:attrName>
                                        </p:attrNameLst>
                                      </p:cBhvr>
                                      <p:to>
                                        <p:strVal val="visible"/>
                                      </p:to>
                                    </p:set>
                                    <p:animEffect transition="in" filter="fade">
                                      <p:cBhvr>
                                        <p:cTn id="289" dur="500"/>
                                        <p:tgtEl>
                                          <p:spTgt spid="2364"/>
                                        </p:tgtEl>
                                      </p:cBhvr>
                                    </p:animEffect>
                                  </p:childTnLst>
                                </p:cTn>
                              </p:par>
                              <p:par>
                                <p:cTn id="290" presetID="42" presetClass="path" presetSubtype="0" repeatCount="2000" accel="50000" decel="50000" autoRev="1" fill="hold" grpId="0" nodeType="withEffect">
                                  <p:stCondLst>
                                    <p:cond delay="0"/>
                                  </p:stCondLst>
                                  <p:childTnLst>
                                    <p:animMotion origin="layout" path="M 5E-6 3.33333E-6 L -0.02526 3.33333E-6 " pathEditMode="relative" rAng="0" ptsTypes="AA">
                                      <p:cBhvr>
                                        <p:cTn id="291" dur="750" fill="hold"/>
                                        <p:tgtEl>
                                          <p:spTgt spid="2364"/>
                                        </p:tgtEl>
                                        <p:attrNameLst>
                                          <p:attrName>ppt_x</p:attrName>
                                          <p:attrName>ppt_y</p:attrName>
                                        </p:attrNameLst>
                                      </p:cBhvr>
                                      <p:rCtr x="-1263" y="0"/>
                                    </p:animMotion>
                                  </p:childTnLst>
                                </p:cTn>
                              </p:par>
                              <p:par>
                                <p:cTn id="292" presetID="10" presetClass="entr" presetSubtype="0" fill="hold" grpId="0" nodeType="withEffect">
                                  <p:stCondLst>
                                    <p:cond delay="0"/>
                                  </p:stCondLst>
                                  <p:childTnLst>
                                    <p:set>
                                      <p:cBhvr>
                                        <p:cTn id="293" dur="1" fill="hold">
                                          <p:stCondLst>
                                            <p:cond delay="0"/>
                                          </p:stCondLst>
                                        </p:cTn>
                                        <p:tgtEl>
                                          <p:spTgt spid="2365"/>
                                        </p:tgtEl>
                                        <p:attrNameLst>
                                          <p:attrName>style.visibility</p:attrName>
                                        </p:attrNameLst>
                                      </p:cBhvr>
                                      <p:to>
                                        <p:strVal val="visible"/>
                                      </p:to>
                                    </p:set>
                                    <p:animEffect transition="in" filter="fade">
                                      <p:cBhvr>
                                        <p:cTn id="294" dur="500"/>
                                        <p:tgtEl>
                                          <p:spTgt spid="2365"/>
                                        </p:tgtEl>
                                      </p:cBhvr>
                                    </p:animEffect>
                                  </p:childTnLst>
                                </p:cTn>
                              </p:par>
                              <p:par>
                                <p:cTn id="295" presetID="10" presetClass="entr" presetSubtype="0" fill="hold" grpId="1" nodeType="withEffect">
                                  <p:stCondLst>
                                    <p:cond delay="0"/>
                                  </p:stCondLst>
                                  <p:childTnLst>
                                    <p:set>
                                      <p:cBhvr>
                                        <p:cTn id="296" dur="1" fill="hold">
                                          <p:stCondLst>
                                            <p:cond delay="0"/>
                                          </p:stCondLst>
                                        </p:cTn>
                                        <p:tgtEl>
                                          <p:spTgt spid="2366"/>
                                        </p:tgtEl>
                                        <p:attrNameLst>
                                          <p:attrName>style.visibility</p:attrName>
                                        </p:attrNameLst>
                                      </p:cBhvr>
                                      <p:to>
                                        <p:strVal val="visible"/>
                                      </p:to>
                                    </p:set>
                                    <p:animEffect transition="in" filter="fade">
                                      <p:cBhvr>
                                        <p:cTn id="297" dur="500"/>
                                        <p:tgtEl>
                                          <p:spTgt spid="2366"/>
                                        </p:tgtEl>
                                      </p:cBhvr>
                                    </p:animEffect>
                                  </p:childTnLst>
                                </p:cTn>
                              </p:par>
                              <p:par>
                                <p:cTn id="298" presetID="42" presetClass="path" presetSubtype="0" repeatCount="2000" accel="50000" decel="50000" autoRev="1" fill="hold" grpId="0" nodeType="withEffect">
                                  <p:stCondLst>
                                    <p:cond delay="0"/>
                                  </p:stCondLst>
                                  <p:childTnLst>
                                    <p:animMotion origin="layout" path="M 5E-6 1.48148E-6 L -0.02526 1.48148E-6 " pathEditMode="relative" rAng="0" ptsTypes="AA">
                                      <p:cBhvr>
                                        <p:cTn id="299" dur="750" fill="hold"/>
                                        <p:tgtEl>
                                          <p:spTgt spid="2366"/>
                                        </p:tgtEl>
                                        <p:attrNameLst>
                                          <p:attrName>ppt_x</p:attrName>
                                          <p:attrName>ppt_y</p:attrName>
                                        </p:attrNameLst>
                                      </p:cBhvr>
                                      <p:rCtr x="-1263" y="0"/>
                                    </p:animMotion>
                                  </p:childTnLst>
                                </p:cTn>
                              </p:par>
                              <p:par>
                                <p:cTn id="300" presetID="10" presetClass="entr" presetSubtype="0" fill="hold" grpId="0" nodeType="withEffect">
                                  <p:stCondLst>
                                    <p:cond delay="0"/>
                                  </p:stCondLst>
                                  <p:childTnLst>
                                    <p:set>
                                      <p:cBhvr>
                                        <p:cTn id="301" dur="1" fill="hold">
                                          <p:stCondLst>
                                            <p:cond delay="0"/>
                                          </p:stCondLst>
                                        </p:cTn>
                                        <p:tgtEl>
                                          <p:spTgt spid="2367"/>
                                        </p:tgtEl>
                                        <p:attrNameLst>
                                          <p:attrName>style.visibility</p:attrName>
                                        </p:attrNameLst>
                                      </p:cBhvr>
                                      <p:to>
                                        <p:strVal val="visible"/>
                                      </p:to>
                                    </p:set>
                                    <p:animEffect transition="in" filter="fade">
                                      <p:cBhvr>
                                        <p:cTn id="302" dur="500"/>
                                        <p:tgtEl>
                                          <p:spTgt spid="2367"/>
                                        </p:tgtEl>
                                      </p:cBhvr>
                                    </p:animEffect>
                                  </p:childTnLst>
                                </p:cTn>
                              </p:par>
                              <p:par>
                                <p:cTn id="303" presetID="10" presetClass="entr" presetSubtype="0" fill="hold" grpId="1" nodeType="withEffect">
                                  <p:stCondLst>
                                    <p:cond delay="0"/>
                                  </p:stCondLst>
                                  <p:childTnLst>
                                    <p:set>
                                      <p:cBhvr>
                                        <p:cTn id="304" dur="1" fill="hold">
                                          <p:stCondLst>
                                            <p:cond delay="0"/>
                                          </p:stCondLst>
                                        </p:cTn>
                                        <p:tgtEl>
                                          <p:spTgt spid="2368"/>
                                        </p:tgtEl>
                                        <p:attrNameLst>
                                          <p:attrName>style.visibility</p:attrName>
                                        </p:attrNameLst>
                                      </p:cBhvr>
                                      <p:to>
                                        <p:strVal val="visible"/>
                                      </p:to>
                                    </p:set>
                                    <p:animEffect transition="in" filter="fade">
                                      <p:cBhvr>
                                        <p:cTn id="305" dur="500"/>
                                        <p:tgtEl>
                                          <p:spTgt spid="2368"/>
                                        </p:tgtEl>
                                      </p:cBhvr>
                                    </p:animEffect>
                                  </p:childTnLst>
                                </p:cTn>
                              </p:par>
                              <p:par>
                                <p:cTn id="306" presetID="42" presetClass="path" presetSubtype="0" repeatCount="2000" accel="50000" decel="50000" autoRev="1" fill="hold" grpId="0" nodeType="withEffect">
                                  <p:stCondLst>
                                    <p:cond delay="0"/>
                                  </p:stCondLst>
                                  <p:childTnLst>
                                    <p:animMotion origin="layout" path="M 5E-6 -3.7037E-7 L -0.02526 -3.7037E-7 " pathEditMode="relative" rAng="0" ptsTypes="AA">
                                      <p:cBhvr>
                                        <p:cTn id="307" dur="750" fill="hold"/>
                                        <p:tgtEl>
                                          <p:spTgt spid="2368"/>
                                        </p:tgtEl>
                                        <p:attrNameLst>
                                          <p:attrName>ppt_x</p:attrName>
                                          <p:attrName>ppt_y</p:attrName>
                                        </p:attrNameLst>
                                      </p:cBhvr>
                                      <p:rCtr x="-1263" y="0"/>
                                    </p:animMotion>
                                  </p:childTnLst>
                                </p:cTn>
                              </p:par>
                              <p:par>
                                <p:cTn id="308" presetID="10" presetClass="entr" presetSubtype="0" fill="hold" grpId="0" nodeType="withEffect">
                                  <p:stCondLst>
                                    <p:cond delay="0"/>
                                  </p:stCondLst>
                                  <p:childTnLst>
                                    <p:set>
                                      <p:cBhvr>
                                        <p:cTn id="309" dur="1" fill="hold">
                                          <p:stCondLst>
                                            <p:cond delay="0"/>
                                          </p:stCondLst>
                                        </p:cTn>
                                        <p:tgtEl>
                                          <p:spTgt spid="2369"/>
                                        </p:tgtEl>
                                        <p:attrNameLst>
                                          <p:attrName>style.visibility</p:attrName>
                                        </p:attrNameLst>
                                      </p:cBhvr>
                                      <p:to>
                                        <p:strVal val="visible"/>
                                      </p:to>
                                    </p:set>
                                    <p:animEffect transition="in" filter="fade">
                                      <p:cBhvr>
                                        <p:cTn id="310" dur="500"/>
                                        <p:tgtEl>
                                          <p:spTgt spid="2369"/>
                                        </p:tgtEl>
                                      </p:cBhvr>
                                    </p:animEffect>
                                  </p:childTnLst>
                                </p:cTn>
                              </p:par>
                              <p:par>
                                <p:cTn id="311" presetID="10" presetClass="entr" presetSubtype="0" fill="hold" grpId="1" nodeType="withEffect">
                                  <p:stCondLst>
                                    <p:cond delay="0"/>
                                  </p:stCondLst>
                                  <p:childTnLst>
                                    <p:set>
                                      <p:cBhvr>
                                        <p:cTn id="312" dur="1" fill="hold">
                                          <p:stCondLst>
                                            <p:cond delay="0"/>
                                          </p:stCondLst>
                                        </p:cTn>
                                        <p:tgtEl>
                                          <p:spTgt spid="2370"/>
                                        </p:tgtEl>
                                        <p:attrNameLst>
                                          <p:attrName>style.visibility</p:attrName>
                                        </p:attrNameLst>
                                      </p:cBhvr>
                                      <p:to>
                                        <p:strVal val="visible"/>
                                      </p:to>
                                    </p:set>
                                    <p:animEffect transition="in" filter="fade">
                                      <p:cBhvr>
                                        <p:cTn id="313" dur="500"/>
                                        <p:tgtEl>
                                          <p:spTgt spid="2370"/>
                                        </p:tgtEl>
                                      </p:cBhvr>
                                    </p:animEffect>
                                  </p:childTnLst>
                                </p:cTn>
                              </p:par>
                              <p:par>
                                <p:cTn id="314" presetID="42" presetClass="path" presetSubtype="0" repeatCount="2000" accel="50000" decel="50000" autoRev="1" fill="hold" grpId="0" nodeType="withEffect">
                                  <p:stCondLst>
                                    <p:cond delay="0"/>
                                  </p:stCondLst>
                                  <p:childTnLst>
                                    <p:animMotion origin="layout" path="M 5E-6 -2.22222E-6 L -0.02526 -2.22222E-6 " pathEditMode="relative" rAng="0" ptsTypes="AA">
                                      <p:cBhvr>
                                        <p:cTn id="315" dur="750" fill="hold"/>
                                        <p:tgtEl>
                                          <p:spTgt spid="2370"/>
                                        </p:tgtEl>
                                        <p:attrNameLst>
                                          <p:attrName>ppt_x</p:attrName>
                                          <p:attrName>ppt_y</p:attrName>
                                        </p:attrNameLst>
                                      </p:cBhvr>
                                      <p:rCtr x="-1263" y="0"/>
                                    </p:animMotion>
                                  </p:childTnLst>
                                </p:cTn>
                              </p:par>
                              <p:par>
                                <p:cTn id="316" presetID="10" presetClass="entr" presetSubtype="0" fill="hold" grpId="0" nodeType="withEffect">
                                  <p:stCondLst>
                                    <p:cond delay="0"/>
                                  </p:stCondLst>
                                  <p:childTnLst>
                                    <p:set>
                                      <p:cBhvr>
                                        <p:cTn id="317" dur="1" fill="hold">
                                          <p:stCondLst>
                                            <p:cond delay="0"/>
                                          </p:stCondLst>
                                        </p:cTn>
                                        <p:tgtEl>
                                          <p:spTgt spid="2371"/>
                                        </p:tgtEl>
                                        <p:attrNameLst>
                                          <p:attrName>style.visibility</p:attrName>
                                        </p:attrNameLst>
                                      </p:cBhvr>
                                      <p:to>
                                        <p:strVal val="visible"/>
                                      </p:to>
                                    </p:set>
                                    <p:animEffect transition="in" filter="fade">
                                      <p:cBhvr>
                                        <p:cTn id="318" dur="500"/>
                                        <p:tgtEl>
                                          <p:spTgt spid="2371"/>
                                        </p:tgtEl>
                                      </p:cBhvr>
                                    </p:animEffect>
                                  </p:childTnLst>
                                </p:cTn>
                              </p:par>
                              <p:par>
                                <p:cTn id="319" presetID="10" presetClass="entr" presetSubtype="0" fill="hold" grpId="1" nodeType="withEffect">
                                  <p:stCondLst>
                                    <p:cond delay="0"/>
                                  </p:stCondLst>
                                  <p:childTnLst>
                                    <p:set>
                                      <p:cBhvr>
                                        <p:cTn id="320" dur="1" fill="hold">
                                          <p:stCondLst>
                                            <p:cond delay="0"/>
                                          </p:stCondLst>
                                        </p:cTn>
                                        <p:tgtEl>
                                          <p:spTgt spid="2372"/>
                                        </p:tgtEl>
                                        <p:attrNameLst>
                                          <p:attrName>style.visibility</p:attrName>
                                        </p:attrNameLst>
                                      </p:cBhvr>
                                      <p:to>
                                        <p:strVal val="visible"/>
                                      </p:to>
                                    </p:set>
                                    <p:animEffect transition="in" filter="fade">
                                      <p:cBhvr>
                                        <p:cTn id="321" dur="500"/>
                                        <p:tgtEl>
                                          <p:spTgt spid="2372"/>
                                        </p:tgtEl>
                                      </p:cBhvr>
                                    </p:animEffect>
                                  </p:childTnLst>
                                </p:cTn>
                              </p:par>
                              <p:par>
                                <p:cTn id="322" presetID="42" presetClass="path" presetSubtype="0" repeatCount="2000" accel="50000" decel="50000" autoRev="1" fill="hold" grpId="0" nodeType="withEffect">
                                  <p:stCondLst>
                                    <p:cond delay="0"/>
                                  </p:stCondLst>
                                  <p:childTnLst>
                                    <p:animMotion origin="layout" path="M 5E-6 -4.07407E-6 L -0.02526 -4.07407E-6 " pathEditMode="relative" rAng="0" ptsTypes="AA">
                                      <p:cBhvr>
                                        <p:cTn id="323" dur="750" fill="hold"/>
                                        <p:tgtEl>
                                          <p:spTgt spid="2372"/>
                                        </p:tgtEl>
                                        <p:attrNameLst>
                                          <p:attrName>ppt_x</p:attrName>
                                          <p:attrName>ppt_y</p:attrName>
                                        </p:attrNameLst>
                                      </p:cBhvr>
                                      <p:rCtr x="-1263" y="0"/>
                                    </p:animMotion>
                                  </p:childTnLst>
                                </p:cTn>
                              </p:par>
                              <p:par>
                                <p:cTn id="324" presetID="10" presetClass="entr" presetSubtype="0" fill="hold" grpId="0" nodeType="withEffect">
                                  <p:stCondLst>
                                    <p:cond delay="0"/>
                                  </p:stCondLst>
                                  <p:childTnLst>
                                    <p:set>
                                      <p:cBhvr>
                                        <p:cTn id="325" dur="1" fill="hold">
                                          <p:stCondLst>
                                            <p:cond delay="0"/>
                                          </p:stCondLst>
                                        </p:cTn>
                                        <p:tgtEl>
                                          <p:spTgt spid="2373"/>
                                        </p:tgtEl>
                                        <p:attrNameLst>
                                          <p:attrName>style.visibility</p:attrName>
                                        </p:attrNameLst>
                                      </p:cBhvr>
                                      <p:to>
                                        <p:strVal val="visible"/>
                                      </p:to>
                                    </p:set>
                                    <p:animEffect transition="in" filter="fade">
                                      <p:cBhvr>
                                        <p:cTn id="326" dur="500"/>
                                        <p:tgtEl>
                                          <p:spTgt spid="2373"/>
                                        </p:tgtEl>
                                      </p:cBhvr>
                                    </p:animEffect>
                                  </p:childTnLst>
                                </p:cTn>
                              </p:par>
                              <p:par>
                                <p:cTn id="327" presetID="10" presetClass="entr" presetSubtype="0" fill="hold" grpId="1" nodeType="withEffect">
                                  <p:stCondLst>
                                    <p:cond delay="0"/>
                                  </p:stCondLst>
                                  <p:childTnLst>
                                    <p:set>
                                      <p:cBhvr>
                                        <p:cTn id="328" dur="1" fill="hold">
                                          <p:stCondLst>
                                            <p:cond delay="0"/>
                                          </p:stCondLst>
                                        </p:cTn>
                                        <p:tgtEl>
                                          <p:spTgt spid="2374"/>
                                        </p:tgtEl>
                                        <p:attrNameLst>
                                          <p:attrName>style.visibility</p:attrName>
                                        </p:attrNameLst>
                                      </p:cBhvr>
                                      <p:to>
                                        <p:strVal val="visible"/>
                                      </p:to>
                                    </p:set>
                                    <p:animEffect transition="in" filter="fade">
                                      <p:cBhvr>
                                        <p:cTn id="329" dur="500"/>
                                        <p:tgtEl>
                                          <p:spTgt spid="2374"/>
                                        </p:tgtEl>
                                      </p:cBhvr>
                                    </p:animEffect>
                                  </p:childTnLst>
                                </p:cTn>
                              </p:par>
                              <p:par>
                                <p:cTn id="330" presetID="42" presetClass="path" presetSubtype="0" repeatCount="2000" accel="50000" decel="50000" autoRev="1" fill="hold" grpId="0" nodeType="withEffect">
                                  <p:stCondLst>
                                    <p:cond delay="0"/>
                                  </p:stCondLst>
                                  <p:childTnLst>
                                    <p:animMotion origin="layout" path="M 5E-6 4.07407E-6 L -0.02526 4.07407E-6 " pathEditMode="relative" rAng="0" ptsTypes="AA">
                                      <p:cBhvr>
                                        <p:cTn id="331" dur="750" fill="hold"/>
                                        <p:tgtEl>
                                          <p:spTgt spid="2374"/>
                                        </p:tgtEl>
                                        <p:attrNameLst>
                                          <p:attrName>ppt_x</p:attrName>
                                          <p:attrName>ppt_y</p:attrName>
                                        </p:attrNameLst>
                                      </p:cBhvr>
                                      <p:rCtr x="-1263" y="0"/>
                                    </p:animMotion>
                                  </p:childTnLst>
                                </p:cTn>
                              </p:par>
                              <p:par>
                                <p:cTn id="332" presetID="10" presetClass="entr" presetSubtype="0" fill="hold" grpId="0" nodeType="withEffect">
                                  <p:stCondLst>
                                    <p:cond delay="0"/>
                                  </p:stCondLst>
                                  <p:childTnLst>
                                    <p:set>
                                      <p:cBhvr>
                                        <p:cTn id="333" dur="1" fill="hold">
                                          <p:stCondLst>
                                            <p:cond delay="0"/>
                                          </p:stCondLst>
                                        </p:cTn>
                                        <p:tgtEl>
                                          <p:spTgt spid="2375"/>
                                        </p:tgtEl>
                                        <p:attrNameLst>
                                          <p:attrName>style.visibility</p:attrName>
                                        </p:attrNameLst>
                                      </p:cBhvr>
                                      <p:to>
                                        <p:strVal val="visible"/>
                                      </p:to>
                                    </p:set>
                                    <p:animEffect transition="in" filter="fade">
                                      <p:cBhvr>
                                        <p:cTn id="334" dur="500"/>
                                        <p:tgtEl>
                                          <p:spTgt spid="2375"/>
                                        </p:tgtEl>
                                      </p:cBhvr>
                                    </p:animEffect>
                                  </p:childTnLst>
                                </p:cTn>
                              </p:par>
                              <p:par>
                                <p:cTn id="335" presetID="10" presetClass="entr" presetSubtype="0" fill="hold" grpId="1" nodeType="withEffect">
                                  <p:stCondLst>
                                    <p:cond delay="0"/>
                                  </p:stCondLst>
                                  <p:childTnLst>
                                    <p:set>
                                      <p:cBhvr>
                                        <p:cTn id="336" dur="1" fill="hold">
                                          <p:stCondLst>
                                            <p:cond delay="0"/>
                                          </p:stCondLst>
                                        </p:cTn>
                                        <p:tgtEl>
                                          <p:spTgt spid="2376"/>
                                        </p:tgtEl>
                                        <p:attrNameLst>
                                          <p:attrName>style.visibility</p:attrName>
                                        </p:attrNameLst>
                                      </p:cBhvr>
                                      <p:to>
                                        <p:strVal val="visible"/>
                                      </p:to>
                                    </p:set>
                                    <p:animEffect transition="in" filter="fade">
                                      <p:cBhvr>
                                        <p:cTn id="337" dur="500"/>
                                        <p:tgtEl>
                                          <p:spTgt spid="2376"/>
                                        </p:tgtEl>
                                      </p:cBhvr>
                                    </p:animEffect>
                                  </p:childTnLst>
                                </p:cTn>
                              </p:par>
                              <p:par>
                                <p:cTn id="338" presetID="42" presetClass="path" presetSubtype="0" repeatCount="2000" accel="50000" decel="50000" autoRev="1" fill="hold" grpId="0" nodeType="withEffect">
                                  <p:stCondLst>
                                    <p:cond delay="0"/>
                                  </p:stCondLst>
                                  <p:childTnLst>
                                    <p:animMotion origin="layout" path="M -4.16667E-6 7.40741E-7 L -0.02526 7.40741E-7 " pathEditMode="relative" rAng="0" ptsTypes="AA">
                                      <p:cBhvr>
                                        <p:cTn id="339" dur="750" fill="hold"/>
                                        <p:tgtEl>
                                          <p:spTgt spid="2376"/>
                                        </p:tgtEl>
                                        <p:attrNameLst>
                                          <p:attrName>ppt_x</p:attrName>
                                          <p:attrName>ppt_y</p:attrName>
                                        </p:attrNameLst>
                                      </p:cBhvr>
                                      <p:rCtr x="-1263" y="0"/>
                                    </p:animMotion>
                                  </p:childTnLst>
                                </p:cTn>
                              </p:par>
                              <p:par>
                                <p:cTn id="340" presetID="10" presetClass="entr" presetSubtype="0" fill="hold" grpId="0" nodeType="withEffect">
                                  <p:stCondLst>
                                    <p:cond delay="0"/>
                                  </p:stCondLst>
                                  <p:childTnLst>
                                    <p:set>
                                      <p:cBhvr>
                                        <p:cTn id="341" dur="1" fill="hold">
                                          <p:stCondLst>
                                            <p:cond delay="0"/>
                                          </p:stCondLst>
                                        </p:cTn>
                                        <p:tgtEl>
                                          <p:spTgt spid="2377"/>
                                        </p:tgtEl>
                                        <p:attrNameLst>
                                          <p:attrName>style.visibility</p:attrName>
                                        </p:attrNameLst>
                                      </p:cBhvr>
                                      <p:to>
                                        <p:strVal val="visible"/>
                                      </p:to>
                                    </p:set>
                                    <p:animEffect transition="in" filter="fade">
                                      <p:cBhvr>
                                        <p:cTn id="342" dur="500"/>
                                        <p:tgtEl>
                                          <p:spTgt spid="2377"/>
                                        </p:tgtEl>
                                      </p:cBhvr>
                                    </p:animEffect>
                                  </p:childTnLst>
                                </p:cTn>
                              </p:par>
                              <p:par>
                                <p:cTn id="343" presetID="10" presetClass="entr" presetSubtype="0" fill="hold" grpId="1" nodeType="withEffect">
                                  <p:stCondLst>
                                    <p:cond delay="0"/>
                                  </p:stCondLst>
                                  <p:childTnLst>
                                    <p:set>
                                      <p:cBhvr>
                                        <p:cTn id="344" dur="1" fill="hold">
                                          <p:stCondLst>
                                            <p:cond delay="0"/>
                                          </p:stCondLst>
                                        </p:cTn>
                                        <p:tgtEl>
                                          <p:spTgt spid="2378"/>
                                        </p:tgtEl>
                                        <p:attrNameLst>
                                          <p:attrName>style.visibility</p:attrName>
                                        </p:attrNameLst>
                                      </p:cBhvr>
                                      <p:to>
                                        <p:strVal val="visible"/>
                                      </p:to>
                                    </p:set>
                                    <p:animEffect transition="in" filter="fade">
                                      <p:cBhvr>
                                        <p:cTn id="345" dur="500"/>
                                        <p:tgtEl>
                                          <p:spTgt spid="2378"/>
                                        </p:tgtEl>
                                      </p:cBhvr>
                                    </p:animEffect>
                                  </p:childTnLst>
                                </p:cTn>
                              </p:par>
                              <p:par>
                                <p:cTn id="346" presetID="42" presetClass="path" presetSubtype="0" repeatCount="2000" accel="50000" decel="50000" autoRev="1" fill="hold" grpId="0" nodeType="withEffect">
                                  <p:stCondLst>
                                    <p:cond delay="0"/>
                                  </p:stCondLst>
                                  <p:childTnLst>
                                    <p:animMotion origin="layout" path="M -4.16667E-6 -1.11111E-6 L -0.02526 -1.11111E-6 " pathEditMode="relative" rAng="0" ptsTypes="AA">
                                      <p:cBhvr>
                                        <p:cTn id="347" dur="750" fill="hold"/>
                                        <p:tgtEl>
                                          <p:spTgt spid="2378"/>
                                        </p:tgtEl>
                                        <p:attrNameLst>
                                          <p:attrName>ppt_x</p:attrName>
                                          <p:attrName>ppt_y</p:attrName>
                                        </p:attrNameLst>
                                      </p:cBhvr>
                                      <p:rCtr x="-1263" y="0"/>
                                    </p:animMotion>
                                  </p:childTnLst>
                                </p:cTn>
                              </p:par>
                              <p:par>
                                <p:cTn id="348" presetID="10" presetClass="entr" presetSubtype="0" fill="hold" grpId="0" nodeType="withEffect">
                                  <p:stCondLst>
                                    <p:cond delay="0"/>
                                  </p:stCondLst>
                                  <p:childTnLst>
                                    <p:set>
                                      <p:cBhvr>
                                        <p:cTn id="349" dur="1" fill="hold">
                                          <p:stCondLst>
                                            <p:cond delay="0"/>
                                          </p:stCondLst>
                                        </p:cTn>
                                        <p:tgtEl>
                                          <p:spTgt spid="2379"/>
                                        </p:tgtEl>
                                        <p:attrNameLst>
                                          <p:attrName>style.visibility</p:attrName>
                                        </p:attrNameLst>
                                      </p:cBhvr>
                                      <p:to>
                                        <p:strVal val="visible"/>
                                      </p:to>
                                    </p:set>
                                    <p:animEffect transition="in" filter="fade">
                                      <p:cBhvr>
                                        <p:cTn id="350" dur="500"/>
                                        <p:tgtEl>
                                          <p:spTgt spid="2379"/>
                                        </p:tgtEl>
                                      </p:cBhvr>
                                    </p:animEffect>
                                  </p:childTnLst>
                                </p:cTn>
                              </p:par>
                              <p:par>
                                <p:cTn id="351" presetID="10" presetClass="entr" presetSubtype="0" fill="hold" grpId="1" nodeType="withEffect">
                                  <p:stCondLst>
                                    <p:cond delay="0"/>
                                  </p:stCondLst>
                                  <p:childTnLst>
                                    <p:set>
                                      <p:cBhvr>
                                        <p:cTn id="352" dur="1" fill="hold">
                                          <p:stCondLst>
                                            <p:cond delay="0"/>
                                          </p:stCondLst>
                                        </p:cTn>
                                        <p:tgtEl>
                                          <p:spTgt spid="2380"/>
                                        </p:tgtEl>
                                        <p:attrNameLst>
                                          <p:attrName>style.visibility</p:attrName>
                                        </p:attrNameLst>
                                      </p:cBhvr>
                                      <p:to>
                                        <p:strVal val="visible"/>
                                      </p:to>
                                    </p:set>
                                    <p:animEffect transition="in" filter="fade">
                                      <p:cBhvr>
                                        <p:cTn id="353" dur="500"/>
                                        <p:tgtEl>
                                          <p:spTgt spid="2380"/>
                                        </p:tgtEl>
                                      </p:cBhvr>
                                    </p:animEffect>
                                  </p:childTnLst>
                                </p:cTn>
                              </p:par>
                              <p:par>
                                <p:cTn id="354" presetID="42" presetClass="path" presetSubtype="0" repeatCount="2000" accel="50000" decel="50000" autoRev="1" fill="hold" grpId="0" nodeType="withEffect">
                                  <p:stCondLst>
                                    <p:cond delay="0"/>
                                  </p:stCondLst>
                                  <p:childTnLst>
                                    <p:animMotion origin="layout" path="M -4.16667E-6 -2.96296E-6 L -0.02526 -2.96296E-6 " pathEditMode="relative" rAng="0" ptsTypes="AA">
                                      <p:cBhvr>
                                        <p:cTn id="355" dur="750" fill="hold"/>
                                        <p:tgtEl>
                                          <p:spTgt spid="2380"/>
                                        </p:tgtEl>
                                        <p:attrNameLst>
                                          <p:attrName>ppt_x</p:attrName>
                                          <p:attrName>ppt_y</p:attrName>
                                        </p:attrNameLst>
                                      </p:cBhvr>
                                      <p:rCtr x="-1263" y="0"/>
                                    </p:animMotion>
                                  </p:childTnLst>
                                </p:cTn>
                              </p:par>
                              <p:par>
                                <p:cTn id="356" presetID="10" presetClass="entr" presetSubtype="0" fill="hold" grpId="0" nodeType="withEffect">
                                  <p:stCondLst>
                                    <p:cond delay="0"/>
                                  </p:stCondLst>
                                  <p:childTnLst>
                                    <p:set>
                                      <p:cBhvr>
                                        <p:cTn id="357" dur="1" fill="hold">
                                          <p:stCondLst>
                                            <p:cond delay="0"/>
                                          </p:stCondLst>
                                        </p:cTn>
                                        <p:tgtEl>
                                          <p:spTgt spid="2381"/>
                                        </p:tgtEl>
                                        <p:attrNameLst>
                                          <p:attrName>style.visibility</p:attrName>
                                        </p:attrNameLst>
                                      </p:cBhvr>
                                      <p:to>
                                        <p:strVal val="visible"/>
                                      </p:to>
                                    </p:set>
                                    <p:animEffect transition="in" filter="fade">
                                      <p:cBhvr>
                                        <p:cTn id="358" dur="500"/>
                                        <p:tgtEl>
                                          <p:spTgt spid="2381"/>
                                        </p:tgtEl>
                                      </p:cBhvr>
                                    </p:animEffect>
                                  </p:childTnLst>
                                </p:cTn>
                              </p:par>
                              <p:par>
                                <p:cTn id="359" presetID="10" presetClass="entr" presetSubtype="0" fill="hold" grpId="1" nodeType="withEffect">
                                  <p:stCondLst>
                                    <p:cond delay="0"/>
                                  </p:stCondLst>
                                  <p:childTnLst>
                                    <p:set>
                                      <p:cBhvr>
                                        <p:cTn id="360" dur="1" fill="hold">
                                          <p:stCondLst>
                                            <p:cond delay="0"/>
                                          </p:stCondLst>
                                        </p:cTn>
                                        <p:tgtEl>
                                          <p:spTgt spid="2382"/>
                                        </p:tgtEl>
                                        <p:attrNameLst>
                                          <p:attrName>style.visibility</p:attrName>
                                        </p:attrNameLst>
                                      </p:cBhvr>
                                      <p:to>
                                        <p:strVal val="visible"/>
                                      </p:to>
                                    </p:set>
                                    <p:animEffect transition="in" filter="fade">
                                      <p:cBhvr>
                                        <p:cTn id="361" dur="500"/>
                                        <p:tgtEl>
                                          <p:spTgt spid="2382"/>
                                        </p:tgtEl>
                                      </p:cBhvr>
                                    </p:animEffect>
                                  </p:childTnLst>
                                </p:cTn>
                              </p:par>
                              <p:par>
                                <p:cTn id="362" presetID="42" presetClass="path" presetSubtype="0" repeatCount="2000" accel="50000" decel="50000" autoRev="1" fill="hold" grpId="0" nodeType="withEffect">
                                  <p:stCondLst>
                                    <p:cond delay="0"/>
                                  </p:stCondLst>
                                  <p:childTnLst>
                                    <p:animMotion origin="layout" path="M -4.16667E-6 -4.81481E-6 L -0.02526 -4.81481E-6 " pathEditMode="relative" rAng="0" ptsTypes="AA">
                                      <p:cBhvr>
                                        <p:cTn id="363" dur="750" fill="hold"/>
                                        <p:tgtEl>
                                          <p:spTgt spid="2382"/>
                                        </p:tgtEl>
                                        <p:attrNameLst>
                                          <p:attrName>ppt_x</p:attrName>
                                          <p:attrName>ppt_y</p:attrName>
                                        </p:attrNameLst>
                                      </p:cBhvr>
                                      <p:rCtr x="-1263" y="0"/>
                                    </p:animMotion>
                                  </p:childTnLst>
                                </p:cTn>
                              </p:par>
                              <p:par>
                                <p:cTn id="364" presetID="10" presetClass="entr" presetSubtype="0" fill="hold" grpId="0" nodeType="withEffect">
                                  <p:stCondLst>
                                    <p:cond delay="0"/>
                                  </p:stCondLst>
                                  <p:childTnLst>
                                    <p:set>
                                      <p:cBhvr>
                                        <p:cTn id="365" dur="1" fill="hold">
                                          <p:stCondLst>
                                            <p:cond delay="0"/>
                                          </p:stCondLst>
                                        </p:cTn>
                                        <p:tgtEl>
                                          <p:spTgt spid="2383"/>
                                        </p:tgtEl>
                                        <p:attrNameLst>
                                          <p:attrName>style.visibility</p:attrName>
                                        </p:attrNameLst>
                                      </p:cBhvr>
                                      <p:to>
                                        <p:strVal val="visible"/>
                                      </p:to>
                                    </p:set>
                                    <p:animEffect transition="in" filter="fade">
                                      <p:cBhvr>
                                        <p:cTn id="366" dur="500"/>
                                        <p:tgtEl>
                                          <p:spTgt spid="2383"/>
                                        </p:tgtEl>
                                      </p:cBhvr>
                                    </p:animEffect>
                                  </p:childTnLst>
                                </p:cTn>
                              </p:par>
                              <p:par>
                                <p:cTn id="367" presetID="10" presetClass="entr" presetSubtype="0" fill="hold" grpId="1" nodeType="withEffect">
                                  <p:stCondLst>
                                    <p:cond delay="0"/>
                                  </p:stCondLst>
                                  <p:childTnLst>
                                    <p:set>
                                      <p:cBhvr>
                                        <p:cTn id="368" dur="1" fill="hold">
                                          <p:stCondLst>
                                            <p:cond delay="0"/>
                                          </p:stCondLst>
                                        </p:cTn>
                                        <p:tgtEl>
                                          <p:spTgt spid="2384"/>
                                        </p:tgtEl>
                                        <p:attrNameLst>
                                          <p:attrName>style.visibility</p:attrName>
                                        </p:attrNameLst>
                                      </p:cBhvr>
                                      <p:to>
                                        <p:strVal val="visible"/>
                                      </p:to>
                                    </p:set>
                                    <p:animEffect transition="in" filter="fade">
                                      <p:cBhvr>
                                        <p:cTn id="369" dur="500"/>
                                        <p:tgtEl>
                                          <p:spTgt spid="2384"/>
                                        </p:tgtEl>
                                      </p:cBhvr>
                                    </p:animEffect>
                                  </p:childTnLst>
                                </p:cTn>
                              </p:par>
                              <p:par>
                                <p:cTn id="370" presetID="42" presetClass="path" presetSubtype="0" repeatCount="2000" accel="50000" decel="50000" autoRev="1" fill="hold" grpId="0" nodeType="withEffect">
                                  <p:stCondLst>
                                    <p:cond delay="0"/>
                                  </p:stCondLst>
                                  <p:childTnLst>
                                    <p:animMotion origin="layout" path="M -4.16667E-6 3.33333E-6 L -0.02526 3.33333E-6 " pathEditMode="relative" rAng="0" ptsTypes="AA">
                                      <p:cBhvr>
                                        <p:cTn id="371" dur="750" fill="hold"/>
                                        <p:tgtEl>
                                          <p:spTgt spid="2384"/>
                                        </p:tgtEl>
                                        <p:attrNameLst>
                                          <p:attrName>ppt_x</p:attrName>
                                          <p:attrName>ppt_y</p:attrName>
                                        </p:attrNameLst>
                                      </p:cBhvr>
                                      <p:rCtr x="-1263" y="0"/>
                                    </p:animMotion>
                                  </p:childTnLst>
                                </p:cTn>
                              </p:par>
                              <p:par>
                                <p:cTn id="372" presetID="10" presetClass="entr" presetSubtype="0" fill="hold" grpId="0" nodeType="withEffect">
                                  <p:stCondLst>
                                    <p:cond delay="0"/>
                                  </p:stCondLst>
                                  <p:childTnLst>
                                    <p:set>
                                      <p:cBhvr>
                                        <p:cTn id="373" dur="1" fill="hold">
                                          <p:stCondLst>
                                            <p:cond delay="0"/>
                                          </p:stCondLst>
                                        </p:cTn>
                                        <p:tgtEl>
                                          <p:spTgt spid="2385"/>
                                        </p:tgtEl>
                                        <p:attrNameLst>
                                          <p:attrName>style.visibility</p:attrName>
                                        </p:attrNameLst>
                                      </p:cBhvr>
                                      <p:to>
                                        <p:strVal val="visible"/>
                                      </p:to>
                                    </p:set>
                                    <p:animEffect transition="in" filter="fade">
                                      <p:cBhvr>
                                        <p:cTn id="374" dur="500"/>
                                        <p:tgtEl>
                                          <p:spTgt spid="2385"/>
                                        </p:tgtEl>
                                      </p:cBhvr>
                                    </p:animEffect>
                                  </p:childTnLst>
                                </p:cTn>
                              </p:par>
                              <p:par>
                                <p:cTn id="375" presetID="10" presetClass="entr" presetSubtype="0" fill="hold" grpId="1" nodeType="withEffect">
                                  <p:stCondLst>
                                    <p:cond delay="0"/>
                                  </p:stCondLst>
                                  <p:childTnLst>
                                    <p:set>
                                      <p:cBhvr>
                                        <p:cTn id="376" dur="1" fill="hold">
                                          <p:stCondLst>
                                            <p:cond delay="0"/>
                                          </p:stCondLst>
                                        </p:cTn>
                                        <p:tgtEl>
                                          <p:spTgt spid="2386"/>
                                        </p:tgtEl>
                                        <p:attrNameLst>
                                          <p:attrName>style.visibility</p:attrName>
                                        </p:attrNameLst>
                                      </p:cBhvr>
                                      <p:to>
                                        <p:strVal val="visible"/>
                                      </p:to>
                                    </p:set>
                                    <p:animEffect transition="in" filter="fade">
                                      <p:cBhvr>
                                        <p:cTn id="377" dur="500"/>
                                        <p:tgtEl>
                                          <p:spTgt spid="2386"/>
                                        </p:tgtEl>
                                      </p:cBhvr>
                                    </p:animEffect>
                                  </p:childTnLst>
                                </p:cTn>
                              </p:par>
                              <p:par>
                                <p:cTn id="378" presetID="42" presetClass="path" presetSubtype="0" repeatCount="2000" accel="50000" decel="50000" autoRev="1" fill="hold" grpId="0" nodeType="withEffect">
                                  <p:stCondLst>
                                    <p:cond delay="0"/>
                                  </p:stCondLst>
                                  <p:childTnLst>
                                    <p:animMotion origin="layout" path="M -4.16667E-6 1.48148E-6 L -0.02526 1.48148E-6 " pathEditMode="relative" rAng="0" ptsTypes="AA">
                                      <p:cBhvr>
                                        <p:cTn id="379" dur="750" fill="hold"/>
                                        <p:tgtEl>
                                          <p:spTgt spid="2386"/>
                                        </p:tgtEl>
                                        <p:attrNameLst>
                                          <p:attrName>ppt_x</p:attrName>
                                          <p:attrName>ppt_y</p:attrName>
                                        </p:attrNameLst>
                                      </p:cBhvr>
                                      <p:rCtr x="-1263" y="0"/>
                                    </p:animMotion>
                                  </p:childTnLst>
                                </p:cTn>
                              </p:par>
                              <p:par>
                                <p:cTn id="380" presetID="10" presetClass="entr" presetSubtype="0" fill="hold" grpId="0" nodeType="withEffect">
                                  <p:stCondLst>
                                    <p:cond delay="0"/>
                                  </p:stCondLst>
                                  <p:childTnLst>
                                    <p:set>
                                      <p:cBhvr>
                                        <p:cTn id="381" dur="1" fill="hold">
                                          <p:stCondLst>
                                            <p:cond delay="0"/>
                                          </p:stCondLst>
                                        </p:cTn>
                                        <p:tgtEl>
                                          <p:spTgt spid="2387"/>
                                        </p:tgtEl>
                                        <p:attrNameLst>
                                          <p:attrName>style.visibility</p:attrName>
                                        </p:attrNameLst>
                                      </p:cBhvr>
                                      <p:to>
                                        <p:strVal val="visible"/>
                                      </p:to>
                                    </p:set>
                                    <p:animEffect transition="in" filter="fade">
                                      <p:cBhvr>
                                        <p:cTn id="382" dur="500"/>
                                        <p:tgtEl>
                                          <p:spTgt spid="2387"/>
                                        </p:tgtEl>
                                      </p:cBhvr>
                                    </p:animEffect>
                                  </p:childTnLst>
                                </p:cTn>
                              </p:par>
                              <p:par>
                                <p:cTn id="383" presetID="10" presetClass="entr" presetSubtype="0" fill="hold" grpId="1" nodeType="withEffect">
                                  <p:stCondLst>
                                    <p:cond delay="0"/>
                                  </p:stCondLst>
                                  <p:childTnLst>
                                    <p:set>
                                      <p:cBhvr>
                                        <p:cTn id="384" dur="1" fill="hold">
                                          <p:stCondLst>
                                            <p:cond delay="0"/>
                                          </p:stCondLst>
                                        </p:cTn>
                                        <p:tgtEl>
                                          <p:spTgt spid="2388"/>
                                        </p:tgtEl>
                                        <p:attrNameLst>
                                          <p:attrName>style.visibility</p:attrName>
                                        </p:attrNameLst>
                                      </p:cBhvr>
                                      <p:to>
                                        <p:strVal val="visible"/>
                                      </p:to>
                                    </p:set>
                                    <p:animEffect transition="in" filter="fade">
                                      <p:cBhvr>
                                        <p:cTn id="385" dur="500"/>
                                        <p:tgtEl>
                                          <p:spTgt spid="2388"/>
                                        </p:tgtEl>
                                      </p:cBhvr>
                                    </p:animEffect>
                                  </p:childTnLst>
                                </p:cTn>
                              </p:par>
                              <p:par>
                                <p:cTn id="386" presetID="42" presetClass="path" presetSubtype="0" repeatCount="2000" accel="50000" decel="50000" autoRev="1" fill="hold" grpId="0" nodeType="withEffect">
                                  <p:stCondLst>
                                    <p:cond delay="0"/>
                                  </p:stCondLst>
                                  <p:childTnLst>
                                    <p:animMotion origin="layout" path="M -4.16667E-6 -3.7037E-7 L -0.02526 -3.7037E-7 " pathEditMode="relative" rAng="0" ptsTypes="AA">
                                      <p:cBhvr>
                                        <p:cTn id="387" dur="750" fill="hold"/>
                                        <p:tgtEl>
                                          <p:spTgt spid="2388"/>
                                        </p:tgtEl>
                                        <p:attrNameLst>
                                          <p:attrName>ppt_x</p:attrName>
                                          <p:attrName>ppt_y</p:attrName>
                                        </p:attrNameLst>
                                      </p:cBhvr>
                                      <p:rCtr x="-1263" y="0"/>
                                    </p:animMotion>
                                  </p:childTnLst>
                                </p:cTn>
                              </p:par>
                              <p:par>
                                <p:cTn id="388" presetID="10" presetClass="entr" presetSubtype="0" fill="hold" grpId="0" nodeType="withEffect">
                                  <p:stCondLst>
                                    <p:cond delay="0"/>
                                  </p:stCondLst>
                                  <p:childTnLst>
                                    <p:set>
                                      <p:cBhvr>
                                        <p:cTn id="389" dur="1" fill="hold">
                                          <p:stCondLst>
                                            <p:cond delay="0"/>
                                          </p:stCondLst>
                                        </p:cTn>
                                        <p:tgtEl>
                                          <p:spTgt spid="2389"/>
                                        </p:tgtEl>
                                        <p:attrNameLst>
                                          <p:attrName>style.visibility</p:attrName>
                                        </p:attrNameLst>
                                      </p:cBhvr>
                                      <p:to>
                                        <p:strVal val="visible"/>
                                      </p:to>
                                    </p:set>
                                    <p:animEffect transition="in" filter="fade">
                                      <p:cBhvr>
                                        <p:cTn id="390" dur="500"/>
                                        <p:tgtEl>
                                          <p:spTgt spid="2389"/>
                                        </p:tgtEl>
                                      </p:cBhvr>
                                    </p:animEffect>
                                  </p:childTnLst>
                                </p:cTn>
                              </p:par>
                              <p:par>
                                <p:cTn id="391" presetID="10" presetClass="entr" presetSubtype="0" fill="hold" grpId="1" nodeType="withEffect">
                                  <p:stCondLst>
                                    <p:cond delay="0"/>
                                  </p:stCondLst>
                                  <p:childTnLst>
                                    <p:set>
                                      <p:cBhvr>
                                        <p:cTn id="392" dur="1" fill="hold">
                                          <p:stCondLst>
                                            <p:cond delay="0"/>
                                          </p:stCondLst>
                                        </p:cTn>
                                        <p:tgtEl>
                                          <p:spTgt spid="2390"/>
                                        </p:tgtEl>
                                        <p:attrNameLst>
                                          <p:attrName>style.visibility</p:attrName>
                                        </p:attrNameLst>
                                      </p:cBhvr>
                                      <p:to>
                                        <p:strVal val="visible"/>
                                      </p:to>
                                    </p:set>
                                    <p:animEffect transition="in" filter="fade">
                                      <p:cBhvr>
                                        <p:cTn id="393" dur="500"/>
                                        <p:tgtEl>
                                          <p:spTgt spid="2390"/>
                                        </p:tgtEl>
                                      </p:cBhvr>
                                    </p:animEffect>
                                  </p:childTnLst>
                                </p:cTn>
                              </p:par>
                              <p:par>
                                <p:cTn id="394" presetID="42" presetClass="path" presetSubtype="0" repeatCount="2000" accel="50000" decel="50000" autoRev="1" fill="hold" grpId="0" nodeType="withEffect">
                                  <p:stCondLst>
                                    <p:cond delay="0"/>
                                  </p:stCondLst>
                                  <p:childTnLst>
                                    <p:animMotion origin="layout" path="M -4.16667E-6 -2.22222E-6 L -0.02526 -2.22222E-6 " pathEditMode="relative" rAng="0" ptsTypes="AA">
                                      <p:cBhvr>
                                        <p:cTn id="395" dur="750" fill="hold"/>
                                        <p:tgtEl>
                                          <p:spTgt spid="2390"/>
                                        </p:tgtEl>
                                        <p:attrNameLst>
                                          <p:attrName>ppt_x</p:attrName>
                                          <p:attrName>ppt_y</p:attrName>
                                        </p:attrNameLst>
                                      </p:cBhvr>
                                      <p:rCtr x="-1263" y="0"/>
                                    </p:animMotion>
                                  </p:childTnLst>
                                </p:cTn>
                              </p:par>
                              <p:par>
                                <p:cTn id="396" presetID="10" presetClass="entr" presetSubtype="0" fill="hold" grpId="0" nodeType="withEffect">
                                  <p:stCondLst>
                                    <p:cond delay="0"/>
                                  </p:stCondLst>
                                  <p:childTnLst>
                                    <p:set>
                                      <p:cBhvr>
                                        <p:cTn id="397" dur="1" fill="hold">
                                          <p:stCondLst>
                                            <p:cond delay="0"/>
                                          </p:stCondLst>
                                        </p:cTn>
                                        <p:tgtEl>
                                          <p:spTgt spid="2391"/>
                                        </p:tgtEl>
                                        <p:attrNameLst>
                                          <p:attrName>style.visibility</p:attrName>
                                        </p:attrNameLst>
                                      </p:cBhvr>
                                      <p:to>
                                        <p:strVal val="visible"/>
                                      </p:to>
                                    </p:set>
                                    <p:animEffect transition="in" filter="fade">
                                      <p:cBhvr>
                                        <p:cTn id="398" dur="500"/>
                                        <p:tgtEl>
                                          <p:spTgt spid="2391"/>
                                        </p:tgtEl>
                                      </p:cBhvr>
                                    </p:animEffect>
                                  </p:childTnLst>
                                </p:cTn>
                              </p:par>
                              <p:par>
                                <p:cTn id="399" presetID="10" presetClass="entr" presetSubtype="0" fill="hold" grpId="1" nodeType="withEffect">
                                  <p:stCondLst>
                                    <p:cond delay="0"/>
                                  </p:stCondLst>
                                  <p:childTnLst>
                                    <p:set>
                                      <p:cBhvr>
                                        <p:cTn id="400" dur="1" fill="hold">
                                          <p:stCondLst>
                                            <p:cond delay="0"/>
                                          </p:stCondLst>
                                        </p:cTn>
                                        <p:tgtEl>
                                          <p:spTgt spid="2392"/>
                                        </p:tgtEl>
                                        <p:attrNameLst>
                                          <p:attrName>style.visibility</p:attrName>
                                        </p:attrNameLst>
                                      </p:cBhvr>
                                      <p:to>
                                        <p:strVal val="visible"/>
                                      </p:to>
                                    </p:set>
                                    <p:animEffect transition="in" filter="fade">
                                      <p:cBhvr>
                                        <p:cTn id="401" dur="500"/>
                                        <p:tgtEl>
                                          <p:spTgt spid="2392"/>
                                        </p:tgtEl>
                                      </p:cBhvr>
                                    </p:animEffect>
                                  </p:childTnLst>
                                </p:cTn>
                              </p:par>
                              <p:par>
                                <p:cTn id="402" presetID="42" presetClass="path" presetSubtype="0" repeatCount="2000" accel="50000" decel="50000" autoRev="1" fill="hold" grpId="0" nodeType="withEffect">
                                  <p:stCondLst>
                                    <p:cond delay="0"/>
                                  </p:stCondLst>
                                  <p:childTnLst>
                                    <p:animMotion origin="layout" path="M -4.16667E-6 -4.07407E-6 L -0.02526 -4.07407E-6 " pathEditMode="relative" rAng="0" ptsTypes="AA">
                                      <p:cBhvr>
                                        <p:cTn id="403" dur="750" fill="hold"/>
                                        <p:tgtEl>
                                          <p:spTgt spid="2392"/>
                                        </p:tgtEl>
                                        <p:attrNameLst>
                                          <p:attrName>ppt_x</p:attrName>
                                          <p:attrName>ppt_y</p:attrName>
                                        </p:attrNameLst>
                                      </p:cBhvr>
                                      <p:rCtr x="-1263" y="0"/>
                                    </p:animMotion>
                                  </p:childTnLst>
                                </p:cTn>
                              </p:par>
                              <p:par>
                                <p:cTn id="404" presetID="10" presetClass="entr" presetSubtype="0" fill="hold" grpId="0" nodeType="withEffect">
                                  <p:stCondLst>
                                    <p:cond delay="0"/>
                                  </p:stCondLst>
                                  <p:childTnLst>
                                    <p:set>
                                      <p:cBhvr>
                                        <p:cTn id="405" dur="1" fill="hold">
                                          <p:stCondLst>
                                            <p:cond delay="0"/>
                                          </p:stCondLst>
                                        </p:cTn>
                                        <p:tgtEl>
                                          <p:spTgt spid="2393"/>
                                        </p:tgtEl>
                                        <p:attrNameLst>
                                          <p:attrName>style.visibility</p:attrName>
                                        </p:attrNameLst>
                                      </p:cBhvr>
                                      <p:to>
                                        <p:strVal val="visible"/>
                                      </p:to>
                                    </p:set>
                                    <p:animEffect transition="in" filter="fade">
                                      <p:cBhvr>
                                        <p:cTn id="406" dur="500"/>
                                        <p:tgtEl>
                                          <p:spTgt spid="2393"/>
                                        </p:tgtEl>
                                      </p:cBhvr>
                                    </p:animEffect>
                                  </p:childTnLst>
                                </p:cTn>
                              </p:par>
                              <p:par>
                                <p:cTn id="407" presetID="10" presetClass="entr" presetSubtype="0" fill="hold" grpId="1" nodeType="withEffect">
                                  <p:stCondLst>
                                    <p:cond delay="0"/>
                                  </p:stCondLst>
                                  <p:childTnLst>
                                    <p:set>
                                      <p:cBhvr>
                                        <p:cTn id="408" dur="1" fill="hold">
                                          <p:stCondLst>
                                            <p:cond delay="0"/>
                                          </p:stCondLst>
                                        </p:cTn>
                                        <p:tgtEl>
                                          <p:spTgt spid="2394"/>
                                        </p:tgtEl>
                                        <p:attrNameLst>
                                          <p:attrName>style.visibility</p:attrName>
                                        </p:attrNameLst>
                                      </p:cBhvr>
                                      <p:to>
                                        <p:strVal val="visible"/>
                                      </p:to>
                                    </p:set>
                                    <p:animEffect transition="in" filter="fade">
                                      <p:cBhvr>
                                        <p:cTn id="409" dur="500"/>
                                        <p:tgtEl>
                                          <p:spTgt spid="2394"/>
                                        </p:tgtEl>
                                      </p:cBhvr>
                                    </p:animEffect>
                                  </p:childTnLst>
                                </p:cTn>
                              </p:par>
                              <p:par>
                                <p:cTn id="410" presetID="42" presetClass="path" presetSubtype="0" repeatCount="2000" accel="50000" decel="50000" autoRev="1" fill="hold" grpId="0" nodeType="withEffect">
                                  <p:stCondLst>
                                    <p:cond delay="0"/>
                                  </p:stCondLst>
                                  <p:childTnLst>
                                    <p:animMotion origin="layout" path="M -4.16667E-6 4.07407E-6 L -0.02526 4.07407E-6 " pathEditMode="relative" rAng="0" ptsTypes="AA">
                                      <p:cBhvr>
                                        <p:cTn id="411" dur="750" fill="hold"/>
                                        <p:tgtEl>
                                          <p:spTgt spid="2394"/>
                                        </p:tgtEl>
                                        <p:attrNameLst>
                                          <p:attrName>ppt_x</p:attrName>
                                          <p:attrName>ppt_y</p:attrName>
                                        </p:attrNameLst>
                                      </p:cBhvr>
                                      <p:rCtr x="-1263" y="0"/>
                                    </p:animMotion>
                                  </p:childTnLst>
                                </p:cTn>
                              </p:par>
                            </p:childTnLst>
                          </p:cTn>
                        </p:par>
                        <p:par>
                          <p:cTn id="412" fill="hold">
                            <p:stCondLst>
                              <p:cond delay="8200"/>
                            </p:stCondLst>
                            <p:childTnLst>
                              <p:par>
                                <p:cTn id="413" presetID="10" presetClass="exit" presetSubtype="0" fill="hold" grpId="2" nodeType="afterEffect">
                                  <p:stCondLst>
                                    <p:cond delay="0"/>
                                  </p:stCondLst>
                                  <p:childTnLst>
                                    <p:animEffect transition="out" filter="fade">
                                      <p:cBhvr>
                                        <p:cTn id="414" dur="500"/>
                                        <p:tgtEl>
                                          <p:spTgt spid="11"/>
                                        </p:tgtEl>
                                      </p:cBhvr>
                                    </p:animEffect>
                                    <p:set>
                                      <p:cBhvr>
                                        <p:cTn id="415" dur="1" fill="hold">
                                          <p:stCondLst>
                                            <p:cond delay="499"/>
                                          </p:stCondLst>
                                        </p:cTn>
                                        <p:tgtEl>
                                          <p:spTgt spid="11"/>
                                        </p:tgtEl>
                                        <p:attrNameLst>
                                          <p:attrName>style.visibility</p:attrName>
                                        </p:attrNameLst>
                                      </p:cBhvr>
                                      <p:to>
                                        <p:strVal val="hidden"/>
                                      </p:to>
                                    </p:set>
                                  </p:childTnLst>
                                </p:cTn>
                              </p:par>
                              <p:par>
                                <p:cTn id="416" presetID="10" presetClass="exit" presetSubtype="0" fill="hold" grpId="2" nodeType="withEffect">
                                  <p:stCondLst>
                                    <p:cond delay="0"/>
                                  </p:stCondLst>
                                  <p:childTnLst>
                                    <p:animEffect transition="out" filter="fade">
                                      <p:cBhvr>
                                        <p:cTn id="417" dur="500"/>
                                        <p:tgtEl>
                                          <p:spTgt spid="1721"/>
                                        </p:tgtEl>
                                      </p:cBhvr>
                                    </p:animEffect>
                                    <p:set>
                                      <p:cBhvr>
                                        <p:cTn id="418" dur="1" fill="hold">
                                          <p:stCondLst>
                                            <p:cond delay="499"/>
                                          </p:stCondLst>
                                        </p:cTn>
                                        <p:tgtEl>
                                          <p:spTgt spid="1721"/>
                                        </p:tgtEl>
                                        <p:attrNameLst>
                                          <p:attrName>style.visibility</p:attrName>
                                        </p:attrNameLst>
                                      </p:cBhvr>
                                      <p:to>
                                        <p:strVal val="hidden"/>
                                      </p:to>
                                    </p:set>
                                  </p:childTnLst>
                                </p:cTn>
                              </p:par>
                              <p:par>
                                <p:cTn id="419" presetID="10" presetClass="exit" presetSubtype="0" fill="hold" grpId="2" nodeType="withEffect">
                                  <p:stCondLst>
                                    <p:cond delay="0"/>
                                  </p:stCondLst>
                                  <p:childTnLst>
                                    <p:animEffect transition="out" filter="fade">
                                      <p:cBhvr>
                                        <p:cTn id="420" dur="500"/>
                                        <p:tgtEl>
                                          <p:spTgt spid="1723"/>
                                        </p:tgtEl>
                                      </p:cBhvr>
                                    </p:animEffect>
                                    <p:set>
                                      <p:cBhvr>
                                        <p:cTn id="421" dur="1" fill="hold">
                                          <p:stCondLst>
                                            <p:cond delay="499"/>
                                          </p:stCondLst>
                                        </p:cTn>
                                        <p:tgtEl>
                                          <p:spTgt spid="1723"/>
                                        </p:tgtEl>
                                        <p:attrNameLst>
                                          <p:attrName>style.visibility</p:attrName>
                                        </p:attrNameLst>
                                      </p:cBhvr>
                                      <p:to>
                                        <p:strVal val="hidden"/>
                                      </p:to>
                                    </p:set>
                                  </p:childTnLst>
                                </p:cTn>
                              </p:par>
                              <p:par>
                                <p:cTn id="422" presetID="10" presetClass="exit" presetSubtype="0" fill="hold" grpId="2" nodeType="withEffect">
                                  <p:stCondLst>
                                    <p:cond delay="0"/>
                                  </p:stCondLst>
                                  <p:childTnLst>
                                    <p:animEffect transition="out" filter="fade">
                                      <p:cBhvr>
                                        <p:cTn id="423" dur="500"/>
                                        <p:tgtEl>
                                          <p:spTgt spid="1725"/>
                                        </p:tgtEl>
                                      </p:cBhvr>
                                    </p:animEffect>
                                    <p:set>
                                      <p:cBhvr>
                                        <p:cTn id="424" dur="1" fill="hold">
                                          <p:stCondLst>
                                            <p:cond delay="499"/>
                                          </p:stCondLst>
                                        </p:cTn>
                                        <p:tgtEl>
                                          <p:spTgt spid="1725"/>
                                        </p:tgtEl>
                                        <p:attrNameLst>
                                          <p:attrName>style.visibility</p:attrName>
                                        </p:attrNameLst>
                                      </p:cBhvr>
                                      <p:to>
                                        <p:strVal val="hidden"/>
                                      </p:to>
                                    </p:set>
                                  </p:childTnLst>
                                </p:cTn>
                              </p:par>
                              <p:par>
                                <p:cTn id="425" presetID="10" presetClass="exit" presetSubtype="0" fill="hold" grpId="2" nodeType="withEffect">
                                  <p:stCondLst>
                                    <p:cond delay="0"/>
                                  </p:stCondLst>
                                  <p:childTnLst>
                                    <p:animEffect transition="out" filter="fade">
                                      <p:cBhvr>
                                        <p:cTn id="426" dur="500"/>
                                        <p:tgtEl>
                                          <p:spTgt spid="1727"/>
                                        </p:tgtEl>
                                      </p:cBhvr>
                                    </p:animEffect>
                                    <p:set>
                                      <p:cBhvr>
                                        <p:cTn id="427" dur="1" fill="hold">
                                          <p:stCondLst>
                                            <p:cond delay="499"/>
                                          </p:stCondLst>
                                        </p:cTn>
                                        <p:tgtEl>
                                          <p:spTgt spid="1727"/>
                                        </p:tgtEl>
                                        <p:attrNameLst>
                                          <p:attrName>style.visibility</p:attrName>
                                        </p:attrNameLst>
                                      </p:cBhvr>
                                      <p:to>
                                        <p:strVal val="hidden"/>
                                      </p:to>
                                    </p:set>
                                  </p:childTnLst>
                                </p:cTn>
                              </p:par>
                              <p:par>
                                <p:cTn id="428" presetID="10" presetClass="exit" presetSubtype="0" fill="hold" grpId="2" nodeType="withEffect">
                                  <p:stCondLst>
                                    <p:cond delay="0"/>
                                  </p:stCondLst>
                                  <p:childTnLst>
                                    <p:animEffect transition="out" filter="fade">
                                      <p:cBhvr>
                                        <p:cTn id="429" dur="500"/>
                                        <p:tgtEl>
                                          <p:spTgt spid="1729"/>
                                        </p:tgtEl>
                                      </p:cBhvr>
                                    </p:animEffect>
                                    <p:set>
                                      <p:cBhvr>
                                        <p:cTn id="430" dur="1" fill="hold">
                                          <p:stCondLst>
                                            <p:cond delay="499"/>
                                          </p:stCondLst>
                                        </p:cTn>
                                        <p:tgtEl>
                                          <p:spTgt spid="1729"/>
                                        </p:tgtEl>
                                        <p:attrNameLst>
                                          <p:attrName>style.visibility</p:attrName>
                                        </p:attrNameLst>
                                      </p:cBhvr>
                                      <p:to>
                                        <p:strVal val="hidden"/>
                                      </p:to>
                                    </p:set>
                                  </p:childTnLst>
                                </p:cTn>
                              </p:par>
                              <p:par>
                                <p:cTn id="431" presetID="10" presetClass="exit" presetSubtype="0" fill="hold" grpId="2" nodeType="withEffect">
                                  <p:stCondLst>
                                    <p:cond delay="0"/>
                                  </p:stCondLst>
                                  <p:childTnLst>
                                    <p:animEffect transition="out" filter="fade">
                                      <p:cBhvr>
                                        <p:cTn id="432" dur="500"/>
                                        <p:tgtEl>
                                          <p:spTgt spid="1731"/>
                                        </p:tgtEl>
                                      </p:cBhvr>
                                    </p:animEffect>
                                    <p:set>
                                      <p:cBhvr>
                                        <p:cTn id="433" dur="1" fill="hold">
                                          <p:stCondLst>
                                            <p:cond delay="499"/>
                                          </p:stCondLst>
                                        </p:cTn>
                                        <p:tgtEl>
                                          <p:spTgt spid="1731"/>
                                        </p:tgtEl>
                                        <p:attrNameLst>
                                          <p:attrName>style.visibility</p:attrName>
                                        </p:attrNameLst>
                                      </p:cBhvr>
                                      <p:to>
                                        <p:strVal val="hidden"/>
                                      </p:to>
                                    </p:set>
                                  </p:childTnLst>
                                </p:cTn>
                              </p:par>
                              <p:par>
                                <p:cTn id="434" presetID="10" presetClass="exit" presetSubtype="0" fill="hold" grpId="2" nodeType="withEffect">
                                  <p:stCondLst>
                                    <p:cond delay="0"/>
                                  </p:stCondLst>
                                  <p:childTnLst>
                                    <p:animEffect transition="out" filter="fade">
                                      <p:cBhvr>
                                        <p:cTn id="435" dur="500"/>
                                        <p:tgtEl>
                                          <p:spTgt spid="2291"/>
                                        </p:tgtEl>
                                      </p:cBhvr>
                                    </p:animEffect>
                                    <p:set>
                                      <p:cBhvr>
                                        <p:cTn id="436" dur="1" fill="hold">
                                          <p:stCondLst>
                                            <p:cond delay="499"/>
                                          </p:stCondLst>
                                        </p:cTn>
                                        <p:tgtEl>
                                          <p:spTgt spid="2291"/>
                                        </p:tgtEl>
                                        <p:attrNameLst>
                                          <p:attrName>style.visibility</p:attrName>
                                        </p:attrNameLst>
                                      </p:cBhvr>
                                      <p:to>
                                        <p:strVal val="hidden"/>
                                      </p:to>
                                    </p:set>
                                  </p:childTnLst>
                                </p:cTn>
                              </p:par>
                              <p:par>
                                <p:cTn id="437" presetID="10" presetClass="exit" presetSubtype="0" fill="hold" grpId="2" nodeType="withEffect">
                                  <p:stCondLst>
                                    <p:cond delay="0"/>
                                  </p:stCondLst>
                                  <p:childTnLst>
                                    <p:animEffect transition="out" filter="fade">
                                      <p:cBhvr>
                                        <p:cTn id="438" dur="500"/>
                                        <p:tgtEl>
                                          <p:spTgt spid="2293"/>
                                        </p:tgtEl>
                                      </p:cBhvr>
                                    </p:animEffect>
                                    <p:set>
                                      <p:cBhvr>
                                        <p:cTn id="439" dur="1" fill="hold">
                                          <p:stCondLst>
                                            <p:cond delay="499"/>
                                          </p:stCondLst>
                                        </p:cTn>
                                        <p:tgtEl>
                                          <p:spTgt spid="2293"/>
                                        </p:tgtEl>
                                        <p:attrNameLst>
                                          <p:attrName>style.visibility</p:attrName>
                                        </p:attrNameLst>
                                      </p:cBhvr>
                                      <p:to>
                                        <p:strVal val="hidden"/>
                                      </p:to>
                                    </p:set>
                                  </p:childTnLst>
                                </p:cTn>
                              </p:par>
                              <p:par>
                                <p:cTn id="440" presetID="10" presetClass="exit" presetSubtype="0" fill="hold" grpId="2" nodeType="withEffect">
                                  <p:stCondLst>
                                    <p:cond delay="0"/>
                                  </p:stCondLst>
                                  <p:childTnLst>
                                    <p:animEffect transition="out" filter="fade">
                                      <p:cBhvr>
                                        <p:cTn id="441" dur="500"/>
                                        <p:tgtEl>
                                          <p:spTgt spid="2295"/>
                                        </p:tgtEl>
                                      </p:cBhvr>
                                    </p:animEffect>
                                    <p:set>
                                      <p:cBhvr>
                                        <p:cTn id="442" dur="1" fill="hold">
                                          <p:stCondLst>
                                            <p:cond delay="499"/>
                                          </p:stCondLst>
                                        </p:cTn>
                                        <p:tgtEl>
                                          <p:spTgt spid="2295"/>
                                        </p:tgtEl>
                                        <p:attrNameLst>
                                          <p:attrName>style.visibility</p:attrName>
                                        </p:attrNameLst>
                                      </p:cBhvr>
                                      <p:to>
                                        <p:strVal val="hidden"/>
                                      </p:to>
                                    </p:set>
                                  </p:childTnLst>
                                </p:cTn>
                              </p:par>
                              <p:par>
                                <p:cTn id="443" presetID="10" presetClass="exit" presetSubtype="0" fill="hold" grpId="2" nodeType="withEffect">
                                  <p:stCondLst>
                                    <p:cond delay="0"/>
                                  </p:stCondLst>
                                  <p:childTnLst>
                                    <p:animEffect transition="out" filter="fade">
                                      <p:cBhvr>
                                        <p:cTn id="444" dur="500"/>
                                        <p:tgtEl>
                                          <p:spTgt spid="2297"/>
                                        </p:tgtEl>
                                      </p:cBhvr>
                                    </p:animEffect>
                                    <p:set>
                                      <p:cBhvr>
                                        <p:cTn id="445" dur="1" fill="hold">
                                          <p:stCondLst>
                                            <p:cond delay="499"/>
                                          </p:stCondLst>
                                        </p:cTn>
                                        <p:tgtEl>
                                          <p:spTgt spid="2297"/>
                                        </p:tgtEl>
                                        <p:attrNameLst>
                                          <p:attrName>style.visibility</p:attrName>
                                        </p:attrNameLst>
                                      </p:cBhvr>
                                      <p:to>
                                        <p:strVal val="hidden"/>
                                      </p:to>
                                    </p:set>
                                  </p:childTnLst>
                                </p:cTn>
                              </p:par>
                              <p:par>
                                <p:cTn id="446" presetID="10" presetClass="exit" presetSubtype="0" fill="hold" grpId="2" nodeType="withEffect">
                                  <p:stCondLst>
                                    <p:cond delay="0"/>
                                  </p:stCondLst>
                                  <p:childTnLst>
                                    <p:animEffect transition="out" filter="fade">
                                      <p:cBhvr>
                                        <p:cTn id="447" dur="500"/>
                                        <p:tgtEl>
                                          <p:spTgt spid="2338"/>
                                        </p:tgtEl>
                                      </p:cBhvr>
                                    </p:animEffect>
                                    <p:set>
                                      <p:cBhvr>
                                        <p:cTn id="448" dur="1" fill="hold">
                                          <p:stCondLst>
                                            <p:cond delay="499"/>
                                          </p:stCondLst>
                                        </p:cTn>
                                        <p:tgtEl>
                                          <p:spTgt spid="2338"/>
                                        </p:tgtEl>
                                        <p:attrNameLst>
                                          <p:attrName>style.visibility</p:attrName>
                                        </p:attrNameLst>
                                      </p:cBhvr>
                                      <p:to>
                                        <p:strVal val="hidden"/>
                                      </p:to>
                                    </p:set>
                                  </p:childTnLst>
                                </p:cTn>
                              </p:par>
                              <p:par>
                                <p:cTn id="449" presetID="10" presetClass="exit" presetSubtype="0" fill="hold" grpId="2" nodeType="withEffect">
                                  <p:stCondLst>
                                    <p:cond delay="0"/>
                                  </p:stCondLst>
                                  <p:childTnLst>
                                    <p:animEffect transition="out" filter="fade">
                                      <p:cBhvr>
                                        <p:cTn id="450" dur="500"/>
                                        <p:tgtEl>
                                          <p:spTgt spid="2340"/>
                                        </p:tgtEl>
                                      </p:cBhvr>
                                    </p:animEffect>
                                    <p:set>
                                      <p:cBhvr>
                                        <p:cTn id="451" dur="1" fill="hold">
                                          <p:stCondLst>
                                            <p:cond delay="499"/>
                                          </p:stCondLst>
                                        </p:cTn>
                                        <p:tgtEl>
                                          <p:spTgt spid="2340"/>
                                        </p:tgtEl>
                                        <p:attrNameLst>
                                          <p:attrName>style.visibility</p:attrName>
                                        </p:attrNameLst>
                                      </p:cBhvr>
                                      <p:to>
                                        <p:strVal val="hidden"/>
                                      </p:to>
                                    </p:set>
                                  </p:childTnLst>
                                </p:cTn>
                              </p:par>
                              <p:par>
                                <p:cTn id="452" presetID="10" presetClass="exit" presetSubtype="0" fill="hold" grpId="2" nodeType="withEffect">
                                  <p:stCondLst>
                                    <p:cond delay="0"/>
                                  </p:stCondLst>
                                  <p:childTnLst>
                                    <p:animEffect transition="out" filter="fade">
                                      <p:cBhvr>
                                        <p:cTn id="453" dur="500"/>
                                        <p:tgtEl>
                                          <p:spTgt spid="2342"/>
                                        </p:tgtEl>
                                      </p:cBhvr>
                                    </p:animEffect>
                                    <p:set>
                                      <p:cBhvr>
                                        <p:cTn id="454" dur="1" fill="hold">
                                          <p:stCondLst>
                                            <p:cond delay="499"/>
                                          </p:stCondLst>
                                        </p:cTn>
                                        <p:tgtEl>
                                          <p:spTgt spid="2342"/>
                                        </p:tgtEl>
                                        <p:attrNameLst>
                                          <p:attrName>style.visibility</p:attrName>
                                        </p:attrNameLst>
                                      </p:cBhvr>
                                      <p:to>
                                        <p:strVal val="hidden"/>
                                      </p:to>
                                    </p:set>
                                  </p:childTnLst>
                                </p:cTn>
                              </p:par>
                              <p:par>
                                <p:cTn id="455" presetID="10" presetClass="exit" presetSubtype="0" fill="hold" grpId="2" nodeType="withEffect">
                                  <p:stCondLst>
                                    <p:cond delay="0"/>
                                  </p:stCondLst>
                                  <p:childTnLst>
                                    <p:animEffect transition="out" filter="fade">
                                      <p:cBhvr>
                                        <p:cTn id="456" dur="500"/>
                                        <p:tgtEl>
                                          <p:spTgt spid="2344"/>
                                        </p:tgtEl>
                                      </p:cBhvr>
                                    </p:animEffect>
                                    <p:set>
                                      <p:cBhvr>
                                        <p:cTn id="457" dur="1" fill="hold">
                                          <p:stCondLst>
                                            <p:cond delay="499"/>
                                          </p:stCondLst>
                                        </p:cTn>
                                        <p:tgtEl>
                                          <p:spTgt spid="2344"/>
                                        </p:tgtEl>
                                        <p:attrNameLst>
                                          <p:attrName>style.visibility</p:attrName>
                                        </p:attrNameLst>
                                      </p:cBhvr>
                                      <p:to>
                                        <p:strVal val="hidden"/>
                                      </p:to>
                                    </p:set>
                                  </p:childTnLst>
                                </p:cTn>
                              </p:par>
                              <p:par>
                                <p:cTn id="458" presetID="10" presetClass="exit" presetSubtype="0" fill="hold" grpId="2" nodeType="withEffect">
                                  <p:stCondLst>
                                    <p:cond delay="0"/>
                                  </p:stCondLst>
                                  <p:childTnLst>
                                    <p:animEffect transition="out" filter="fade">
                                      <p:cBhvr>
                                        <p:cTn id="459" dur="500"/>
                                        <p:tgtEl>
                                          <p:spTgt spid="2346"/>
                                        </p:tgtEl>
                                      </p:cBhvr>
                                    </p:animEffect>
                                    <p:set>
                                      <p:cBhvr>
                                        <p:cTn id="460" dur="1" fill="hold">
                                          <p:stCondLst>
                                            <p:cond delay="499"/>
                                          </p:stCondLst>
                                        </p:cTn>
                                        <p:tgtEl>
                                          <p:spTgt spid="2346"/>
                                        </p:tgtEl>
                                        <p:attrNameLst>
                                          <p:attrName>style.visibility</p:attrName>
                                        </p:attrNameLst>
                                      </p:cBhvr>
                                      <p:to>
                                        <p:strVal val="hidden"/>
                                      </p:to>
                                    </p:set>
                                  </p:childTnLst>
                                </p:cTn>
                              </p:par>
                              <p:par>
                                <p:cTn id="461" presetID="10" presetClass="exit" presetSubtype="0" fill="hold" grpId="2" nodeType="withEffect">
                                  <p:stCondLst>
                                    <p:cond delay="0"/>
                                  </p:stCondLst>
                                  <p:childTnLst>
                                    <p:animEffect transition="out" filter="fade">
                                      <p:cBhvr>
                                        <p:cTn id="462" dur="500"/>
                                        <p:tgtEl>
                                          <p:spTgt spid="2348"/>
                                        </p:tgtEl>
                                      </p:cBhvr>
                                    </p:animEffect>
                                    <p:set>
                                      <p:cBhvr>
                                        <p:cTn id="463" dur="1" fill="hold">
                                          <p:stCondLst>
                                            <p:cond delay="499"/>
                                          </p:stCondLst>
                                        </p:cTn>
                                        <p:tgtEl>
                                          <p:spTgt spid="2348"/>
                                        </p:tgtEl>
                                        <p:attrNameLst>
                                          <p:attrName>style.visibility</p:attrName>
                                        </p:attrNameLst>
                                      </p:cBhvr>
                                      <p:to>
                                        <p:strVal val="hidden"/>
                                      </p:to>
                                    </p:set>
                                  </p:childTnLst>
                                </p:cTn>
                              </p:par>
                              <p:par>
                                <p:cTn id="464" presetID="10" presetClass="exit" presetSubtype="0" fill="hold" grpId="2" nodeType="withEffect">
                                  <p:stCondLst>
                                    <p:cond delay="0"/>
                                  </p:stCondLst>
                                  <p:childTnLst>
                                    <p:animEffect transition="out" filter="fade">
                                      <p:cBhvr>
                                        <p:cTn id="465" dur="500"/>
                                        <p:tgtEl>
                                          <p:spTgt spid="2350"/>
                                        </p:tgtEl>
                                      </p:cBhvr>
                                    </p:animEffect>
                                    <p:set>
                                      <p:cBhvr>
                                        <p:cTn id="466" dur="1" fill="hold">
                                          <p:stCondLst>
                                            <p:cond delay="499"/>
                                          </p:stCondLst>
                                        </p:cTn>
                                        <p:tgtEl>
                                          <p:spTgt spid="2350"/>
                                        </p:tgtEl>
                                        <p:attrNameLst>
                                          <p:attrName>style.visibility</p:attrName>
                                        </p:attrNameLst>
                                      </p:cBhvr>
                                      <p:to>
                                        <p:strVal val="hidden"/>
                                      </p:to>
                                    </p:set>
                                  </p:childTnLst>
                                </p:cTn>
                              </p:par>
                              <p:par>
                                <p:cTn id="467" presetID="10" presetClass="exit" presetSubtype="0" fill="hold" grpId="2" nodeType="withEffect">
                                  <p:stCondLst>
                                    <p:cond delay="0"/>
                                  </p:stCondLst>
                                  <p:childTnLst>
                                    <p:animEffect transition="out" filter="fade">
                                      <p:cBhvr>
                                        <p:cTn id="468" dur="500"/>
                                        <p:tgtEl>
                                          <p:spTgt spid="2352"/>
                                        </p:tgtEl>
                                      </p:cBhvr>
                                    </p:animEffect>
                                    <p:set>
                                      <p:cBhvr>
                                        <p:cTn id="469" dur="1" fill="hold">
                                          <p:stCondLst>
                                            <p:cond delay="499"/>
                                          </p:stCondLst>
                                        </p:cTn>
                                        <p:tgtEl>
                                          <p:spTgt spid="2352"/>
                                        </p:tgtEl>
                                        <p:attrNameLst>
                                          <p:attrName>style.visibility</p:attrName>
                                        </p:attrNameLst>
                                      </p:cBhvr>
                                      <p:to>
                                        <p:strVal val="hidden"/>
                                      </p:to>
                                    </p:set>
                                  </p:childTnLst>
                                </p:cTn>
                              </p:par>
                              <p:par>
                                <p:cTn id="470" presetID="10" presetClass="exit" presetSubtype="0" fill="hold" grpId="2" nodeType="withEffect">
                                  <p:stCondLst>
                                    <p:cond delay="0"/>
                                  </p:stCondLst>
                                  <p:childTnLst>
                                    <p:animEffect transition="out" filter="fade">
                                      <p:cBhvr>
                                        <p:cTn id="471" dur="500"/>
                                        <p:tgtEl>
                                          <p:spTgt spid="2354"/>
                                        </p:tgtEl>
                                      </p:cBhvr>
                                    </p:animEffect>
                                    <p:set>
                                      <p:cBhvr>
                                        <p:cTn id="472" dur="1" fill="hold">
                                          <p:stCondLst>
                                            <p:cond delay="499"/>
                                          </p:stCondLst>
                                        </p:cTn>
                                        <p:tgtEl>
                                          <p:spTgt spid="2354"/>
                                        </p:tgtEl>
                                        <p:attrNameLst>
                                          <p:attrName>style.visibility</p:attrName>
                                        </p:attrNameLst>
                                      </p:cBhvr>
                                      <p:to>
                                        <p:strVal val="hidden"/>
                                      </p:to>
                                    </p:set>
                                  </p:childTnLst>
                                </p:cTn>
                              </p:par>
                              <p:par>
                                <p:cTn id="473" presetID="10" presetClass="exit" presetSubtype="0" fill="hold" grpId="2" nodeType="withEffect">
                                  <p:stCondLst>
                                    <p:cond delay="0"/>
                                  </p:stCondLst>
                                  <p:childTnLst>
                                    <p:animEffect transition="out" filter="fade">
                                      <p:cBhvr>
                                        <p:cTn id="474" dur="500"/>
                                        <p:tgtEl>
                                          <p:spTgt spid="2356"/>
                                        </p:tgtEl>
                                      </p:cBhvr>
                                    </p:animEffect>
                                    <p:set>
                                      <p:cBhvr>
                                        <p:cTn id="475" dur="1" fill="hold">
                                          <p:stCondLst>
                                            <p:cond delay="499"/>
                                          </p:stCondLst>
                                        </p:cTn>
                                        <p:tgtEl>
                                          <p:spTgt spid="2356"/>
                                        </p:tgtEl>
                                        <p:attrNameLst>
                                          <p:attrName>style.visibility</p:attrName>
                                        </p:attrNameLst>
                                      </p:cBhvr>
                                      <p:to>
                                        <p:strVal val="hidden"/>
                                      </p:to>
                                    </p:set>
                                  </p:childTnLst>
                                </p:cTn>
                              </p:par>
                              <p:par>
                                <p:cTn id="476" presetID="10" presetClass="exit" presetSubtype="0" fill="hold" grpId="2" nodeType="withEffect">
                                  <p:stCondLst>
                                    <p:cond delay="0"/>
                                  </p:stCondLst>
                                  <p:childTnLst>
                                    <p:animEffect transition="out" filter="fade">
                                      <p:cBhvr>
                                        <p:cTn id="477" dur="500"/>
                                        <p:tgtEl>
                                          <p:spTgt spid="2358"/>
                                        </p:tgtEl>
                                      </p:cBhvr>
                                    </p:animEffect>
                                    <p:set>
                                      <p:cBhvr>
                                        <p:cTn id="478" dur="1" fill="hold">
                                          <p:stCondLst>
                                            <p:cond delay="499"/>
                                          </p:stCondLst>
                                        </p:cTn>
                                        <p:tgtEl>
                                          <p:spTgt spid="2358"/>
                                        </p:tgtEl>
                                        <p:attrNameLst>
                                          <p:attrName>style.visibility</p:attrName>
                                        </p:attrNameLst>
                                      </p:cBhvr>
                                      <p:to>
                                        <p:strVal val="hidden"/>
                                      </p:to>
                                    </p:set>
                                  </p:childTnLst>
                                </p:cTn>
                              </p:par>
                              <p:par>
                                <p:cTn id="479" presetID="10" presetClass="exit" presetSubtype="0" fill="hold" grpId="2" nodeType="withEffect">
                                  <p:stCondLst>
                                    <p:cond delay="0"/>
                                  </p:stCondLst>
                                  <p:childTnLst>
                                    <p:animEffect transition="out" filter="fade">
                                      <p:cBhvr>
                                        <p:cTn id="480" dur="500"/>
                                        <p:tgtEl>
                                          <p:spTgt spid="2360"/>
                                        </p:tgtEl>
                                      </p:cBhvr>
                                    </p:animEffect>
                                    <p:set>
                                      <p:cBhvr>
                                        <p:cTn id="481" dur="1" fill="hold">
                                          <p:stCondLst>
                                            <p:cond delay="499"/>
                                          </p:stCondLst>
                                        </p:cTn>
                                        <p:tgtEl>
                                          <p:spTgt spid="2360"/>
                                        </p:tgtEl>
                                        <p:attrNameLst>
                                          <p:attrName>style.visibility</p:attrName>
                                        </p:attrNameLst>
                                      </p:cBhvr>
                                      <p:to>
                                        <p:strVal val="hidden"/>
                                      </p:to>
                                    </p:set>
                                  </p:childTnLst>
                                </p:cTn>
                              </p:par>
                              <p:par>
                                <p:cTn id="482" presetID="10" presetClass="exit" presetSubtype="0" fill="hold" grpId="2" nodeType="withEffect">
                                  <p:stCondLst>
                                    <p:cond delay="0"/>
                                  </p:stCondLst>
                                  <p:childTnLst>
                                    <p:animEffect transition="out" filter="fade">
                                      <p:cBhvr>
                                        <p:cTn id="483" dur="500"/>
                                        <p:tgtEl>
                                          <p:spTgt spid="2362"/>
                                        </p:tgtEl>
                                      </p:cBhvr>
                                    </p:animEffect>
                                    <p:set>
                                      <p:cBhvr>
                                        <p:cTn id="484" dur="1" fill="hold">
                                          <p:stCondLst>
                                            <p:cond delay="499"/>
                                          </p:stCondLst>
                                        </p:cTn>
                                        <p:tgtEl>
                                          <p:spTgt spid="2362"/>
                                        </p:tgtEl>
                                        <p:attrNameLst>
                                          <p:attrName>style.visibility</p:attrName>
                                        </p:attrNameLst>
                                      </p:cBhvr>
                                      <p:to>
                                        <p:strVal val="hidden"/>
                                      </p:to>
                                    </p:set>
                                  </p:childTnLst>
                                </p:cTn>
                              </p:par>
                              <p:par>
                                <p:cTn id="485" presetID="10" presetClass="exit" presetSubtype="0" fill="hold" grpId="2" nodeType="withEffect">
                                  <p:stCondLst>
                                    <p:cond delay="0"/>
                                  </p:stCondLst>
                                  <p:childTnLst>
                                    <p:animEffect transition="out" filter="fade">
                                      <p:cBhvr>
                                        <p:cTn id="486" dur="500"/>
                                        <p:tgtEl>
                                          <p:spTgt spid="2364"/>
                                        </p:tgtEl>
                                      </p:cBhvr>
                                    </p:animEffect>
                                    <p:set>
                                      <p:cBhvr>
                                        <p:cTn id="487" dur="1" fill="hold">
                                          <p:stCondLst>
                                            <p:cond delay="499"/>
                                          </p:stCondLst>
                                        </p:cTn>
                                        <p:tgtEl>
                                          <p:spTgt spid="2364"/>
                                        </p:tgtEl>
                                        <p:attrNameLst>
                                          <p:attrName>style.visibility</p:attrName>
                                        </p:attrNameLst>
                                      </p:cBhvr>
                                      <p:to>
                                        <p:strVal val="hidden"/>
                                      </p:to>
                                    </p:set>
                                  </p:childTnLst>
                                </p:cTn>
                              </p:par>
                              <p:par>
                                <p:cTn id="488" presetID="10" presetClass="exit" presetSubtype="0" fill="hold" grpId="2" nodeType="withEffect">
                                  <p:stCondLst>
                                    <p:cond delay="0"/>
                                  </p:stCondLst>
                                  <p:childTnLst>
                                    <p:animEffect transition="out" filter="fade">
                                      <p:cBhvr>
                                        <p:cTn id="489" dur="500"/>
                                        <p:tgtEl>
                                          <p:spTgt spid="2366"/>
                                        </p:tgtEl>
                                      </p:cBhvr>
                                    </p:animEffect>
                                    <p:set>
                                      <p:cBhvr>
                                        <p:cTn id="490" dur="1" fill="hold">
                                          <p:stCondLst>
                                            <p:cond delay="499"/>
                                          </p:stCondLst>
                                        </p:cTn>
                                        <p:tgtEl>
                                          <p:spTgt spid="2366"/>
                                        </p:tgtEl>
                                        <p:attrNameLst>
                                          <p:attrName>style.visibility</p:attrName>
                                        </p:attrNameLst>
                                      </p:cBhvr>
                                      <p:to>
                                        <p:strVal val="hidden"/>
                                      </p:to>
                                    </p:set>
                                  </p:childTnLst>
                                </p:cTn>
                              </p:par>
                              <p:par>
                                <p:cTn id="491" presetID="10" presetClass="exit" presetSubtype="0" fill="hold" grpId="2" nodeType="withEffect">
                                  <p:stCondLst>
                                    <p:cond delay="0"/>
                                  </p:stCondLst>
                                  <p:childTnLst>
                                    <p:animEffect transition="out" filter="fade">
                                      <p:cBhvr>
                                        <p:cTn id="492" dur="500"/>
                                        <p:tgtEl>
                                          <p:spTgt spid="2368"/>
                                        </p:tgtEl>
                                      </p:cBhvr>
                                    </p:animEffect>
                                    <p:set>
                                      <p:cBhvr>
                                        <p:cTn id="493" dur="1" fill="hold">
                                          <p:stCondLst>
                                            <p:cond delay="499"/>
                                          </p:stCondLst>
                                        </p:cTn>
                                        <p:tgtEl>
                                          <p:spTgt spid="2368"/>
                                        </p:tgtEl>
                                        <p:attrNameLst>
                                          <p:attrName>style.visibility</p:attrName>
                                        </p:attrNameLst>
                                      </p:cBhvr>
                                      <p:to>
                                        <p:strVal val="hidden"/>
                                      </p:to>
                                    </p:set>
                                  </p:childTnLst>
                                </p:cTn>
                              </p:par>
                              <p:par>
                                <p:cTn id="494" presetID="10" presetClass="exit" presetSubtype="0" fill="hold" grpId="2" nodeType="withEffect">
                                  <p:stCondLst>
                                    <p:cond delay="0"/>
                                  </p:stCondLst>
                                  <p:childTnLst>
                                    <p:animEffect transition="out" filter="fade">
                                      <p:cBhvr>
                                        <p:cTn id="495" dur="500"/>
                                        <p:tgtEl>
                                          <p:spTgt spid="2370"/>
                                        </p:tgtEl>
                                      </p:cBhvr>
                                    </p:animEffect>
                                    <p:set>
                                      <p:cBhvr>
                                        <p:cTn id="496" dur="1" fill="hold">
                                          <p:stCondLst>
                                            <p:cond delay="499"/>
                                          </p:stCondLst>
                                        </p:cTn>
                                        <p:tgtEl>
                                          <p:spTgt spid="2370"/>
                                        </p:tgtEl>
                                        <p:attrNameLst>
                                          <p:attrName>style.visibility</p:attrName>
                                        </p:attrNameLst>
                                      </p:cBhvr>
                                      <p:to>
                                        <p:strVal val="hidden"/>
                                      </p:to>
                                    </p:set>
                                  </p:childTnLst>
                                </p:cTn>
                              </p:par>
                              <p:par>
                                <p:cTn id="497" presetID="10" presetClass="exit" presetSubtype="0" fill="hold" grpId="2" nodeType="withEffect">
                                  <p:stCondLst>
                                    <p:cond delay="0"/>
                                  </p:stCondLst>
                                  <p:childTnLst>
                                    <p:animEffect transition="out" filter="fade">
                                      <p:cBhvr>
                                        <p:cTn id="498" dur="500"/>
                                        <p:tgtEl>
                                          <p:spTgt spid="2372"/>
                                        </p:tgtEl>
                                      </p:cBhvr>
                                    </p:animEffect>
                                    <p:set>
                                      <p:cBhvr>
                                        <p:cTn id="499" dur="1" fill="hold">
                                          <p:stCondLst>
                                            <p:cond delay="499"/>
                                          </p:stCondLst>
                                        </p:cTn>
                                        <p:tgtEl>
                                          <p:spTgt spid="2372"/>
                                        </p:tgtEl>
                                        <p:attrNameLst>
                                          <p:attrName>style.visibility</p:attrName>
                                        </p:attrNameLst>
                                      </p:cBhvr>
                                      <p:to>
                                        <p:strVal val="hidden"/>
                                      </p:to>
                                    </p:set>
                                  </p:childTnLst>
                                </p:cTn>
                              </p:par>
                              <p:par>
                                <p:cTn id="500" presetID="10" presetClass="exit" presetSubtype="0" fill="hold" grpId="2" nodeType="withEffect">
                                  <p:stCondLst>
                                    <p:cond delay="0"/>
                                  </p:stCondLst>
                                  <p:childTnLst>
                                    <p:animEffect transition="out" filter="fade">
                                      <p:cBhvr>
                                        <p:cTn id="501" dur="500"/>
                                        <p:tgtEl>
                                          <p:spTgt spid="2374"/>
                                        </p:tgtEl>
                                      </p:cBhvr>
                                    </p:animEffect>
                                    <p:set>
                                      <p:cBhvr>
                                        <p:cTn id="502" dur="1" fill="hold">
                                          <p:stCondLst>
                                            <p:cond delay="499"/>
                                          </p:stCondLst>
                                        </p:cTn>
                                        <p:tgtEl>
                                          <p:spTgt spid="2374"/>
                                        </p:tgtEl>
                                        <p:attrNameLst>
                                          <p:attrName>style.visibility</p:attrName>
                                        </p:attrNameLst>
                                      </p:cBhvr>
                                      <p:to>
                                        <p:strVal val="hidden"/>
                                      </p:to>
                                    </p:set>
                                  </p:childTnLst>
                                </p:cTn>
                              </p:par>
                              <p:par>
                                <p:cTn id="503" presetID="10" presetClass="exit" presetSubtype="0" fill="hold" grpId="2" nodeType="withEffect">
                                  <p:stCondLst>
                                    <p:cond delay="0"/>
                                  </p:stCondLst>
                                  <p:childTnLst>
                                    <p:animEffect transition="out" filter="fade">
                                      <p:cBhvr>
                                        <p:cTn id="504" dur="500"/>
                                        <p:tgtEl>
                                          <p:spTgt spid="2376"/>
                                        </p:tgtEl>
                                      </p:cBhvr>
                                    </p:animEffect>
                                    <p:set>
                                      <p:cBhvr>
                                        <p:cTn id="505" dur="1" fill="hold">
                                          <p:stCondLst>
                                            <p:cond delay="499"/>
                                          </p:stCondLst>
                                        </p:cTn>
                                        <p:tgtEl>
                                          <p:spTgt spid="2376"/>
                                        </p:tgtEl>
                                        <p:attrNameLst>
                                          <p:attrName>style.visibility</p:attrName>
                                        </p:attrNameLst>
                                      </p:cBhvr>
                                      <p:to>
                                        <p:strVal val="hidden"/>
                                      </p:to>
                                    </p:set>
                                  </p:childTnLst>
                                </p:cTn>
                              </p:par>
                              <p:par>
                                <p:cTn id="506" presetID="10" presetClass="exit" presetSubtype="0" fill="hold" grpId="2" nodeType="withEffect">
                                  <p:stCondLst>
                                    <p:cond delay="0"/>
                                  </p:stCondLst>
                                  <p:childTnLst>
                                    <p:animEffect transition="out" filter="fade">
                                      <p:cBhvr>
                                        <p:cTn id="507" dur="500"/>
                                        <p:tgtEl>
                                          <p:spTgt spid="2378"/>
                                        </p:tgtEl>
                                      </p:cBhvr>
                                    </p:animEffect>
                                    <p:set>
                                      <p:cBhvr>
                                        <p:cTn id="508" dur="1" fill="hold">
                                          <p:stCondLst>
                                            <p:cond delay="499"/>
                                          </p:stCondLst>
                                        </p:cTn>
                                        <p:tgtEl>
                                          <p:spTgt spid="2378"/>
                                        </p:tgtEl>
                                        <p:attrNameLst>
                                          <p:attrName>style.visibility</p:attrName>
                                        </p:attrNameLst>
                                      </p:cBhvr>
                                      <p:to>
                                        <p:strVal val="hidden"/>
                                      </p:to>
                                    </p:set>
                                  </p:childTnLst>
                                </p:cTn>
                              </p:par>
                              <p:par>
                                <p:cTn id="509" presetID="10" presetClass="exit" presetSubtype="0" fill="hold" grpId="2" nodeType="withEffect">
                                  <p:stCondLst>
                                    <p:cond delay="0"/>
                                  </p:stCondLst>
                                  <p:childTnLst>
                                    <p:animEffect transition="out" filter="fade">
                                      <p:cBhvr>
                                        <p:cTn id="510" dur="500"/>
                                        <p:tgtEl>
                                          <p:spTgt spid="2380"/>
                                        </p:tgtEl>
                                      </p:cBhvr>
                                    </p:animEffect>
                                    <p:set>
                                      <p:cBhvr>
                                        <p:cTn id="511" dur="1" fill="hold">
                                          <p:stCondLst>
                                            <p:cond delay="499"/>
                                          </p:stCondLst>
                                        </p:cTn>
                                        <p:tgtEl>
                                          <p:spTgt spid="2380"/>
                                        </p:tgtEl>
                                        <p:attrNameLst>
                                          <p:attrName>style.visibility</p:attrName>
                                        </p:attrNameLst>
                                      </p:cBhvr>
                                      <p:to>
                                        <p:strVal val="hidden"/>
                                      </p:to>
                                    </p:set>
                                  </p:childTnLst>
                                </p:cTn>
                              </p:par>
                              <p:par>
                                <p:cTn id="512" presetID="10" presetClass="exit" presetSubtype="0" fill="hold" grpId="2" nodeType="withEffect">
                                  <p:stCondLst>
                                    <p:cond delay="0"/>
                                  </p:stCondLst>
                                  <p:childTnLst>
                                    <p:animEffect transition="out" filter="fade">
                                      <p:cBhvr>
                                        <p:cTn id="513" dur="500"/>
                                        <p:tgtEl>
                                          <p:spTgt spid="2382"/>
                                        </p:tgtEl>
                                      </p:cBhvr>
                                    </p:animEffect>
                                    <p:set>
                                      <p:cBhvr>
                                        <p:cTn id="514" dur="1" fill="hold">
                                          <p:stCondLst>
                                            <p:cond delay="499"/>
                                          </p:stCondLst>
                                        </p:cTn>
                                        <p:tgtEl>
                                          <p:spTgt spid="2382"/>
                                        </p:tgtEl>
                                        <p:attrNameLst>
                                          <p:attrName>style.visibility</p:attrName>
                                        </p:attrNameLst>
                                      </p:cBhvr>
                                      <p:to>
                                        <p:strVal val="hidden"/>
                                      </p:to>
                                    </p:set>
                                  </p:childTnLst>
                                </p:cTn>
                              </p:par>
                              <p:par>
                                <p:cTn id="515" presetID="10" presetClass="exit" presetSubtype="0" fill="hold" grpId="2" nodeType="withEffect">
                                  <p:stCondLst>
                                    <p:cond delay="0"/>
                                  </p:stCondLst>
                                  <p:childTnLst>
                                    <p:animEffect transition="out" filter="fade">
                                      <p:cBhvr>
                                        <p:cTn id="516" dur="500"/>
                                        <p:tgtEl>
                                          <p:spTgt spid="2384"/>
                                        </p:tgtEl>
                                      </p:cBhvr>
                                    </p:animEffect>
                                    <p:set>
                                      <p:cBhvr>
                                        <p:cTn id="517" dur="1" fill="hold">
                                          <p:stCondLst>
                                            <p:cond delay="499"/>
                                          </p:stCondLst>
                                        </p:cTn>
                                        <p:tgtEl>
                                          <p:spTgt spid="2384"/>
                                        </p:tgtEl>
                                        <p:attrNameLst>
                                          <p:attrName>style.visibility</p:attrName>
                                        </p:attrNameLst>
                                      </p:cBhvr>
                                      <p:to>
                                        <p:strVal val="hidden"/>
                                      </p:to>
                                    </p:set>
                                  </p:childTnLst>
                                </p:cTn>
                              </p:par>
                              <p:par>
                                <p:cTn id="518" presetID="10" presetClass="exit" presetSubtype="0" fill="hold" grpId="2" nodeType="withEffect">
                                  <p:stCondLst>
                                    <p:cond delay="0"/>
                                  </p:stCondLst>
                                  <p:childTnLst>
                                    <p:animEffect transition="out" filter="fade">
                                      <p:cBhvr>
                                        <p:cTn id="519" dur="500"/>
                                        <p:tgtEl>
                                          <p:spTgt spid="2386"/>
                                        </p:tgtEl>
                                      </p:cBhvr>
                                    </p:animEffect>
                                    <p:set>
                                      <p:cBhvr>
                                        <p:cTn id="520" dur="1" fill="hold">
                                          <p:stCondLst>
                                            <p:cond delay="499"/>
                                          </p:stCondLst>
                                        </p:cTn>
                                        <p:tgtEl>
                                          <p:spTgt spid="2386"/>
                                        </p:tgtEl>
                                        <p:attrNameLst>
                                          <p:attrName>style.visibility</p:attrName>
                                        </p:attrNameLst>
                                      </p:cBhvr>
                                      <p:to>
                                        <p:strVal val="hidden"/>
                                      </p:to>
                                    </p:set>
                                  </p:childTnLst>
                                </p:cTn>
                              </p:par>
                              <p:par>
                                <p:cTn id="521" presetID="10" presetClass="exit" presetSubtype="0" fill="hold" grpId="2" nodeType="withEffect">
                                  <p:stCondLst>
                                    <p:cond delay="0"/>
                                  </p:stCondLst>
                                  <p:childTnLst>
                                    <p:animEffect transition="out" filter="fade">
                                      <p:cBhvr>
                                        <p:cTn id="522" dur="500"/>
                                        <p:tgtEl>
                                          <p:spTgt spid="2388"/>
                                        </p:tgtEl>
                                      </p:cBhvr>
                                    </p:animEffect>
                                    <p:set>
                                      <p:cBhvr>
                                        <p:cTn id="523" dur="1" fill="hold">
                                          <p:stCondLst>
                                            <p:cond delay="499"/>
                                          </p:stCondLst>
                                        </p:cTn>
                                        <p:tgtEl>
                                          <p:spTgt spid="2388"/>
                                        </p:tgtEl>
                                        <p:attrNameLst>
                                          <p:attrName>style.visibility</p:attrName>
                                        </p:attrNameLst>
                                      </p:cBhvr>
                                      <p:to>
                                        <p:strVal val="hidden"/>
                                      </p:to>
                                    </p:set>
                                  </p:childTnLst>
                                </p:cTn>
                              </p:par>
                              <p:par>
                                <p:cTn id="524" presetID="10" presetClass="exit" presetSubtype="0" fill="hold" grpId="2" nodeType="withEffect">
                                  <p:stCondLst>
                                    <p:cond delay="0"/>
                                  </p:stCondLst>
                                  <p:childTnLst>
                                    <p:animEffect transition="out" filter="fade">
                                      <p:cBhvr>
                                        <p:cTn id="525" dur="500"/>
                                        <p:tgtEl>
                                          <p:spTgt spid="2390"/>
                                        </p:tgtEl>
                                      </p:cBhvr>
                                    </p:animEffect>
                                    <p:set>
                                      <p:cBhvr>
                                        <p:cTn id="526" dur="1" fill="hold">
                                          <p:stCondLst>
                                            <p:cond delay="499"/>
                                          </p:stCondLst>
                                        </p:cTn>
                                        <p:tgtEl>
                                          <p:spTgt spid="2390"/>
                                        </p:tgtEl>
                                        <p:attrNameLst>
                                          <p:attrName>style.visibility</p:attrName>
                                        </p:attrNameLst>
                                      </p:cBhvr>
                                      <p:to>
                                        <p:strVal val="hidden"/>
                                      </p:to>
                                    </p:set>
                                  </p:childTnLst>
                                </p:cTn>
                              </p:par>
                              <p:par>
                                <p:cTn id="527" presetID="10" presetClass="exit" presetSubtype="0" fill="hold" grpId="2" nodeType="withEffect">
                                  <p:stCondLst>
                                    <p:cond delay="0"/>
                                  </p:stCondLst>
                                  <p:childTnLst>
                                    <p:animEffect transition="out" filter="fade">
                                      <p:cBhvr>
                                        <p:cTn id="528" dur="500"/>
                                        <p:tgtEl>
                                          <p:spTgt spid="2392"/>
                                        </p:tgtEl>
                                      </p:cBhvr>
                                    </p:animEffect>
                                    <p:set>
                                      <p:cBhvr>
                                        <p:cTn id="529" dur="1" fill="hold">
                                          <p:stCondLst>
                                            <p:cond delay="499"/>
                                          </p:stCondLst>
                                        </p:cTn>
                                        <p:tgtEl>
                                          <p:spTgt spid="2392"/>
                                        </p:tgtEl>
                                        <p:attrNameLst>
                                          <p:attrName>style.visibility</p:attrName>
                                        </p:attrNameLst>
                                      </p:cBhvr>
                                      <p:to>
                                        <p:strVal val="hidden"/>
                                      </p:to>
                                    </p:set>
                                  </p:childTnLst>
                                </p:cTn>
                              </p:par>
                              <p:par>
                                <p:cTn id="530" presetID="10" presetClass="exit" presetSubtype="0" fill="hold" grpId="2" nodeType="withEffect">
                                  <p:stCondLst>
                                    <p:cond delay="0"/>
                                  </p:stCondLst>
                                  <p:childTnLst>
                                    <p:animEffect transition="out" filter="fade">
                                      <p:cBhvr>
                                        <p:cTn id="531" dur="500"/>
                                        <p:tgtEl>
                                          <p:spTgt spid="2394"/>
                                        </p:tgtEl>
                                      </p:cBhvr>
                                    </p:animEffect>
                                    <p:set>
                                      <p:cBhvr>
                                        <p:cTn id="532" dur="1" fill="hold">
                                          <p:stCondLst>
                                            <p:cond delay="499"/>
                                          </p:stCondLst>
                                        </p:cTn>
                                        <p:tgtEl>
                                          <p:spTgt spid="2394"/>
                                        </p:tgtEl>
                                        <p:attrNameLst>
                                          <p:attrName>style.visibility</p:attrName>
                                        </p:attrNameLst>
                                      </p:cBhvr>
                                      <p:to>
                                        <p:strVal val="hidden"/>
                                      </p:to>
                                    </p:set>
                                  </p:childTnLst>
                                </p:cTn>
                              </p:par>
                            </p:childTnLst>
                          </p:cTn>
                        </p:par>
                        <p:par>
                          <p:cTn id="533" fill="hold">
                            <p:stCondLst>
                              <p:cond delay="8700"/>
                            </p:stCondLst>
                            <p:childTnLst>
                              <p:par>
                                <p:cTn id="534" presetID="10" presetClass="entr" presetSubtype="0" fill="hold" nodeType="afterEffect">
                                  <p:stCondLst>
                                    <p:cond delay="0"/>
                                  </p:stCondLst>
                                  <p:childTnLst>
                                    <p:set>
                                      <p:cBhvr>
                                        <p:cTn id="535" dur="1" fill="hold">
                                          <p:stCondLst>
                                            <p:cond delay="0"/>
                                          </p:stCondLst>
                                        </p:cTn>
                                        <p:tgtEl>
                                          <p:spTgt spid="385"/>
                                        </p:tgtEl>
                                        <p:attrNameLst>
                                          <p:attrName>style.visibility</p:attrName>
                                        </p:attrNameLst>
                                      </p:cBhvr>
                                      <p:to>
                                        <p:strVal val="visible"/>
                                      </p:to>
                                    </p:set>
                                    <p:animEffect transition="in" filter="fade">
                                      <p:cBhvr>
                                        <p:cTn id="536" dur="250"/>
                                        <p:tgtEl>
                                          <p:spTgt spid="385"/>
                                        </p:tgtEl>
                                      </p:cBhvr>
                                    </p:animEffect>
                                  </p:childTnLst>
                                </p:cTn>
                              </p:par>
                              <p:par>
                                <p:cTn id="537" presetID="42" presetClass="path" presetSubtype="0" accel="50000" decel="50000" fill="hold" nodeType="withEffect">
                                  <p:stCondLst>
                                    <p:cond delay="0"/>
                                  </p:stCondLst>
                                  <p:childTnLst>
                                    <p:animMotion origin="layout" path="M -8.33333E-7 2.22222E-6 L 0.16511 -0.36504 " pathEditMode="relative" rAng="0" ptsTypes="AA">
                                      <p:cBhvr>
                                        <p:cTn id="538" dur="250" fill="hold"/>
                                        <p:tgtEl>
                                          <p:spTgt spid="385"/>
                                        </p:tgtEl>
                                        <p:attrNameLst>
                                          <p:attrName>ppt_x</p:attrName>
                                          <p:attrName>ppt_y</p:attrName>
                                        </p:attrNameLst>
                                      </p:cBhvr>
                                      <p:rCtr x="8255" y="-18287"/>
                                    </p:animMotion>
                                  </p:childTnLst>
                                </p:cTn>
                              </p:par>
                            </p:childTnLst>
                          </p:cTn>
                        </p:par>
                        <p:par>
                          <p:cTn id="539" fill="hold">
                            <p:stCondLst>
                              <p:cond delay="8950"/>
                            </p:stCondLst>
                            <p:childTnLst>
                              <p:par>
                                <p:cTn id="540" presetID="10" presetClass="entr" presetSubtype="0" fill="hold" nodeType="afterEffect">
                                  <p:stCondLst>
                                    <p:cond delay="0"/>
                                  </p:stCondLst>
                                  <p:childTnLst>
                                    <p:set>
                                      <p:cBhvr>
                                        <p:cTn id="541" dur="1" fill="hold">
                                          <p:stCondLst>
                                            <p:cond delay="0"/>
                                          </p:stCondLst>
                                        </p:cTn>
                                        <p:tgtEl>
                                          <p:spTgt spid="388"/>
                                        </p:tgtEl>
                                        <p:attrNameLst>
                                          <p:attrName>style.visibility</p:attrName>
                                        </p:attrNameLst>
                                      </p:cBhvr>
                                      <p:to>
                                        <p:strVal val="visible"/>
                                      </p:to>
                                    </p:set>
                                    <p:animEffect transition="in" filter="fade">
                                      <p:cBhvr>
                                        <p:cTn id="542" dur="250"/>
                                        <p:tgtEl>
                                          <p:spTgt spid="388"/>
                                        </p:tgtEl>
                                      </p:cBhvr>
                                    </p:animEffect>
                                  </p:childTnLst>
                                </p:cTn>
                              </p:par>
                              <p:par>
                                <p:cTn id="543" presetID="42" presetClass="path" presetSubtype="0" accel="50000" decel="50000" fill="hold" nodeType="withEffect">
                                  <p:stCondLst>
                                    <p:cond delay="0"/>
                                  </p:stCondLst>
                                  <p:childTnLst>
                                    <p:animMotion origin="layout" path="M -8.33333E-7 2.22222E-6 L 0.16511 -0.2625 " pathEditMode="relative" rAng="0" ptsTypes="AA">
                                      <p:cBhvr>
                                        <p:cTn id="544" dur="250" fill="hold"/>
                                        <p:tgtEl>
                                          <p:spTgt spid="388"/>
                                        </p:tgtEl>
                                        <p:attrNameLst>
                                          <p:attrName>ppt_x</p:attrName>
                                          <p:attrName>ppt_y</p:attrName>
                                        </p:attrNameLst>
                                      </p:cBhvr>
                                      <p:rCtr x="8255" y="-13148"/>
                                    </p:animMotion>
                                  </p:childTnLst>
                                </p:cTn>
                              </p:par>
                            </p:childTnLst>
                          </p:cTn>
                        </p:par>
                        <p:par>
                          <p:cTn id="545" fill="hold">
                            <p:stCondLst>
                              <p:cond delay="9200"/>
                            </p:stCondLst>
                            <p:childTnLst>
                              <p:par>
                                <p:cTn id="546" presetID="10" presetClass="entr" presetSubtype="0" fill="hold" nodeType="afterEffect">
                                  <p:stCondLst>
                                    <p:cond delay="0"/>
                                  </p:stCondLst>
                                  <p:childTnLst>
                                    <p:set>
                                      <p:cBhvr>
                                        <p:cTn id="547" dur="1" fill="hold">
                                          <p:stCondLst>
                                            <p:cond delay="0"/>
                                          </p:stCondLst>
                                        </p:cTn>
                                        <p:tgtEl>
                                          <p:spTgt spid="391"/>
                                        </p:tgtEl>
                                        <p:attrNameLst>
                                          <p:attrName>style.visibility</p:attrName>
                                        </p:attrNameLst>
                                      </p:cBhvr>
                                      <p:to>
                                        <p:strVal val="visible"/>
                                      </p:to>
                                    </p:set>
                                    <p:animEffect transition="in" filter="fade">
                                      <p:cBhvr>
                                        <p:cTn id="548" dur="250"/>
                                        <p:tgtEl>
                                          <p:spTgt spid="391"/>
                                        </p:tgtEl>
                                      </p:cBhvr>
                                    </p:animEffect>
                                  </p:childTnLst>
                                </p:cTn>
                              </p:par>
                              <p:par>
                                <p:cTn id="549" presetID="42" presetClass="path" presetSubtype="0" accel="50000" decel="50000" fill="hold" nodeType="withEffect">
                                  <p:stCondLst>
                                    <p:cond delay="0"/>
                                  </p:stCondLst>
                                  <p:childTnLst>
                                    <p:animMotion origin="layout" path="M -8.33333E-7 2.22222E-6 L 0.16511 -0.15996 " pathEditMode="relative" rAng="0" ptsTypes="AA">
                                      <p:cBhvr>
                                        <p:cTn id="550" dur="250" fill="hold"/>
                                        <p:tgtEl>
                                          <p:spTgt spid="391"/>
                                        </p:tgtEl>
                                        <p:attrNameLst>
                                          <p:attrName>ppt_x</p:attrName>
                                          <p:attrName>ppt_y</p:attrName>
                                        </p:attrNameLst>
                                      </p:cBhvr>
                                      <p:rCtr x="8255" y="-8009"/>
                                    </p:animMotion>
                                  </p:childTnLst>
                                </p:cTn>
                              </p:par>
                            </p:childTnLst>
                          </p:cTn>
                        </p:par>
                        <p:par>
                          <p:cTn id="551" fill="hold">
                            <p:stCondLst>
                              <p:cond delay="9450"/>
                            </p:stCondLst>
                            <p:childTnLst>
                              <p:par>
                                <p:cTn id="552" presetID="10" presetClass="entr" presetSubtype="0" fill="hold" nodeType="afterEffect">
                                  <p:stCondLst>
                                    <p:cond delay="0"/>
                                  </p:stCondLst>
                                  <p:childTnLst>
                                    <p:set>
                                      <p:cBhvr>
                                        <p:cTn id="553" dur="1" fill="hold">
                                          <p:stCondLst>
                                            <p:cond delay="0"/>
                                          </p:stCondLst>
                                        </p:cTn>
                                        <p:tgtEl>
                                          <p:spTgt spid="394"/>
                                        </p:tgtEl>
                                        <p:attrNameLst>
                                          <p:attrName>style.visibility</p:attrName>
                                        </p:attrNameLst>
                                      </p:cBhvr>
                                      <p:to>
                                        <p:strVal val="visible"/>
                                      </p:to>
                                    </p:set>
                                    <p:animEffect transition="in" filter="fade">
                                      <p:cBhvr>
                                        <p:cTn id="554" dur="250"/>
                                        <p:tgtEl>
                                          <p:spTgt spid="394"/>
                                        </p:tgtEl>
                                      </p:cBhvr>
                                    </p:animEffect>
                                  </p:childTnLst>
                                </p:cTn>
                              </p:par>
                              <p:par>
                                <p:cTn id="555" presetID="42" presetClass="path" presetSubtype="0" accel="50000" decel="50000" fill="hold" nodeType="withEffect">
                                  <p:stCondLst>
                                    <p:cond delay="0"/>
                                  </p:stCondLst>
                                  <p:childTnLst>
                                    <p:animMotion origin="layout" path="M -8.33333E-7 2.22222E-6 L 0.16511 -0.05717 " pathEditMode="relative" rAng="0" ptsTypes="AA">
                                      <p:cBhvr>
                                        <p:cTn id="556" dur="250" fill="hold"/>
                                        <p:tgtEl>
                                          <p:spTgt spid="394"/>
                                        </p:tgtEl>
                                        <p:attrNameLst>
                                          <p:attrName>ppt_x</p:attrName>
                                          <p:attrName>ppt_y</p:attrName>
                                        </p:attrNameLst>
                                      </p:cBhvr>
                                      <p:rCtr x="8281" y="-2917"/>
                                    </p:animMotion>
                                  </p:childTnLst>
                                </p:cTn>
                              </p:par>
                            </p:childTnLst>
                          </p:cTn>
                        </p:par>
                        <p:par>
                          <p:cTn id="557" fill="hold">
                            <p:stCondLst>
                              <p:cond delay="9700"/>
                            </p:stCondLst>
                            <p:childTnLst>
                              <p:par>
                                <p:cTn id="558" presetID="10" presetClass="entr" presetSubtype="0" fill="hold" nodeType="afterEffect">
                                  <p:stCondLst>
                                    <p:cond delay="0"/>
                                  </p:stCondLst>
                                  <p:childTnLst>
                                    <p:set>
                                      <p:cBhvr>
                                        <p:cTn id="559" dur="1" fill="hold">
                                          <p:stCondLst>
                                            <p:cond delay="0"/>
                                          </p:stCondLst>
                                        </p:cTn>
                                        <p:tgtEl>
                                          <p:spTgt spid="397"/>
                                        </p:tgtEl>
                                        <p:attrNameLst>
                                          <p:attrName>style.visibility</p:attrName>
                                        </p:attrNameLst>
                                      </p:cBhvr>
                                      <p:to>
                                        <p:strVal val="visible"/>
                                      </p:to>
                                    </p:set>
                                    <p:animEffect transition="in" filter="fade">
                                      <p:cBhvr>
                                        <p:cTn id="560" dur="250"/>
                                        <p:tgtEl>
                                          <p:spTgt spid="397"/>
                                        </p:tgtEl>
                                      </p:cBhvr>
                                    </p:animEffect>
                                  </p:childTnLst>
                                </p:cTn>
                              </p:par>
                              <p:par>
                                <p:cTn id="561" presetID="42" presetClass="path" presetSubtype="0" accel="50000" decel="50000" fill="hold" nodeType="withEffect">
                                  <p:stCondLst>
                                    <p:cond delay="0"/>
                                  </p:stCondLst>
                                  <p:childTnLst>
                                    <p:animMotion origin="layout" path="M -8.33333E-7 2.22222E-6 L 0.16511 0.04537 " pathEditMode="relative" rAng="0" ptsTypes="AA">
                                      <p:cBhvr>
                                        <p:cTn id="562" dur="250" fill="hold"/>
                                        <p:tgtEl>
                                          <p:spTgt spid="397"/>
                                        </p:tgtEl>
                                        <p:attrNameLst>
                                          <p:attrName>ppt_x</p:attrName>
                                          <p:attrName>ppt_y</p:attrName>
                                        </p:attrNameLst>
                                      </p:cBhvr>
                                      <p:rCtr x="8255" y="2269"/>
                                    </p:animMotion>
                                  </p:childTnLst>
                                </p:cTn>
                              </p:par>
                            </p:childTnLst>
                          </p:cTn>
                        </p:par>
                        <p:par>
                          <p:cTn id="563" fill="hold">
                            <p:stCondLst>
                              <p:cond delay="9950"/>
                            </p:stCondLst>
                            <p:childTnLst>
                              <p:par>
                                <p:cTn id="564" presetID="10" presetClass="entr" presetSubtype="0" fill="hold" nodeType="afterEffect">
                                  <p:stCondLst>
                                    <p:cond delay="0"/>
                                  </p:stCondLst>
                                  <p:childTnLst>
                                    <p:set>
                                      <p:cBhvr>
                                        <p:cTn id="565" dur="1" fill="hold">
                                          <p:stCondLst>
                                            <p:cond delay="0"/>
                                          </p:stCondLst>
                                        </p:cTn>
                                        <p:tgtEl>
                                          <p:spTgt spid="1401"/>
                                        </p:tgtEl>
                                        <p:attrNameLst>
                                          <p:attrName>style.visibility</p:attrName>
                                        </p:attrNameLst>
                                      </p:cBhvr>
                                      <p:to>
                                        <p:strVal val="visible"/>
                                      </p:to>
                                    </p:set>
                                    <p:animEffect transition="in" filter="fade">
                                      <p:cBhvr>
                                        <p:cTn id="566" dur="250"/>
                                        <p:tgtEl>
                                          <p:spTgt spid="1401"/>
                                        </p:tgtEl>
                                      </p:cBhvr>
                                    </p:animEffect>
                                  </p:childTnLst>
                                </p:cTn>
                              </p:par>
                              <p:par>
                                <p:cTn id="567" presetID="42" presetClass="path" presetSubtype="0" accel="50000" decel="50000" fill="hold" nodeType="withEffect">
                                  <p:stCondLst>
                                    <p:cond delay="0"/>
                                  </p:stCondLst>
                                  <p:childTnLst>
                                    <p:animMotion origin="layout" path="M -8.33333E-7 2.22222E-6 L 0.28841 -0.36504 " pathEditMode="relative" rAng="0" ptsTypes="AA">
                                      <p:cBhvr>
                                        <p:cTn id="568" dur="250" fill="hold"/>
                                        <p:tgtEl>
                                          <p:spTgt spid="1401"/>
                                        </p:tgtEl>
                                        <p:attrNameLst>
                                          <p:attrName>ppt_x</p:attrName>
                                          <p:attrName>ppt_y</p:attrName>
                                        </p:attrNameLst>
                                      </p:cBhvr>
                                      <p:rCtr x="14427" y="-18287"/>
                                    </p:animMotion>
                                  </p:childTnLst>
                                </p:cTn>
                              </p:par>
                            </p:childTnLst>
                          </p:cTn>
                        </p:par>
                        <p:par>
                          <p:cTn id="569" fill="hold">
                            <p:stCondLst>
                              <p:cond delay="10200"/>
                            </p:stCondLst>
                            <p:childTnLst>
                              <p:par>
                                <p:cTn id="570" presetID="10" presetClass="entr" presetSubtype="0" fill="hold" nodeType="afterEffect">
                                  <p:stCondLst>
                                    <p:cond delay="0"/>
                                  </p:stCondLst>
                                  <p:childTnLst>
                                    <p:set>
                                      <p:cBhvr>
                                        <p:cTn id="571" dur="1" fill="hold">
                                          <p:stCondLst>
                                            <p:cond delay="0"/>
                                          </p:stCondLst>
                                        </p:cTn>
                                        <p:tgtEl>
                                          <p:spTgt spid="403"/>
                                        </p:tgtEl>
                                        <p:attrNameLst>
                                          <p:attrName>style.visibility</p:attrName>
                                        </p:attrNameLst>
                                      </p:cBhvr>
                                      <p:to>
                                        <p:strVal val="visible"/>
                                      </p:to>
                                    </p:set>
                                    <p:animEffect transition="in" filter="fade">
                                      <p:cBhvr>
                                        <p:cTn id="572" dur="250"/>
                                        <p:tgtEl>
                                          <p:spTgt spid="403"/>
                                        </p:tgtEl>
                                      </p:cBhvr>
                                    </p:animEffect>
                                  </p:childTnLst>
                                </p:cTn>
                              </p:par>
                              <p:par>
                                <p:cTn id="573" presetID="42" presetClass="path" presetSubtype="0" accel="50000" decel="50000" fill="hold" nodeType="withEffect">
                                  <p:stCondLst>
                                    <p:cond delay="0"/>
                                  </p:stCondLst>
                                  <p:childTnLst>
                                    <p:animMotion origin="layout" path="M -8.33333E-7 2.22222E-6 L 0.28841 -0.2625 " pathEditMode="relative" rAng="0" ptsTypes="AA">
                                      <p:cBhvr>
                                        <p:cTn id="574" dur="250" fill="hold"/>
                                        <p:tgtEl>
                                          <p:spTgt spid="403"/>
                                        </p:tgtEl>
                                        <p:attrNameLst>
                                          <p:attrName>ppt_x</p:attrName>
                                          <p:attrName>ppt_y</p:attrName>
                                        </p:attrNameLst>
                                      </p:cBhvr>
                                      <p:rCtr x="14427" y="-13148"/>
                                    </p:animMotion>
                                  </p:childTnLst>
                                </p:cTn>
                              </p:par>
                            </p:childTnLst>
                          </p:cTn>
                        </p:par>
                        <p:par>
                          <p:cTn id="575" fill="hold">
                            <p:stCondLst>
                              <p:cond delay="10450"/>
                            </p:stCondLst>
                            <p:childTnLst>
                              <p:par>
                                <p:cTn id="576" presetID="10" presetClass="entr" presetSubtype="0" fill="hold" nodeType="afterEffect">
                                  <p:stCondLst>
                                    <p:cond delay="0"/>
                                  </p:stCondLst>
                                  <p:childTnLst>
                                    <p:set>
                                      <p:cBhvr>
                                        <p:cTn id="577" dur="1" fill="hold">
                                          <p:stCondLst>
                                            <p:cond delay="0"/>
                                          </p:stCondLst>
                                        </p:cTn>
                                        <p:tgtEl>
                                          <p:spTgt spid="406"/>
                                        </p:tgtEl>
                                        <p:attrNameLst>
                                          <p:attrName>style.visibility</p:attrName>
                                        </p:attrNameLst>
                                      </p:cBhvr>
                                      <p:to>
                                        <p:strVal val="visible"/>
                                      </p:to>
                                    </p:set>
                                    <p:animEffect transition="in" filter="fade">
                                      <p:cBhvr>
                                        <p:cTn id="578" dur="250"/>
                                        <p:tgtEl>
                                          <p:spTgt spid="406"/>
                                        </p:tgtEl>
                                      </p:cBhvr>
                                    </p:animEffect>
                                  </p:childTnLst>
                                </p:cTn>
                              </p:par>
                              <p:par>
                                <p:cTn id="579" presetID="42" presetClass="path" presetSubtype="0" accel="50000" decel="50000" fill="hold" nodeType="withEffect">
                                  <p:stCondLst>
                                    <p:cond delay="0"/>
                                  </p:stCondLst>
                                  <p:childTnLst>
                                    <p:animMotion origin="layout" path="M -8.33333E-7 2.22222E-6 L 0.28841 -0.15996 " pathEditMode="relative" rAng="0" ptsTypes="AA">
                                      <p:cBhvr>
                                        <p:cTn id="580" dur="250" fill="hold"/>
                                        <p:tgtEl>
                                          <p:spTgt spid="406"/>
                                        </p:tgtEl>
                                        <p:attrNameLst>
                                          <p:attrName>ppt_x</p:attrName>
                                          <p:attrName>ppt_y</p:attrName>
                                        </p:attrNameLst>
                                      </p:cBhvr>
                                      <p:rCtr x="14453" y="-8009"/>
                                    </p:animMotion>
                                  </p:childTnLst>
                                </p:cTn>
                              </p:par>
                            </p:childTnLst>
                          </p:cTn>
                        </p:par>
                        <p:par>
                          <p:cTn id="581" fill="hold">
                            <p:stCondLst>
                              <p:cond delay="10700"/>
                            </p:stCondLst>
                            <p:childTnLst>
                              <p:par>
                                <p:cTn id="582" presetID="10" presetClass="entr" presetSubtype="0" fill="hold" nodeType="afterEffect">
                                  <p:stCondLst>
                                    <p:cond delay="0"/>
                                  </p:stCondLst>
                                  <p:childTnLst>
                                    <p:set>
                                      <p:cBhvr>
                                        <p:cTn id="583" dur="1" fill="hold">
                                          <p:stCondLst>
                                            <p:cond delay="0"/>
                                          </p:stCondLst>
                                        </p:cTn>
                                        <p:tgtEl>
                                          <p:spTgt spid="409"/>
                                        </p:tgtEl>
                                        <p:attrNameLst>
                                          <p:attrName>style.visibility</p:attrName>
                                        </p:attrNameLst>
                                      </p:cBhvr>
                                      <p:to>
                                        <p:strVal val="visible"/>
                                      </p:to>
                                    </p:set>
                                    <p:animEffect transition="in" filter="fade">
                                      <p:cBhvr>
                                        <p:cTn id="584" dur="250"/>
                                        <p:tgtEl>
                                          <p:spTgt spid="409"/>
                                        </p:tgtEl>
                                      </p:cBhvr>
                                    </p:animEffect>
                                  </p:childTnLst>
                                </p:cTn>
                              </p:par>
                              <p:par>
                                <p:cTn id="585" presetID="42" presetClass="path" presetSubtype="0" accel="50000" decel="50000" fill="hold" nodeType="withEffect">
                                  <p:stCondLst>
                                    <p:cond delay="0"/>
                                  </p:stCondLst>
                                  <p:childTnLst>
                                    <p:animMotion origin="layout" path="M -8.33333E-7 2.22222E-6 L 0.28841 -0.05718 " pathEditMode="relative" rAng="0" ptsTypes="AA">
                                      <p:cBhvr>
                                        <p:cTn id="586" dur="250" fill="hold"/>
                                        <p:tgtEl>
                                          <p:spTgt spid="409"/>
                                        </p:tgtEl>
                                        <p:attrNameLst>
                                          <p:attrName>ppt_x</p:attrName>
                                          <p:attrName>ppt_y</p:attrName>
                                        </p:attrNameLst>
                                      </p:cBhvr>
                                      <p:rCtr x="14453" y="-2870"/>
                                    </p:animMotion>
                                  </p:childTnLst>
                                </p:cTn>
                              </p:par>
                            </p:childTnLst>
                          </p:cTn>
                        </p:par>
                        <p:par>
                          <p:cTn id="587" fill="hold">
                            <p:stCondLst>
                              <p:cond delay="10950"/>
                            </p:stCondLst>
                            <p:childTnLst>
                              <p:par>
                                <p:cTn id="588" presetID="10" presetClass="entr" presetSubtype="0" fill="hold" nodeType="afterEffect">
                                  <p:stCondLst>
                                    <p:cond delay="0"/>
                                  </p:stCondLst>
                                  <p:childTnLst>
                                    <p:set>
                                      <p:cBhvr>
                                        <p:cTn id="589" dur="1" fill="hold">
                                          <p:stCondLst>
                                            <p:cond delay="0"/>
                                          </p:stCondLst>
                                        </p:cTn>
                                        <p:tgtEl>
                                          <p:spTgt spid="400"/>
                                        </p:tgtEl>
                                        <p:attrNameLst>
                                          <p:attrName>style.visibility</p:attrName>
                                        </p:attrNameLst>
                                      </p:cBhvr>
                                      <p:to>
                                        <p:strVal val="visible"/>
                                      </p:to>
                                    </p:set>
                                    <p:animEffect transition="in" filter="fade">
                                      <p:cBhvr>
                                        <p:cTn id="590" dur="250"/>
                                        <p:tgtEl>
                                          <p:spTgt spid="400"/>
                                        </p:tgtEl>
                                      </p:cBhvr>
                                    </p:animEffect>
                                  </p:childTnLst>
                                </p:cTn>
                              </p:par>
                              <p:par>
                                <p:cTn id="591" presetID="42" presetClass="path" presetSubtype="0" accel="50000" decel="50000" fill="hold" nodeType="withEffect">
                                  <p:stCondLst>
                                    <p:cond delay="0"/>
                                  </p:stCondLst>
                                  <p:childTnLst>
                                    <p:animMotion origin="layout" path="M -8.33333E-7 2.22222E-6 L 0.28841 0.04537 " pathEditMode="relative" rAng="0" ptsTypes="AA">
                                      <p:cBhvr>
                                        <p:cTn id="592" dur="250" fill="hold"/>
                                        <p:tgtEl>
                                          <p:spTgt spid="400"/>
                                        </p:tgtEl>
                                        <p:attrNameLst>
                                          <p:attrName>ppt_x</p:attrName>
                                          <p:attrName>ppt_y</p:attrName>
                                        </p:attrNameLst>
                                      </p:cBhvr>
                                      <p:rCtr x="14427" y="2222"/>
                                    </p:animMotion>
                                  </p:childTnLst>
                                </p:cTn>
                              </p:par>
                            </p:childTnLst>
                          </p:cTn>
                        </p:par>
                        <p:par>
                          <p:cTn id="593" fill="hold">
                            <p:stCondLst>
                              <p:cond delay="11200"/>
                            </p:stCondLst>
                            <p:childTnLst>
                              <p:par>
                                <p:cTn id="594" presetID="10" presetClass="entr" presetSubtype="0" fill="hold" nodeType="afterEffect">
                                  <p:stCondLst>
                                    <p:cond delay="0"/>
                                  </p:stCondLst>
                                  <p:childTnLst>
                                    <p:set>
                                      <p:cBhvr>
                                        <p:cTn id="595" dur="1" fill="hold">
                                          <p:stCondLst>
                                            <p:cond delay="0"/>
                                          </p:stCondLst>
                                        </p:cTn>
                                        <p:tgtEl>
                                          <p:spTgt spid="424"/>
                                        </p:tgtEl>
                                        <p:attrNameLst>
                                          <p:attrName>style.visibility</p:attrName>
                                        </p:attrNameLst>
                                      </p:cBhvr>
                                      <p:to>
                                        <p:strVal val="visible"/>
                                      </p:to>
                                    </p:set>
                                    <p:animEffect transition="in" filter="fade">
                                      <p:cBhvr>
                                        <p:cTn id="596" dur="250"/>
                                        <p:tgtEl>
                                          <p:spTgt spid="424"/>
                                        </p:tgtEl>
                                      </p:cBhvr>
                                    </p:animEffect>
                                  </p:childTnLst>
                                </p:cTn>
                              </p:par>
                            </p:childTnLst>
                          </p:cTn>
                        </p:par>
                        <p:par>
                          <p:cTn id="597" fill="hold">
                            <p:stCondLst>
                              <p:cond delay="11450"/>
                            </p:stCondLst>
                            <p:childTnLst>
                              <p:par>
                                <p:cTn id="598" presetID="42" presetClass="path" presetSubtype="0" accel="50000" decel="50000" fill="hold" nodeType="afterEffect">
                                  <p:stCondLst>
                                    <p:cond delay="0"/>
                                  </p:stCondLst>
                                  <p:childTnLst>
                                    <p:animMotion origin="layout" path="M 2.5E-6 -2.22222E-6 L 0.2582 -0.30347 " pathEditMode="relative" rAng="0" ptsTypes="AA">
                                      <p:cBhvr>
                                        <p:cTn id="599" dur="250" fill="hold"/>
                                        <p:tgtEl>
                                          <p:spTgt spid="424"/>
                                        </p:tgtEl>
                                        <p:attrNameLst>
                                          <p:attrName>ppt_x</p:attrName>
                                          <p:attrName>ppt_y</p:attrName>
                                        </p:attrNameLst>
                                      </p:cBhvr>
                                      <p:rCtr x="12904" y="-15185"/>
                                    </p:animMotion>
                                  </p:childTnLst>
                                </p:cTn>
                              </p:par>
                            </p:childTnLst>
                          </p:cTn>
                        </p:par>
                        <p:par>
                          <p:cTn id="600" fill="hold">
                            <p:stCondLst>
                              <p:cond delay="11700"/>
                            </p:stCondLst>
                            <p:childTnLst>
                              <p:par>
                                <p:cTn id="601" presetID="53" presetClass="entr" presetSubtype="16" fill="hold" nodeType="afterEffect">
                                  <p:stCondLst>
                                    <p:cond delay="0"/>
                                  </p:stCondLst>
                                  <p:childTnLst>
                                    <p:set>
                                      <p:cBhvr>
                                        <p:cTn id="602" dur="1" fill="hold">
                                          <p:stCondLst>
                                            <p:cond delay="0"/>
                                          </p:stCondLst>
                                        </p:cTn>
                                        <p:tgtEl>
                                          <p:spTgt spid="6"/>
                                        </p:tgtEl>
                                        <p:attrNameLst>
                                          <p:attrName>style.visibility</p:attrName>
                                        </p:attrNameLst>
                                      </p:cBhvr>
                                      <p:to>
                                        <p:strVal val="visible"/>
                                      </p:to>
                                    </p:set>
                                    <p:anim calcmode="lin" valueType="num">
                                      <p:cBhvr>
                                        <p:cTn id="603" dur="500" fill="hold"/>
                                        <p:tgtEl>
                                          <p:spTgt spid="6"/>
                                        </p:tgtEl>
                                        <p:attrNameLst>
                                          <p:attrName>ppt_w</p:attrName>
                                        </p:attrNameLst>
                                      </p:cBhvr>
                                      <p:tavLst>
                                        <p:tav tm="0">
                                          <p:val>
                                            <p:fltVal val="0"/>
                                          </p:val>
                                        </p:tav>
                                        <p:tav tm="100000">
                                          <p:val>
                                            <p:strVal val="#ppt_w"/>
                                          </p:val>
                                        </p:tav>
                                      </p:tavLst>
                                    </p:anim>
                                    <p:anim calcmode="lin" valueType="num">
                                      <p:cBhvr>
                                        <p:cTn id="604" dur="500" fill="hold"/>
                                        <p:tgtEl>
                                          <p:spTgt spid="6"/>
                                        </p:tgtEl>
                                        <p:attrNameLst>
                                          <p:attrName>ppt_h</p:attrName>
                                        </p:attrNameLst>
                                      </p:cBhvr>
                                      <p:tavLst>
                                        <p:tav tm="0">
                                          <p:val>
                                            <p:fltVal val="0"/>
                                          </p:val>
                                        </p:tav>
                                        <p:tav tm="100000">
                                          <p:val>
                                            <p:strVal val="#ppt_h"/>
                                          </p:val>
                                        </p:tav>
                                      </p:tavLst>
                                    </p:anim>
                                    <p:animEffect transition="in" filter="fade">
                                      <p:cBhvr>
                                        <p:cTn id="605" dur="500"/>
                                        <p:tgtEl>
                                          <p:spTgt spid="6"/>
                                        </p:tgtEl>
                                      </p:cBhvr>
                                    </p:animEffect>
                                  </p:childTnLst>
                                </p:cTn>
                              </p:par>
                            </p:childTnLst>
                          </p:cTn>
                        </p:par>
                        <p:par>
                          <p:cTn id="606" fill="hold">
                            <p:stCondLst>
                              <p:cond delay="12200"/>
                            </p:stCondLst>
                            <p:childTnLst>
                              <p:par>
                                <p:cTn id="607" presetID="42" presetClass="path" presetSubtype="0" accel="50000" decel="50000" fill="hold" nodeType="afterEffect">
                                  <p:stCondLst>
                                    <p:cond delay="0"/>
                                  </p:stCondLst>
                                  <p:childTnLst>
                                    <p:animMotion origin="layout" path="M 5E-6 4.44444E-6 L 0.22852 -0.30903 " pathEditMode="relative" rAng="0" ptsTypes="AA">
                                      <p:cBhvr>
                                        <p:cTn id="608" dur="250" fill="hold"/>
                                        <p:tgtEl>
                                          <p:spTgt spid="6"/>
                                        </p:tgtEl>
                                        <p:attrNameLst>
                                          <p:attrName>ppt_x</p:attrName>
                                          <p:attrName>ppt_y</p:attrName>
                                        </p:attrNameLst>
                                      </p:cBhvr>
                                      <p:rCtr x="11419" y="-15463"/>
                                    </p:animMotion>
                                  </p:childTnLst>
                                </p:cTn>
                              </p:par>
                            </p:childTnLst>
                          </p:cTn>
                        </p:par>
                        <p:par>
                          <p:cTn id="609" fill="hold">
                            <p:stCondLst>
                              <p:cond delay="12450"/>
                            </p:stCondLst>
                            <p:childTnLst>
                              <p:par>
                                <p:cTn id="610" presetID="53" presetClass="entr" presetSubtype="16" fill="hold" nodeType="afterEffect">
                                  <p:stCondLst>
                                    <p:cond delay="0"/>
                                  </p:stCondLst>
                                  <p:childTnLst>
                                    <p:set>
                                      <p:cBhvr>
                                        <p:cTn id="611" dur="1" fill="hold">
                                          <p:stCondLst>
                                            <p:cond delay="0"/>
                                          </p:stCondLst>
                                        </p:cTn>
                                        <p:tgtEl>
                                          <p:spTgt spid="5"/>
                                        </p:tgtEl>
                                        <p:attrNameLst>
                                          <p:attrName>style.visibility</p:attrName>
                                        </p:attrNameLst>
                                      </p:cBhvr>
                                      <p:to>
                                        <p:strVal val="visible"/>
                                      </p:to>
                                    </p:set>
                                    <p:anim calcmode="lin" valueType="num">
                                      <p:cBhvr>
                                        <p:cTn id="612" dur="500" fill="hold"/>
                                        <p:tgtEl>
                                          <p:spTgt spid="5"/>
                                        </p:tgtEl>
                                        <p:attrNameLst>
                                          <p:attrName>ppt_w</p:attrName>
                                        </p:attrNameLst>
                                      </p:cBhvr>
                                      <p:tavLst>
                                        <p:tav tm="0">
                                          <p:val>
                                            <p:fltVal val="0"/>
                                          </p:val>
                                        </p:tav>
                                        <p:tav tm="100000">
                                          <p:val>
                                            <p:strVal val="#ppt_w"/>
                                          </p:val>
                                        </p:tav>
                                      </p:tavLst>
                                    </p:anim>
                                    <p:anim calcmode="lin" valueType="num">
                                      <p:cBhvr>
                                        <p:cTn id="613" dur="500" fill="hold"/>
                                        <p:tgtEl>
                                          <p:spTgt spid="5"/>
                                        </p:tgtEl>
                                        <p:attrNameLst>
                                          <p:attrName>ppt_h</p:attrName>
                                        </p:attrNameLst>
                                      </p:cBhvr>
                                      <p:tavLst>
                                        <p:tav tm="0">
                                          <p:val>
                                            <p:fltVal val="0"/>
                                          </p:val>
                                        </p:tav>
                                        <p:tav tm="100000">
                                          <p:val>
                                            <p:strVal val="#ppt_h"/>
                                          </p:val>
                                        </p:tav>
                                      </p:tavLst>
                                    </p:anim>
                                    <p:animEffect transition="in" filter="fade">
                                      <p:cBhvr>
                                        <p:cTn id="614" dur="500"/>
                                        <p:tgtEl>
                                          <p:spTgt spid="5"/>
                                        </p:tgtEl>
                                      </p:cBhvr>
                                    </p:animEffect>
                                  </p:childTnLst>
                                </p:cTn>
                              </p:par>
                            </p:childTnLst>
                          </p:cTn>
                        </p:par>
                        <p:par>
                          <p:cTn id="615" fill="hold">
                            <p:stCondLst>
                              <p:cond delay="12950"/>
                            </p:stCondLst>
                            <p:childTnLst>
                              <p:par>
                                <p:cTn id="616" presetID="53" presetClass="entr" presetSubtype="16" fill="hold" nodeType="afterEffect">
                                  <p:stCondLst>
                                    <p:cond delay="0"/>
                                  </p:stCondLst>
                                  <p:childTnLst>
                                    <p:set>
                                      <p:cBhvr>
                                        <p:cTn id="617" dur="1" fill="hold">
                                          <p:stCondLst>
                                            <p:cond delay="0"/>
                                          </p:stCondLst>
                                        </p:cTn>
                                        <p:tgtEl>
                                          <p:spTgt spid="7"/>
                                        </p:tgtEl>
                                        <p:attrNameLst>
                                          <p:attrName>style.visibility</p:attrName>
                                        </p:attrNameLst>
                                      </p:cBhvr>
                                      <p:to>
                                        <p:strVal val="visible"/>
                                      </p:to>
                                    </p:set>
                                    <p:anim calcmode="lin" valueType="num">
                                      <p:cBhvr>
                                        <p:cTn id="618" dur="500" fill="hold"/>
                                        <p:tgtEl>
                                          <p:spTgt spid="7"/>
                                        </p:tgtEl>
                                        <p:attrNameLst>
                                          <p:attrName>ppt_w</p:attrName>
                                        </p:attrNameLst>
                                      </p:cBhvr>
                                      <p:tavLst>
                                        <p:tav tm="0">
                                          <p:val>
                                            <p:fltVal val="0"/>
                                          </p:val>
                                        </p:tav>
                                        <p:tav tm="100000">
                                          <p:val>
                                            <p:strVal val="#ppt_w"/>
                                          </p:val>
                                        </p:tav>
                                      </p:tavLst>
                                    </p:anim>
                                    <p:anim calcmode="lin" valueType="num">
                                      <p:cBhvr>
                                        <p:cTn id="619" dur="500" fill="hold"/>
                                        <p:tgtEl>
                                          <p:spTgt spid="7"/>
                                        </p:tgtEl>
                                        <p:attrNameLst>
                                          <p:attrName>ppt_h</p:attrName>
                                        </p:attrNameLst>
                                      </p:cBhvr>
                                      <p:tavLst>
                                        <p:tav tm="0">
                                          <p:val>
                                            <p:fltVal val="0"/>
                                          </p:val>
                                        </p:tav>
                                        <p:tav tm="100000">
                                          <p:val>
                                            <p:strVal val="#ppt_h"/>
                                          </p:val>
                                        </p:tav>
                                      </p:tavLst>
                                    </p:anim>
                                    <p:animEffect transition="in" filter="fade">
                                      <p:cBhvr>
                                        <p:cTn id="620" dur="500"/>
                                        <p:tgtEl>
                                          <p:spTgt spid="7"/>
                                        </p:tgtEl>
                                      </p:cBhvr>
                                    </p:animEffect>
                                  </p:childTnLst>
                                </p:cTn>
                              </p:par>
                            </p:childTnLst>
                          </p:cTn>
                        </p:par>
                        <p:par>
                          <p:cTn id="621" fill="hold">
                            <p:stCondLst>
                              <p:cond delay="13450"/>
                            </p:stCondLst>
                            <p:childTnLst>
                              <p:par>
                                <p:cTn id="622" presetID="42" presetClass="path" presetSubtype="0" accel="50000" decel="50000" fill="hold" nodeType="afterEffect">
                                  <p:stCondLst>
                                    <p:cond delay="0"/>
                                  </p:stCondLst>
                                  <p:childTnLst>
                                    <p:animMotion origin="layout" path="M -2.5E-6 1.11111E-6 L 0.16758 -0.16505 " pathEditMode="relative" rAng="0" ptsTypes="AA">
                                      <p:cBhvr>
                                        <p:cTn id="623" dur="250" fill="hold"/>
                                        <p:tgtEl>
                                          <p:spTgt spid="7"/>
                                        </p:tgtEl>
                                        <p:attrNameLst>
                                          <p:attrName>ppt_x</p:attrName>
                                          <p:attrName>ppt_y</p:attrName>
                                        </p:attrNameLst>
                                      </p:cBhvr>
                                      <p:rCtr x="8372" y="-8264"/>
                                    </p:animMotion>
                                  </p:childTnLst>
                                </p:cTn>
                              </p:par>
                            </p:childTnLst>
                          </p:cTn>
                        </p:par>
                        <p:par>
                          <p:cTn id="624" fill="hold">
                            <p:stCondLst>
                              <p:cond delay="13700"/>
                            </p:stCondLst>
                            <p:childTnLst>
                              <p:par>
                                <p:cTn id="625" presetID="53" presetClass="entr" presetSubtype="16" fill="hold" nodeType="afterEffect">
                                  <p:stCondLst>
                                    <p:cond delay="0"/>
                                  </p:stCondLst>
                                  <p:childTnLst>
                                    <p:set>
                                      <p:cBhvr>
                                        <p:cTn id="626" dur="1" fill="hold">
                                          <p:stCondLst>
                                            <p:cond delay="0"/>
                                          </p:stCondLst>
                                        </p:cTn>
                                        <p:tgtEl>
                                          <p:spTgt spid="10"/>
                                        </p:tgtEl>
                                        <p:attrNameLst>
                                          <p:attrName>style.visibility</p:attrName>
                                        </p:attrNameLst>
                                      </p:cBhvr>
                                      <p:to>
                                        <p:strVal val="visible"/>
                                      </p:to>
                                    </p:set>
                                    <p:anim calcmode="lin" valueType="num">
                                      <p:cBhvr>
                                        <p:cTn id="627" dur="500" fill="hold"/>
                                        <p:tgtEl>
                                          <p:spTgt spid="10"/>
                                        </p:tgtEl>
                                        <p:attrNameLst>
                                          <p:attrName>ppt_w</p:attrName>
                                        </p:attrNameLst>
                                      </p:cBhvr>
                                      <p:tavLst>
                                        <p:tav tm="0">
                                          <p:val>
                                            <p:fltVal val="0"/>
                                          </p:val>
                                        </p:tav>
                                        <p:tav tm="100000">
                                          <p:val>
                                            <p:strVal val="#ppt_w"/>
                                          </p:val>
                                        </p:tav>
                                      </p:tavLst>
                                    </p:anim>
                                    <p:anim calcmode="lin" valueType="num">
                                      <p:cBhvr>
                                        <p:cTn id="628" dur="500" fill="hold"/>
                                        <p:tgtEl>
                                          <p:spTgt spid="10"/>
                                        </p:tgtEl>
                                        <p:attrNameLst>
                                          <p:attrName>ppt_h</p:attrName>
                                        </p:attrNameLst>
                                      </p:cBhvr>
                                      <p:tavLst>
                                        <p:tav tm="0">
                                          <p:val>
                                            <p:fltVal val="0"/>
                                          </p:val>
                                        </p:tav>
                                        <p:tav tm="100000">
                                          <p:val>
                                            <p:strVal val="#ppt_h"/>
                                          </p:val>
                                        </p:tav>
                                      </p:tavLst>
                                    </p:anim>
                                    <p:animEffect transition="in" filter="fade">
                                      <p:cBhvr>
                                        <p:cTn id="629" dur="500"/>
                                        <p:tgtEl>
                                          <p:spTgt spid="10"/>
                                        </p:tgtEl>
                                      </p:cBhvr>
                                    </p:animEffect>
                                  </p:childTnLst>
                                </p:cTn>
                              </p:par>
                            </p:childTnLst>
                          </p:cTn>
                        </p:par>
                        <p:par>
                          <p:cTn id="630" fill="hold">
                            <p:stCondLst>
                              <p:cond delay="14200"/>
                            </p:stCondLst>
                            <p:childTnLst>
                              <p:par>
                                <p:cTn id="631" presetID="42" presetClass="path" presetSubtype="0" accel="50000" decel="50000" fill="hold" nodeType="afterEffect">
                                  <p:stCondLst>
                                    <p:cond delay="0"/>
                                  </p:stCondLst>
                                  <p:childTnLst>
                                    <p:animMotion origin="layout" path="M 3.75E-6 -3.7037E-7 L 0.19648 -0.09329 " pathEditMode="relative" rAng="0" ptsTypes="AA">
                                      <p:cBhvr>
                                        <p:cTn id="632" dur="250" fill="hold"/>
                                        <p:tgtEl>
                                          <p:spTgt spid="10"/>
                                        </p:tgtEl>
                                        <p:attrNameLst>
                                          <p:attrName>ppt_x</p:attrName>
                                          <p:attrName>ppt_y</p:attrName>
                                        </p:attrNameLst>
                                      </p:cBhvr>
                                      <p:rCtr x="9818" y="-4676"/>
                                    </p:animMotion>
                                  </p:childTnLst>
                                </p:cTn>
                              </p:par>
                            </p:childTnLst>
                          </p:cTn>
                        </p:par>
                        <p:par>
                          <p:cTn id="633" fill="hold">
                            <p:stCondLst>
                              <p:cond delay="14450"/>
                            </p:stCondLst>
                            <p:childTnLst>
                              <p:par>
                                <p:cTn id="634" presetID="53" presetClass="entr" presetSubtype="16" fill="hold" nodeType="afterEffect">
                                  <p:stCondLst>
                                    <p:cond delay="0"/>
                                  </p:stCondLst>
                                  <p:childTnLst>
                                    <p:set>
                                      <p:cBhvr>
                                        <p:cTn id="635" dur="1" fill="hold">
                                          <p:stCondLst>
                                            <p:cond delay="0"/>
                                          </p:stCondLst>
                                        </p:cTn>
                                        <p:tgtEl>
                                          <p:spTgt spid="12"/>
                                        </p:tgtEl>
                                        <p:attrNameLst>
                                          <p:attrName>style.visibility</p:attrName>
                                        </p:attrNameLst>
                                      </p:cBhvr>
                                      <p:to>
                                        <p:strVal val="visible"/>
                                      </p:to>
                                    </p:set>
                                    <p:anim calcmode="lin" valueType="num">
                                      <p:cBhvr>
                                        <p:cTn id="636" dur="500" fill="hold"/>
                                        <p:tgtEl>
                                          <p:spTgt spid="12"/>
                                        </p:tgtEl>
                                        <p:attrNameLst>
                                          <p:attrName>ppt_w</p:attrName>
                                        </p:attrNameLst>
                                      </p:cBhvr>
                                      <p:tavLst>
                                        <p:tav tm="0">
                                          <p:val>
                                            <p:fltVal val="0"/>
                                          </p:val>
                                        </p:tav>
                                        <p:tav tm="100000">
                                          <p:val>
                                            <p:strVal val="#ppt_w"/>
                                          </p:val>
                                        </p:tav>
                                      </p:tavLst>
                                    </p:anim>
                                    <p:anim calcmode="lin" valueType="num">
                                      <p:cBhvr>
                                        <p:cTn id="637" dur="500" fill="hold"/>
                                        <p:tgtEl>
                                          <p:spTgt spid="12"/>
                                        </p:tgtEl>
                                        <p:attrNameLst>
                                          <p:attrName>ppt_h</p:attrName>
                                        </p:attrNameLst>
                                      </p:cBhvr>
                                      <p:tavLst>
                                        <p:tav tm="0">
                                          <p:val>
                                            <p:fltVal val="0"/>
                                          </p:val>
                                        </p:tav>
                                        <p:tav tm="100000">
                                          <p:val>
                                            <p:strVal val="#ppt_h"/>
                                          </p:val>
                                        </p:tav>
                                      </p:tavLst>
                                    </p:anim>
                                    <p:animEffect transition="in" filter="fade">
                                      <p:cBhvr>
                                        <p:cTn id="638" dur="500"/>
                                        <p:tgtEl>
                                          <p:spTgt spid="12"/>
                                        </p:tgtEl>
                                      </p:cBhvr>
                                    </p:animEffect>
                                  </p:childTnLst>
                                </p:cTn>
                              </p:par>
                            </p:childTnLst>
                          </p:cTn>
                        </p:par>
                        <p:par>
                          <p:cTn id="639" fill="hold">
                            <p:stCondLst>
                              <p:cond delay="14950"/>
                            </p:stCondLst>
                            <p:childTnLst>
                              <p:par>
                                <p:cTn id="640" presetID="42" presetClass="path" presetSubtype="0" accel="50000" decel="50000" fill="hold" nodeType="afterEffect">
                                  <p:stCondLst>
                                    <p:cond delay="0"/>
                                  </p:stCondLst>
                                  <p:childTnLst>
                                    <p:animMotion origin="layout" path="M -2.5E-6 -4.07407E-6 L 0.16758 0.08612 " pathEditMode="relative" rAng="0" ptsTypes="AA">
                                      <p:cBhvr>
                                        <p:cTn id="641" dur="250" fill="hold"/>
                                        <p:tgtEl>
                                          <p:spTgt spid="12"/>
                                        </p:tgtEl>
                                        <p:attrNameLst>
                                          <p:attrName>ppt_x</p:attrName>
                                          <p:attrName>ppt_y</p:attrName>
                                        </p:attrNameLst>
                                      </p:cBhvr>
                                      <p:rCtr x="8372" y="4306"/>
                                    </p:animMotion>
                                  </p:childTnLst>
                                </p:cTn>
                              </p:par>
                            </p:childTnLst>
                          </p:cTn>
                        </p:par>
                        <p:par>
                          <p:cTn id="642" fill="hold">
                            <p:stCondLst>
                              <p:cond delay="15200"/>
                            </p:stCondLst>
                            <p:childTnLst>
                              <p:par>
                                <p:cTn id="643" presetID="53" presetClass="entr" presetSubtype="16" fill="hold" nodeType="afterEffect">
                                  <p:stCondLst>
                                    <p:cond delay="0"/>
                                  </p:stCondLst>
                                  <p:childTnLst>
                                    <p:set>
                                      <p:cBhvr>
                                        <p:cTn id="644" dur="1" fill="hold">
                                          <p:stCondLst>
                                            <p:cond delay="0"/>
                                          </p:stCondLst>
                                        </p:cTn>
                                        <p:tgtEl>
                                          <p:spTgt spid="13"/>
                                        </p:tgtEl>
                                        <p:attrNameLst>
                                          <p:attrName>style.visibility</p:attrName>
                                        </p:attrNameLst>
                                      </p:cBhvr>
                                      <p:to>
                                        <p:strVal val="visible"/>
                                      </p:to>
                                    </p:set>
                                    <p:anim calcmode="lin" valueType="num">
                                      <p:cBhvr>
                                        <p:cTn id="645" dur="500" fill="hold"/>
                                        <p:tgtEl>
                                          <p:spTgt spid="13"/>
                                        </p:tgtEl>
                                        <p:attrNameLst>
                                          <p:attrName>ppt_w</p:attrName>
                                        </p:attrNameLst>
                                      </p:cBhvr>
                                      <p:tavLst>
                                        <p:tav tm="0">
                                          <p:val>
                                            <p:fltVal val="0"/>
                                          </p:val>
                                        </p:tav>
                                        <p:tav tm="100000">
                                          <p:val>
                                            <p:strVal val="#ppt_w"/>
                                          </p:val>
                                        </p:tav>
                                      </p:tavLst>
                                    </p:anim>
                                    <p:anim calcmode="lin" valueType="num">
                                      <p:cBhvr>
                                        <p:cTn id="646" dur="500" fill="hold"/>
                                        <p:tgtEl>
                                          <p:spTgt spid="13"/>
                                        </p:tgtEl>
                                        <p:attrNameLst>
                                          <p:attrName>ppt_h</p:attrName>
                                        </p:attrNameLst>
                                      </p:cBhvr>
                                      <p:tavLst>
                                        <p:tav tm="0">
                                          <p:val>
                                            <p:fltVal val="0"/>
                                          </p:val>
                                        </p:tav>
                                        <p:tav tm="100000">
                                          <p:val>
                                            <p:strVal val="#ppt_h"/>
                                          </p:val>
                                        </p:tav>
                                      </p:tavLst>
                                    </p:anim>
                                    <p:animEffect transition="in" filter="fade">
                                      <p:cBhvr>
                                        <p:cTn id="647" dur="500"/>
                                        <p:tgtEl>
                                          <p:spTgt spid="13"/>
                                        </p:tgtEl>
                                      </p:cBhvr>
                                    </p:animEffect>
                                  </p:childTnLst>
                                </p:cTn>
                              </p:par>
                            </p:childTnLst>
                          </p:cTn>
                        </p:par>
                        <p:par>
                          <p:cTn id="648" fill="hold">
                            <p:stCondLst>
                              <p:cond delay="15700"/>
                            </p:stCondLst>
                            <p:childTnLst>
                              <p:par>
                                <p:cTn id="649" presetID="42" presetClass="path" presetSubtype="0" accel="50000" decel="50000" fill="hold" nodeType="afterEffect">
                                  <p:stCondLst>
                                    <p:cond delay="0"/>
                                  </p:stCondLst>
                                  <p:childTnLst>
                                    <p:animMotion origin="layout" path="M -4.16667E-7 -3.7037E-7 L 0.35091 0.04028 " pathEditMode="relative" rAng="0" ptsTypes="AA">
                                      <p:cBhvr>
                                        <p:cTn id="650" dur="250" fill="hold"/>
                                        <p:tgtEl>
                                          <p:spTgt spid="13"/>
                                        </p:tgtEl>
                                        <p:attrNameLst>
                                          <p:attrName>ppt_x</p:attrName>
                                          <p:attrName>ppt_y</p:attrName>
                                        </p:attrNameLst>
                                      </p:cBhvr>
                                      <p:rCtr x="17539" y="2014"/>
                                    </p:animMotion>
                                  </p:childTnLst>
                                </p:cTn>
                              </p:par>
                            </p:childTnLst>
                          </p:cTn>
                        </p:par>
                        <p:par>
                          <p:cTn id="651" fill="hold">
                            <p:stCondLst>
                              <p:cond delay="15950"/>
                            </p:stCondLst>
                            <p:childTnLst>
                              <p:par>
                                <p:cTn id="652" presetID="53" presetClass="entr" presetSubtype="16" fill="hold" nodeType="afterEffect">
                                  <p:stCondLst>
                                    <p:cond delay="0"/>
                                  </p:stCondLst>
                                  <p:childTnLst>
                                    <p:set>
                                      <p:cBhvr>
                                        <p:cTn id="653" dur="1" fill="hold">
                                          <p:stCondLst>
                                            <p:cond delay="0"/>
                                          </p:stCondLst>
                                        </p:cTn>
                                        <p:tgtEl>
                                          <p:spTgt spid="5"/>
                                        </p:tgtEl>
                                        <p:attrNameLst>
                                          <p:attrName>style.visibility</p:attrName>
                                        </p:attrNameLst>
                                      </p:cBhvr>
                                      <p:to>
                                        <p:strVal val="visible"/>
                                      </p:to>
                                    </p:set>
                                    <p:anim calcmode="lin" valueType="num">
                                      <p:cBhvr>
                                        <p:cTn id="654" dur="500" fill="hold"/>
                                        <p:tgtEl>
                                          <p:spTgt spid="5"/>
                                        </p:tgtEl>
                                        <p:attrNameLst>
                                          <p:attrName>ppt_w</p:attrName>
                                        </p:attrNameLst>
                                      </p:cBhvr>
                                      <p:tavLst>
                                        <p:tav tm="0">
                                          <p:val>
                                            <p:fltVal val="0"/>
                                          </p:val>
                                        </p:tav>
                                        <p:tav tm="100000">
                                          <p:val>
                                            <p:strVal val="#ppt_w"/>
                                          </p:val>
                                        </p:tav>
                                      </p:tavLst>
                                    </p:anim>
                                    <p:anim calcmode="lin" valueType="num">
                                      <p:cBhvr>
                                        <p:cTn id="655" dur="500" fill="hold"/>
                                        <p:tgtEl>
                                          <p:spTgt spid="5"/>
                                        </p:tgtEl>
                                        <p:attrNameLst>
                                          <p:attrName>ppt_h</p:attrName>
                                        </p:attrNameLst>
                                      </p:cBhvr>
                                      <p:tavLst>
                                        <p:tav tm="0">
                                          <p:val>
                                            <p:fltVal val="0"/>
                                          </p:val>
                                        </p:tav>
                                        <p:tav tm="100000">
                                          <p:val>
                                            <p:strVal val="#ppt_h"/>
                                          </p:val>
                                        </p:tav>
                                      </p:tavLst>
                                    </p:anim>
                                    <p:animEffect transition="in" filter="fade">
                                      <p:cBhvr>
                                        <p:cTn id="656" dur="500"/>
                                        <p:tgtEl>
                                          <p:spTgt spid="5"/>
                                        </p:tgtEl>
                                      </p:cBhvr>
                                    </p:animEffect>
                                  </p:childTnLst>
                                </p:cTn>
                              </p:par>
                            </p:childTnLst>
                          </p:cTn>
                        </p:par>
                        <p:par>
                          <p:cTn id="657" fill="hold">
                            <p:stCondLst>
                              <p:cond delay="16450"/>
                            </p:stCondLst>
                            <p:childTnLst>
                              <p:par>
                                <p:cTn id="658" presetID="53" presetClass="entr" presetSubtype="16" fill="hold" nodeType="afterEffect">
                                  <p:stCondLst>
                                    <p:cond delay="0"/>
                                  </p:stCondLst>
                                  <p:childTnLst>
                                    <p:set>
                                      <p:cBhvr>
                                        <p:cTn id="659" dur="1" fill="hold">
                                          <p:stCondLst>
                                            <p:cond delay="0"/>
                                          </p:stCondLst>
                                        </p:cTn>
                                        <p:tgtEl>
                                          <p:spTgt spid="17"/>
                                        </p:tgtEl>
                                        <p:attrNameLst>
                                          <p:attrName>style.visibility</p:attrName>
                                        </p:attrNameLst>
                                      </p:cBhvr>
                                      <p:to>
                                        <p:strVal val="visible"/>
                                      </p:to>
                                    </p:set>
                                    <p:anim calcmode="lin" valueType="num">
                                      <p:cBhvr>
                                        <p:cTn id="660" dur="500" fill="hold"/>
                                        <p:tgtEl>
                                          <p:spTgt spid="17"/>
                                        </p:tgtEl>
                                        <p:attrNameLst>
                                          <p:attrName>ppt_w</p:attrName>
                                        </p:attrNameLst>
                                      </p:cBhvr>
                                      <p:tavLst>
                                        <p:tav tm="0">
                                          <p:val>
                                            <p:fltVal val="0"/>
                                          </p:val>
                                        </p:tav>
                                        <p:tav tm="100000">
                                          <p:val>
                                            <p:strVal val="#ppt_w"/>
                                          </p:val>
                                        </p:tav>
                                      </p:tavLst>
                                    </p:anim>
                                    <p:anim calcmode="lin" valueType="num">
                                      <p:cBhvr>
                                        <p:cTn id="661" dur="500" fill="hold"/>
                                        <p:tgtEl>
                                          <p:spTgt spid="17"/>
                                        </p:tgtEl>
                                        <p:attrNameLst>
                                          <p:attrName>ppt_h</p:attrName>
                                        </p:attrNameLst>
                                      </p:cBhvr>
                                      <p:tavLst>
                                        <p:tav tm="0">
                                          <p:val>
                                            <p:fltVal val="0"/>
                                          </p:val>
                                        </p:tav>
                                        <p:tav tm="100000">
                                          <p:val>
                                            <p:strVal val="#ppt_h"/>
                                          </p:val>
                                        </p:tav>
                                      </p:tavLst>
                                    </p:anim>
                                    <p:animEffect transition="in" filter="fade">
                                      <p:cBhvr>
                                        <p:cTn id="662" dur="500"/>
                                        <p:tgtEl>
                                          <p:spTgt spid="17"/>
                                        </p:tgtEl>
                                      </p:cBhvr>
                                    </p:animEffect>
                                  </p:childTnLst>
                                </p:cTn>
                              </p:par>
                            </p:childTnLst>
                          </p:cTn>
                        </p:par>
                        <p:par>
                          <p:cTn id="663" fill="hold">
                            <p:stCondLst>
                              <p:cond delay="16950"/>
                            </p:stCondLst>
                            <p:childTnLst>
                              <p:par>
                                <p:cTn id="664" presetID="42" presetClass="path" presetSubtype="0" accel="50000" decel="50000" fill="hold" nodeType="afterEffect">
                                  <p:stCondLst>
                                    <p:cond delay="0"/>
                                  </p:stCondLst>
                                  <p:childTnLst>
                                    <p:animMotion origin="layout" path="M 2.08333E-6 4.07407E-6 L 0.29023 -0.1051 " pathEditMode="relative" rAng="0" ptsTypes="AA">
                                      <p:cBhvr>
                                        <p:cTn id="665" dur="250" fill="hold"/>
                                        <p:tgtEl>
                                          <p:spTgt spid="17"/>
                                        </p:tgtEl>
                                        <p:attrNameLst>
                                          <p:attrName>ppt_x</p:attrName>
                                          <p:attrName>ppt_y</p:attrName>
                                        </p:attrNameLst>
                                      </p:cBhvr>
                                      <p:rCtr x="14505" y="-5255"/>
                                    </p:animMotion>
                                  </p:childTnLst>
                                </p:cTn>
                              </p:par>
                            </p:childTnLst>
                          </p:cTn>
                        </p:par>
                        <p:par>
                          <p:cTn id="666" fill="hold">
                            <p:stCondLst>
                              <p:cond delay="17200"/>
                            </p:stCondLst>
                            <p:childTnLst>
                              <p:par>
                                <p:cTn id="667" presetID="53" presetClass="entr" presetSubtype="16" fill="hold" nodeType="afterEffect">
                                  <p:stCondLst>
                                    <p:cond delay="0"/>
                                  </p:stCondLst>
                                  <p:childTnLst>
                                    <p:set>
                                      <p:cBhvr>
                                        <p:cTn id="668" dur="1" fill="hold">
                                          <p:stCondLst>
                                            <p:cond delay="0"/>
                                          </p:stCondLst>
                                        </p:cTn>
                                        <p:tgtEl>
                                          <p:spTgt spid="16"/>
                                        </p:tgtEl>
                                        <p:attrNameLst>
                                          <p:attrName>style.visibility</p:attrName>
                                        </p:attrNameLst>
                                      </p:cBhvr>
                                      <p:to>
                                        <p:strVal val="visible"/>
                                      </p:to>
                                    </p:set>
                                    <p:anim calcmode="lin" valueType="num">
                                      <p:cBhvr>
                                        <p:cTn id="669" dur="500" fill="hold"/>
                                        <p:tgtEl>
                                          <p:spTgt spid="16"/>
                                        </p:tgtEl>
                                        <p:attrNameLst>
                                          <p:attrName>ppt_w</p:attrName>
                                        </p:attrNameLst>
                                      </p:cBhvr>
                                      <p:tavLst>
                                        <p:tav tm="0">
                                          <p:val>
                                            <p:fltVal val="0"/>
                                          </p:val>
                                        </p:tav>
                                        <p:tav tm="100000">
                                          <p:val>
                                            <p:strVal val="#ppt_w"/>
                                          </p:val>
                                        </p:tav>
                                      </p:tavLst>
                                    </p:anim>
                                    <p:anim calcmode="lin" valueType="num">
                                      <p:cBhvr>
                                        <p:cTn id="670" dur="500" fill="hold"/>
                                        <p:tgtEl>
                                          <p:spTgt spid="16"/>
                                        </p:tgtEl>
                                        <p:attrNameLst>
                                          <p:attrName>ppt_h</p:attrName>
                                        </p:attrNameLst>
                                      </p:cBhvr>
                                      <p:tavLst>
                                        <p:tav tm="0">
                                          <p:val>
                                            <p:fltVal val="0"/>
                                          </p:val>
                                        </p:tav>
                                        <p:tav tm="100000">
                                          <p:val>
                                            <p:strVal val="#ppt_h"/>
                                          </p:val>
                                        </p:tav>
                                      </p:tavLst>
                                    </p:anim>
                                    <p:animEffect transition="in" filter="fade">
                                      <p:cBhvr>
                                        <p:cTn id="671" dur="500"/>
                                        <p:tgtEl>
                                          <p:spTgt spid="16"/>
                                        </p:tgtEl>
                                      </p:cBhvr>
                                    </p:animEffect>
                                  </p:childTnLst>
                                </p:cTn>
                              </p:par>
                            </p:childTnLst>
                          </p:cTn>
                        </p:par>
                        <p:par>
                          <p:cTn id="672" fill="hold">
                            <p:stCondLst>
                              <p:cond delay="17700"/>
                            </p:stCondLst>
                            <p:childTnLst>
                              <p:par>
                                <p:cTn id="673" presetID="42" presetClass="path" presetSubtype="0" accel="50000" decel="50000" fill="hold" nodeType="afterEffect">
                                  <p:stCondLst>
                                    <p:cond delay="0"/>
                                  </p:stCondLst>
                                  <p:childTnLst>
                                    <p:animMotion origin="layout" path="M 0.00273 0.00024 L 0.34596 -0.11851 " pathEditMode="relative" rAng="0" ptsTypes="AA">
                                      <p:cBhvr>
                                        <p:cTn id="674" dur="250" fill="hold"/>
                                        <p:tgtEl>
                                          <p:spTgt spid="16"/>
                                        </p:tgtEl>
                                        <p:attrNameLst>
                                          <p:attrName>ppt_x</p:attrName>
                                          <p:attrName>ppt_y</p:attrName>
                                        </p:attrNameLst>
                                      </p:cBhvr>
                                      <p:rCtr x="17161" y="-5949"/>
                                    </p:animMotion>
                                  </p:childTnLst>
                                </p:cTn>
                              </p:par>
                            </p:childTnLst>
                          </p:cTn>
                        </p:par>
                        <p:par>
                          <p:cTn id="675" fill="hold">
                            <p:stCondLst>
                              <p:cond delay="17950"/>
                            </p:stCondLst>
                            <p:childTnLst>
                              <p:par>
                                <p:cTn id="676" presetID="53" presetClass="entr" presetSubtype="16" fill="hold" nodeType="afterEffect">
                                  <p:stCondLst>
                                    <p:cond delay="0"/>
                                  </p:stCondLst>
                                  <p:childTnLst>
                                    <p:set>
                                      <p:cBhvr>
                                        <p:cTn id="677" dur="1" fill="hold">
                                          <p:stCondLst>
                                            <p:cond delay="0"/>
                                          </p:stCondLst>
                                        </p:cTn>
                                        <p:tgtEl>
                                          <p:spTgt spid="15"/>
                                        </p:tgtEl>
                                        <p:attrNameLst>
                                          <p:attrName>style.visibility</p:attrName>
                                        </p:attrNameLst>
                                      </p:cBhvr>
                                      <p:to>
                                        <p:strVal val="visible"/>
                                      </p:to>
                                    </p:set>
                                    <p:anim calcmode="lin" valueType="num">
                                      <p:cBhvr>
                                        <p:cTn id="678" dur="500" fill="hold"/>
                                        <p:tgtEl>
                                          <p:spTgt spid="15"/>
                                        </p:tgtEl>
                                        <p:attrNameLst>
                                          <p:attrName>ppt_w</p:attrName>
                                        </p:attrNameLst>
                                      </p:cBhvr>
                                      <p:tavLst>
                                        <p:tav tm="0">
                                          <p:val>
                                            <p:fltVal val="0"/>
                                          </p:val>
                                        </p:tav>
                                        <p:tav tm="100000">
                                          <p:val>
                                            <p:strVal val="#ppt_w"/>
                                          </p:val>
                                        </p:tav>
                                      </p:tavLst>
                                    </p:anim>
                                    <p:anim calcmode="lin" valueType="num">
                                      <p:cBhvr>
                                        <p:cTn id="679" dur="500" fill="hold"/>
                                        <p:tgtEl>
                                          <p:spTgt spid="15"/>
                                        </p:tgtEl>
                                        <p:attrNameLst>
                                          <p:attrName>ppt_h</p:attrName>
                                        </p:attrNameLst>
                                      </p:cBhvr>
                                      <p:tavLst>
                                        <p:tav tm="0">
                                          <p:val>
                                            <p:fltVal val="0"/>
                                          </p:val>
                                        </p:tav>
                                        <p:tav tm="100000">
                                          <p:val>
                                            <p:strVal val="#ppt_h"/>
                                          </p:val>
                                        </p:tav>
                                      </p:tavLst>
                                    </p:anim>
                                    <p:animEffect transition="in" filter="fade">
                                      <p:cBhvr>
                                        <p:cTn id="680" dur="500"/>
                                        <p:tgtEl>
                                          <p:spTgt spid="15"/>
                                        </p:tgtEl>
                                      </p:cBhvr>
                                    </p:animEffect>
                                  </p:childTnLst>
                                </p:cTn>
                              </p:par>
                            </p:childTnLst>
                          </p:cTn>
                        </p:par>
                        <p:par>
                          <p:cTn id="681" fill="hold">
                            <p:stCondLst>
                              <p:cond delay="18450"/>
                            </p:stCondLst>
                            <p:childTnLst>
                              <p:par>
                                <p:cTn id="682" presetID="42" presetClass="path" presetSubtype="0" accel="50000" decel="50000" fill="hold" nodeType="afterEffect">
                                  <p:stCondLst>
                                    <p:cond delay="0"/>
                                  </p:stCondLst>
                                  <p:childTnLst>
                                    <p:animMotion origin="layout" path="M 8.33333E-7 -2.59259E-6 L 0.37721 -0.29583 " pathEditMode="relative" rAng="0" ptsTypes="AA">
                                      <p:cBhvr>
                                        <p:cTn id="683" dur="250" fill="hold"/>
                                        <p:tgtEl>
                                          <p:spTgt spid="15"/>
                                        </p:tgtEl>
                                        <p:attrNameLst>
                                          <p:attrName>ppt_x</p:attrName>
                                          <p:attrName>ppt_y</p:attrName>
                                        </p:attrNameLst>
                                      </p:cBhvr>
                                      <p:rCtr x="18854" y="-14792"/>
                                    </p:animMotion>
                                  </p:childTnLst>
                                </p:cTn>
                              </p:par>
                            </p:childTnLst>
                          </p:cTn>
                        </p:par>
                        <p:par>
                          <p:cTn id="684" fill="hold">
                            <p:stCondLst>
                              <p:cond delay="18700"/>
                            </p:stCondLst>
                            <p:childTnLst>
                              <p:par>
                                <p:cTn id="685" presetID="53" presetClass="entr" presetSubtype="16" fill="hold" nodeType="afterEffect">
                                  <p:stCondLst>
                                    <p:cond delay="0"/>
                                  </p:stCondLst>
                                  <p:childTnLst>
                                    <p:set>
                                      <p:cBhvr>
                                        <p:cTn id="686" dur="1" fill="hold">
                                          <p:stCondLst>
                                            <p:cond delay="0"/>
                                          </p:stCondLst>
                                        </p:cTn>
                                        <p:tgtEl>
                                          <p:spTgt spid="14"/>
                                        </p:tgtEl>
                                        <p:attrNameLst>
                                          <p:attrName>style.visibility</p:attrName>
                                        </p:attrNameLst>
                                      </p:cBhvr>
                                      <p:to>
                                        <p:strVal val="visible"/>
                                      </p:to>
                                    </p:set>
                                    <p:anim calcmode="lin" valueType="num">
                                      <p:cBhvr>
                                        <p:cTn id="687" dur="500" fill="hold"/>
                                        <p:tgtEl>
                                          <p:spTgt spid="14"/>
                                        </p:tgtEl>
                                        <p:attrNameLst>
                                          <p:attrName>ppt_w</p:attrName>
                                        </p:attrNameLst>
                                      </p:cBhvr>
                                      <p:tavLst>
                                        <p:tav tm="0">
                                          <p:val>
                                            <p:fltVal val="0"/>
                                          </p:val>
                                        </p:tav>
                                        <p:tav tm="100000">
                                          <p:val>
                                            <p:strVal val="#ppt_w"/>
                                          </p:val>
                                        </p:tav>
                                      </p:tavLst>
                                    </p:anim>
                                    <p:anim calcmode="lin" valueType="num">
                                      <p:cBhvr>
                                        <p:cTn id="688" dur="500" fill="hold"/>
                                        <p:tgtEl>
                                          <p:spTgt spid="14"/>
                                        </p:tgtEl>
                                        <p:attrNameLst>
                                          <p:attrName>ppt_h</p:attrName>
                                        </p:attrNameLst>
                                      </p:cBhvr>
                                      <p:tavLst>
                                        <p:tav tm="0">
                                          <p:val>
                                            <p:fltVal val="0"/>
                                          </p:val>
                                        </p:tav>
                                        <p:tav tm="100000">
                                          <p:val>
                                            <p:strVal val="#ppt_h"/>
                                          </p:val>
                                        </p:tav>
                                      </p:tavLst>
                                    </p:anim>
                                    <p:animEffect transition="in" filter="fade">
                                      <p:cBhvr>
                                        <p:cTn id="689" dur="500"/>
                                        <p:tgtEl>
                                          <p:spTgt spid="14"/>
                                        </p:tgtEl>
                                      </p:cBhvr>
                                    </p:animEffect>
                                  </p:childTnLst>
                                </p:cTn>
                              </p:par>
                            </p:childTnLst>
                          </p:cTn>
                        </p:par>
                        <p:par>
                          <p:cTn id="690" fill="hold">
                            <p:stCondLst>
                              <p:cond delay="19200"/>
                            </p:stCondLst>
                            <p:childTnLst>
                              <p:par>
                                <p:cTn id="691" presetID="42" presetClass="path" presetSubtype="0" accel="50000" decel="50000" fill="hold" nodeType="afterEffect">
                                  <p:stCondLst>
                                    <p:cond delay="0"/>
                                  </p:stCondLst>
                                  <p:childTnLst>
                                    <p:animMotion origin="layout" path="M 8.33333E-7 4.81481E-6 L 0.37721 -0.35996 " pathEditMode="relative" rAng="0" ptsTypes="AA">
                                      <p:cBhvr>
                                        <p:cTn id="692" dur="250" fill="hold"/>
                                        <p:tgtEl>
                                          <p:spTgt spid="14"/>
                                        </p:tgtEl>
                                        <p:attrNameLst>
                                          <p:attrName>ppt_x</p:attrName>
                                          <p:attrName>ppt_y</p:attrName>
                                        </p:attrNameLst>
                                      </p:cBhvr>
                                      <p:rCtr x="18854" y="-18009"/>
                                    </p:animMotion>
                                  </p:childTnLst>
                                </p:cTn>
                              </p:par>
                            </p:childTnLst>
                          </p:cTn>
                        </p:par>
                      </p:childTnLst>
                    </p:cTn>
                  </p:par>
                  <p:par>
                    <p:cTn id="693" fill="hold">
                      <p:stCondLst>
                        <p:cond delay="indefinite"/>
                      </p:stCondLst>
                      <p:childTnLst>
                        <p:par>
                          <p:cTn id="694" fill="hold">
                            <p:stCondLst>
                              <p:cond delay="0"/>
                            </p:stCondLst>
                            <p:childTnLst>
                              <p:par>
                                <p:cTn id="695" presetID="10" presetClass="entr" presetSubtype="0" fill="hold" nodeType="clickEffect">
                                  <p:stCondLst>
                                    <p:cond delay="0"/>
                                  </p:stCondLst>
                                  <p:childTnLst>
                                    <p:set>
                                      <p:cBhvr>
                                        <p:cTn id="696" dur="1" fill="hold">
                                          <p:stCondLst>
                                            <p:cond delay="0"/>
                                          </p:stCondLst>
                                        </p:cTn>
                                        <p:tgtEl>
                                          <p:spTgt spid="443"/>
                                        </p:tgtEl>
                                        <p:attrNameLst>
                                          <p:attrName>style.visibility</p:attrName>
                                        </p:attrNameLst>
                                      </p:cBhvr>
                                      <p:to>
                                        <p:strVal val="visible"/>
                                      </p:to>
                                    </p:set>
                                    <p:animEffect transition="in" filter="fade">
                                      <p:cBhvr>
                                        <p:cTn id="697" dur="500"/>
                                        <p:tgtEl>
                                          <p:spTgt spid="443"/>
                                        </p:tgtEl>
                                      </p:cBhvr>
                                    </p:animEffect>
                                  </p:childTnLst>
                                </p:cTn>
                              </p:par>
                              <p:par>
                                <p:cTn id="698" presetID="10" presetClass="entr" presetSubtype="0" fill="hold" nodeType="withEffect">
                                  <p:stCondLst>
                                    <p:cond delay="0"/>
                                  </p:stCondLst>
                                  <p:childTnLst>
                                    <p:set>
                                      <p:cBhvr>
                                        <p:cTn id="699" dur="1" fill="hold">
                                          <p:stCondLst>
                                            <p:cond delay="0"/>
                                          </p:stCondLst>
                                        </p:cTn>
                                        <p:tgtEl>
                                          <p:spTgt spid="446"/>
                                        </p:tgtEl>
                                        <p:attrNameLst>
                                          <p:attrName>style.visibility</p:attrName>
                                        </p:attrNameLst>
                                      </p:cBhvr>
                                      <p:to>
                                        <p:strVal val="visible"/>
                                      </p:to>
                                    </p:set>
                                    <p:animEffect transition="in" filter="fade">
                                      <p:cBhvr>
                                        <p:cTn id="700" dur="500"/>
                                        <p:tgtEl>
                                          <p:spTgt spid="446"/>
                                        </p:tgtEl>
                                      </p:cBhvr>
                                    </p:animEffect>
                                  </p:childTnLst>
                                </p:cTn>
                              </p:par>
                              <p:par>
                                <p:cTn id="701" presetID="10" presetClass="entr" presetSubtype="0" fill="hold" nodeType="withEffect">
                                  <p:stCondLst>
                                    <p:cond delay="0"/>
                                  </p:stCondLst>
                                  <p:childTnLst>
                                    <p:set>
                                      <p:cBhvr>
                                        <p:cTn id="702" dur="1" fill="hold">
                                          <p:stCondLst>
                                            <p:cond delay="0"/>
                                          </p:stCondLst>
                                        </p:cTn>
                                        <p:tgtEl>
                                          <p:spTgt spid="449"/>
                                        </p:tgtEl>
                                        <p:attrNameLst>
                                          <p:attrName>style.visibility</p:attrName>
                                        </p:attrNameLst>
                                      </p:cBhvr>
                                      <p:to>
                                        <p:strVal val="visible"/>
                                      </p:to>
                                    </p:set>
                                    <p:animEffect transition="in" filter="fade">
                                      <p:cBhvr>
                                        <p:cTn id="703" dur="500"/>
                                        <p:tgtEl>
                                          <p:spTgt spid="449"/>
                                        </p:tgtEl>
                                      </p:cBhvr>
                                    </p:animEffect>
                                  </p:childTnLst>
                                </p:cTn>
                              </p:par>
                              <p:par>
                                <p:cTn id="704" presetID="10" presetClass="entr" presetSubtype="0" fill="hold" nodeType="withEffect">
                                  <p:stCondLst>
                                    <p:cond delay="0"/>
                                  </p:stCondLst>
                                  <p:childTnLst>
                                    <p:set>
                                      <p:cBhvr>
                                        <p:cTn id="705" dur="1" fill="hold">
                                          <p:stCondLst>
                                            <p:cond delay="0"/>
                                          </p:stCondLst>
                                        </p:cTn>
                                        <p:tgtEl>
                                          <p:spTgt spid="452"/>
                                        </p:tgtEl>
                                        <p:attrNameLst>
                                          <p:attrName>style.visibility</p:attrName>
                                        </p:attrNameLst>
                                      </p:cBhvr>
                                      <p:to>
                                        <p:strVal val="visible"/>
                                      </p:to>
                                    </p:set>
                                    <p:animEffect transition="in" filter="fade">
                                      <p:cBhvr>
                                        <p:cTn id="706" dur="500"/>
                                        <p:tgtEl>
                                          <p:spTgt spid="452"/>
                                        </p:tgtEl>
                                      </p:cBhvr>
                                    </p:animEffect>
                                  </p:childTnLst>
                                </p:cTn>
                              </p:par>
                              <p:par>
                                <p:cTn id="707" presetID="10" presetClass="entr" presetSubtype="0" fill="hold" nodeType="withEffect">
                                  <p:stCondLst>
                                    <p:cond delay="0"/>
                                  </p:stCondLst>
                                  <p:childTnLst>
                                    <p:set>
                                      <p:cBhvr>
                                        <p:cTn id="708" dur="1" fill="hold">
                                          <p:stCondLst>
                                            <p:cond delay="0"/>
                                          </p:stCondLst>
                                        </p:cTn>
                                        <p:tgtEl>
                                          <p:spTgt spid="455"/>
                                        </p:tgtEl>
                                        <p:attrNameLst>
                                          <p:attrName>style.visibility</p:attrName>
                                        </p:attrNameLst>
                                      </p:cBhvr>
                                      <p:to>
                                        <p:strVal val="visible"/>
                                      </p:to>
                                    </p:set>
                                    <p:animEffect transition="in" filter="fade">
                                      <p:cBhvr>
                                        <p:cTn id="709" dur="500"/>
                                        <p:tgtEl>
                                          <p:spTgt spid="455"/>
                                        </p:tgtEl>
                                      </p:cBhvr>
                                    </p:animEffect>
                                  </p:childTnLst>
                                </p:cTn>
                              </p:par>
                              <p:par>
                                <p:cTn id="710" presetID="10" presetClass="entr" presetSubtype="0" fill="hold" nodeType="withEffect">
                                  <p:stCondLst>
                                    <p:cond delay="0"/>
                                  </p:stCondLst>
                                  <p:childTnLst>
                                    <p:set>
                                      <p:cBhvr>
                                        <p:cTn id="711" dur="1" fill="hold">
                                          <p:stCondLst>
                                            <p:cond delay="0"/>
                                          </p:stCondLst>
                                        </p:cTn>
                                        <p:tgtEl>
                                          <p:spTgt spid="439"/>
                                        </p:tgtEl>
                                        <p:attrNameLst>
                                          <p:attrName>style.visibility</p:attrName>
                                        </p:attrNameLst>
                                      </p:cBhvr>
                                      <p:to>
                                        <p:strVal val="visible"/>
                                      </p:to>
                                    </p:set>
                                    <p:animEffect transition="in" filter="fade">
                                      <p:cBhvr>
                                        <p:cTn id="712" dur="500"/>
                                        <p:tgtEl>
                                          <p:spTgt spid="439"/>
                                        </p:tgtEl>
                                      </p:cBhvr>
                                    </p:animEffect>
                                  </p:childTnLst>
                                </p:cTn>
                              </p:par>
                              <p:par>
                                <p:cTn id="713" presetID="10" presetClass="entr" presetSubtype="0" fill="hold" nodeType="withEffect">
                                  <p:stCondLst>
                                    <p:cond delay="0"/>
                                  </p:stCondLst>
                                  <p:childTnLst>
                                    <p:set>
                                      <p:cBhvr>
                                        <p:cTn id="714" dur="1" fill="hold">
                                          <p:stCondLst>
                                            <p:cond delay="0"/>
                                          </p:stCondLst>
                                        </p:cTn>
                                        <p:tgtEl>
                                          <p:spTgt spid="436"/>
                                        </p:tgtEl>
                                        <p:attrNameLst>
                                          <p:attrName>style.visibility</p:attrName>
                                        </p:attrNameLst>
                                      </p:cBhvr>
                                      <p:to>
                                        <p:strVal val="visible"/>
                                      </p:to>
                                    </p:set>
                                    <p:animEffect transition="in" filter="fade">
                                      <p:cBhvr>
                                        <p:cTn id="715" dur="500"/>
                                        <p:tgtEl>
                                          <p:spTgt spid="436"/>
                                        </p:tgtEl>
                                      </p:cBhvr>
                                    </p:animEffect>
                                  </p:childTnLst>
                                </p:cTn>
                              </p:par>
                              <p:par>
                                <p:cTn id="716" presetID="10" presetClass="entr" presetSubtype="0" fill="hold" nodeType="withEffect">
                                  <p:stCondLst>
                                    <p:cond delay="0"/>
                                  </p:stCondLst>
                                  <p:childTnLst>
                                    <p:set>
                                      <p:cBhvr>
                                        <p:cTn id="717" dur="1" fill="hold">
                                          <p:stCondLst>
                                            <p:cond delay="0"/>
                                          </p:stCondLst>
                                        </p:cTn>
                                        <p:tgtEl>
                                          <p:spTgt spid="432"/>
                                        </p:tgtEl>
                                        <p:attrNameLst>
                                          <p:attrName>style.visibility</p:attrName>
                                        </p:attrNameLst>
                                      </p:cBhvr>
                                      <p:to>
                                        <p:strVal val="visible"/>
                                      </p:to>
                                    </p:set>
                                    <p:animEffect transition="in" filter="fade">
                                      <p:cBhvr>
                                        <p:cTn id="718" dur="500"/>
                                        <p:tgtEl>
                                          <p:spTgt spid="432"/>
                                        </p:tgtEl>
                                      </p:cBhvr>
                                    </p:animEffect>
                                  </p:childTnLst>
                                </p:cTn>
                              </p:par>
                              <p:par>
                                <p:cTn id="719" presetID="10" presetClass="entr" presetSubtype="0" fill="hold" nodeType="withEffect">
                                  <p:stCondLst>
                                    <p:cond delay="0"/>
                                  </p:stCondLst>
                                  <p:childTnLst>
                                    <p:set>
                                      <p:cBhvr>
                                        <p:cTn id="720" dur="1" fill="hold">
                                          <p:stCondLst>
                                            <p:cond delay="0"/>
                                          </p:stCondLst>
                                        </p:cTn>
                                        <p:tgtEl>
                                          <p:spTgt spid="429"/>
                                        </p:tgtEl>
                                        <p:attrNameLst>
                                          <p:attrName>style.visibility</p:attrName>
                                        </p:attrNameLst>
                                      </p:cBhvr>
                                      <p:to>
                                        <p:strVal val="visible"/>
                                      </p:to>
                                    </p:set>
                                    <p:animEffect transition="in" filter="fade">
                                      <p:cBhvr>
                                        <p:cTn id="721" dur="500"/>
                                        <p:tgtEl>
                                          <p:spTgt spid="429"/>
                                        </p:tgtEl>
                                      </p:cBhvr>
                                    </p:animEffect>
                                  </p:childTnLst>
                                </p:cTn>
                              </p:par>
                              <p:par>
                                <p:cTn id="722" presetID="10" presetClass="entr" presetSubtype="0" fill="hold" nodeType="withEffect">
                                  <p:stCondLst>
                                    <p:cond delay="0"/>
                                  </p:stCondLst>
                                  <p:childTnLst>
                                    <p:set>
                                      <p:cBhvr>
                                        <p:cTn id="723" dur="1" fill="hold">
                                          <p:stCondLst>
                                            <p:cond delay="0"/>
                                          </p:stCondLst>
                                        </p:cTn>
                                        <p:tgtEl>
                                          <p:spTgt spid="1464"/>
                                        </p:tgtEl>
                                        <p:attrNameLst>
                                          <p:attrName>style.visibility</p:attrName>
                                        </p:attrNameLst>
                                      </p:cBhvr>
                                      <p:to>
                                        <p:strVal val="visible"/>
                                      </p:to>
                                    </p:set>
                                    <p:animEffect transition="in" filter="fade">
                                      <p:cBhvr>
                                        <p:cTn id="724" dur="500"/>
                                        <p:tgtEl>
                                          <p:spTgt spid="1464"/>
                                        </p:tgtEl>
                                      </p:cBhvr>
                                    </p:animEffect>
                                  </p:childTnLst>
                                </p:cTn>
                              </p:par>
                            </p:childTnLst>
                          </p:cTn>
                        </p:par>
                        <p:par>
                          <p:cTn id="725" fill="hold">
                            <p:stCondLst>
                              <p:cond delay="500"/>
                            </p:stCondLst>
                            <p:childTnLst>
                              <p:par>
                                <p:cTn id="726" presetID="10" presetClass="exit" presetSubtype="0" fill="hold" nodeType="afterEffect">
                                  <p:stCondLst>
                                    <p:cond delay="0"/>
                                  </p:stCondLst>
                                  <p:childTnLst>
                                    <p:animEffect transition="out" filter="fade">
                                      <p:cBhvr>
                                        <p:cTn id="727" dur="500"/>
                                        <p:tgtEl>
                                          <p:spTgt spid="385"/>
                                        </p:tgtEl>
                                      </p:cBhvr>
                                    </p:animEffect>
                                    <p:set>
                                      <p:cBhvr>
                                        <p:cTn id="728" dur="1" fill="hold">
                                          <p:stCondLst>
                                            <p:cond delay="499"/>
                                          </p:stCondLst>
                                        </p:cTn>
                                        <p:tgtEl>
                                          <p:spTgt spid="385"/>
                                        </p:tgtEl>
                                        <p:attrNameLst>
                                          <p:attrName>style.visibility</p:attrName>
                                        </p:attrNameLst>
                                      </p:cBhvr>
                                      <p:to>
                                        <p:strVal val="hidden"/>
                                      </p:to>
                                    </p:set>
                                  </p:childTnLst>
                                </p:cTn>
                              </p:par>
                              <p:par>
                                <p:cTn id="729" presetID="10" presetClass="exit" presetSubtype="0" fill="hold" nodeType="withEffect">
                                  <p:stCondLst>
                                    <p:cond delay="0"/>
                                  </p:stCondLst>
                                  <p:childTnLst>
                                    <p:animEffect transition="out" filter="fade">
                                      <p:cBhvr>
                                        <p:cTn id="730" dur="500"/>
                                        <p:tgtEl>
                                          <p:spTgt spid="388"/>
                                        </p:tgtEl>
                                      </p:cBhvr>
                                    </p:animEffect>
                                    <p:set>
                                      <p:cBhvr>
                                        <p:cTn id="731" dur="1" fill="hold">
                                          <p:stCondLst>
                                            <p:cond delay="499"/>
                                          </p:stCondLst>
                                        </p:cTn>
                                        <p:tgtEl>
                                          <p:spTgt spid="388"/>
                                        </p:tgtEl>
                                        <p:attrNameLst>
                                          <p:attrName>style.visibility</p:attrName>
                                        </p:attrNameLst>
                                      </p:cBhvr>
                                      <p:to>
                                        <p:strVal val="hidden"/>
                                      </p:to>
                                    </p:set>
                                  </p:childTnLst>
                                </p:cTn>
                              </p:par>
                              <p:par>
                                <p:cTn id="732" presetID="10" presetClass="exit" presetSubtype="0" fill="hold" nodeType="withEffect">
                                  <p:stCondLst>
                                    <p:cond delay="0"/>
                                  </p:stCondLst>
                                  <p:childTnLst>
                                    <p:animEffect transition="out" filter="fade">
                                      <p:cBhvr>
                                        <p:cTn id="733" dur="500"/>
                                        <p:tgtEl>
                                          <p:spTgt spid="391"/>
                                        </p:tgtEl>
                                      </p:cBhvr>
                                    </p:animEffect>
                                    <p:set>
                                      <p:cBhvr>
                                        <p:cTn id="734" dur="1" fill="hold">
                                          <p:stCondLst>
                                            <p:cond delay="499"/>
                                          </p:stCondLst>
                                        </p:cTn>
                                        <p:tgtEl>
                                          <p:spTgt spid="391"/>
                                        </p:tgtEl>
                                        <p:attrNameLst>
                                          <p:attrName>style.visibility</p:attrName>
                                        </p:attrNameLst>
                                      </p:cBhvr>
                                      <p:to>
                                        <p:strVal val="hidden"/>
                                      </p:to>
                                    </p:set>
                                  </p:childTnLst>
                                </p:cTn>
                              </p:par>
                              <p:par>
                                <p:cTn id="735" presetID="10" presetClass="exit" presetSubtype="0" fill="hold" nodeType="withEffect">
                                  <p:stCondLst>
                                    <p:cond delay="0"/>
                                  </p:stCondLst>
                                  <p:childTnLst>
                                    <p:animEffect transition="out" filter="fade">
                                      <p:cBhvr>
                                        <p:cTn id="736" dur="500"/>
                                        <p:tgtEl>
                                          <p:spTgt spid="394"/>
                                        </p:tgtEl>
                                      </p:cBhvr>
                                    </p:animEffect>
                                    <p:set>
                                      <p:cBhvr>
                                        <p:cTn id="737" dur="1" fill="hold">
                                          <p:stCondLst>
                                            <p:cond delay="499"/>
                                          </p:stCondLst>
                                        </p:cTn>
                                        <p:tgtEl>
                                          <p:spTgt spid="394"/>
                                        </p:tgtEl>
                                        <p:attrNameLst>
                                          <p:attrName>style.visibility</p:attrName>
                                        </p:attrNameLst>
                                      </p:cBhvr>
                                      <p:to>
                                        <p:strVal val="hidden"/>
                                      </p:to>
                                    </p:set>
                                  </p:childTnLst>
                                </p:cTn>
                              </p:par>
                              <p:par>
                                <p:cTn id="738" presetID="10" presetClass="exit" presetSubtype="0" fill="hold" nodeType="withEffect">
                                  <p:stCondLst>
                                    <p:cond delay="0"/>
                                  </p:stCondLst>
                                  <p:childTnLst>
                                    <p:animEffect transition="out" filter="fade">
                                      <p:cBhvr>
                                        <p:cTn id="739" dur="500"/>
                                        <p:tgtEl>
                                          <p:spTgt spid="397"/>
                                        </p:tgtEl>
                                      </p:cBhvr>
                                    </p:animEffect>
                                    <p:set>
                                      <p:cBhvr>
                                        <p:cTn id="740" dur="1" fill="hold">
                                          <p:stCondLst>
                                            <p:cond delay="499"/>
                                          </p:stCondLst>
                                        </p:cTn>
                                        <p:tgtEl>
                                          <p:spTgt spid="397"/>
                                        </p:tgtEl>
                                        <p:attrNameLst>
                                          <p:attrName>style.visibility</p:attrName>
                                        </p:attrNameLst>
                                      </p:cBhvr>
                                      <p:to>
                                        <p:strVal val="hidden"/>
                                      </p:to>
                                    </p:set>
                                  </p:childTnLst>
                                </p:cTn>
                              </p:par>
                              <p:par>
                                <p:cTn id="741" presetID="10" presetClass="exit" presetSubtype="0" fill="hold" nodeType="withEffect">
                                  <p:stCondLst>
                                    <p:cond delay="0"/>
                                  </p:stCondLst>
                                  <p:childTnLst>
                                    <p:animEffect transition="out" filter="fade">
                                      <p:cBhvr>
                                        <p:cTn id="742" dur="500"/>
                                        <p:tgtEl>
                                          <p:spTgt spid="400"/>
                                        </p:tgtEl>
                                      </p:cBhvr>
                                    </p:animEffect>
                                    <p:set>
                                      <p:cBhvr>
                                        <p:cTn id="743" dur="1" fill="hold">
                                          <p:stCondLst>
                                            <p:cond delay="499"/>
                                          </p:stCondLst>
                                        </p:cTn>
                                        <p:tgtEl>
                                          <p:spTgt spid="400"/>
                                        </p:tgtEl>
                                        <p:attrNameLst>
                                          <p:attrName>style.visibility</p:attrName>
                                        </p:attrNameLst>
                                      </p:cBhvr>
                                      <p:to>
                                        <p:strVal val="hidden"/>
                                      </p:to>
                                    </p:set>
                                  </p:childTnLst>
                                </p:cTn>
                              </p:par>
                              <p:par>
                                <p:cTn id="744" presetID="10" presetClass="exit" presetSubtype="0" fill="hold" nodeType="withEffect">
                                  <p:stCondLst>
                                    <p:cond delay="0"/>
                                  </p:stCondLst>
                                  <p:childTnLst>
                                    <p:animEffect transition="out" filter="fade">
                                      <p:cBhvr>
                                        <p:cTn id="745" dur="500"/>
                                        <p:tgtEl>
                                          <p:spTgt spid="403"/>
                                        </p:tgtEl>
                                      </p:cBhvr>
                                    </p:animEffect>
                                    <p:set>
                                      <p:cBhvr>
                                        <p:cTn id="746" dur="1" fill="hold">
                                          <p:stCondLst>
                                            <p:cond delay="499"/>
                                          </p:stCondLst>
                                        </p:cTn>
                                        <p:tgtEl>
                                          <p:spTgt spid="403"/>
                                        </p:tgtEl>
                                        <p:attrNameLst>
                                          <p:attrName>style.visibility</p:attrName>
                                        </p:attrNameLst>
                                      </p:cBhvr>
                                      <p:to>
                                        <p:strVal val="hidden"/>
                                      </p:to>
                                    </p:set>
                                  </p:childTnLst>
                                </p:cTn>
                              </p:par>
                              <p:par>
                                <p:cTn id="747" presetID="10" presetClass="exit" presetSubtype="0" fill="hold" nodeType="withEffect">
                                  <p:stCondLst>
                                    <p:cond delay="0"/>
                                  </p:stCondLst>
                                  <p:childTnLst>
                                    <p:animEffect transition="out" filter="fade">
                                      <p:cBhvr>
                                        <p:cTn id="748" dur="500"/>
                                        <p:tgtEl>
                                          <p:spTgt spid="406"/>
                                        </p:tgtEl>
                                      </p:cBhvr>
                                    </p:animEffect>
                                    <p:set>
                                      <p:cBhvr>
                                        <p:cTn id="749" dur="1" fill="hold">
                                          <p:stCondLst>
                                            <p:cond delay="499"/>
                                          </p:stCondLst>
                                        </p:cTn>
                                        <p:tgtEl>
                                          <p:spTgt spid="406"/>
                                        </p:tgtEl>
                                        <p:attrNameLst>
                                          <p:attrName>style.visibility</p:attrName>
                                        </p:attrNameLst>
                                      </p:cBhvr>
                                      <p:to>
                                        <p:strVal val="hidden"/>
                                      </p:to>
                                    </p:set>
                                  </p:childTnLst>
                                </p:cTn>
                              </p:par>
                              <p:par>
                                <p:cTn id="750" presetID="10" presetClass="exit" presetSubtype="0" fill="hold" nodeType="withEffect">
                                  <p:stCondLst>
                                    <p:cond delay="0"/>
                                  </p:stCondLst>
                                  <p:childTnLst>
                                    <p:animEffect transition="out" filter="fade">
                                      <p:cBhvr>
                                        <p:cTn id="751" dur="500"/>
                                        <p:tgtEl>
                                          <p:spTgt spid="409"/>
                                        </p:tgtEl>
                                      </p:cBhvr>
                                    </p:animEffect>
                                    <p:set>
                                      <p:cBhvr>
                                        <p:cTn id="752" dur="1" fill="hold">
                                          <p:stCondLst>
                                            <p:cond delay="499"/>
                                          </p:stCondLst>
                                        </p:cTn>
                                        <p:tgtEl>
                                          <p:spTgt spid="409"/>
                                        </p:tgtEl>
                                        <p:attrNameLst>
                                          <p:attrName>style.visibility</p:attrName>
                                        </p:attrNameLst>
                                      </p:cBhvr>
                                      <p:to>
                                        <p:strVal val="hidden"/>
                                      </p:to>
                                    </p:set>
                                  </p:childTnLst>
                                </p:cTn>
                              </p:par>
                              <p:par>
                                <p:cTn id="753" presetID="10" presetClass="exit" presetSubtype="0" fill="hold" nodeType="withEffect">
                                  <p:stCondLst>
                                    <p:cond delay="0"/>
                                  </p:stCondLst>
                                  <p:childTnLst>
                                    <p:animEffect transition="out" filter="fade">
                                      <p:cBhvr>
                                        <p:cTn id="754" dur="500"/>
                                        <p:tgtEl>
                                          <p:spTgt spid="1401"/>
                                        </p:tgtEl>
                                      </p:cBhvr>
                                    </p:animEffect>
                                    <p:set>
                                      <p:cBhvr>
                                        <p:cTn id="755" dur="1" fill="hold">
                                          <p:stCondLst>
                                            <p:cond delay="499"/>
                                          </p:stCondLst>
                                        </p:cTn>
                                        <p:tgtEl>
                                          <p:spTgt spid="1401"/>
                                        </p:tgtEl>
                                        <p:attrNameLst>
                                          <p:attrName>style.visibility</p:attrName>
                                        </p:attrNameLst>
                                      </p:cBhvr>
                                      <p:to>
                                        <p:strVal val="hidden"/>
                                      </p:to>
                                    </p:set>
                                  </p:childTnLst>
                                </p:cTn>
                              </p:par>
                            </p:childTnLst>
                          </p:cTn>
                        </p:par>
                        <p:par>
                          <p:cTn id="756" fill="hold">
                            <p:stCondLst>
                              <p:cond delay="1000"/>
                            </p:stCondLst>
                            <p:childTnLst>
                              <p:par>
                                <p:cTn id="757" presetID="42" presetClass="path" presetSubtype="0" accel="50000" decel="50000" fill="hold" nodeType="afterEffect">
                                  <p:stCondLst>
                                    <p:cond delay="0"/>
                                  </p:stCondLst>
                                  <p:childTnLst>
                                    <p:animMotion origin="layout" path="M -2.29167E-6 -1.48148E-6 L 0.24545 0.10394 " pathEditMode="relative" rAng="0" ptsTypes="AA">
                                      <p:cBhvr>
                                        <p:cTn id="758" dur="2000" fill="hold"/>
                                        <p:tgtEl>
                                          <p:spTgt spid="443"/>
                                        </p:tgtEl>
                                        <p:attrNameLst>
                                          <p:attrName>ppt_x</p:attrName>
                                          <p:attrName>ppt_y</p:attrName>
                                        </p:attrNameLst>
                                      </p:cBhvr>
                                      <p:rCtr x="12266" y="5185"/>
                                    </p:animMotion>
                                  </p:childTnLst>
                                </p:cTn>
                              </p:par>
                              <p:par>
                                <p:cTn id="759" presetID="42" presetClass="path" presetSubtype="0" accel="50000" decel="50000" fill="hold" nodeType="withEffect">
                                  <p:stCondLst>
                                    <p:cond delay="0"/>
                                  </p:stCondLst>
                                  <p:childTnLst>
                                    <p:animMotion origin="layout" path="M -2.29167E-6 2.22222E-6 L 0.23021 0.28125 " pathEditMode="relative" rAng="0" ptsTypes="AA">
                                      <p:cBhvr>
                                        <p:cTn id="760" dur="2000" fill="hold"/>
                                        <p:tgtEl>
                                          <p:spTgt spid="446"/>
                                        </p:tgtEl>
                                        <p:attrNameLst>
                                          <p:attrName>ppt_x</p:attrName>
                                          <p:attrName>ppt_y</p:attrName>
                                        </p:attrNameLst>
                                      </p:cBhvr>
                                      <p:rCtr x="11510" y="14051"/>
                                    </p:animMotion>
                                  </p:childTnLst>
                                </p:cTn>
                              </p:par>
                              <p:par>
                                <p:cTn id="761" presetID="42" presetClass="path" presetSubtype="0" accel="50000" decel="50000" fill="hold" nodeType="withEffect">
                                  <p:stCondLst>
                                    <p:cond delay="0"/>
                                  </p:stCondLst>
                                  <p:childTnLst>
                                    <p:animMotion origin="layout" path="M -2.29167E-6 -4.07407E-6 L 0.25599 0.00996 " pathEditMode="relative" rAng="0" ptsTypes="AA">
                                      <p:cBhvr>
                                        <p:cTn id="762" dur="2000" fill="hold"/>
                                        <p:tgtEl>
                                          <p:spTgt spid="449"/>
                                        </p:tgtEl>
                                        <p:attrNameLst>
                                          <p:attrName>ppt_x</p:attrName>
                                          <p:attrName>ppt_y</p:attrName>
                                        </p:attrNameLst>
                                      </p:cBhvr>
                                      <p:rCtr x="12799" y="486"/>
                                    </p:animMotion>
                                  </p:childTnLst>
                                </p:cTn>
                              </p:par>
                              <p:par>
                                <p:cTn id="763" presetID="42" presetClass="path" presetSubtype="0" accel="50000" decel="50000" fill="hold" nodeType="withEffect">
                                  <p:stCondLst>
                                    <p:cond delay="0"/>
                                  </p:stCondLst>
                                  <p:childTnLst>
                                    <p:animMotion origin="layout" path="M -2.29167E-6 -1.85185E-6 L 0.18854 -0.20509 " pathEditMode="relative" rAng="0" ptsTypes="AA">
                                      <p:cBhvr>
                                        <p:cTn id="764" dur="2000" fill="hold"/>
                                        <p:tgtEl>
                                          <p:spTgt spid="452"/>
                                        </p:tgtEl>
                                        <p:attrNameLst>
                                          <p:attrName>ppt_x</p:attrName>
                                          <p:attrName>ppt_y</p:attrName>
                                        </p:attrNameLst>
                                      </p:cBhvr>
                                      <p:rCtr x="9427" y="-10255"/>
                                    </p:animMotion>
                                  </p:childTnLst>
                                </p:cTn>
                              </p:par>
                              <p:par>
                                <p:cTn id="765" presetID="42" presetClass="path" presetSubtype="0" accel="50000" decel="50000" fill="hold" nodeType="withEffect">
                                  <p:stCondLst>
                                    <p:cond delay="0"/>
                                  </p:stCondLst>
                                  <p:childTnLst>
                                    <p:animMotion origin="layout" path="M -2.29167E-6 1.85185E-6 L 0.24505 -0.40579 " pathEditMode="relative" rAng="0" ptsTypes="AA">
                                      <p:cBhvr>
                                        <p:cTn id="766" dur="2000" fill="hold"/>
                                        <p:tgtEl>
                                          <p:spTgt spid="455"/>
                                        </p:tgtEl>
                                        <p:attrNameLst>
                                          <p:attrName>ppt_x</p:attrName>
                                          <p:attrName>ppt_y</p:attrName>
                                        </p:attrNameLst>
                                      </p:cBhvr>
                                      <p:rCtr x="12253" y="-20301"/>
                                    </p:animMotion>
                                  </p:childTnLst>
                                </p:cTn>
                              </p:par>
                              <p:par>
                                <p:cTn id="767" presetID="42" presetClass="path" presetSubtype="0" accel="50000" decel="50000" fill="hold" nodeType="withEffect">
                                  <p:stCondLst>
                                    <p:cond delay="0"/>
                                  </p:stCondLst>
                                  <p:childTnLst>
                                    <p:animMotion origin="layout" path="M 5E-6 1.85185E-6 L 0.31211 -0.40579 " pathEditMode="relative" rAng="0" ptsTypes="AA">
                                      <p:cBhvr>
                                        <p:cTn id="768" dur="2000" fill="hold"/>
                                        <p:tgtEl>
                                          <p:spTgt spid="439"/>
                                        </p:tgtEl>
                                        <p:attrNameLst>
                                          <p:attrName>ppt_x</p:attrName>
                                          <p:attrName>ppt_y</p:attrName>
                                        </p:attrNameLst>
                                      </p:cBhvr>
                                      <p:rCtr x="15599" y="-20301"/>
                                    </p:animMotion>
                                  </p:childTnLst>
                                </p:cTn>
                              </p:par>
                              <p:par>
                                <p:cTn id="769" presetID="42" presetClass="path" presetSubtype="0" accel="50000" decel="50000" fill="hold" nodeType="withEffect">
                                  <p:stCondLst>
                                    <p:cond delay="0"/>
                                  </p:stCondLst>
                                  <p:childTnLst>
                                    <p:animMotion origin="layout" path="M 5E-6 -1.85185E-6 L 0.32266 -0.09282 " pathEditMode="relative" rAng="0" ptsTypes="AA">
                                      <p:cBhvr>
                                        <p:cTn id="770" dur="2000" fill="hold"/>
                                        <p:tgtEl>
                                          <p:spTgt spid="436"/>
                                        </p:tgtEl>
                                        <p:attrNameLst>
                                          <p:attrName>ppt_x</p:attrName>
                                          <p:attrName>ppt_y</p:attrName>
                                        </p:attrNameLst>
                                      </p:cBhvr>
                                      <p:rCtr x="16133" y="-4653"/>
                                    </p:animMotion>
                                  </p:childTnLst>
                                </p:cTn>
                              </p:par>
                              <p:par>
                                <p:cTn id="771" presetID="42" presetClass="path" presetSubtype="0" accel="50000" decel="50000" fill="hold" nodeType="withEffect">
                                  <p:stCondLst>
                                    <p:cond delay="0"/>
                                  </p:stCondLst>
                                  <p:childTnLst>
                                    <p:animMotion origin="layout" path="M 5E-6 -4.07407E-6 L 0.4254 -0.19976 " pathEditMode="relative" rAng="0" ptsTypes="AA">
                                      <p:cBhvr>
                                        <p:cTn id="772" dur="2000" fill="hold"/>
                                        <p:tgtEl>
                                          <p:spTgt spid="432"/>
                                        </p:tgtEl>
                                        <p:attrNameLst>
                                          <p:attrName>ppt_x</p:attrName>
                                          <p:attrName>ppt_y</p:attrName>
                                        </p:attrNameLst>
                                      </p:cBhvr>
                                      <p:rCtr x="21263" y="-10000"/>
                                    </p:animMotion>
                                  </p:childTnLst>
                                </p:cTn>
                              </p:par>
                              <p:par>
                                <p:cTn id="773" presetID="42" presetClass="path" presetSubtype="0" accel="50000" decel="50000" fill="hold" nodeType="withEffect">
                                  <p:stCondLst>
                                    <p:cond delay="0"/>
                                  </p:stCondLst>
                                  <p:childTnLst>
                                    <p:animMotion origin="layout" path="M 5E-6 2.22222E-6 L 0.25743 -0.0007 " pathEditMode="relative" rAng="0" ptsTypes="AA">
                                      <p:cBhvr>
                                        <p:cTn id="774" dur="2000" fill="hold"/>
                                        <p:tgtEl>
                                          <p:spTgt spid="429"/>
                                        </p:tgtEl>
                                        <p:attrNameLst>
                                          <p:attrName>ppt_x</p:attrName>
                                          <p:attrName>ppt_y</p:attrName>
                                        </p:attrNameLst>
                                      </p:cBhvr>
                                      <p:rCtr x="12865" y="-46"/>
                                    </p:animMotion>
                                  </p:childTnLst>
                                </p:cTn>
                              </p:par>
                              <p:par>
                                <p:cTn id="775" presetID="42" presetClass="path" presetSubtype="0" accel="50000" decel="50000" fill="hold" nodeType="withEffect">
                                  <p:stCondLst>
                                    <p:cond delay="0"/>
                                  </p:stCondLst>
                                  <p:childTnLst>
                                    <p:animMotion origin="layout" path="M 5E-6 -1.48148E-6 L 0.42514 0.10162 " pathEditMode="relative" rAng="0" ptsTypes="AA">
                                      <p:cBhvr>
                                        <p:cTn id="776" dur="2000" fill="hold"/>
                                        <p:tgtEl>
                                          <p:spTgt spid="1464"/>
                                        </p:tgtEl>
                                        <p:attrNameLst>
                                          <p:attrName>ppt_x</p:attrName>
                                          <p:attrName>ppt_y</p:attrName>
                                        </p:attrNameLst>
                                      </p:cBhvr>
                                      <p:rCtr x="21250" y="5069"/>
                                    </p:animMotion>
                                  </p:childTnLst>
                                </p:cTn>
                              </p:par>
                            </p:childTnLst>
                          </p:cTn>
                        </p:par>
                        <p:par>
                          <p:cTn id="777" fill="hold">
                            <p:stCondLst>
                              <p:cond delay="3000"/>
                            </p:stCondLst>
                            <p:childTnLst>
                              <p:par>
                                <p:cTn id="778" presetID="10" presetClass="entr" presetSubtype="0" fill="hold" grpId="0" nodeType="afterEffect">
                                  <p:stCondLst>
                                    <p:cond delay="0"/>
                                  </p:stCondLst>
                                  <p:childTnLst>
                                    <p:set>
                                      <p:cBhvr>
                                        <p:cTn id="779" dur="1" fill="hold">
                                          <p:stCondLst>
                                            <p:cond delay="0"/>
                                          </p:stCondLst>
                                        </p:cTn>
                                        <p:tgtEl>
                                          <p:spTgt spid="441"/>
                                        </p:tgtEl>
                                        <p:attrNameLst>
                                          <p:attrName>style.visibility</p:attrName>
                                        </p:attrNameLst>
                                      </p:cBhvr>
                                      <p:to>
                                        <p:strVal val="visible"/>
                                      </p:to>
                                    </p:set>
                                    <p:animEffect transition="in" filter="fade">
                                      <p:cBhvr>
                                        <p:cTn id="780" dur="500"/>
                                        <p:tgtEl>
                                          <p:spTgt spid="441"/>
                                        </p:tgtEl>
                                      </p:cBhvr>
                                    </p:animEffect>
                                  </p:childTnLst>
                                </p:cTn>
                              </p:par>
                              <p:par>
                                <p:cTn id="781" presetID="10" presetClass="entr" presetSubtype="0" fill="hold" grpId="0" nodeType="withEffect">
                                  <p:stCondLst>
                                    <p:cond delay="0"/>
                                  </p:stCondLst>
                                  <p:childTnLst>
                                    <p:set>
                                      <p:cBhvr>
                                        <p:cTn id="782" dur="1" fill="hold">
                                          <p:stCondLst>
                                            <p:cond delay="0"/>
                                          </p:stCondLst>
                                        </p:cTn>
                                        <p:tgtEl>
                                          <p:spTgt spid="215"/>
                                        </p:tgtEl>
                                        <p:attrNameLst>
                                          <p:attrName>style.visibility</p:attrName>
                                        </p:attrNameLst>
                                      </p:cBhvr>
                                      <p:to>
                                        <p:strVal val="visible"/>
                                      </p:to>
                                    </p:set>
                                    <p:animEffect transition="in" filter="fade">
                                      <p:cBhvr>
                                        <p:cTn id="783" dur="500"/>
                                        <p:tgtEl>
                                          <p:spTgt spid="215"/>
                                        </p:tgtEl>
                                      </p:cBhvr>
                                    </p:animEffect>
                                  </p:childTnLst>
                                </p:cTn>
                              </p:par>
                              <p:par>
                                <p:cTn id="784" presetID="10" presetClass="entr" presetSubtype="0" fill="hold" grpId="0" nodeType="withEffect">
                                  <p:stCondLst>
                                    <p:cond delay="0"/>
                                  </p:stCondLst>
                                  <p:childTnLst>
                                    <p:set>
                                      <p:cBhvr>
                                        <p:cTn id="785" dur="1" fill="hold">
                                          <p:stCondLst>
                                            <p:cond delay="0"/>
                                          </p:stCondLst>
                                        </p:cTn>
                                        <p:tgtEl>
                                          <p:spTgt spid="216"/>
                                        </p:tgtEl>
                                        <p:attrNameLst>
                                          <p:attrName>style.visibility</p:attrName>
                                        </p:attrNameLst>
                                      </p:cBhvr>
                                      <p:to>
                                        <p:strVal val="visible"/>
                                      </p:to>
                                    </p:set>
                                    <p:animEffect transition="in" filter="fade">
                                      <p:cBhvr>
                                        <p:cTn id="786"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1" grpId="0"/>
      <p:bldP spid="215" grpId="0"/>
      <p:bldP spid="216" grpId="0"/>
      <p:bldP spid="1587" grpId="0" animBg="1"/>
      <p:bldP spid="11" grpId="0" animBg="1"/>
      <p:bldP spid="11" grpId="1" animBg="1"/>
      <p:bldP spid="11" grpId="2" animBg="1"/>
      <p:bldP spid="1720" grpId="0" animBg="1"/>
      <p:bldP spid="1721" grpId="0" animBg="1"/>
      <p:bldP spid="1721" grpId="1" animBg="1"/>
      <p:bldP spid="1721" grpId="2" animBg="1"/>
      <p:bldP spid="1722" grpId="0" animBg="1"/>
      <p:bldP spid="1723" grpId="0" animBg="1"/>
      <p:bldP spid="1723" grpId="1" animBg="1"/>
      <p:bldP spid="1723" grpId="2" animBg="1"/>
      <p:bldP spid="1724" grpId="0" animBg="1"/>
      <p:bldP spid="1725" grpId="0" animBg="1"/>
      <p:bldP spid="1725" grpId="1" animBg="1"/>
      <p:bldP spid="1725" grpId="2" animBg="1"/>
      <p:bldP spid="1726" grpId="0" animBg="1"/>
      <p:bldP spid="1727" grpId="0" animBg="1"/>
      <p:bldP spid="1727" grpId="1" animBg="1"/>
      <p:bldP spid="1727" grpId="2" animBg="1"/>
      <p:bldP spid="1728" grpId="0" animBg="1"/>
      <p:bldP spid="1729" grpId="0" animBg="1"/>
      <p:bldP spid="1729" grpId="1" animBg="1"/>
      <p:bldP spid="1729" grpId="2" animBg="1"/>
      <p:bldP spid="1730" grpId="0" animBg="1"/>
      <p:bldP spid="1731" grpId="0" animBg="1"/>
      <p:bldP spid="1731" grpId="1" animBg="1"/>
      <p:bldP spid="1731" grpId="2" animBg="1"/>
      <p:bldP spid="1732" grpId="0" animBg="1"/>
      <p:bldP spid="2291" grpId="0" animBg="1"/>
      <p:bldP spid="2291" grpId="1" animBg="1"/>
      <p:bldP spid="2291" grpId="2" animBg="1"/>
      <p:bldP spid="2292" grpId="0" animBg="1"/>
      <p:bldP spid="2293" grpId="0" animBg="1"/>
      <p:bldP spid="2293" grpId="1" animBg="1"/>
      <p:bldP spid="2293" grpId="2" animBg="1"/>
      <p:bldP spid="2294" grpId="0" animBg="1"/>
      <p:bldP spid="2295" grpId="0" animBg="1"/>
      <p:bldP spid="2295" grpId="1" animBg="1"/>
      <p:bldP spid="2295" grpId="2" animBg="1"/>
      <p:bldP spid="2296" grpId="0" animBg="1"/>
      <p:bldP spid="2297" grpId="0" animBg="1"/>
      <p:bldP spid="2297" grpId="1" animBg="1"/>
      <p:bldP spid="2297" grpId="2" animBg="1"/>
      <p:bldP spid="2298" grpId="0" animBg="1"/>
      <p:bldP spid="2338" grpId="0" animBg="1"/>
      <p:bldP spid="2338" grpId="1" animBg="1"/>
      <p:bldP spid="2338" grpId="2" animBg="1"/>
      <p:bldP spid="2339" grpId="0" animBg="1"/>
      <p:bldP spid="2340" grpId="0" animBg="1"/>
      <p:bldP spid="2340" grpId="1" animBg="1"/>
      <p:bldP spid="2340" grpId="2" animBg="1"/>
      <p:bldP spid="2341" grpId="0" animBg="1"/>
      <p:bldP spid="2342" grpId="0" animBg="1"/>
      <p:bldP spid="2342" grpId="1" animBg="1"/>
      <p:bldP spid="2342" grpId="2" animBg="1"/>
      <p:bldP spid="2343" grpId="0" animBg="1"/>
      <p:bldP spid="2344" grpId="0" animBg="1"/>
      <p:bldP spid="2344" grpId="1" animBg="1"/>
      <p:bldP spid="2344" grpId="2" animBg="1"/>
      <p:bldP spid="2345" grpId="0" animBg="1"/>
      <p:bldP spid="2346" grpId="0" animBg="1"/>
      <p:bldP spid="2346" grpId="1" animBg="1"/>
      <p:bldP spid="2346" grpId="2" animBg="1"/>
      <p:bldP spid="2347" grpId="0" animBg="1"/>
      <p:bldP spid="2348" grpId="0" animBg="1"/>
      <p:bldP spid="2348" grpId="1" animBg="1"/>
      <p:bldP spid="2348" grpId="2" animBg="1"/>
      <p:bldP spid="2349" grpId="0" animBg="1"/>
      <p:bldP spid="2350" grpId="0" animBg="1"/>
      <p:bldP spid="2350" grpId="1" animBg="1"/>
      <p:bldP spid="2350" grpId="2" animBg="1"/>
      <p:bldP spid="2351" grpId="0" animBg="1"/>
      <p:bldP spid="2352" grpId="0" animBg="1"/>
      <p:bldP spid="2352" grpId="1" animBg="1"/>
      <p:bldP spid="2352" grpId="2" animBg="1"/>
      <p:bldP spid="2353" grpId="0" animBg="1"/>
      <p:bldP spid="2354" grpId="0" animBg="1"/>
      <p:bldP spid="2354" grpId="1" animBg="1"/>
      <p:bldP spid="2354" grpId="2" animBg="1"/>
      <p:bldP spid="2355" grpId="0" animBg="1"/>
      <p:bldP spid="2356" grpId="0" animBg="1"/>
      <p:bldP spid="2356" grpId="1" animBg="1"/>
      <p:bldP spid="2356" grpId="2" animBg="1"/>
      <p:bldP spid="2357" grpId="0" animBg="1"/>
      <p:bldP spid="2358" grpId="0" animBg="1"/>
      <p:bldP spid="2358" grpId="1" animBg="1"/>
      <p:bldP spid="2358" grpId="2" animBg="1"/>
      <p:bldP spid="2359" grpId="0" animBg="1"/>
      <p:bldP spid="2360" grpId="0" animBg="1"/>
      <p:bldP spid="2360" grpId="1" animBg="1"/>
      <p:bldP spid="2360" grpId="2" animBg="1"/>
      <p:bldP spid="2361" grpId="0" animBg="1"/>
      <p:bldP spid="2362" grpId="0" animBg="1"/>
      <p:bldP spid="2362" grpId="1" animBg="1"/>
      <p:bldP spid="2362" grpId="2" animBg="1"/>
      <p:bldP spid="2363" grpId="0" animBg="1"/>
      <p:bldP spid="2364" grpId="0" animBg="1"/>
      <p:bldP spid="2364" grpId="1" animBg="1"/>
      <p:bldP spid="2364" grpId="2" animBg="1"/>
      <p:bldP spid="2365" grpId="0" animBg="1"/>
      <p:bldP spid="2366" grpId="0" animBg="1"/>
      <p:bldP spid="2366" grpId="1" animBg="1"/>
      <p:bldP spid="2366" grpId="2" animBg="1"/>
      <p:bldP spid="2367" grpId="0" animBg="1"/>
      <p:bldP spid="2368" grpId="0" animBg="1"/>
      <p:bldP spid="2368" grpId="1" animBg="1"/>
      <p:bldP spid="2368" grpId="2" animBg="1"/>
      <p:bldP spid="2369" grpId="0" animBg="1"/>
      <p:bldP spid="2370" grpId="0" animBg="1"/>
      <p:bldP spid="2370" grpId="1" animBg="1"/>
      <p:bldP spid="2370" grpId="2" animBg="1"/>
      <p:bldP spid="2371" grpId="0" animBg="1"/>
      <p:bldP spid="2372" grpId="0" animBg="1"/>
      <p:bldP spid="2372" grpId="1" animBg="1"/>
      <p:bldP spid="2372" grpId="2" animBg="1"/>
      <p:bldP spid="2373" grpId="0" animBg="1"/>
      <p:bldP spid="2374" grpId="0" animBg="1"/>
      <p:bldP spid="2374" grpId="1" animBg="1"/>
      <p:bldP spid="2374" grpId="2" animBg="1"/>
      <p:bldP spid="2375" grpId="0" animBg="1"/>
      <p:bldP spid="2376" grpId="0" animBg="1"/>
      <p:bldP spid="2376" grpId="1" animBg="1"/>
      <p:bldP spid="2376" grpId="2" animBg="1"/>
      <p:bldP spid="2377" grpId="0" animBg="1"/>
      <p:bldP spid="2378" grpId="0" animBg="1"/>
      <p:bldP spid="2378" grpId="1" animBg="1"/>
      <p:bldP spid="2378" grpId="2" animBg="1"/>
      <p:bldP spid="2379" grpId="0" animBg="1"/>
      <p:bldP spid="2380" grpId="0" animBg="1"/>
      <p:bldP spid="2380" grpId="1" animBg="1"/>
      <p:bldP spid="2380" grpId="2" animBg="1"/>
      <p:bldP spid="2381" grpId="0" animBg="1"/>
      <p:bldP spid="2382" grpId="0" animBg="1"/>
      <p:bldP spid="2382" grpId="1" animBg="1"/>
      <p:bldP spid="2382" grpId="2" animBg="1"/>
      <p:bldP spid="2383" grpId="0" animBg="1"/>
      <p:bldP spid="2384" grpId="0" animBg="1"/>
      <p:bldP spid="2384" grpId="1" animBg="1"/>
      <p:bldP spid="2384" grpId="2" animBg="1"/>
      <p:bldP spid="2385" grpId="0" animBg="1"/>
      <p:bldP spid="2386" grpId="0" animBg="1"/>
      <p:bldP spid="2386" grpId="1" animBg="1"/>
      <p:bldP spid="2386" grpId="2" animBg="1"/>
      <p:bldP spid="2387" grpId="0" animBg="1"/>
      <p:bldP spid="2388" grpId="0" animBg="1"/>
      <p:bldP spid="2388" grpId="1" animBg="1"/>
      <p:bldP spid="2388" grpId="2" animBg="1"/>
      <p:bldP spid="2389" grpId="0" animBg="1"/>
      <p:bldP spid="2390" grpId="0" animBg="1"/>
      <p:bldP spid="2390" grpId="1" animBg="1"/>
      <p:bldP spid="2390" grpId="2" animBg="1"/>
      <p:bldP spid="2391" grpId="0" animBg="1"/>
      <p:bldP spid="2392" grpId="0" animBg="1"/>
      <p:bldP spid="2392" grpId="1" animBg="1"/>
      <p:bldP spid="2392" grpId="2" animBg="1"/>
      <p:bldP spid="2393" grpId="0" animBg="1"/>
      <p:bldP spid="2394" grpId="0" animBg="1"/>
      <p:bldP spid="2394" grpId="1" animBg="1"/>
      <p:bldP spid="2394" grpId="2"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MP For Endpoints Integration with CTA</a:t>
            </a:r>
            <a:endParaRPr lang="en-US" dirty="0"/>
          </a:p>
        </p:txBody>
      </p:sp>
    </p:spTree>
    <p:extLst>
      <p:ext uri="{BB962C8B-B14F-4D97-AF65-F5344CB8AC3E}">
        <p14:creationId xmlns:p14="http://schemas.microsoft.com/office/powerpoint/2010/main" val="1919954263"/>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altLang="ja-JP" dirty="0" smtClean="0"/>
              <a:t>CTA</a:t>
            </a:r>
            <a:r>
              <a:rPr lang="ja-JP" altLang="en-US" dirty="0" smtClean="0"/>
              <a:t>と</a:t>
            </a:r>
            <a:r>
              <a:rPr lang="en-US" altLang="ja-JP" dirty="0" smtClean="0"/>
              <a:t>AMP</a:t>
            </a:r>
            <a:r>
              <a:rPr lang="ja-JP" altLang="en-US" dirty="0" smtClean="0"/>
              <a:t>両方が連動する</a:t>
            </a:r>
            <a:endParaRPr lang="en-US" altLang="ja-JP" dirty="0" smtClean="0"/>
          </a:p>
          <a:p>
            <a:r>
              <a:rPr lang="en-US" altLang="ja-JP" dirty="0" smtClean="0"/>
              <a:t>CTA</a:t>
            </a:r>
            <a:r>
              <a:rPr lang="ja-JP" altLang="en-US" dirty="0" smtClean="0"/>
              <a:t>からのフィードバックにより、</a:t>
            </a:r>
            <a:r>
              <a:rPr lang="en-US" altLang="ja-JP" dirty="0" smtClean="0"/>
              <a:t> AMP for Endpoint</a:t>
            </a:r>
            <a:r>
              <a:rPr lang="ja-JP" altLang="en-US" dirty="0" smtClean="0"/>
              <a:t>の効率をあげる</a:t>
            </a:r>
            <a:endParaRPr lang="en-US" altLang="ja-JP" dirty="0"/>
          </a:p>
          <a:p>
            <a:r>
              <a:rPr lang="en-US" altLang="ja-JP" dirty="0" smtClean="0"/>
              <a:t>SAML</a:t>
            </a:r>
            <a:r>
              <a:rPr lang="ja-JP" altLang="en-US" dirty="0" smtClean="0"/>
              <a:t>統合</a:t>
            </a:r>
            <a:r>
              <a:rPr lang="en-US" altLang="ja-JP" dirty="0" smtClean="0"/>
              <a:t> – CTA</a:t>
            </a:r>
            <a:r>
              <a:rPr lang="ja-JP" altLang="en-US" dirty="0" smtClean="0"/>
              <a:t>と</a:t>
            </a:r>
            <a:r>
              <a:rPr lang="en-US" altLang="ja-JP" dirty="0" smtClean="0"/>
              <a:t>AMP</a:t>
            </a:r>
            <a:r>
              <a:rPr lang="ja-JP" altLang="en-US" dirty="0" smtClean="0"/>
              <a:t>間の</a:t>
            </a:r>
            <a:r>
              <a:rPr lang="en-US" altLang="ja-JP" dirty="0" smtClean="0"/>
              <a:t>SSO </a:t>
            </a:r>
            <a:endParaRPr lang="en-US" altLang="ja-JP" dirty="0"/>
          </a:p>
          <a:p>
            <a:r>
              <a:rPr lang="en-US" altLang="ja-JP" dirty="0" smtClean="0"/>
              <a:t>AMP</a:t>
            </a:r>
            <a:r>
              <a:rPr lang="ja-JP" altLang="en-US" dirty="0" smtClean="0"/>
              <a:t>コンソールから</a:t>
            </a:r>
            <a:r>
              <a:rPr lang="en-US" altLang="ja-JP" dirty="0" smtClean="0"/>
              <a:t> CTA</a:t>
            </a:r>
            <a:r>
              <a:rPr lang="ja-JP" altLang="en-US" dirty="0" smtClean="0"/>
              <a:t>が発見したインシデントを閲覧できる</a:t>
            </a:r>
            <a:endParaRPr lang="en-US" altLang="ja-JP" dirty="0"/>
          </a:p>
          <a:p>
            <a:r>
              <a:rPr lang="en-US" altLang="ja-JP" dirty="0" smtClean="0"/>
              <a:t>AMP</a:t>
            </a:r>
            <a:r>
              <a:rPr lang="ja-JP" altLang="en-US" dirty="0" smtClean="0"/>
              <a:t>イベントには説明と脅威のタイプと</a:t>
            </a:r>
            <a:r>
              <a:rPr lang="en-US" altLang="ja-JP" dirty="0" smtClean="0"/>
              <a:t>IP</a:t>
            </a:r>
            <a:r>
              <a:rPr lang="ja-JP" altLang="en-US" dirty="0" smtClean="0"/>
              <a:t>など記載される</a:t>
            </a:r>
            <a:endParaRPr lang="en-US" altLang="ja-JP" dirty="0"/>
          </a:p>
          <a:p>
            <a:r>
              <a:rPr lang="en-US" altLang="ja-JP" dirty="0" smtClean="0"/>
              <a:t>CTA</a:t>
            </a:r>
            <a:r>
              <a:rPr lang="ja-JP" altLang="en-US" dirty="0" smtClean="0"/>
              <a:t>インシデントと</a:t>
            </a:r>
            <a:r>
              <a:rPr lang="en-US" altLang="ja-JP" dirty="0" smtClean="0"/>
              <a:t>AMP</a:t>
            </a:r>
            <a:r>
              <a:rPr lang="ja-JP" altLang="en-US" dirty="0" smtClean="0"/>
              <a:t>イベントはリンクを使って双方の管理画面から閲覧</a:t>
            </a:r>
            <a:endParaRPr lang="en-US" altLang="ja-JP" dirty="0" smtClean="0"/>
          </a:p>
          <a:p>
            <a:endParaRPr lang="en-US" altLang="ja-JP" dirty="0"/>
          </a:p>
          <a:p>
            <a:r>
              <a:rPr lang="en-US" altLang="ja-JP" dirty="0" smtClean="0"/>
              <a:t>2016</a:t>
            </a:r>
            <a:r>
              <a:rPr lang="ja-JP" altLang="en-US" dirty="0" smtClean="0"/>
              <a:t>年夏</a:t>
            </a:r>
            <a:r>
              <a:rPr lang="en-US" altLang="ja-JP" dirty="0" smtClean="0"/>
              <a:t> General Availability</a:t>
            </a:r>
            <a:r>
              <a:rPr lang="ja-JP" altLang="en-US" dirty="0" smtClean="0"/>
              <a:t>予定</a:t>
            </a:r>
            <a:endParaRPr lang="en-US" altLang="ja-JP" dirty="0" smtClean="0"/>
          </a:p>
          <a:p>
            <a:endParaRPr lang="en-US" dirty="0"/>
          </a:p>
          <a:p>
            <a:endParaRPr lang="en-US" dirty="0"/>
          </a:p>
          <a:p>
            <a:endParaRPr lang="en-US" dirty="0"/>
          </a:p>
          <a:p>
            <a:endParaRPr lang="en-US" dirty="0" smtClean="0"/>
          </a:p>
          <a:p>
            <a:pPr lvl="1"/>
            <a:endParaRPr lang="en-US" dirty="0"/>
          </a:p>
        </p:txBody>
      </p:sp>
      <p:pic>
        <p:nvPicPr>
          <p:cNvPr id="4" name="Picture 3"/>
          <p:cNvPicPr>
            <a:picLocks noChangeAspect="1"/>
          </p:cNvPicPr>
          <p:nvPr/>
        </p:nvPicPr>
        <p:blipFill>
          <a:blip r:embed="rId2"/>
          <a:stretch>
            <a:fillRect/>
          </a:stretch>
        </p:blipFill>
        <p:spPr>
          <a:xfrm>
            <a:off x="6402747" y="554126"/>
            <a:ext cx="2741257" cy="3944003"/>
          </a:xfrm>
          <a:prstGeom prst="rect">
            <a:avLst/>
          </a:prstGeom>
        </p:spPr>
      </p:pic>
      <p:sp>
        <p:nvSpPr>
          <p:cNvPr id="6" name="Title 1"/>
          <p:cNvSpPr>
            <a:spLocks noGrp="1"/>
          </p:cNvSpPr>
          <p:nvPr>
            <p:ph type="title"/>
          </p:nvPr>
        </p:nvSpPr>
        <p:spPr>
          <a:xfrm>
            <a:off x="437766" y="341315"/>
            <a:ext cx="8345488" cy="731837"/>
          </a:xfrm>
        </p:spPr>
        <p:txBody>
          <a:bodyPr/>
          <a:lstStyle/>
          <a:p>
            <a:r>
              <a:rPr lang="en-US" altLang="ja-JP" dirty="0" smtClean="0"/>
              <a:t>CTA </a:t>
            </a:r>
            <a:r>
              <a:rPr lang="ja-JP" altLang="en-US" dirty="0" smtClean="0"/>
              <a:t>と</a:t>
            </a:r>
            <a:r>
              <a:rPr lang="en-US" dirty="0" smtClean="0"/>
              <a:t>AMP For Endpoint </a:t>
            </a:r>
            <a:r>
              <a:rPr lang="ja-JP" altLang="en-US" dirty="0" smtClean="0"/>
              <a:t>の統合</a:t>
            </a:r>
            <a:endParaRPr lang="cs-CZ" dirty="0"/>
          </a:p>
        </p:txBody>
      </p:sp>
    </p:spTree>
    <p:extLst>
      <p:ext uri="{BB962C8B-B14F-4D97-AF65-F5344CB8AC3E}">
        <p14:creationId xmlns:p14="http://schemas.microsoft.com/office/powerpoint/2010/main" val="220213288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dirty="0" smtClean="0"/>
              <a:t>Firepower/FMC </a:t>
            </a:r>
            <a:r>
              <a:rPr lang="en-US" dirty="0" smtClean="0"/>
              <a:t>– CTA</a:t>
            </a:r>
            <a:r>
              <a:rPr lang="ja-JP" altLang="en-US" dirty="0" smtClean="0"/>
              <a:t>の統合</a:t>
            </a:r>
            <a:endParaRPr lang="cs-CZ"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24519994"/>
              </p:ext>
            </p:extLst>
          </p:nvPr>
        </p:nvGraphicFramePr>
        <p:xfrm>
          <a:off x="2130046" y="889002"/>
          <a:ext cx="8984044" cy="37052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Oval 5"/>
          <p:cNvSpPr/>
          <p:nvPr/>
        </p:nvSpPr>
        <p:spPr>
          <a:xfrm>
            <a:off x="6007783" y="2235195"/>
            <a:ext cx="1117600" cy="1117600"/>
          </a:xfrm>
          <a:prstGeom prst="ellipse">
            <a:avLst/>
          </a:prstGeom>
          <a:solidFill>
            <a:srgbClr val="36A4D7"/>
          </a:soli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NGFW</a:t>
            </a:r>
            <a:endParaRPr lang="cs-CZ" sz="1400" dirty="0" smtClean="0"/>
          </a:p>
        </p:txBody>
      </p:sp>
      <p:cxnSp>
        <p:nvCxnSpPr>
          <p:cNvPr id="14" name="Straight Arrow Connector 13"/>
          <p:cNvCxnSpPr/>
          <p:nvPr/>
        </p:nvCxnSpPr>
        <p:spPr>
          <a:xfrm flipV="1">
            <a:off x="5470596" y="2097391"/>
            <a:ext cx="186267" cy="338666"/>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739188" y="2793993"/>
            <a:ext cx="454862" cy="0"/>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437765" y="1562986"/>
            <a:ext cx="4759466" cy="1477328"/>
          </a:xfrm>
          <a:prstGeom prst="rect">
            <a:avLst/>
          </a:prstGeom>
          <a:noFill/>
        </p:spPr>
        <p:txBody>
          <a:bodyPr wrap="square" rtlCol="0">
            <a:spAutoFit/>
          </a:bodyPr>
          <a:lstStyle/>
          <a:p>
            <a:pPr marL="285750" indent="-285750">
              <a:buFont typeface="Arial" panose="020B0604020202020204" pitchFamily="34" charset="0"/>
              <a:buChar char="•"/>
            </a:pPr>
            <a:r>
              <a:rPr lang="en-US" altLang="ja-JP" dirty="0" smtClean="0"/>
              <a:t>CTA</a:t>
            </a:r>
            <a:r>
              <a:rPr lang="ja-JP" altLang="en-US" dirty="0" smtClean="0"/>
              <a:t>と</a:t>
            </a:r>
            <a:r>
              <a:rPr lang="en-US" altLang="ja-JP" dirty="0" smtClean="0"/>
              <a:t>AMP</a:t>
            </a:r>
            <a:r>
              <a:rPr lang="ja-JP" altLang="en-US" dirty="0" smtClean="0"/>
              <a:t>の連携</a:t>
            </a:r>
            <a:endParaRPr lang="en-US" dirty="0" smtClean="0"/>
          </a:p>
          <a:p>
            <a:pPr marL="285750" indent="-285750">
              <a:buFont typeface="Arial" panose="020B0604020202020204" pitchFamily="34" charset="0"/>
              <a:buChar char="•"/>
            </a:pPr>
            <a:r>
              <a:rPr lang="en-US" altLang="ja-JP" dirty="0" smtClean="0"/>
              <a:t>AMP</a:t>
            </a:r>
            <a:r>
              <a:rPr lang="ja-JP" altLang="en-US" dirty="0" smtClean="0"/>
              <a:t>と</a:t>
            </a:r>
            <a:r>
              <a:rPr lang="en-US" altLang="ja-JP" dirty="0" err="1" smtClean="0"/>
              <a:t>Firesight</a:t>
            </a:r>
            <a:r>
              <a:rPr lang="ja-JP" altLang="en-US" dirty="0" smtClean="0"/>
              <a:t>の連携</a:t>
            </a: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ja-JP" altLang="en-US" dirty="0" smtClean="0"/>
              <a:t>結果として</a:t>
            </a:r>
            <a:r>
              <a:rPr lang="en-US" altLang="ja-JP" dirty="0" smtClean="0"/>
              <a:t> CTA</a:t>
            </a:r>
            <a:r>
              <a:rPr lang="ja-JP" altLang="en-US" dirty="0" smtClean="0"/>
              <a:t>が発見したインシデントは</a:t>
            </a:r>
            <a:r>
              <a:rPr lang="en-US" altLang="ja-JP" dirty="0" smtClean="0"/>
              <a:t> </a:t>
            </a:r>
            <a:r>
              <a:rPr lang="en-US" altLang="ja-JP" dirty="0" err="1" smtClean="0"/>
              <a:t>Firesight</a:t>
            </a:r>
            <a:r>
              <a:rPr lang="en-US" altLang="ja-JP" dirty="0" smtClean="0"/>
              <a:t> Management Center</a:t>
            </a:r>
            <a:r>
              <a:rPr lang="ja-JP" altLang="en-US" dirty="0" smtClean="0"/>
              <a:t>で閲覧可能</a:t>
            </a:r>
            <a:endParaRPr lang="en-US" dirty="0" smtClean="0"/>
          </a:p>
        </p:txBody>
      </p:sp>
    </p:spTree>
    <p:extLst>
      <p:ext uri="{BB962C8B-B14F-4D97-AF65-F5344CB8AC3E}">
        <p14:creationId xmlns:p14="http://schemas.microsoft.com/office/powerpoint/2010/main" val="2586671580"/>
      </p:ext>
    </p:extLst>
  </p:cSld>
  <p:clrMapOvr>
    <a:masterClrMapping/>
  </p:clrMapOvr>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 y="680300"/>
            <a:ext cx="9144000" cy="4464788"/>
          </a:xfrm>
          <a:prstGeom prst="rect">
            <a:avLst/>
          </a:prstGeom>
        </p:spPr>
      </p:pic>
      <p:sp>
        <p:nvSpPr>
          <p:cNvPr id="8" name="Title 1"/>
          <p:cNvSpPr>
            <a:spLocks noGrp="1"/>
          </p:cNvSpPr>
          <p:nvPr>
            <p:ph type="title"/>
          </p:nvPr>
        </p:nvSpPr>
        <p:spPr>
          <a:xfrm>
            <a:off x="1" y="17465"/>
            <a:ext cx="8345488" cy="731837"/>
          </a:xfrm>
        </p:spPr>
        <p:txBody>
          <a:bodyPr/>
          <a:lstStyle/>
          <a:p>
            <a:r>
              <a:rPr lang="en-US" dirty="0" smtClean="0"/>
              <a:t>CTA Incident Showing Shortcuts to AMP</a:t>
            </a:r>
            <a:endParaRPr lang="cs-CZ" dirty="0"/>
          </a:p>
        </p:txBody>
      </p:sp>
      <p:sp>
        <p:nvSpPr>
          <p:cNvPr id="6" name="Rectangle 5"/>
          <p:cNvSpPr/>
          <p:nvPr/>
        </p:nvSpPr>
        <p:spPr>
          <a:xfrm>
            <a:off x="4391251" y="1531090"/>
            <a:ext cx="1180213" cy="191386"/>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smtClean="0"/>
          </a:p>
        </p:txBody>
      </p:sp>
      <p:sp>
        <p:nvSpPr>
          <p:cNvPr id="9" name="Rectangle 8"/>
          <p:cNvSpPr/>
          <p:nvPr/>
        </p:nvSpPr>
        <p:spPr>
          <a:xfrm>
            <a:off x="1321980" y="680300"/>
            <a:ext cx="1059713" cy="265998"/>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smtClean="0"/>
          </a:p>
        </p:txBody>
      </p:sp>
    </p:spTree>
    <p:extLst>
      <p:ext uri="{BB962C8B-B14F-4D97-AF65-F5344CB8AC3E}">
        <p14:creationId xmlns:p14="http://schemas.microsoft.com/office/powerpoint/2010/main" val="164302278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7794" y="876896"/>
            <a:ext cx="9104311" cy="4258468"/>
          </a:xfrm>
          <a:prstGeom prst="rect">
            <a:avLst/>
          </a:prstGeom>
        </p:spPr>
      </p:pic>
      <p:sp>
        <p:nvSpPr>
          <p:cNvPr id="8" name="Title 1"/>
          <p:cNvSpPr>
            <a:spLocks noGrp="1"/>
          </p:cNvSpPr>
          <p:nvPr>
            <p:ph type="title"/>
          </p:nvPr>
        </p:nvSpPr>
        <p:spPr>
          <a:xfrm>
            <a:off x="1" y="17465"/>
            <a:ext cx="8345488" cy="731837"/>
          </a:xfrm>
        </p:spPr>
        <p:txBody>
          <a:bodyPr/>
          <a:lstStyle/>
          <a:p>
            <a:r>
              <a:rPr lang="en-US" dirty="0" smtClean="0"/>
              <a:t>CTA Incident Showing Shortcuts to AMP</a:t>
            </a:r>
            <a:endParaRPr lang="cs-CZ" dirty="0"/>
          </a:p>
        </p:txBody>
      </p:sp>
      <p:pic>
        <p:nvPicPr>
          <p:cNvPr id="3" name="Picture 2"/>
          <p:cNvPicPr>
            <a:picLocks noChangeAspect="1"/>
          </p:cNvPicPr>
          <p:nvPr/>
        </p:nvPicPr>
        <p:blipFill>
          <a:blip r:embed="rId4"/>
          <a:stretch>
            <a:fillRect/>
          </a:stretch>
        </p:blipFill>
        <p:spPr>
          <a:xfrm>
            <a:off x="-19050" y="1052514"/>
            <a:ext cx="9182100" cy="3038475"/>
          </a:xfrm>
          <a:prstGeom prst="rect">
            <a:avLst/>
          </a:prstGeom>
        </p:spPr>
      </p:pic>
      <p:sp>
        <p:nvSpPr>
          <p:cNvPr id="6" name="Rectangle 5"/>
          <p:cNvSpPr/>
          <p:nvPr/>
        </p:nvSpPr>
        <p:spPr>
          <a:xfrm>
            <a:off x="2094614" y="1244009"/>
            <a:ext cx="1020726" cy="329610"/>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smtClean="0"/>
          </a:p>
        </p:txBody>
      </p:sp>
      <p:sp>
        <p:nvSpPr>
          <p:cNvPr id="10" name="Rectangle 9"/>
          <p:cNvSpPr/>
          <p:nvPr/>
        </p:nvSpPr>
        <p:spPr>
          <a:xfrm>
            <a:off x="5319823" y="1231606"/>
            <a:ext cx="1325526" cy="329610"/>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smtClean="0"/>
          </a:p>
        </p:txBody>
      </p:sp>
      <p:sp>
        <p:nvSpPr>
          <p:cNvPr id="11" name="Rectangle 10"/>
          <p:cNvSpPr/>
          <p:nvPr/>
        </p:nvSpPr>
        <p:spPr>
          <a:xfrm>
            <a:off x="3662385" y="2140689"/>
            <a:ext cx="2717153" cy="1453117"/>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smtClean="0"/>
          </a:p>
        </p:txBody>
      </p:sp>
      <p:sp>
        <p:nvSpPr>
          <p:cNvPr id="12" name="Rectangle 11"/>
          <p:cNvSpPr/>
          <p:nvPr/>
        </p:nvSpPr>
        <p:spPr>
          <a:xfrm>
            <a:off x="4866163" y="1592532"/>
            <a:ext cx="290628" cy="244943"/>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smtClean="0"/>
          </a:p>
        </p:txBody>
      </p:sp>
    </p:spTree>
    <p:extLst>
      <p:ext uri="{BB962C8B-B14F-4D97-AF65-F5344CB8AC3E}">
        <p14:creationId xmlns:p14="http://schemas.microsoft.com/office/powerpoint/2010/main" val="107320671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7"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900" decel="100000" fill="hold"/>
                                        <p:tgtEl>
                                          <p:spTgt spid="3"/>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3"/>
                                        </p:tgtEl>
                                        <p:attrNameLst>
                                          <p:attrName>ppt_y</p:attrName>
                                        </p:attrNameLst>
                                      </p:cBhvr>
                                      <p:tavLst>
                                        <p:tav tm="0">
                                          <p:val>
                                            <p:strVal val="#ppt_y-.03"/>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1" nodeType="clickEffect">
                                  <p:stCondLst>
                                    <p:cond delay="0"/>
                                  </p:stCondLst>
                                  <p:childTnLst>
                                    <p:animEffect transition="out" filter="fade">
                                      <p:cBhvr>
                                        <p:cTn id="19" dur="500"/>
                                        <p:tgtEl>
                                          <p:spTgt spid="6"/>
                                        </p:tgtEl>
                                      </p:cBhvr>
                                    </p:animEffect>
                                    <p:set>
                                      <p:cBhvr>
                                        <p:cTn id="20" dur="1" fill="hold">
                                          <p:stCondLst>
                                            <p:cond delay="499"/>
                                          </p:stCondLst>
                                        </p:cTn>
                                        <p:tgtEl>
                                          <p:spTgt spid="6"/>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xit" presetSubtype="0" fill="hold" grpId="1" nodeType="clickEffect">
                                  <p:stCondLst>
                                    <p:cond delay="0"/>
                                  </p:stCondLst>
                                  <p:childTnLst>
                                    <p:animEffect transition="out" filter="fade">
                                      <p:cBhvr>
                                        <p:cTn id="29" dur="500"/>
                                        <p:tgtEl>
                                          <p:spTgt spid="10"/>
                                        </p:tgtEl>
                                      </p:cBhvr>
                                    </p:animEffect>
                                    <p:set>
                                      <p:cBhvr>
                                        <p:cTn id="30" dur="1" fill="hold">
                                          <p:stCondLst>
                                            <p:cond delay="499"/>
                                          </p:stCondLst>
                                        </p:cTn>
                                        <p:tgtEl>
                                          <p:spTgt spid="10"/>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1" nodeType="clickEffect">
                                  <p:stCondLst>
                                    <p:cond delay="0"/>
                                  </p:stCondLst>
                                  <p:childTnLst>
                                    <p:animEffect transition="out" filter="fade">
                                      <p:cBhvr>
                                        <p:cTn id="39" dur="500"/>
                                        <p:tgtEl>
                                          <p:spTgt spid="11"/>
                                        </p:tgtEl>
                                      </p:cBhvr>
                                    </p:animEffect>
                                    <p:set>
                                      <p:cBhvr>
                                        <p:cTn id="40" dur="1" fill="hold">
                                          <p:stCondLst>
                                            <p:cond delay="499"/>
                                          </p:stCondLst>
                                        </p:cTn>
                                        <p:tgtEl>
                                          <p:spTgt spid="11"/>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xit" presetSubtype="0" fill="hold" grpId="1" nodeType="clickEffect">
                                  <p:stCondLst>
                                    <p:cond delay="0"/>
                                  </p:stCondLst>
                                  <p:childTnLst>
                                    <p:animEffect transition="out" filter="fade">
                                      <p:cBhvr>
                                        <p:cTn id="49" dur="500"/>
                                        <p:tgtEl>
                                          <p:spTgt spid="12"/>
                                        </p:tgtEl>
                                      </p:cBhvr>
                                    </p:animEffect>
                                    <p:set>
                                      <p:cBhvr>
                                        <p:cTn id="50" dur="1" fill="hold">
                                          <p:stCondLst>
                                            <p:cond delay="499"/>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10" grpId="0" animBg="1"/>
      <p:bldP spid="10" grpId="1" animBg="1"/>
      <p:bldP spid="11" grpId="0" animBg="1"/>
      <p:bldP spid="11" grpId="1" animBg="1"/>
      <p:bldP spid="12" grpId="0" animBg="1"/>
      <p:bldP spid="1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New x90 Hardware Platform</a:t>
            </a:r>
            <a:br>
              <a:rPr lang="en-US" dirty="0" smtClean="0"/>
            </a:br>
            <a:r>
              <a:rPr lang="en-US" altLang="ja-JP" dirty="0" smtClean="0"/>
              <a:t>New Performance</a:t>
            </a:r>
            <a:br>
              <a:rPr lang="en-US" altLang="ja-JP" dirty="0" smtClean="0"/>
            </a:br>
            <a:r>
              <a:rPr lang="en-US" altLang="ja-JP" dirty="0" smtClean="0"/>
              <a:t>License</a:t>
            </a:r>
            <a:endParaRPr lang="en-US" dirty="0"/>
          </a:p>
        </p:txBody>
      </p:sp>
    </p:spTree>
    <p:extLst>
      <p:ext uri="{BB962C8B-B14F-4D97-AF65-F5344CB8AC3E}">
        <p14:creationId xmlns:p14="http://schemas.microsoft.com/office/powerpoint/2010/main" val="36255713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6644" y="2061714"/>
            <a:ext cx="7598042" cy="1907479"/>
          </a:xfrm>
        </p:spPr>
        <p:txBody>
          <a:bodyPr/>
          <a:lstStyle/>
          <a:p>
            <a:pPr marL="280928" lvl="0" indent="-223792">
              <a:lnSpc>
                <a:spcPct val="95000"/>
              </a:lnSpc>
              <a:spcBef>
                <a:spcPts val="1110"/>
              </a:spcBef>
            </a:pPr>
            <a:r>
              <a:rPr lang="en-US" altLang="ja-JP" sz="2400" dirty="0">
                <a:solidFill>
                  <a:srgbClr val="343434"/>
                </a:solidFill>
                <a:cs typeface="CiscoSans ExtraLight"/>
              </a:rPr>
              <a:t>DNS Security Updates</a:t>
            </a:r>
            <a:r>
              <a:rPr lang="en-US" sz="1600" dirty="0">
                <a:solidFill>
                  <a:srgbClr val="676767"/>
                </a:solidFill>
                <a:cs typeface="CiscoSans ExtraLight"/>
              </a:rPr>
              <a:t/>
            </a:r>
            <a:br>
              <a:rPr lang="en-US" sz="1600" dirty="0">
                <a:solidFill>
                  <a:srgbClr val="676767"/>
                </a:solidFill>
                <a:cs typeface="CiscoSans ExtraLight"/>
              </a:rPr>
            </a:br>
            <a:r>
              <a:rPr lang="en-US" sz="1600" dirty="0">
                <a:solidFill>
                  <a:srgbClr val="FF0000"/>
                </a:solidFill>
                <a:cs typeface="CiscoSans ExtraLight"/>
              </a:rPr>
              <a:t> </a:t>
            </a:r>
            <a:r>
              <a:rPr lang="en-US" sz="1600" dirty="0" err="1">
                <a:solidFill>
                  <a:srgbClr val="FF0000"/>
                </a:solidFill>
                <a:cs typeface="CiscoSans ExtraLight"/>
              </a:rPr>
              <a:t>OpenDNS</a:t>
            </a:r>
            <a:r>
              <a:rPr lang="en-US" sz="1600" dirty="0">
                <a:solidFill>
                  <a:srgbClr val="676767"/>
                </a:solidFill>
                <a:cs typeface="CiscoSans ExtraLight"/>
              </a:rPr>
              <a:t> (</a:t>
            </a:r>
            <a:r>
              <a:rPr lang="ja-JP" altLang="en-US" sz="1600" dirty="0">
                <a:solidFill>
                  <a:srgbClr val="676767"/>
                </a:solidFill>
                <a:cs typeface="CiscoSans ExtraLight"/>
              </a:rPr>
              <a:t>セキュリティ特化型の</a:t>
            </a:r>
            <a:r>
              <a:rPr lang="en-US" sz="1600" dirty="0" err="1">
                <a:solidFill>
                  <a:srgbClr val="676767"/>
                </a:solidFill>
                <a:cs typeface="CiscoSans ExtraLight"/>
              </a:rPr>
              <a:t>再帰</a:t>
            </a:r>
            <a:r>
              <a:rPr lang="en-US" altLang="ja-JP" sz="1600" dirty="0" err="1">
                <a:solidFill>
                  <a:srgbClr val="676767"/>
                </a:solidFill>
                <a:cs typeface="CiscoSans ExtraLight"/>
              </a:rPr>
              <a:t>DNS</a:t>
            </a:r>
            <a:r>
              <a:rPr lang="ja-JP" altLang="en-US" sz="1600" dirty="0">
                <a:solidFill>
                  <a:srgbClr val="676767"/>
                </a:solidFill>
                <a:cs typeface="CiscoSans ExtraLight"/>
              </a:rPr>
              <a:t>サービス</a:t>
            </a:r>
            <a:r>
              <a:rPr lang="en-US" sz="1600" dirty="0" smtClean="0">
                <a:solidFill>
                  <a:srgbClr val="676767"/>
                </a:solidFill>
                <a:cs typeface="CiscoSans ExtraLight"/>
              </a:rPr>
              <a:t>)</a:t>
            </a:r>
            <a:br>
              <a:rPr lang="en-US" sz="1600" dirty="0" smtClean="0">
                <a:solidFill>
                  <a:srgbClr val="676767"/>
                </a:solidFill>
                <a:cs typeface="CiscoSans ExtraLight"/>
              </a:rPr>
            </a:br>
            <a:r>
              <a:rPr lang="en-US" sz="1600" dirty="0">
                <a:solidFill>
                  <a:srgbClr val="676767"/>
                </a:solidFill>
                <a:cs typeface="CiscoSans ExtraLight"/>
              </a:rPr>
              <a:t/>
            </a:r>
            <a:br>
              <a:rPr lang="en-US" sz="1600" dirty="0">
                <a:solidFill>
                  <a:srgbClr val="676767"/>
                </a:solidFill>
                <a:cs typeface="CiscoSans ExtraLight"/>
              </a:rPr>
            </a:br>
            <a:r>
              <a:rPr lang="en-US" sz="1600" dirty="0" smtClean="0">
                <a:solidFill>
                  <a:srgbClr val="676767"/>
                </a:solidFill>
                <a:cs typeface="CiscoSans ExtraLight"/>
              </a:rPr>
              <a:t/>
            </a:r>
            <a:br>
              <a:rPr lang="en-US" sz="1600" dirty="0" smtClean="0">
                <a:solidFill>
                  <a:srgbClr val="676767"/>
                </a:solidFill>
                <a:cs typeface="CiscoSans ExtraLight"/>
              </a:rPr>
            </a:br>
            <a:r>
              <a:rPr lang="en-US" sz="1600" dirty="0">
                <a:solidFill>
                  <a:srgbClr val="676767"/>
                </a:solidFill>
                <a:cs typeface="CiscoSans ExtraLight"/>
              </a:rPr>
              <a:t/>
            </a:r>
            <a:br>
              <a:rPr lang="en-US" sz="1600" dirty="0">
                <a:solidFill>
                  <a:srgbClr val="676767"/>
                </a:solidFill>
                <a:cs typeface="CiscoSans ExtraLight"/>
              </a:rPr>
            </a:br>
            <a:r>
              <a:rPr lang="en-US" sz="1600" dirty="0" smtClean="0">
                <a:solidFill>
                  <a:srgbClr val="676767"/>
                </a:solidFill>
                <a:cs typeface="CiscoSans ExtraLight"/>
              </a:rPr>
              <a:t/>
            </a:r>
            <a:br>
              <a:rPr lang="en-US" sz="1600" dirty="0" smtClean="0">
                <a:solidFill>
                  <a:srgbClr val="676767"/>
                </a:solidFill>
                <a:cs typeface="CiscoSans ExtraLight"/>
              </a:rPr>
            </a:br>
            <a:endParaRPr lang="en-US" sz="1600" dirty="0">
              <a:solidFill>
                <a:srgbClr val="676767"/>
              </a:solidFill>
              <a:cs typeface="CiscoSans ExtraLight"/>
            </a:endParaRPr>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282826721"/>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ja-JP" altLang="en-US" dirty="0" smtClean="0">
                <a:latin typeface="+mn-lt"/>
                <a:ea typeface="+mn-ea"/>
                <a:cs typeface="メイリオ" panose="020B0604030504040204" pitchFamily="50" charset="-128"/>
              </a:rPr>
              <a:t>脅威のトレンド</a:t>
            </a:r>
            <a:r>
              <a:rPr lang="en-US" altLang="ja-JP" dirty="0" smtClean="0">
                <a:latin typeface="+mn-lt"/>
                <a:ea typeface="+mn-ea"/>
                <a:cs typeface="メイリオ" panose="020B0604030504040204" pitchFamily="50" charset="-128"/>
              </a:rPr>
              <a:t/>
            </a:r>
            <a:br>
              <a:rPr lang="en-US" altLang="ja-JP" dirty="0" smtClean="0">
                <a:latin typeface="+mn-lt"/>
                <a:ea typeface="+mn-ea"/>
                <a:cs typeface="メイリオ" panose="020B0604030504040204" pitchFamily="50" charset="-128"/>
              </a:rPr>
            </a:br>
            <a:r>
              <a:rPr lang="en-US" altLang="ja-JP" sz="2000" dirty="0">
                <a:latin typeface="+mn-lt"/>
                <a:ea typeface="+mn-ea"/>
                <a:cs typeface="メイリオ" panose="020B0604030504040204" pitchFamily="50" charset="-128"/>
              </a:rPr>
              <a:t>DNS </a:t>
            </a:r>
            <a:r>
              <a:rPr lang="ja-JP" altLang="en-US" sz="2000" dirty="0">
                <a:latin typeface="+mn-lt"/>
                <a:ea typeface="+mn-ea"/>
                <a:cs typeface="メイリオ" panose="020B0604030504040204" pitchFamily="50" charset="-128"/>
              </a:rPr>
              <a:t>の盲点</a:t>
            </a:r>
            <a:r>
              <a:rPr lang="ja-JP" altLang="en-US" sz="2000" dirty="0" smtClean="0">
                <a:latin typeface="+mn-lt"/>
                <a:ea typeface="+mn-ea"/>
                <a:cs typeface="メイリオ" panose="020B0604030504040204" pitchFamily="50" charset="-128"/>
              </a:rPr>
              <a:t>：</a:t>
            </a:r>
            <a:r>
              <a:rPr lang="en-US" altLang="ja-JP" sz="2000" dirty="0" smtClean="0">
                <a:latin typeface="+mn-lt"/>
                <a:ea typeface="+mn-ea"/>
                <a:cs typeface="メイリオ" panose="020B0604030504040204" pitchFamily="50" charset="-128"/>
              </a:rPr>
              <a:t>DNS </a:t>
            </a:r>
            <a:r>
              <a:rPr lang="ja-JP" altLang="en-US" sz="2000" dirty="0">
                <a:latin typeface="+mn-lt"/>
                <a:ea typeface="+mn-ea"/>
                <a:cs typeface="メイリオ" panose="020B0604030504040204" pitchFamily="50" charset="-128"/>
              </a:rPr>
              <a:t>を使う攻撃</a:t>
            </a:r>
            <a:endParaRPr lang="en-US" sz="2000" dirty="0">
              <a:latin typeface="+mn-lt"/>
              <a:ea typeface="+mn-ea"/>
              <a:cs typeface="メイリオ" panose="020B0604030504040204" pitchFamily="50" charset="-128"/>
            </a:endParaRPr>
          </a:p>
        </p:txBody>
      </p:sp>
      <p:sp>
        <p:nvSpPr>
          <p:cNvPr id="5" name="テキスト プレースホルダー 13"/>
          <p:cNvSpPr>
            <a:spLocks noGrp="1"/>
          </p:cNvSpPr>
          <p:nvPr>
            <p:ph type="body" sz="quarter" idx="10"/>
          </p:nvPr>
        </p:nvSpPr>
        <p:spPr>
          <a:xfrm>
            <a:off x="976574" y="3413508"/>
            <a:ext cx="7190852" cy="618611"/>
          </a:xfrm>
        </p:spPr>
        <p:txBody>
          <a:bodyPr wrap="square">
            <a:spAutoFit/>
          </a:bodyPr>
          <a:lstStyle/>
          <a:p>
            <a:pPr algn="ctr"/>
            <a:r>
              <a:rPr kumimoji="1" lang="ja-JP" altLang="en-US" sz="1800" dirty="0" smtClean="0">
                <a:ea typeface="+mn-ea"/>
                <a:cs typeface="メイリオ" panose="020B0604030504040204" pitchFamily="50" charset="-128"/>
              </a:rPr>
              <a:t>セキュリティ担当者と </a:t>
            </a:r>
            <a:r>
              <a:rPr kumimoji="1" lang="en-US" altLang="ja-JP" sz="1800" dirty="0" smtClean="0">
                <a:ea typeface="+mn-ea"/>
                <a:cs typeface="メイリオ" panose="020B0604030504040204" pitchFamily="50" charset="-128"/>
              </a:rPr>
              <a:t>DNS </a:t>
            </a:r>
            <a:r>
              <a:rPr kumimoji="1" lang="ja-JP" altLang="en-US" sz="1800" dirty="0" smtClean="0">
                <a:ea typeface="+mn-ea"/>
                <a:cs typeface="メイリオ" panose="020B0604030504040204" pitchFamily="50" charset="-128"/>
              </a:rPr>
              <a:t>管理者が別であることが一般的なため、</a:t>
            </a:r>
            <a:r>
              <a:rPr kumimoji="1" lang="en-US" altLang="ja-JP" sz="1800" dirty="0" smtClean="0">
                <a:ea typeface="+mn-ea"/>
                <a:cs typeface="メイリオ" panose="020B0604030504040204" pitchFamily="50" charset="-128"/>
              </a:rPr>
              <a:t/>
            </a:r>
            <a:br>
              <a:rPr kumimoji="1" lang="en-US" altLang="ja-JP" sz="1800" dirty="0" smtClean="0">
                <a:ea typeface="+mn-ea"/>
                <a:cs typeface="メイリオ" panose="020B0604030504040204" pitchFamily="50" charset="-128"/>
              </a:rPr>
            </a:br>
            <a:r>
              <a:rPr kumimoji="1" lang="ja-JP" altLang="en-US" sz="1800" dirty="0" smtClean="0">
                <a:ea typeface="+mn-ea"/>
                <a:cs typeface="メイリオ" panose="020B0604030504040204" pitchFamily="50" charset="-128"/>
              </a:rPr>
              <a:t>攻撃者はその盲点を</a:t>
            </a:r>
            <a:r>
              <a:rPr kumimoji="1" lang="ja-JP" altLang="en-US" sz="1800" dirty="0">
                <a:ea typeface="+mn-ea"/>
                <a:cs typeface="メイリオ" panose="020B0604030504040204" pitchFamily="50" charset="-128"/>
              </a:rPr>
              <a:t>突</a:t>
            </a:r>
            <a:r>
              <a:rPr kumimoji="1" lang="ja-JP" altLang="en-US" sz="1800" dirty="0" smtClean="0">
                <a:ea typeface="+mn-ea"/>
                <a:cs typeface="メイリオ" panose="020B0604030504040204" pitchFamily="50" charset="-128"/>
              </a:rPr>
              <a:t>いてくる</a:t>
            </a:r>
            <a:endParaRPr kumimoji="1" lang="en-US" altLang="ja-JP" sz="1600" dirty="0">
              <a:ea typeface="+mn-ea"/>
              <a:cs typeface="メイリオ" panose="020B0604030504040204" pitchFamily="50" charset="-128"/>
            </a:endParaRPr>
          </a:p>
        </p:txBody>
      </p:sp>
      <p:sp>
        <p:nvSpPr>
          <p:cNvPr id="2" name="正方形/長方形 1"/>
          <p:cNvSpPr/>
          <p:nvPr/>
        </p:nvSpPr>
        <p:spPr>
          <a:xfrm>
            <a:off x="333479" y="4064159"/>
            <a:ext cx="8486675" cy="523220"/>
          </a:xfrm>
          <a:prstGeom prst="rect">
            <a:avLst/>
          </a:prstGeom>
        </p:spPr>
        <p:txBody>
          <a:bodyPr wrap="square">
            <a:spAutoFit/>
          </a:bodyPr>
          <a:lstStyle/>
          <a:p>
            <a:pPr algn="ctr"/>
            <a:r>
              <a:rPr kumimoji="1" lang="en-US" altLang="ja-JP" sz="2800" b="1" u="sng" dirty="0" smtClean="0">
                <a:latin typeface="+mn-lt"/>
                <a:ea typeface="+mn-ea"/>
                <a:cs typeface="メイリオ" panose="020B0604030504040204" pitchFamily="50" charset="-128"/>
              </a:rPr>
              <a:t>DNS</a:t>
            </a:r>
            <a:r>
              <a:rPr kumimoji="1" lang="ja-JP" altLang="en-US" sz="2800" b="1" u="sng" dirty="0" smtClean="0">
                <a:latin typeface="+mn-lt"/>
                <a:ea typeface="+mn-ea"/>
                <a:cs typeface="メイリオ" panose="020B0604030504040204" pitchFamily="50" charset="-128"/>
              </a:rPr>
              <a:t>の監視</a:t>
            </a:r>
            <a:r>
              <a:rPr kumimoji="1" lang="ja-JP" altLang="en-US" dirty="0">
                <a:latin typeface="+mn-lt"/>
                <a:ea typeface="+mn-ea"/>
                <a:cs typeface="メイリオ" panose="020B0604030504040204" pitchFamily="50" charset="-128"/>
              </a:rPr>
              <a:t>や</a:t>
            </a:r>
            <a:r>
              <a:rPr kumimoji="1" lang="ja-JP" altLang="en-US" sz="2800" b="1" u="sng" dirty="0">
                <a:latin typeface="+mn-lt"/>
                <a:ea typeface="+mn-ea"/>
                <a:cs typeface="メイリオ" panose="020B0604030504040204" pitchFamily="50" charset="-128"/>
              </a:rPr>
              <a:t>適切な防御策</a:t>
            </a:r>
            <a:r>
              <a:rPr kumimoji="1" lang="ja-JP" altLang="en-US" dirty="0">
                <a:latin typeface="+mn-lt"/>
                <a:ea typeface="+mn-ea"/>
                <a:cs typeface="メイリオ" panose="020B0604030504040204" pitchFamily="50" charset="-128"/>
              </a:rPr>
              <a:t>が</a:t>
            </a:r>
            <a:r>
              <a:rPr kumimoji="1" lang="ja-JP" altLang="en-US" sz="2800" b="1" u="sng" dirty="0" smtClean="0">
                <a:latin typeface="+mn-lt"/>
                <a:ea typeface="+mn-ea"/>
                <a:cs typeface="メイリオ" panose="020B0604030504040204" pitchFamily="50" charset="-128"/>
              </a:rPr>
              <a:t>必須</a:t>
            </a:r>
            <a:endParaRPr kumimoji="1" lang="en-US" altLang="ja-JP" sz="2800" b="1" u="sng" dirty="0">
              <a:latin typeface="+mn-lt"/>
              <a:ea typeface="+mn-ea"/>
              <a:cs typeface="メイリオ" panose="020B0604030504040204" pitchFamily="50" charset="-128"/>
            </a:endParaRPr>
          </a:p>
        </p:txBody>
      </p:sp>
      <p:sp>
        <p:nvSpPr>
          <p:cNvPr id="4" name="テキスト ボックス 3"/>
          <p:cNvSpPr txBox="1"/>
          <p:nvPr/>
        </p:nvSpPr>
        <p:spPr>
          <a:xfrm>
            <a:off x="6517896" y="3023083"/>
            <a:ext cx="2111475" cy="253916"/>
          </a:xfrm>
          <a:prstGeom prst="rect">
            <a:avLst/>
          </a:prstGeom>
          <a:noFill/>
        </p:spPr>
        <p:txBody>
          <a:bodyPr wrap="none" rtlCol="0">
            <a:spAutoFit/>
          </a:bodyPr>
          <a:lstStyle/>
          <a:p>
            <a:r>
              <a:rPr kumimoji="1" lang="ja-JP" altLang="en-US" sz="1050" dirty="0" smtClean="0">
                <a:latin typeface="+mn-lt"/>
                <a:ea typeface="+mn-ea"/>
              </a:rPr>
              <a:t>出典：シスコ セキュリティ リサーチ</a:t>
            </a:r>
            <a:endParaRPr kumimoji="1" lang="ja-JP" altLang="en-US" sz="1050" dirty="0">
              <a:latin typeface="+mn-lt"/>
              <a:ea typeface="+mn-ea"/>
            </a:endParaRPr>
          </a:p>
        </p:txBody>
      </p:sp>
      <p:pic>
        <p:nvPicPr>
          <p:cNvPr id="8" name="図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276009" y="1335348"/>
            <a:ext cx="1857684" cy="1231313"/>
          </a:xfrm>
          <a:prstGeom prst="rect">
            <a:avLst/>
          </a:prstGeom>
        </p:spPr>
      </p:pic>
      <p:pic>
        <p:nvPicPr>
          <p:cNvPr id="12" name="図 1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67612" y="1268467"/>
            <a:ext cx="1755801" cy="1489888"/>
          </a:xfrm>
          <a:prstGeom prst="rect">
            <a:avLst/>
          </a:prstGeom>
        </p:spPr>
      </p:pic>
      <p:sp>
        <p:nvSpPr>
          <p:cNvPr id="11" name="テキスト ボックス 10"/>
          <p:cNvSpPr txBox="1"/>
          <p:nvPr/>
        </p:nvSpPr>
        <p:spPr>
          <a:xfrm>
            <a:off x="6670761" y="1747362"/>
            <a:ext cx="2279211" cy="984885"/>
          </a:xfrm>
          <a:prstGeom prst="rect">
            <a:avLst/>
          </a:prstGeom>
          <a:noFill/>
        </p:spPr>
        <p:txBody>
          <a:bodyPr wrap="square" rtlCol="0">
            <a:spAutoFit/>
          </a:bodyPr>
          <a:lstStyle/>
          <a:p>
            <a:r>
              <a:rPr kumimoji="1" lang="ja-JP" altLang="en-US" b="1" dirty="0" smtClean="0">
                <a:latin typeface="+mn-lt"/>
                <a:ea typeface="+mn-ea"/>
              </a:rPr>
              <a:t>再帰的</a:t>
            </a:r>
            <a:r>
              <a:rPr kumimoji="1" lang="en-US" altLang="ja-JP" b="1" dirty="0" smtClean="0">
                <a:latin typeface="+mn-lt"/>
                <a:ea typeface="+mn-ea"/>
              </a:rPr>
              <a:t>DNS</a:t>
            </a:r>
            <a:r>
              <a:rPr kumimoji="1" lang="ja-JP" altLang="en-US" b="1" dirty="0" smtClean="0">
                <a:latin typeface="+mn-lt"/>
                <a:ea typeface="+mn-ea"/>
              </a:rPr>
              <a:t>の</a:t>
            </a:r>
            <a:endParaRPr kumimoji="1" lang="en-US" altLang="ja-JP" b="1" dirty="0" smtClean="0">
              <a:latin typeface="+mn-lt"/>
              <a:ea typeface="+mn-ea"/>
            </a:endParaRPr>
          </a:p>
          <a:p>
            <a:r>
              <a:rPr kumimoji="1" lang="ja-JP" altLang="en-US" sz="2000" b="1" dirty="0" smtClean="0">
                <a:latin typeface="+mn-lt"/>
                <a:ea typeface="+mn-ea"/>
              </a:rPr>
              <a:t>監視をしていない</a:t>
            </a:r>
            <a:r>
              <a:rPr kumimoji="1" lang="ja-JP" altLang="en-US" dirty="0" smtClean="0">
                <a:latin typeface="+mn-lt"/>
                <a:ea typeface="+mn-ea"/>
              </a:rPr>
              <a:t>企業</a:t>
            </a:r>
            <a:endParaRPr kumimoji="1" lang="ja-JP" altLang="en-US" dirty="0">
              <a:latin typeface="+mn-lt"/>
              <a:ea typeface="+mn-ea"/>
            </a:endParaRPr>
          </a:p>
        </p:txBody>
      </p:sp>
      <p:sp>
        <p:nvSpPr>
          <p:cNvPr id="14" name="テキスト プレースホルダー 13"/>
          <p:cNvSpPr txBox="1">
            <a:spLocks/>
          </p:cNvSpPr>
          <p:nvPr/>
        </p:nvSpPr>
        <p:spPr>
          <a:xfrm>
            <a:off x="3955480" y="2029565"/>
            <a:ext cx="967601" cy="329301"/>
          </a:xfrm>
          <a:prstGeom prst="rect">
            <a:avLst/>
          </a:prstGeom>
        </p:spPr>
        <p:txBody>
          <a:bodyPr wrap="square" lIns="91420" tIns="45710" rIns="91420" bIns="45710">
            <a:spAutoFit/>
          </a:bodyPr>
          <a:lstStyle>
            <a:lvl1pPr marL="57136" indent="0" algn="l" defTabSz="684213" rtl="0" eaLnBrk="1" fontAlgn="base" hangingPunct="1">
              <a:lnSpc>
                <a:spcPct val="95000"/>
              </a:lnSpc>
              <a:spcBef>
                <a:spcPts val="1110"/>
              </a:spcBef>
              <a:spcAft>
                <a:spcPct val="0"/>
              </a:spcAft>
              <a:buClr>
                <a:schemeClr val="tx1"/>
              </a:buClr>
              <a:buSzPct val="80000"/>
              <a:buFont typeface="Arial"/>
              <a:buNone/>
              <a:defRPr lang="en-US" sz="3700" b="0" i="0" kern="1200">
                <a:solidFill>
                  <a:srgbClr val="676767"/>
                </a:solidFill>
                <a:latin typeface="+mn-lt"/>
                <a:ea typeface="ＭＳ Ｐゴシック" charset="0"/>
                <a:cs typeface="CiscoSans ExtraLight"/>
              </a:defRPr>
            </a:lvl1pPr>
            <a:lvl2pPr marL="292040" indent="0" algn="l" defTabSz="684213" rtl="0" eaLnBrk="1" fontAlgn="base" hangingPunct="1">
              <a:lnSpc>
                <a:spcPct val="95000"/>
              </a:lnSpc>
              <a:spcBef>
                <a:spcPts val="450"/>
              </a:spcBef>
              <a:spcAft>
                <a:spcPct val="0"/>
              </a:spcAft>
              <a:buClr>
                <a:schemeClr val="tx1"/>
              </a:buClr>
              <a:buSzPct val="80000"/>
              <a:buFont typeface="Arial"/>
              <a:buNone/>
              <a:defRPr lang="en-US" sz="1800" b="0" i="0" kern="1200">
                <a:solidFill>
                  <a:srgbClr val="676767"/>
                </a:solidFill>
                <a:latin typeface="+mn-lt"/>
                <a:ea typeface="ＭＳ Ｐゴシック" charset="0"/>
                <a:cs typeface="CiscoSans ExtraLight"/>
              </a:defRPr>
            </a:lvl2pPr>
            <a:lvl3pPr marL="576143" indent="0" algn="l" defTabSz="684213" rtl="0" eaLnBrk="1" fontAlgn="base" hangingPunct="1">
              <a:lnSpc>
                <a:spcPct val="95000"/>
              </a:lnSpc>
              <a:spcBef>
                <a:spcPts val="625"/>
              </a:spcBef>
              <a:spcAft>
                <a:spcPct val="0"/>
              </a:spcAft>
              <a:buClr>
                <a:schemeClr val="tx1"/>
              </a:buClr>
              <a:buSzPct val="80000"/>
              <a:buFont typeface="Arial"/>
              <a:buNone/>
              <a:defRPr lang="en-US" sz="1600" b="0" i="0" kern="1200">
                <a:solidFill>
                  <a:srgbClr val="676767"/>
                </a:solidFill>
                <a:latin typeface="+mn-lt"/>
                <a:ea typeface="ＭＳ Ｐゴシック" charset="0"/>
                <a:cs typeface="CiscoSans ExtraLight"/>
              </a:defRPr>
            </a:lvl3pPr>
            <a:lvl4pPr marL="739620" indent="0" algn="l" defTabSz="684213" rtl="0" eaLnBrk="1" fontAlgn="base" hangingPunct="1">
              <a:lnSpc>
                <a:spcPct val="95000"/>
              </a:lnSpc>
              <a:spcBef>
                <a:spcPts val="625"/>
              </a:spcBef>
              <a:spcAft>
                <a:spcPct val="0"/>
              </a:spcAft>
              <a:buClr>
                <a:schemeClr val="tx1"/>
              </a:buClr>
              <a:buSzPct val="80000"/>
              <a:buFont typeface="Arial"/>
              <a:buNone/>
              <a:defRPr lang="en-US" sz="1400" b="0" i="0" kern="1200">
                <a:solidFill>
                  <a:srgbClr val="676767"/>
                </a:solidFill>
                <a:latin typeface="+mn-lt"/>
                <a:ea typeface="ＭＳ Ｐゴシック" charset="0"/>
                <a:cs typeface="CiscoSans ExtraLight"/>
              </a:defRPr>
            </a:lvl4pPr>
            <a:lvl5pPr marL="914210" indent="0" algn="l" defTabSz="684213" rtl="0" eaLnBrk="1" fontAlgn="base" hangingPunct="1">
              <a:lnSpc>
                <a:spcPct val="95000"/>
              </a:lnSpc>
              <a:spcBef>
                <a:spcPts val="625"/>
              </a:spcBef>
              <a:spcAft>
                <a:spcPct val="0"/>
              </a:spcAft>
              <a:buClr>
                <a:schemeClr val="tx1"/>
              </a:buClr>
              <a:buSzPct val="80000"/>
              <a:buFont typeface="Arial"/>
              <a:buNone/>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ctr"/>
            <a:r>
              <a:rPr kumimoji="1" lang="ja-JP" altLang="en-US" sz="1600" dirty="0" smtClean="0">
                <a:ea typeface="+mn-ea"/>
                <a:cs typeface="メイリオ" panose="020B0604030504040204" pitchFamily="50" charset="-128"/>
              </a:rPr>
              <a:t>しかし</a:t>
            </a:r>
          </a:p>
        </p:txBody>
      </p:sp>
      <p:sp>
        <p:nvSpPr>
          <p:cNvPr id="15" name="テキスト ボックス 14"/>
          <p:cNvSpPr txBox="1"/>
          <p:nvPr/>
        </p:nvSpPr>
        <p:spPr>
          <a:xfrm>
            <a:off x="149036" y="1608861"/>
            <a:ext cx="2051629" cy="1231106"/>
          </a:xfrm>
          <a:prstGeom prst="rect">
            <a:avLst/>
          </a:prstGeom>
          <a:noFill/>
        </p:spPr>
        <p:txBody>
          <a:bodyPr wrap="square" rtlCol="0">
            <a:spAutoFit/>
          </a:bodyPr>
          <a:lstStyle/>
          <a:p>
            <a:pPr algn="r"/>
            <a:r>
              <a:rPr kumimoji="1" lang="ja-JP" altLang="en-US" dirty="0" smtClean="0">
                <a:latin typeface="+mn-lt"/>
                <a:ea typeface="+mn-ea"/>
              </a:rPr>
              <a:t>「既知の脅威」と</a:t>
            </a:r>
            <a:endParaRPr kumimoji="1" lang="en-US" altLang="ja-JP" dirty="0" smtClean="0">
              <a:latin typeface="+mn-lt"/>
              <a:ea typeface="+mn-ea"/>
            </a:endParaRPr>
          </a:p>
          <a:p>
            <a:pPr algn="r"/>
            <a:r>
              <a:rPr kumimoji="1" lang="ja-JP" altLang="en-US" dirty="0">
                <a:latin typeface="+mn-lt"/>
                <a:ea typeface="+mn-ea"/>
              </a:rPr>
              <a:t>判断</a:t>
            </a:r>
            <a:r>
              <a:rPr kumimoji="1" lang="ja-JP" altLang="en-US" dirty="0" smtClean="0">
                <a:latin typeface="+mn-lt"/>
                <a:ea typeface="+mn-ea"/>
              </a:rPr>
              <a:t>された</a:t>
            </a:r>
            <a:endParaRPr kumimoji="1" lang="en-US" altLang="ja-JP" dirty="0" smtClean="0">
              <a:latin typeface="+mn-lt"/>
              <a:ea typeface="+mn-ea"/>
            </a:endParaRPr>
          </a:p>
          <a:p>
            <a:pPr algn="r"/>
            <a:r>
              <a:rPr kumimoji="1" lang="ja-JP" altLang="en-US" b="1" dirty="0">
                <a:latin typeface="+mn-lt"/>
                <a:ea typeface="+mn-ea"/>
              </a:rPr>
              <a:t>マルウェア</a:t>
            </a:r>
            <a:r>
              <a:rPr kumimoji="1" lang="ja-JP" altLang="en-US" b="1" dirty="0" smtClean="0">
                <a:latin typeface="+mn-lt"/>
                <a:ea typeface="+mn-ea"/>
              </a:rPr>
              <a:t>の</a:t>
            </a:r>
            <a:endParaRPr kumimoji="1" lang="en-US" altLang="ja-JP" b="1" dirty="0" smtClean="0">
              <a:latin typeface="+mn-lt"/>
              <a:ea typeface="+mn-ea"/>
            </a:endParaRPr>
          </a:p>
          <a:p>
            <a:pPr algn="r"/>
            <a:r>
              <a:rPr kumimoji="1" lang="en-US" altLang="ja-JP" sz="2000" b="1" dirty="0" smtClean="0">
                <a:latin typeface="+mn-lt"/>
                <a:ea typeface="+mn-ea"/>
              </a:rPr>
              <a:t>DNS</a:t>
            </a:r>
            <a:r>
              <a:rPr kumimoji="1" lang="ja-JP" altLang="en-US" sz="2000" b="1" dirty="0">
                <a:latin typeface="+mn-lt"/>
                <a:ea typeface="+mn-ea"/>
              </a:rPr>
              <a:t>使用率</a:t>
            </a:r>
          </a:p>
        </p:txBody>
      </p:sp>
      <p:sp>
        <p:nvSpPr>
          <p:cNvPr id="9" name="テキスト ボックス 8"/>
          <p:cNvSpPr txBox="1"/>
          <p:nvPr/>
        </p:nvSpPr>
        <p:spPr>
          <a:xfrm>
            <a:off x="2482759" y="2630666"/>
            <a:ext cx="1492716" cy="646331"/>
          </a:xfrm>
          <a:prstGeom prst="rect">
            <a:avLst/>
          </a:prstGeom>
          <a:noFill/>
        </p:spPr>
        <p:txBody>
          <a:bodyPr wrap="none" rtlCol="0">
            <a:spAutoFit/>
          </a:bodyPr>
          <a:lstStyle/>
          <a:p>
            <a:pPr algn="ctr"/>
            <a:r>
              <a:rPr kumimoji="1" lang="en-US" altLang="ja-JP" sz="3600" b="1" dirty="0" smtClean="0">
                <a:solidFill>
                  <a:srgbClr val="C00000"/>
                </a:solidFill>
                <a:latin typeface="+mn-lt"/>
                <a:ea typeface="+mn-ea"/>
              </a:rPr>
              <a:t>91.3%</a:t>
            </a:r>
            <a:endParaRPr kumimoji="1" lang="ja-JP" altLang="en-US" sz="3600" b="1" dirty="0">
              <a:solidFill>
                <a:srgbClr val="C00000"/>
              </a:solidFill>
              <a:latin typeface="+mn-lt"/>
              <a:ea typeface="+mn-ea"/>
            </a:endParaRPr>
          </a:p>
        </p:txBody>
      </p:sp>
      <p:sp>
        <p:nvSpPr>
          <p:cNvPr id="13" name="テキスト ボックス 12"/>
          <p:cNvSpPr txBox="1"/>
          <p:nvPr/>
        </p:nvSpPr>
        <p:spPr>
          <a:xfrm>
            <a:off x="5199756" y="2630666"/>
            <a:ext cx="1107996" cy="646331"/>
          </a:xfrm>
          <a:prstGeom prst="rect">
            <a:avLst/>
          </a:prstGeom>
          <a:noFill/>
        </p:spPr>
        <p:txBody>
          <a:bodyPr wrap="none" rtlCol="0">
            <a:spAutoFit/>
          </a:bodyPr>
          <a:lstStyle/>
          <a:p>
            <a:pPr algn="ctr"/>
            <a:r>
              <a:rPr kumimoji="1" lang="en-US" altLang="ja-JP" sz="3600" b="1" dirty="0" smtClean="0">
                <a:solidFill>
                  <a:srgbClr val="C00000"/>
                </a:solidFill>
                <a:latin typeface="+mn-lt"/>
                <a:ea typeface="+mn-ea"/>
              </a:rPr>
              <a:t>68%</a:t>
            </a:r>
            <a:endParaRPr kumimoji="1" lang="ja-JP" altLang="en-US" sz="3600" b="1" dirty="0">
              <a:solidFill>
                <a:srgbClr val="C00000"/>
              </a:solidFill>
              <a:latin typeface="+mn-lt"/>
              <a:ea typeface="+mn-ea"/>
            </a:endParaRPr>
          </a:p>
        </p:txBody>
      </p:sp>
    </p:spTree>
    <p:extLst>
      <p:ext uri="{BB962C8B-B14F-4D97-AF65-F5344CB8AC3E}">
        <p14:creationId xmlns:p14="http://schemas.microsoft.com/office/powerpoint/2010/main" val="3273799497"/>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433"/>
            <a:ext cx="8706234" cy="731837"/>
          </a:xfrm>
        </p:spPr>
        <p:txBody>
          <a:bodyPr/>
          <a:lstStyle/>
          <a:p>
            <a:r>
              <a:rPr lang="en-US" dirty="0" smtClean="0"/>
              <a:t>DNS is </a:t>
            </a:r>
            <a:r>
              <a:rPr lang="en-US" i="1" dirty="0" smtClean="0">
                <a:solidFill>
                  <a:schemeClr val="accent1"/>
                </a:solidFill>
              </a:rPr>
              <a:t>Used by Every Device</a:t>
            </a:r>
            <a:r>
              <a:rPr lang="en-US" dirty="0" smtClean="0"/>
              <a:t> on your Network</a:t>
            </a:r>
            <a:endParaRPr lang="en-US" dirty="0"/>
          </a:p>
        </p:txBody>
      </p:sp>
      <p:grpSp>
        <p:nvGrpSpPr>
          <p:cNvPr id="3" name="Group 2"/>
          <p:cNvGrpSpPr/>
          <p:nvPr/>
        </p:nvGrpSpPr>
        <p:grpSpPr>
          <a:xfrm>
            <a:off x="6035766" y="1419521"/>
            <a:ext cx="2773009" cy="2810538"/>
            <a:chOff x="8047684" y="1891271"/>
            <a:chExt cx="3697346" cy="3750854"/>
          </a:xfrm>
        </p:grpSpPr>
        <p:sp>
          <p:nvSpPr>
            <p:cNvPr id="4" name="Rectangle 3"/>
            <p:cNvSpPr/>
            <p:nvPr/>
          </p:nvSpPr>
          <p:spPr>
            <a:xfrm>
              <a:off x="8047684" y="4288113"/>
              <a:ext cx="3697346" cy="1354012"/>
            </a:xfrm>
            <a:prstGeom prst="rect">
              <a:avLst/>
            </a:prstGeom>
          </p:spPr>
          <p:txBody>
            <a:bodyPr wrap="squar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799" b="0"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rPr>
                <a:t>全ての</a:t>
              </a:r>
              <a:r>
                <a:rPr kumimoji="0" lang="en-US" altLang="ja-JP" sz="1799" b="0"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rPr>
                <a:t>OS</a:t>
              </a:r>
              <a:endParaRPr kumimoji="0" lang="en-US" sz="1799" b="1" i="0" u="none" strike="noStrike" kern="0" cap="none" spc="0" normalizeH="0" baseline="0" noProof="0" dirty="0">
                <a:ln>
                  <a:noFill/>
                </a:ln>
                <a:solidFill>
                  <a:srgbClr val="5E81D3"/>
                </a:solidFill>
                <a:effectLst/>
                <a:uLnTx/>
                <a:uFillTx/>
                <a:latin typeface="ヒラギノ角ゴ Pro W3"/>
                <a:ea typeface="ヒラギノ角ゴ Pro W3"/>
                <a:cs typeface="ヒラギノ角ゴ Pro W3"/>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rgbClr val="7F7F7F"/>
                  </a:solidFill>
                  <a:effectLst/>
                  <a:uLnTx/>
                  <a:uFillTx/>
                  <a:latin typeface="ヒラギノ角ゴ Pro W3"/>
                  <a:ea typeface="ヒラギノ角ゴ Pro W3"/>
                  <a:cs typeface="ヒラギノ角ゴ Pro W3"/>
                </a:rPr>
                <a:t>Win, Mac, </a:t>
              </a:r>
              <a:r>
                <a:rPr kumimoji="0" lang="en-US" sz="1400" b="1" i="0" u="none" strike="noStrike" kern="0" cap="none" spc="0" normalizeH="0" baseline="0" noProof="0" dirty="0" err="1">
                  <a:ln>
                    <a:noFill/>
                  </a:ln>
                  <a:solidFill>
                    <a:srgbClr val="7F7F7F"/>
                  </a:solidFill>
                  <a:effectLst/>
                  <a:uLnTx/>
                  <a:uFillTx/>
                  <a:latin typeface="ヒラギノ角ゴ Pro W3"/>
                  <a:ea typeface="ヒラギノ角ゴ Pro W3"/>
                  <a:cs typeface="ヒラギノ角ゴ Pro W3"/>
                </a:rPr>
                <a:t>iOS</a:t>
              </a:r>
              <a:r>
                <a:rPr kumimoji="0" lang="en-US" sz="1400" b="1" i="0" u="none" strike="noStrike" kern="0" cap="none" spc="0" normalizeH="0" baseline="0" noProof="0" dirty="0">
                  <a:ln>
                    <a:noFill/>
                  </a:ln>
                  <a:solidFill>
                    <a:srgbClr val="7F7F7F"/>
                  </a:solidFill>
                  <a:effectLst/>
                  <a:uLnTx/>
                  <a:uFillTx/>
                  <a:latin typeface="ヒラギノ角ゴ Pro W3"/>
                  <a:ea typeface="ヒラギノ角ゴ Pro W3"/>
                  <a:cs typeface="ヒラギノ角ゴ Pro W3"/>
                </a:rPr>
                <a:t>, Android, </a:t>
              </a:r>
              <a:r>
                <a:rPr kumimoji="0" 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
              </a:r>
              <a:br>
                <a:rPr kumimoji="0" 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br>
              <a:r>
                <a:rPr kumimoji="0" 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Linux</a:t>
              </a:r>
              <a:r>
                <a:rPr kumimoji="0" lang="en-US" sz="1400" b="1" i="0" u="none" strike="noStrike" kern="0" cap="none" spc="0" normalizeH="0" baseline="0" noProof="0" dirty="0">
                  <a:ln>
                    <a:noFill/>
                  </a:ln>
                  <a:solidFill>
                    <a:srgbClr val="7F7F7F"/>
                  </a:solidFill>
                  <a:effectLst/>
                  <a:uLnTx/>
                  <a:uFillTx/>
                  <a:latin typeface="ヒラギノ角ゴ Pro W3"/>
                  <a:ea typeface="ヒラギノ角ゴ Pro W3"/>
                  <a:cs typeface="ヒラギノ角ゴ Pro W3"/>
                </a:rPr>
                <a:t>, </a:t>
              </a:r>
              <a:r>
                <a:rPr kumimoji="0" lang="ja-JP" alt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カスタマイズされたアプリケーションサーバ</a:t>
              </a:r>
              <a:r>
                <a:rPr kumimoji="0" lang="ja-JP" altLang="en-US" sz="1400" b="1" kern="0" dirty="0" smtClean="0">
                  <a:solidFill>
                    <a:srgbClr val="7F7F7F"/>
                  </a:solidFill>
                  <a:latin typeface="ヒラギノ角ゴ Pro W3"/>
                  <a:ea typeface="ヒラギノ角ゴ Pro W3"/>
                  <a:cs typeface="ヒラギノ角ゴ Pro W3"/>
                </a:rPr>
                <a:t>、</a:t>
              </a:r>
              <a:r>
                <a:rPr kumimoji="0" lang="en-US" altLang="ja-JP" sz="1400" b="1" kern="0" dirty="0" err="1" smtClean="0">
                  <a:solidFill>
                    <a:srgbClr val="7F7F7F"/>
                  </a:solidFill>
                  <a:latin typeface="ヒラギノ角ゴ Pro W3"/>
                  <a:ea typeface="ヒラギノ角ゴ Pro W3"/>
                  <a:cs typeface="ヒラギノ角ゴ Pro W3"/>
                </a:rPr>
                <a:t>IoT</a:t>
              </a:r>
              <a:r>
                <a:rPr kumimoji="0" lang="ja-JP" altLang="en-US" sz="1400" b="1" kern="0" dirty="0" smtClean="0">
                  <a:solidFill>
                    <a:srgbClr val="7F7F7F"/>
                  </a:solidFill>
                  <a:latin typeface="ヒラギノ角ゴ Pro W3"/>
                  <a:ea typeface="ヒラギノ角ゴ Pro W3"/>
                  <a:cs typeface="ヒラギノ角ゴ Pro W3"/>
                </a:rPr>
                <a:t>など</a:t>
              </a:r>
              <a:endParaRPr kumimoji="0" lang="en-US" sz="1400" b="0" i="0" u="none" strike="noStrike" kern="0" cap="none" spc="0" normalizeH="0" baseline="0" noProof="0" dirty="0">
                <a:ln>
                  <a:noFill/>
                </a:ln>
                <a:solidFill>
                  <a:srgbClr val="7F7F7F"/>
                </a:solidFill>
                <a:effectLst/>
                <a:uLnTx/>
                <a:uFillTx/>
                <a:latin typeface="ヒラギノ角ゴ Pro W3"/>
                <a:ea typeface="ヒラギノ角ゴ Pro W3"/>
                <a:cs typeface="ヒラギノ角ゴ Pro W3"/>
              </a:endParaRPr>
            </a:p>
          </p:txBody>
        </p:sp>
        <p:grpSp>
          <p:nvGrpSpPr>
            <p:cNvPr id="5" name="Group 4"/>
            <p:cNvGrpSpPr/>
            <p:nvPr/>
          </p:nvGrpSpPr>
          <p:grpSpPr>
            <a:xfrm>
              <a:off x="8469544" y="1891271"/>
              <a:ext cx="2537123" cy="2094017"/>
              <a:chOff x="8469544" y="1891271"/>
              <a:chExt cx="2537123" cy="2094017"/>
            </a:xfrm>
          </p:grpSpPr>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19242" y="1891271"/>
                <a:ext cx="579182" cy="642214"/>
              </a:xfrm>
              <a:prstGeom prst="rect">
                <a:avLst/>
              </a:prstGeom>
            </p:spPr>
          </p:pic>
          <p:pic>
            <p:nvPicPr>
              <p:cNvPr id="7" name="Picture 6" descr="linux.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505438" y="3262014"/>
                <a:ext cx="616078" cy="723274"/>
              </a:xfrm>
              <a:prstGeom prst="rect">
                <a:avLst/>
              </a:prstGeom>
            </p:spPr>
          </p:pic>
          <p:pic>
            <p:nvPicPr>
              <p:cNvPr id="8" name="Picture 7" descr="ios-logo1.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229187" y="2297028"/>
                <a:ext cx="777480" cy="522558"/>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327284" y="3037452"/>
                <a:ext cx="633202" cy="610912"/>
              </a:xfrm>
              <a:prstGeom prst="rect">
                <a:avLst/>
              </a:prstGeom>
            </p:spPr>
          </p:pic>
          <p:pic>
            <p:nvPicPr>
              <p:cNvPr id="10" name="Picture 9" descr="windows-logo.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743712" y="2309917"/>
                <a:ext cx="569622" cy="504114"/>
              </a:xfrm>
              <a:prstGeom prst="rect">
                <a:avLst/>
              </a:prstGeom>
            </p:spPr>
          </p:pic>
          <p:pic>
            <p:nvPicPr>
              <p:cNvPr id="11" name="Picture 10"/>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469544" y="2867257"/>
                <a:ext cx="1113184" cy="1113182"/>
              </a:xfrm>
              <a:prstGeom prst="rect">
                <a:avLst/>
              </a:prstGeom>
            </p:spPr>
          </p:pic>
        </p:grpSp>
      </p:grpSp>
      <p:grpSp>
        <p:nvGrpSpPr>
          <p:cNvPr id="12" name="Group 11"/>
          <p:cNvGrpSpPr/>
          <p:nvPr/>
        </p:nvGrpSpPr>
        <p:grpSpPr>
          <a:xfrm>
            <a:off x="3231547" y="1547928"/>
            <a:ext cx="2674952" cy="2930866"/>
            <a:chOff x="4308730" y="2062640"/>
            <a:chExt cx="3566602" cy="3911440"/>
          </a:xfrm>
        </p:grpSpPr>
        <p:cxnSp>
          <p:nvCxnSpPr>
            <p:cNvPr id="13" name="Straight Connector 12"/>
            <p:cNvCxnSpPr/>
            <p:nvPr/>
          </p:nvCxnSpPr>
          <p:spPr bwMode="auto">
            <a:xfrm>
              <a:off x="7875332" y="2062640"/>
              <a:ext cx="0" cy="3911440"/>
            </a:xfrm>
            <a:prstGeom prst="line">
              <a:avLst/>
            </a:prstGeom>
            <a:solidFill>
              <a:srgbClr val="F37821"/>
            </a:solidFill>
            <a:ln w="12700" cap="rnd" cmpd="sng" algn="ctr">
              <a:solidFill>
                <a:srgbClr val="4E4E62"/>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 name="Straight Connector 13"/>
            <p:cNvCxnSpPr/>
            <p:nvPr/>
          </p:nvCxnSpPr>
          <p:spPr bwMode="auto">
            <a:xfrm>
              <a:off x="4308730" y="2062640"/>
              <a:ext cx="0" cy="3911440"/>
            </a:xfrm>
            <a:prstGeom prst="line">
              <a:avLst/>
            </a:prstGeom>
            <a:solidFill>
              <a:srgbClr val="F37821"/>
            </a:solidFill>
            <a:ln w="12700" cap="rnd" cmpd="sng" algn="ctr">
              <a:solidFill>
                <a:srgbClr val="4E4E62"/>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5" name="Group 14"/>
          <p:cNvGrpSpPr/>
          <p:nvPr/>
        </p:nvGrpSpPr>
        <p:grpSpPr>
          <a:xfrm>
            <a:off x="3350097" y="1410781"/>
            <a:ext cx="2448357" cy="2819315"/>
            <a:chOff x="4466792" y="1879593"/>
            <a:chExt cx="3264476" cy="3762568"/>
          </a:xfrm>
        </p:grpSpPr>
        <p:sp>
          <p:nvSpPr>
            <p:cNvPr id="16" name="Rectangle 15"/>
            <p:cNvSpPr/>
            <p:nvPr/>
          </p:nvSpPr>
          <p:spPr>
            <a:xfrm>
              <a:off x="4466792" y="4288149"/>
              <a:ext cx="3264476" cy="1354012"/>
            </a:xfrm>
            <a:prstGeom prst="rect">
              <a:avLst/>
            </a:prstGeom>
          </p:spPr>
          <p:txBody>
            <a:bodyPr wrap="squar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799" b="0"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rPr>
                <a:t>全てのトポロジー</a:t>
              </a:r>
              <a:endParaRPr kumimoji="0" lang="en-US" sz="1799" b="1" i="0" u="none" strike="noStrike" kern="0" cap="none" spc="0" normalizeH="0" baseline="0" noProof="0" dirty="0">
                <a:ln>
                  <a:noFill/>
                </a:ln>
                <a:solidFill>
                  <a:srgbClr val="5E81D3"/>
                </a:solidFill>
                <a:effectLst/>
                <a:uLnTx/>
                <a:uFillTx/>
                <a:latin typeface="ヒラギノ角ゴ Pro W3"/>
                <a:ea typeface="ヒラギノ角ゴ Pro W3"/>
                <a:cs typeface="ヒラギノ角ゴ Pro W3"/>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シンプルに動作するのでお客様の</a:t>
              </a:r>
              <a:r>
                <a:rPr kumimoji="0" lang="en-US" altLang="ja-JP"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LAN/WAN</a:t>
              </a:r>
              <a:r>
                <a:rPr kumimoji="0" lang="ja-JP" alt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のセットアップに影響しません</a:t>
              </a:r>
              <a:endParaRPr kumimoji="0" lang="en-US" sz="1400" b="1" i="0" u="none" strike="noStrike" kern="0" cap="none" spc="0" normalizeH="0" baseline="0" noProof="0" dirty="0">
                <a:ln>
                  <a:noFill/>
                </a:ln>
                <a:solidFill>
                  <a:srgbClr val="7F7F7F"/>
                </a:solidFill>
                <a:effectLst/>
                <a:uLnTx/>
                <a:uFillTx/>
                <a:latin typeface="ヒラギノ角ゴ Pro W3"/>
                <a:ea typeface="ヒラギノ角ゴ Pro W3"/>
                <a:cs typeface="ヒラギノ角ゴ Pro W3"/>
              </a:endParaRPr>
            </a:p>
          </p:txBody>
        </p:sp>
        <p:grpSp>
          <p:nvGrpSpPr>
            <p:cNvPr id="17" name="Group 16"/>
            <p:cNvGrpSpPr/>
            <p:nvPr/>
          </p:nvGrpSpPr>
          <p:grpSpPr>
            <a:xfrm>
              <a:off x="4699215" y="1879593"/>
              <a:ext cx="2803468" cy="2099747"/>
              <a:chOff x="4699215" y="1879593"/>
              <a:chExt cx="2803468" cy="2099747"/>
            </a:xfrm>
          </p:grpSpPr>
          <p:sp>
            <p:nvSpPr>
              <p:cNvPr id="18" name="Freeform 168"/>
              <p:cNvSpPr>
                <a:spLocks noEditPoints="1"/>
              </p:cNvSpPr>
              <p:nvPr/>
            </p:nvSpPr>
            <p:spPr bwMode="auto">
              <a:xfrm>
                <a:off x="4809207" y="1879593"/>
                <a:ext cx="1047803" cy="628299"/>
              </a:xfrm>
              <a:custGeom>
                <a:avLst/>
                <a:gdLst>
                  <a:gd name="T0" fmla="*/ 1285 w 1404"/>
                  <a:gd name="T1" fmla="*/ 842 h 842"/>
                  <a:gd name="T2" fmla="*/ 1010 w 1404"/>
                  <a:gd name="T3" fmla="*/ 842 h 842"/>
                  <a:gd name="T4" fmla="*/ 1004 w 1404"/>
                  <a:gd name="T5" fmla="*/ 842 h 842"/>
                  <a:gd name="T6" fmla="*/ 998 w 1404"/>
                  <a:gd name="T7" fmla="*/ 842 h 842"/>
                  <a:gd name="T8" fmla="*/ 615 w 1404"/>
                  <a:gd name="T9" fmla="*/ 842 h 842"/>
                  <a:gd name="T10" fmla="*/ 610 w 1404"/>
                  <a:gd name="T11" fmla="*/ 842 h 842"/>
                  <a:gd name="T12" fmla="*/ 189 w 1404"/>
                  <a:gd name="T13" fmla="*/ 842 h 842"/>
                  <a:gd name="T14" fmla="*/ 186 w 1404"/>
                  <a:gd name="T15" fmla="*/ 842 h 842"/>
                  <a:gd name="T16" fmla="*/ 184 w 1404"/>
                  <a:gd name="T17" fmla="*/ 477 h 842"/>
                  <a:gd name="T18" fmla="*/ 188 w 1404"/>
                  <a:gd name="T19" fmla="*/ 472 h 842"/>
                  <a:gd name="T20" fmla="*/ 297 w 1404"/>
                  <a:gd name="T21" fmla="*/ 123 h 842"/>
                  <a:gd name="T22" fmla="*/ 994 w 1404"/>
                  <a:gd name="T23" fmla="*/ 231 h 842"/>
                  <a:gd name="T24" fmla="*/ 998 w 1404"/>
                  <a:gd name="T25" fmla="*/ 233 h 842"/>
                  <a:gd name="T26" fmla="*/ 1004 w 1404"/>
                  <a:gd name="T27" fmla="*/ 233 h 842"/>
                  <a:gd name="T28" fmla="*/ 1314 w 1404"/>
                  <a:gd name="T29" fmla="*/ 538 h 842"/>
                  <a:gd name="T30" fmla="*/ 1304 w 1404"/>
                  <a:gd name="T31" fmla="*/ 612 h 842"/>
                  <a:gd name="T32" fmla="*/ 1404 w 1404"/>
                  <a:gd name="T33" fmla="*/ 727 h 842"/>
                  <a:gd name="T34" fmla="*/ 184 w 1404"/>
                  <a:gd name="T35" fmla="*/ 520 h 842"/>
                  <a:gd name="T36" fmla="*/ 183 w 1404"/>
                  <a:gd name="T37" fmla="*/ 799 h 842"/>
                  <a:gd name="T38" fmla="*/ 184 w 1404"/>
                  <a:gd name="T39" fmla="*/ 799 h 842"/>
                  <a:gd name="T40" fmla="*/ 606 w 1404"/>
                  <a:gd name="T41" fmla="*/ 799 h 842"/>
                  <a:gd name="T42" fmla="*/ 612 w 1404"/>
                  <a:gd name="T43" fmla="*/ 799 h 842"/>
                  <a:gd name="T44" fmla="*/ 619 w 1404"/>
                  <a:gd name="T45" fmla="*/ 799 h 842"/>
                  <a:gd name="T46" fmla="*/ 1004 w 1404"/>
                  <a:gd name="T47" fmla="*/ 799 h 842"/>
                  <a:gd name="T48" fmla="*/ 1004 w 1404"/>
                  <a:gd name="T49" fmla="*/ 799 h 842"/>
                  <a:gd name="T50" fmla="*/ 1283 w 1404"/>
                  <a:gd name="T51" fmla="*/ 799 h 842"/>
                  <a:gd name="T52" fmla="*/ 1289 w 1404"/>
                  <a:gd name="T53" fmla="*/ 799 h 842"/>
                  <a:gd name="T54" fmla="*/ 1361 w 1404"/>
                  <a:gd name="T55" fmla="*/ 727 h 842"/>
                  <a:gd name="T56" fmla="*/ 1251 w 1404"/>
                  <a:gd name="T57" fmla="*/ 647 h 842"/>
                  <a:gd name="T58" fmla="*/ 1271 w 1404"/>
                  <a:gd name="T59" fmla="*/ 538 h 842"/>
                  <a:gd name="T60" fmla="*/ 998 w 1404"/>
                  <a:gd name="T61" fmla="*/ 277 h 842"/>
                  <a:gd name="T62" fmla="*/ 955 w 1404"/>
                  <a:gd name="T63" fmla="*/ 251 h 842"/>
                  <a:gd name="T64" fmla="*/ 228 w 1404"/>
                  <a:gd name="T65" fmla="*/ 421 h 842"/>
                  <a:gd name="T66" fmla="*/ 237 w 1404"/>
                  <a:gd name="T67" fmla="*/ 519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4" h="842">
                    <a:moveTo>
                      <a:pt x="1286" y="842"/>
                    </a:moveTo>
                    <a:cubicBezTo>
                      <a:pt x="1286" y="842"/>
                      <a:pt x="1286" y="842"/>
                      <a:pt x="1285" y="842"/>
                    </a:cubicBezTo>
                    <a:cubicBezTo>
                      <a:pt x="1285" y="842"/>
                      <a:pt x="1284" y="842"/>
                      <a:pt x="1283" y="842"/>
                    </a:cubicBezTo>
                    <a:cubicBezTo>
                      <a:pt x="1010" y="842"/>
                      <a:pt x="1010" y="842"/>
                      <a:pt x="1010" y="842"/>
                    </a:cubicBezTo>
                    <a:cubicBezTo>
                      <a:pt x="1009" y="842"/>
                      <a:pt x="1008" y="842"/>
                      <a:pt x="1007" y="842"/>
                    </a:cubicBezTo>
                    <a:cubicBezTo>
                      <a:pt x="1006" y="842"/>
                      <a:pt x="1005" y="842"/>
                      <a:pt x="1004" y="842"/>
                    </a:cubicBezTo>
                    <a:cubicBezTo>
                      <a:pt x="1003" y="842"/>
                      <a:pt x="1002" y="842"/>
                      <a:pt x="1001" y="842"/>
                    </a:cubicBezTo>
                    <a:cubicBezTo>
                      <a:pt x="1000" y="842"/>
                      <a:pt x="999" y="842"/>
                      <a:pt x="998" y="842"/>
                    </a:cubicBezTo>
                    <a:cubicBezTo>
                      <a:pt x="619" y="842"/>
                      <a:pt x="619" y="842"/>
                      <a:pt x="619" y="842"/>
                    </a:cubicBezTo>
                    <a:cubicBezTo>
                      <a:pt x="618" y="842"/>
                      <a:pt x="616" y="842"/>
                      <a:pt x="615" y="842"/>
                    </a:cubicBezTo>
                    <a:cubicBezTo>
                      <a:pt x="614" y="842"/>
                      <a:pt x="613" y="842"/>
                      <a:pt x="612" y="842"/>
                    </a:cubicBezTo>
                    <a:cubicBezTo>
                      <a:pt x="611" y="842"/>
                      <a:pt x="611" y="842"/>
                      <a:pt x="610" y="842"/>
                    </a:cubicBezTo>
                    <a:cubicBezTo>
                      <a:pt x="609" y="842"/>
                      <a:pt x="607" y="842"/>
                      <a:pt x="606" y="842"/>
                    </a:cubicBezTo>
                    <a:cubicBezTo>
                      <a:pt x="189" y="842"/>
                      <a:pt x="189" y="842"/>
                      <a:pt x="189" y="842"/>
                    </a:cubicBezTo>
                    <a:cubicBezTo>
                      <a:pt x="189" y="842"/>
                      <a:pt x="188" y="842"/>
                      <a:pt x="187" y="842"/>
                    </a:cubicBezTo>
                    <a:cubicBezTo>
                      <a:pt x="187" y="842"/>
                      <a:pt x="187" y="842"/>
                      <a:pt x="186" y="842"/>
                    </a:cubicBezTo>
                    <a:cubicBezTo>
                      <a:pt x="84" y="842"/>
                      <a:pt x="0" y="760"/>
                      <a:pt x="0" y="659"/>
                    </a:cubicBezTo>
                    <a:cubicBezTo>
                      <a:pt x="0" y="560"/>
                      <a:pt x="82" y="478"/>
                      <a:pt x="184" y="477"/>
                    </a:cubicBezTo>
                    <a:cubicBezTo>
                      <a:pt x="188" y="477"/>
                      <a:pt x="188" y="477"/>
                      <a:pt x="188" y="477"/>
                    </a:cubicBezTo>
                    <a:cubicBezTo>
                      <a:pt x="188" y="472"/>
                      <a:pt x="188" y="472"/>
                      <a:pt x="188" y="472"/>
                    </a:cubicBezTo>
                    <a:cubicBezTo>
                      <a:pt x="185" y="455"/>
                      <a:pt x="184" y="438"/>
                      <a:pt x="184" y="421"/>
                    </a:cubicBezTo>
                    <a:cubicBezTo>
                      <a:pt x="184" y="305"/>
                      <a:pt x="224" y="199"/>
                      <a:pt x="297" y="123"/>
                    </a:cubicBezTo>
                    <a:cubicBezTo>
                      <a:pt x="374" y="43"/>
                      <a:pt x="483" y="0"/>
                      <a:pt x="612" y="0"/>
                    </a:cubicBezTo>
                    <a:cubicBezTo>
                      <a:pt x="774" y="0"/>
                      <a:pt x="921" y="89"/>
                      <a:pt x="994" y="231"/>
                    </a:cubicBezTo>
                    <a:cubicBezTo>
                      <a:pt x="995" y="233"/>
                      <a:pt x="995" y="233"/>
                      <a:pt x="995" y="233"/>
                    </a:cubicBezTo>
                    <a:cubicBezTo>
                      <a:pt x="998" y="233"/>
                      <a:pt x="998" y="233"/>
                      <a:pt x="998" y="233"/>
                    </a:cubicBezTo>
                    <a:cubicBezTo>
                      <a:pt x="999" y="233"/>
                      <a:pt x="1000" y="233"/>
                      <a:pt x="1001" y="233"/>
                    </a:cubicBezTo>
                    <a:cubicBezTo>
                      <a:pt x="1002" y="233"/>
                      <a:pt x="1003" y="233"/>
                      <a:pt x="1004" y="233"/>
                    </a:cubicBezTo>
                    <a:cubicBezTo>
                      <a:pt x="1102" y="233"/>
                      <a:pt x="1182" y="264"/>
                      <a:pt x="1237" y="322"/>
                    </a:cubicBezTo>
                    <a:cubicBezTo>
                      <a:pt x="1287" y="376"/>
                      <a:pt x="1314" y="451"/>
                      <a:pt x="1314" y="538"/>
                    </a:cubicBezTo>
                    <a:cubicBezTo>
                      <a:pt x="1314" y="561"/>
                      <a:pt x="1311" y="584"/>
                      <a:pt x="1305" y="608"/>
                    </a:cubicBezTo>
                    <a:cubicBezTo>
                      <a:pt x="1304" y="612"/>
                      <a:pt x="1304" y="612"/>
                      <a:pt x="1304" y="612"/>
                    </a:cubicBezTo>
                    <a:cubicBezTo>
                      <a:pt x="1308" y="613"/>
                      <a:pt x="1308" y="613"/>
                      <a:pt x="1308" y="613"/>
                    </a:cubicBezTo>
                    <a:cubicBezTo>
                      <a:pt x="1364" y="623"/>
                      <a:pt x="1404" y="671"/>
                      <a:pt x="1404" y="727"/>
                    </a:cubicBezTo>
                    <a:cubicBezTo>
                      <a:pt x="1404" y="790"/>
                      <a:pt x="1351" y="842"/>
                      <a:pt x="1286" y="842"/>
                    </a:cubicBezTo>
                    <a:moveTo>
                      <a:pt x="184" y="520"/>
                    </a:moveTo>
                    <a:cubicBezTo>
                      <a:pt x="107" y="521"/>
                      <a:pt x="44" y="584"/>
                      <a:pt x="44" y="659"/>
                    </a:cubicBezTo>
                    <a:cubicBezTo>
                      <a:pt x="44" y="735"/>
                      <a:pt x="106" y="797"/>
                      <a:pt x="183" y="799"/>
                    </a:cubicBezTo>
                    <a:cubicBezTo>
                      <a:pt x="184" y="799"/>
                      <a:pt x="184" y="799"/>
                      <a:pt x="184" y="799"/>
                    </a:cubicBezTo>
                    <a:cubicBezTo>
                      <a:pt x="184" y="799"/>
                      <a:pt x="184" y="799"/>
                      <a:pt x="184" y="799"/>
                    </a:cubicBezTo>
                    <a:cubicBezTo>
                      <a:pt x="186" y="799"/>
                      <a:pt x="188" y="799"/>
                      <a:pt x="189" y="799"/>
                    </a:cubicBezTo>
                    <a:cubicBezTo>
                      <a:pt x="606" y="799"/>
                      <a:pt x="606" y="799"/>
                      <a:pt x="606" y="799"/>
                    </a:cubicBezTo>
                    <a:cubicBezTo>
                      <a:pt x="608" y="799"/>
                      <a:pt x="610" y="799"/>
                      <a:pt x="612" y="799"/>
                    </a:cubicBezTo>
                    <a:cubicBezTo>
                      <a:pt x="612" y="799"/>
                      <a:pt x="612" y="799"/>
                      <a:pt x="612" y="799"/>
                    </a:cubicBezTo>
                    <a:cubicBezTo>
                      <a:pt x="613" y="799"/>
                      <a:pt x="613" y="799"/>
                      <a:pt x="613" y="799"/>
                    </a:cubicBezTo>
                    <a:cubicBezTo>
                      <a:pt x="615" y="799"/>
                      <a:pt x="617" y="799"/>
                      <a:pt x="619" y="799"/>
                    </a:cubicBezTo>
                    <a:cubicBezTo>
                      <a:pt x="998" y="799"/>
                      <a:pt x="998" y="799"/>
                      <a:pt x="998" y="799"/>
                    </a:cubicBezTo>
                    <a:cubicBezTo>
                      <a:pt x="999" y="799"/>
                      <a:pt x="1001" y="799"/>
                      <a:pt x="1004" y="799"/>
                    </a:cubicBezTo>
                    <a:cubicBezTo>
                      <a:pt x="1004" y="799"/>
                      <a:pt x="1004" y="799"/>
                      <a:pt x="1004" y="799"/>
                    </a:cubicBezTo>
                    <a:cubicBezTo>
                      <a:pt x="1004" y="799"/>
                      <a:pt x="1004" y="799"/>
                      <a:pt x="1004" y="799"/>
                    </a:cubicBezTo>
                    <a:cubicBezTo>
                      <a:pt x="1006" y="799"/>
                      <a:pt x="1008" y="799"/>
                      <a:pt x="1010" y="799"/>
                    </a:cubicBezTo>
                    <a:cubicBezTo>
                      <a:pt x="1283" y="799"/>
                      <a:pt x="1283" y="799"/>
                      <a:pt x="1283" y="799"/>
                    </a:cubicBezTo>
                    <a:cubicBezTo>
                      <a:pt x="1285" y="799"/>
                      <a:pt x="1287" y="799"/>
                      <a:pt x="1289" y="799"/>
                    </a:cubicBezTo>
                    <a:cubicBezTo>
                      <a:pt x="1289" y="799"/>
                      <a:pt x="1289" y="799"/>
                      <a:pt x="1289" y="799"/>
                    </a:cubicBezTo>
                    <a:cubicBezTo>
                      <a:pt x="1289" y="799"/>
                      <a:pt x="1289" y="799"/>
                      <a:pt x="1289" y="799"/>
                    </a:cubicBezTo>
                    <a:cubicBezTo>
                      <a:pt x="1329" y="797"/>
                      <a:pt x="1361" y="766"/>
                      <a:pt x="1361" y="727"/>
                    </a:cubicBezTo>
                    <a:cubicBezTo>
                      <a:pt x="1361" y="692"/>
                      <a:pt x="1335" y="662"/>
                      <a:pt x="1300" y="656"/>
                    </a:cubicBezTo>
                    <a:cubicBezTo>
                      <a:pt x="1251" y="647"/>
                      <a:pt x="1251" y="647"/>
                      <a:pt x="1251" y="647"/>
                    </a:cubicBezTo>
                    <a:cubicBezTo>
                      <a:pt x="1263" y="598"/>
                      <a:pt x="1263" y="598"/>
                      <a:pt x="1263" y="598"/>
                    </a:cubicBezTo>
                    <a:cubicBezTo>
                      <a:pt x="1268" y="577"/>
                      <a:pt x="1271" y="557"/>
                      <a:pt x="1271" y="538"/>
                    </a:cubicBezTo>
                    <a:cubicBezTo>
                      <a:pt x="1271" y="374"/>
                      <a:pt x="1171" y="277"/>
                      <a:pt x="1005" y="276"/>
                    </a:cubicBezTo>
                    <a:cubicBezTo>
                      <a:pt x="1002" y="276"/>
                      <a:pt x="1000" y="277"/>
                      <a:pt x="998" y="277"/>
                    </a:cubicBezTo>
                    <a:cubicBezTo>
                      <a:pt x="969" y="277"/>
                      <a:pt x="969" y="277"/>
                      <a:pt x="969" y="277"/>
                    </a:cubicBezTo>
                    <a:cubicBezTo>
                      <a:pt x="955" y="251"/>
                      <a:pt x="955" y="251"/>
                      <a:pt x="955" y="251"/>
                    </a:cubicBezTo>
                    <a:cubicBezTo>
                      <a:pt x="889" y="123"/>
                      <a:pt x="758" y="44"/>
                      <a:pt x="612" y="44"/>
                    </a:cubicBezTo>
                    <a:cubicBezTo>
                      <a:pt x="382" y="44"/>
                      <a:pt x="228" y="195"/>
                      <a:pt x="228" y="421"/>
                    </a:cubicBezTo>
                    <a:cubicBezTo>
                      <a:pt x="228" y="436"/>
                      <a:pt x="229" y="451"/>
                      <a:pt x="231" y="467"/>
                    </a:cubicBezTo>
                    <a:cubicBezTo>
                      <a:pt x="237" y="519"/>
                      <a:pt x="237" y="519"/>
                      <a:pt x="237" y="519"/>
                    </a:cubicBezTo>
                    <a:lnTo>
                      <a:pt x="184" y="520"/>
                    </a:lnTo>
                    <a:close/>
                  </a:path>
                </a:pathLst>
              </a:custGeom>
              <a:solidFill>
                <a:srgbClr val="5E81D3"/>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nvGrpSpPr>
              <p:cNvPr id="19" name="Group 5"/>
              <p:cNvGrpSpPr>
                <a:grpSpLocks noChangeAspect="1"/>
              </p:cNvGrpSpPr>
              <p:nvPr/>
            </p:nvGrpSpPr>
            <p:grpSpPr bwMode="auto">
              <a:xfrm>
                <a:off x="5581900" y="2883961"/>
                <a:ext cx="492494" cy="435172"/>
                <a:chOff x="2669" y="1436"/>
                <a:chExt cx="421" cy="372"/>
              </a:xfrm>
              <a:solidFill>
                <a:srgbClr val="5E81D3"/>
              </a:solidFill>
            </p:grpSpPr>
            <p:sp>
              <p:nvSpPr>
                <p:cNvPr id="36" name="Freeform 6"/>
                <p:cNvSpPr>
                  <a:spLocks/>
                </p:cNvSpPr>
                <p:nvPr/>
              </p:nvSpPr>
              <p:spPr bwMode="auto">
                <a:xfrm>
                  <a:off x="2669" y="1436"/>
                  <a:ext cx="421" cy="206"/>
                </a:xfrm>
                <a:custGeom>
                  <a:avLst/>
                  <a:gdLst>
                    <a:gd name="T0" fmla="*/ 340 w 421"/>
                    <a:gd name="T1" fmla="*/ 114 h 206"/>
                    <a:gd name="T2" fmla="*/ 340 w 421"/>
                    <a:gd name="T3" fmla="*/ 45 h 206"/>
                    <a:gd name="T4" fmla="*/ 303 w 421"/>
                    <a:gd name="T5" fmla="*/ 45 h 206"/>
                    <a:gd name="T6" fmla="*/ 303 w 421"/>
                    <a:gd name="T7" fmla="*/ 81 h 206"/>
                    <a:gd name="T8" fmla="*/ 213 w 421"/>
                    <a:gd name="T9" fmla="*/ 0 h 206"/>
                    <a:gd name="T10" fmla="*/ 0 w 421"/>
                    <a:gd name="T11" fmla="*/ 185 h 206"/>
                    <a:gd name="T12" fmla="*/ 19 w 421"/>
                    <a:gd name="T13" fmla="*/ 206 h 206"/>
                    <a:gd name="T14" fmla="*/ 213 w 421"/>
                    <a:gd name="T15" fmla="*/ 38 h 206"/>
                    <a:gd name="T16" fmla="*/ 303 w 421"/>
                    <a:gd name="T17" fmla="*/ 118 h 206"/>
                    <a:gd name="T18" fmla="*/ 303 w 421"/>
                    <a:gd name="T19" fmla="*/ 118 h 206"/>
                    <a:gd name="T20" fmla="*/ 305 w 421"/>
                    <a:gd name="T21" fmla="*/ 118 h 206"/>
                    <a:gd name="T22" fmla="*/ 402 w 421"/>
                    <a:gd name="T23" fmla="*/ 206 h 206"/>
                    <a:gd name="T24" fmla="*/ 421 w 421"/>
                    <a:gd name="T25" fmla="*/ 185 h 206"/>
                    <a:gd name="T26" fmla="*/ 340 w 421"/>
                    <a:gd name="T27" fmla="*/ 11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1" h="206">
                      <a:moveTo>
                        <a:pt x="340" y="114"/>
                      </a:moveTo>
                      <a:lnTo>
                        <a:pt x="340" y="45"/>
                      </a:lnTo>
                      <a:lnTo>
                        <a:pt x="303" y="45"/>
                      </a:lnTo>
                      <a:lnTo>
                        <a:pt x="303" y="81"/>
                      </a:lnTo>
                      <a:lnTo>
                        <a:pt x="213" y="0"/>
                      </a:lnTo>
                      <a:lnTo>
                        <a:pt x="0" y="185"/>
                      </a:lnTo>
                      <a:lnTo>
                        <a:pt x="19" y="206"/>
                      </a:lnTo>
                      <a:lnTo>
                        <a:pt x="213" y="38"/>
                      </a:lnTo>
                      <a:lnTo>
                        <a:pt x="303" y="118"/>
                      </a:lnTo>
                      <a:lnTo>
                        <a:pt x="303" y="118"/>
                      </a:lnTo>
                      <a:lnTo>
                        <a:pt x="305" y="118"/>
                      </a:lnTo>
                      <a:lnTo>
                        <a:pt x="402" y="206"/>
                      </a:lnTo>
                      <a:lnTo>
                        <a:pt x="421" y="185"/>
                      </a:lnTo>
                      <a:lnTo>
                        <a:pt x="34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sp>
              <p:nvSpPr>
                <p:cNvPr id="37" name="Freeform 7"/>
                <p:cNvSpPr>
                  <a:spLocks/>
                </p:cNvSpPr>
                <p:nvPr/>
              </p:nvSpPr>
              <p:spPr bwMode="auto">
                <a:xfrm>
                  <a:off x="2731" y="1500"/>
                  <a:ext cx="297" cy="308"/>
                </a:xfrm>
                <a:custGeom>
                  <a:avLst/>
                  <a:gdLst>
                    <a:gd name="T0" fmla="*/ 0 w 297"/>
                    <a:gd name="T1" fmla="*/ 128 h 308"/>
                    <a:gd name="T2" fmla="*/ 0 w 297"/>
                    <a:gd name="T3" fmla="*/ 308 h 308"/>
                    <a:gd name="T4" fmla="*/ 120 w 297"/>
                    <a:gd name="T5" fmla="*/ 308 h 308"/>
                    <a:gd name="T6" fmla="*/ 120 w 297"/>
                    <a:gd name="T7" fmla="*/ 220 h 308"/>
                    <a:gd name="T8" fmla="*/ 177 w 297"/>
                    <a:gd name="T9" fmla="*/ 220 h 308"/>
                    <a:gd name="T10" fmla="*/ 177 w 297"/>
                    <a:gd name="T11" fmla="*/ 308 h 308"/>
                    <a:gd name="T12" fmla="*/ 297 w 297"/>
                    <a:gd name="T13" fmla="*/ 308 h 308"/>
                    <a:gd name="T14" fmla="*/ 297 w 297"/>
                    <a:gd name="T15" fmla="*/ 128 h 308"/>
                    <a:gd name="T16" fmla="*/ 151 w 297"/>
                    <a:gd name="T17" fmla="*/ 0 h 308"/>
                    <a:gd name="T18" fmla="*/ 0 w 297"/>
                    <a:gd name="T19" fmla="*/ 12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7" h="308">
                      <a:moveTo>
                        <a:pt x="0" y="128"/>
                      </a:moveTo>
                      <a:lnTo>
                        <a:pt x="0" y="308"/>
                      </a:lnTo>
                      <a:lnTo>
                        <a:pt x="120" y="308"/>
                      </a:lnTo>
                      <a:lnTo>
                        <a:pt x="120" y="220"/>
                      </a:lnTo>
                      <a:lnTo>
                        <a:pt x="177" y="220"/>
                      </a:lnTo>
                      <a:lnTo>
                        <a:pt x="177" y="308"/>
                      </a:lnTo>
                      <a:lnTo>
                        <a:pt x="297" y="308"/>
                      </a:lnTo>
                      <a:lnTo>
                        <a:pt x="297" y="128"/>
                      </a:lnTo>
                      <a:lnTo>
                        <a:pt x="151" y="0"/>
                      </a:lnTo>
                      <a:lnTo>
                        <a:pt x="0"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grpSp>
          <p:sp>
            <p:nvSpPr>
              <p:cNvPr id="20" name="Freeform 12"/>
              <p:cNvSpPr>
                <a:spLocks noEditPoints="1"/>
              </p:cNvSpPr>
              <p:nvPr/>
            </p:nvSpPr>
            <p:spPr bwMode="auto">
              <a:xfrm>
                <a:off x="6520411" y="2362179"/>
                <a:ext cx="685327" cy="569259"/>
              </a:xfrm>
              <a:custGeom>
                <a:avLst/>
                <a:gdLst>
                  <a:gd name="T0" fmla="*/ 449 w 620"/>
                  <a:gd name="T1" fmla="*/ 31 h 515"/>
                  <a:gd name="T2" fmla="*/ 189 w 620"/>
                  <a:gd name="T3" fmla="*/ 31 h 515"/>
                  <a:gd name="T4" fmla="*/ 0 w 620"/>
                  <a:gd name="T5" fmla="*/ 140 h 515"/>
                  <a:gd name="T6" fmla="*/ 7 w 620"/>
                  <a:gd name="T7" fmla="*/ 515 h 515"/>
                  <a:gd name="T8" fmla="*/ 613 w 620"/>
                  <a:gd name="T9" fmla="*/ 515 h 515"/>
                  <a:gd name="T10" fmla="*/ 620 w 620"/>
                  <a:gd name="T11" fmla="*/ 196 h 515"/>
                  <a:gd name="T12" fmla="*/ 48 w 620"/>
                  <a:gd name="T13" fmla="*/ 395 h 515"/>
                  <a:gd name="T14" fmla="*/ 90 w 620"/>
                  <a:gd name="T15" fmla="*/ 395 h 515"/>
                  <a:gd name="T16" fmla="*/ 48 w 620"/>
                  <a:gd name="T17" fmla="*/ 293 h 515"/>
                  <a:gd name="T18" fmla="*/ 90 w 620"/>
                  <a:gd name="T19" fmla="*/ 277 h 515"/>
                  <a:gd name="T20" fmla="*/ 90 w 620"/>
                  <a:gd name="T21" fmla="*/ 236 h 515"/>
                  <a:gd name="T22" fmla="*/ 48 w 620"/>
                  <a:gd name="T23" fmla="*/ 218 h 515"/>
                  <a:gd name="T24" fmla="*/ 90 w 620"/>
                  <a:gd name="T25" fmla="*/ 218 h 515"/>
                  <a:gd name="T26" fmla="*/ 128 w 620"/>
                  <a:gd name="T27" fmla="*/ 352 h 515"/>
                  <a:gd name="T28" fmla="*/ 168 w 620"/>
                  <a:gd name="T29" fmla="*/ 336 h 515"/>
                  <a:gd name="T30" fmla="*/ 168 w 620"/>
                  <a:gd name="T31" fmla="*/ 293 h 515"/>
                  <a:gd name="T32" fmla="*/ 128 w 620"/>
                  <a:gd name="T33" fmla="*/ 277 h 515"/>
                  <a:gd name="T34" fmla="*/ 168 w 620"/>
                  <a:gd name="T35" fmla="*/ 277 h 515"/>
                  <a:gd name="T36" fmla="*/ 128 w 620"/>
                  <a:gd name="T37" fmla="*/ 177 h 515"/>
                  <a:gd name="T38" fmla="*/ 296 w 620"/>
                  <a:gd name="T39" fmla="*/ 439 h 515"/>
                  <a:gd name="T40" fmla="*/ 296 w 620"/>
                  <a:gd name="T41" fmla="*/ 390 h 515"/>
                  <a:gd name="T42" fmla="*/ 244 w 620"/>
                  <a:gd name="T43" fmla="*/ 371 h 515"/>
                  <a:gd name="T44" fmla="*/ 296 w 620"/>
                  <a:gd name="T45" fmla="*/ 371 h 515"/>
                  <a:gd name="T46" fmla="*/ 244 w 620"/>
                  <a:gd name="T47" fmla="*/ 253 h 515"/>
                  <a:gd name="T48" fmla="*/ 296 w 620"/>
                  <a:gd name="T49" fmla="*/ 232 h 515"/>
                  <a:gd name="T50" fmla="*/ 296 w 620"/>
                  <a:gd name="T51" fmla="*/ 182 h 515"/>
                  <a:gd name="T52" fmla="*/ 244 w 620"/>
                  <a:gd name="T53" fmla="*/ 163 h 515"/>
                  <a:gd name="T54" fmla="*/ 296 w 620"/>
                  <a:gd name="T55" fmla="*/ 163 h 515"/>
                  <a:gd name="T56" fmla="*/ 244 w 620"/>
                  <a:gd name="T57" fmla="*/ 45 h 515"/>
                  <a:gd name="T58" fmla="*/ 390 w 620"/>
                  <a:gd name="T59" fmla="*/ 439 h 515"/>
                  <a:gd name="T60" fmla="*/ 390 w 620"/>
                  <a:gd name="T61" fmla="*/ 390 h 515"/>
                  <a:gd name="T62" fmla="*/ 341 w 620"/>
                  <a:gd name="T63" fmla="*/ 371 h 515"/>
                  <a:gd name="T64" fmla="*/ 390 w 620"/>
                  <a:gd name="T65" fmla="*/ 371 h 515"/>
                  <a:gd name="T66" fmla="*/ 341 w 620"/>
                  <a:gd name="T67" fmla="*/ 253 h 515"/>
                  <a:gd name="T68" fmla="*/ 390 w 620"/>
                  <a:gd name="T69" fmla="*/ 232 h 515"/>
                  <a:gd name="T70" fmla="*/ 390 w 620"/>
                  <a:gd name="T71" fmla="*/ 182 h 515"/>
                  <a:gd name="T72" fmla="*/ 341 w 620"/>
                  <a:gd name="T73" fmla="*/ 163 h 515"/>
                  <a:gd name="T74" fmla="*/ 390 w 620"/>
                  <a:gd name="T75" fmla="*/ 163 h 515"/>
                  <a:gd name="T76" fmla="*/ 341 w 620"/>
                  <a:gd name="T77" fmla="*/ 45 h 515"/>
                  <a:gd name="T78" fmla="*/ 509 w 620"/>
                  <a:gd name="T79" fmla="*/ 411 h 515"/>
                  <a:gd name="T80" fmla="*/ 509 w 620"/>
                  <a:gd name="T81" fmla="*/ 378 h 515"/>
                  <a:gd name="T82" fmla="*/ 473 w 620"/>
                  <a:gd name="T83" fmla="*/ 362 h 515"/>
                  <a:gd name="T84" fmla="*/ 509 w 620"/>
                  <a:gd name="T85" fmla="*/ 362 h 515"/>
                  <a:gd name="T86" fmla="*/ 473 w 620"/>
                  <a:gd name="T87" fmla="*/ 277 h 515"/>
                  <a:gd name="T88" fmla="*/ 509 w 620"/>
                  <a:gd name="T89" fmla="*/ 262 h 515"/>
                  <a:gd name="T90" fmla="*/ 509 w 620"/>
                  <a:gd name="T91" fmla="*/ 227 h 515"/>
                  <a:gd name="T92" fmla="*/ 542 w 620"/>
                  <a:gd name="T93" fmla="*/ 411 h 515"/>
                  <a:gd name="T94" fmla="*/ 575 w 620"/>
                  <a:gd name="T95" fmla="*/ 411 h 515"/>
                  <a:gd name="T96" fmla="*/ 542 w 620"/>
                  <a:gd name="T97" fmla="*/ 326 h 515"/>
                  <a:gd name="T98" fmla="*/ 575 w 620"/>
                  <a:gd name="T99" fmla="*/ 312 h 515"/>
                  <a:gd name="T100" fmla="*/ 575 w 620"/>
                  <a:gd name="T101" fmla="*/ 277 h 515"/>
                  <a:gd name="T102" fmla="*/ 542 w 620"/>
                  <a:gd name="T103" fmla="*/ 262 h 515"/>
                  <a:gd name="T104" fmla="*/ 575 w 620"/>
                  <a:gd name="T105" fmla="*/ 262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0" h="515">
                    <a:moveTo>
                      <a:pt x="442" y="196"/>
                    </a:moveTo>
                    <a:lnTo>
                      <a:pt x="442" y="31"/>
                    </a:lnTo>
                    <a:lnTo>
                      <a:pt x="449" y="31"/>
                    </a:lnTo>
                    <a:lnTo>
                      <a:pt x="449" y="0"/>
                    </a:lnTo>
                    <a:lnTo>
                      <a:pt x="189" y="0"/>
                    </a:lnTo>
                    <a:lnTo>
                      <a:pt x="189" y="31"/>
                    </a:lnTo>
                    <a:lnTo>
                      <a:pt x="197" y="31"/>
                    </a:lnTo>
                    <a:lnTo>
                      <a:pt x="197" y="140"/>
                    </a:lnTo>
                    <a:lnTo>
                      <a:pt x="0" y="140"/>
                    </a:lnTo>
                    <a:lnTo>
                      <a:pt x="0" y="166"/>
                    </a:lnTo>
                    <a:lnTo>
                      <a:pt x="7" y="166"/>
                    </a:lnTo>
                    <a:lnTo>
                      <a:pt x="7" y="515"/>
                    </a:lnTo>
                    <a:lnTo>
                      <a:pt x="211" y="515"/>
                    </a:lnTo>
                    <a:lnTo>
                      <a:pt x="440" y="515"/>
                    </a:lnTo>
                    <a:lnTo>
                      <a:pt x="613" y="515"/>
                    </a:lnTo>
                    <a:lnTo>
                      <a:pt x="613" y="218"/>
                    </a:lnTo>
                    <a:lnTo>
                      <a:pt x="620" y="218"/>
                    </a:lnTo>
                    <a:lnTo>
                      <a:pt x="620" y="196"/>
                    </a:lnTo>
                    <a:lnTo>
                      <a:pt x="442" y="196"/>
                    </a:lnTo>
                    <a:close/>
                    <a:moveTo>
                      <a:pt x="90" y="395"/>
                    </a:moveTo>
                    <a:lnTo>
                      <a:pt x="48" y="395"/>
                    </a:lnTo>
                    <a:lnTo>
                      <a:pt x="48" y="352"/>
                    </a:lnTo>
                    <a:lnTo>
                      <a:pt x="90" y="352"/>
                    </a:lnTo>
                    <a:lnTo>
                      <a:pt x="90" y="395"/>
                    </a:lnTo>
                    <a:close/>
                    <a:moveTo>
                      <a:pt x="90" y="336"/>
                    </a:moveTo>
                    <a:lnTo>
                      <a:pt x="48" y="336"/>
                    </a:lnTo>
                    <a:lnTo>
                      <a:pt x="48" y="293"/>
                    </a:lnTo>
                    <a:lnTo>
                      <a:pt x="90" y="293"/>
                    </a:lnTo>
                    <a:lnTo>
                      <a:pt x="90" y="336"/>
                    </a:lnTo>
                    <a:close/>
                    <a:moveTo>
                      <a:pt x="90" y="277"/>
                    </a:moveTo>
                    <a:lnTo>
                      <a:pt x="48" y="277"/>
                    </a:lnTo>
                    <a:lnTo>
                      <a:pt x="48" y="236"/>
                    </a:lnTo>
                    <a:lnTo>
                      <a:pt x="90" y="236"/>
                    </a:lnTo>
                    <a:lnTo>
                      <a:pt x="90" y="277"/>
                    </a:lnTo>
                    <a:close/>
                    <a:moveTo>
                      <a:pt x="90" y="218"/>
                    </a:moveTo>
                    <a:lnTo>
                      <a:pt x="48" y="218"/>
                    </a:lnTo>
                    <a:lnTo>
                      <a:pt x="48" y="177"/>
                    </a:lnTo>
                    <a:lnTo>
                      <a:pt x="90" y="177"/>
                    </a:lnTo>
                    <a:lnTo>
                      <a:pt x="90" y="218"/>
                    </a:lnTo>
                    <a:close/>
                    <a:moveTo>
                      <a:pt x="168" y="395"/>
                    </a:moveTo>
                    <a:lnTo>
                      <a:pt x="128" y="395"/>
                    </a:lnTo>
                    <a:lnTo>
                      <a:pt x="128" y="352"/>
                    </a:lnTo>
                    <a:lnTo>
                      <a:pt x="168" y="352"/>
                    </a:lnTo>
                    <a:lnTo>
                      <a:pt x="168" y="395"/>
                    </a:lnTo>
                    <a:close/>
                    <a:moveTo>
                      <a:pt x="168" y="336"/>
                    </a:moveTo>
                    <a:lnTo>
                      <a:pt x="128" y="336"/>
                    </a:lnTo>
                    <a:lnTo>
                      <a:pt x="128" y="293"/>
                    </a:lnTo>
                    <a:lnTo>
                      <a:pt x="168" y="293"/>
                    </a:lnTo>
                    <a:lnTo>
                      <a:pt x="168" y="336"/>
                    </a:lnTo>
                    <a:close/>
                    <a:moveTo>
                      <a:pt x="168" y="277"/>
                    </a:moveTo>
                    <a:lnTo>
                      <a:pt x="128" y="277"/>
                    </a:lnTo>
                    <a:lnTo>
                      <a:pt x="128" y="236"/>
                    </a:lnTo>
                    <a:lnTo>
                      <a:pt x="168" y="236"/>
                    </a:lnTo>
                    <a:lnTo>
                      <a:pt x="168" y="277"/>
                    </a:lnTo>
                    <a:close/>
                    <a:moveTo>
                      <a:pt x="168" y="218"/>
                    </a:moveTo>
                    <a:lnTo>
                      <a:pt x="128" y="218"/>
                    </a:lnTo>
                    <a:lnTo>
                      <a:pt x="128" y="177"/>
                    </a:lnTo>
                    <a:lnTo>
                      <a:pt x="168" y="177"/>
                    </a:lnTo>
                    <a:lnTo>
                      <a:pt x="168" y="218"/>
                    </a:lnTo>
                    <a:close/>
                    <a:moveTo>
                      <a:pt x="296" y="439"/>
                    </a:moveTo>
                    <a:lnTo>
                      <a:pt x="244" y="439"/>
                    </a:lnTo>
                    <a:lnTo>
                      <a:pt x="244" y="390"/>
                    </a:lnTo>
                    <a:lnTo>
                      <a:pt x="296" y="390"/>
                    </a:lnTo>
                    <a:lnTo>
                      <a:pt x="296" y="439"/>
                    </a:lnTo>
                    <a:close/>
                    <a:moveTo>
                      <a:pt x="296" y="371"/>
                    </a:moveTo>
                    <a:lnTo>
                      <a:pt x="244" y="371"/>
                    </a:lnTo>
                    <a:lnTo>
                      <a:pt x="244" y="321"/>
                    </a:lnTo>
                    <a:lnTo>
                      <a:pt x="296" y="321"/>
                    </a:lnTo>
                    <a:lnTo>
                      <a:pt x="296" y="371"/>
                    </a:lnTo>
                    <a:close/>
                    <a:moveTo>
                      <a:pt x="296" y="303"/>
                    </a:moveTo>
                    <a:lnTo>
                      <a:pt x="244" y="303"/>
                    </a:lnTo>
                    <a:lnTo>
                      <a:pt x="244" y="253"/>
                    </a:lnTo>
                    <a:lnTo>
                      <a:pt x="296" y="253"/>
                    </a:lnTo>
                    <a:lnTo>
                      <a:pt x="296" y="303"/>
                    </a:lnTo>
                    <a:close/>
                    <a:moveTo>
                      <a:pt x="296" y="232"/>
                    </a:moveTo>
                    <a:lnTo>
                      <a:pt x="244" y="232"/>
                    </a:lnTo>
                    <a:lnTo>
                      <a:pt x="244" y="182"/>
                    </a:lnTo>
                    <a:lnTo>
                      <a:pt x="296" y="182"/>
                    </a:lnTo>
                    <a:lnTo>
                      <a:pt x="296" y="232"/>
                    </a:lnTo>
                    <a:close/>
                    <a:moveTo>
                      <a:pt x="296" y="163"/>
                    </a:moveTo>
                    <a:lnTo>
                      <a:pt x="244" y="163"/>
                    </a:lnTo>
                    <a:lnTo>
                      <a:pt x="244" y="114"/>
                    </a:lnTo>
                    <a:lnTo>
                      <a:pt x="296" y="114"/>
                    </a:lnTo>
                    <a:lnTo>
                      <a:pt x="296" y="163"/>
                    </a:lnTo>
                    <a:close/>
                    <a:moveTo>
                      <a:pt x="296" y="95"/>
                    </a:moveTo>
                    <a:lnTo>
                      <a:pt x="244" y="95"/>
                    </a:lnTo>
                    <a:lnTo>
                      <a:pt x="244" y="45"/>
                    </a:lnTo>
                    <a:lnTo>
                      <a:pt x="296" y="45"/>
                    </a:lnTo>
                    <a:lnTo>
                      <a:pt x="296" y="95"/>
                    </a:lnTo>
                    <a:close/>
                    <a:moveTo>
                      <a:pt x="390" y="439"/>
                    </a:moveTo>
                    <a:lnTo>
                      <a:pt x="341" y="439"/>
                    </a:lnTo>
                    <a:lnTo>
                      <a:pt x="341" y="390"/>
                    </a:lnTo>
                    <a:lnTo>
                      <a:pt x="390" y="390"/>
                    </a:lnTo>
                    <a:lnTo>
                      <a:pt x="390" y="439"/>
                    </a:lnTo>
                    <a:close/>
                    <a:moveTo>
                      <a:pt x="390" y="371"/>
                    </a:moveTo>
                    <a:lnTo>
                      <a:pt x="341" y="371"/>
                    </a:lnTo>
                    <a:lnTo>
                      <a:pt x="341" y="321"/>
                    </a:lnTo>
                    <a:lnTo>
                      <a:pt x="390" y="321"/>
                    </a:lnTo>
                    <a:lnTo>
                      <a:pt x="390" y="371"/>
                    </a:lnTo>
                    <a:close/>
                    <a:moveTo>
                      <a:pt x="390" y="303"/>
                    </a:moveTo>
                    <a:lnTo>
                      <a:pt x="341" y="303"/>
                    </a:lnTo>
                    <a:lnTo>
                      <a:pt x="341" y="253"/>
                    </a:lnTo>
                    <a:lnTo>
                      <a:pt x="390" y="253"/>
                    </a:lnTo>
                    <a:lnTo>
                      <a:pt x="390" y="303"/>
                    </a:lnTo>
                    <a:close/>
                    <a:moveTo>
                      <a:pt x="390" y="232"/>
                    </a:moveTo>
                    <a:lnTo>
                      <a:pt x="341" y="232"/>
                    </a:lnTo>
                    <a:lnTo>
                      <a:pt x="341" y="182"/>
                    </a:lnTo>
                    <a:lnTo>
                      <a:pt x="390" y="182"/>
                    </a:lnTo>
                    <a:lnTo>
                      <a:pt x="390" y="232"/>
                    </a:lnTo>
                    <a:close/>
                    <a:moveTo>
                      <a:pt x="390" y="163"/>
                    </a:moveTo>
                    <a:lnTo>
                      <a:pt x="341" y="163"/>
                    </a:lnTo>
                    <a:lnTo>
                      <a:pt x="341" y="114"/>
                    </a:lnTo>
                    <a:lnTo>
                      <a:pt x="390" y="114"/>
                    </a:lnTo>
                    <a:lnTo>
                      <a:pt x="390" y="163"/>
                    </a:lnTo>
                    <a:close/>
                    <a:moveTo>
                      <a:pt x="390" y="95"/>
                    </a:moveTo>
                    <a:lnTo>
                      <a:pt x="341" y="95"/>
                    </a:lnTo>
                    <a:lnTo>
                      <a:pt x="341" y="45"/>
                    </a:lnTo>
                    <a:lnTo>
                      <a:pt x="390" y="45"/>
                    </a:lnTo>
                    <a:lnTo>
                      <a:pt x="390" y="95"/>
                    </a:lnTo>
                    <a:close/>
                    <a:moveTo>
                      <a:pt x="509" y="411"/>
                    </a:moveTo>
                    <a:lnTo>
                      <a:pt x="473" y="411"/>
                    </a:lnTo>
                    <a:lnTo>
                      <a:pt x="473" y="378"/>
                    </a:lnTo>
                    <a:lnTo>
                      <a:pt x="509" y="378"/>
                    </a:lnTo>
                    <a:lnTo>
                      <a:pt x="509" y="411"/>
                    </a:lnTo>
                    <a:close/>
                    <a:moveTo>
                      <a:pt x="509" y="362"/>
                    </a:moveTo>
                    <a:lnTo>
                      <a:pt x="473" y="362"/>
                    </a:lnTo>
                    <a:lnTo>
                      <a:pt x="473" y="326"/>
                    </a:lnTo>
                    <a:lnTo>
                      <a:pt x="509" y="326"/>
                    </a:lnTo>
                    <a:lnTo>
                      <a:pt x="509" y="362"/>
                    </a:lnTo>
                    <a:close/>
                    <a:moveTo>
                      <a:pt x="509" y="312"/>
                    </a:moveTo>
                    <a:lnTo>
                      <a:pt x="473" y="312"/>
                    </a:lnTo>
                    <a:lnTo>
                      <a:pt x="473" y="277"/>
                    </a:lnTo>
                    <a:lnTo>
                      <a:pt x="509" y="277"/>
                    </a:lnTo>
                    <a:lnTo>
                      <a:pt x="509" y="312"/>
                    </a:lnTo>
                    <a:close/>
                    <a:moveTo>
                      <a:pt x="509" y="262"/>
                    </a:moveTo>
                    <a:lnTo>
                      <a:pt x="473" y="262"/>
                    </a:lnTo>
                    <a:lnTo>
                      <a:pt x="473" y="227"/>
                    </a:lnTo>
                    <a:lnTo>
                      <a:pt x="509" y="227"/>
                    </a:lnTo>
                    <a:lnTo>
                      <a:pt x="509" y="262"/>
                    </a:lnTo>
                    <a:close/>
                    <a:moveTo>
                      <a:pt x="575" y="411"/>
                    </a:moveTo>
                    <a:lnTo>
                      <a:pt x="542" y="411"/>
                    </a:lnTo>
                    <a:lnTo>
                      <a:pt x="542" y="378"/>
                    </a:lnTo>
                    <a:lnTo>
                      <a:pt x="575" y="378"/>
                    </a:lnTo>
                    <a:lnTo>
                      <a:pt x="575" y="411"/>
                    </a:lnTo>
                    <a:close/>
                    <a:moveTo>
                      <a:pt x="575" y="362"/>
                    </a:moveTo>
                    <a:lnTo>
                      <a:pt x="542" y="362"/>
                    </a:lnTo>
                    <a:lnTo>
                      <a:pt x="542" y="326"/>
                    </a:lnTo>
                    <a:lnTo>
                      <a:pt x="575" y="326"/>
                    </a:lnTo>
                    <a:lnTo>
                      <a:pt x="575" y="362"/>
                    </a:lnTo>
                    <a:close/>
                    <a:moveTo>
                      <a:pt x="575" y="312"/>
                    </a:moveTo>
                    <a:lnTo>
                      <a:pt x="542" y="312"/>
                    </a:lnTo>
                    <a:lnTo>
                      <a:pt x="542" y="277"/>
                    </a:lnTo>
                    <a:lnTo>
                      <a:pt x="575" y="277"/>
                    </a:lnTo>
                    <a:lnTo>
                      <a:pt x="575" y="312"/>
                    </a:lnTo>
                    <a:close/>
                    <a:moveTo>
                      <a:pt x="575" y="262"/>
                    </a:moveTo>
                    <a:lnTo>
                      <a:pt x="542" y="262"/>
                    </a:lnTo>
                    <a:lnTo>
                      <a:pt x="542" y="227"/>
                    </a:lnTo>
                    <a:lnTo>
                      <a:pt x="575" y="227"/>
                    </a:lnTo>
                    <a:lnTo>
                      <a:pt x="575" y="262"/>
                    </a:lnTo>
                    <a:close/>
                  </a:path>
                </a:pathLst>
              </a:custGeom>
              <a:solidFill>
                <a:srgbClr val="5E81D3"/>
              </a:solidFill>
              <a:ln>
                <a:noFill/>
              </a:ln>
            </p:spPr>
            <p:txBody>
              <a:bodyPr vert="horz" wrap="square" lIns="68580" tIns="34290" rIns="68580" bIns="3429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00"/>
                  </a:solidFill>
                  <a:effectLst/>
                  <a:uLnTx/>
                  <a:uFillTx/>
                </a:endParaRPr>
              </a:p>
            </p:txBody>
          </p:sp>
          <p:cxnSp>
            <p:nvCxnSpPr>
              <p:cNvPr id="21" name="Straight Connector 20"/>
              <p:cNvCxnSpPr/>
              <p:nvPr/>
            </p:nvCxnSpPr>
            <p:spPr bwMode="auto">
              <a:xfrm>
                <a:off x="5850467" y="2277533"/>
                <a:ext cx="584200" cy="279400"/>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Oval 21"/>
              <p:cNvSpPr/>
              <p:nvPr/>
            </p:nvSpPr>
            <p:spPr bwMode="auto">
              <a:xfrm>
                <a:off x="6279973" y="2756631"/>
                <a:ext cx="1222710" cy="1222709"/>
              </a:xfrm>
              <a:prstGeom prst="ellipse">
                <a:avLst/>
              </a:prstGeom>
              <a:solidFill>
                <a:srgbClr val="FFFFFF"/>
              </a:solidFill>
              <a:ln w="28575" cap="flat" cmpd="sng" algn="ctr">
                <a:solidFill>
                  <a:srgbClr val="5E81D3"/>
                </a:solidFill>
                <a:prstDash val="solid"/>
                <a:round/>
                <a:headEnd type="none" w="med" len="med"/>
                <a:tailEnd type="none" w="med" len="med"/>
              </a:ln>
              <a:effectLst/>
              <a:extLst/>
            </p:spPr>
            <p:txBody>
              <a:bodyPr vert="horz" wrap="square" lIns="68580" tIns="34290" rIns="68580" bIns="34290" numCol="1" rtlCol="0" anchor="t" anchorCtr="0" compatLnSpc="1">
                <a:prstTxWarp prst="textNoShape">
                  <a:avLst/>
                </a:prstTxWarp>
              </a:bodyP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err="1">
                  <a:ln>
                    <a:noFill/>
                  </a:ln>
                  <a:solidFill>
                    <a:sysClr val="windowText" lastClr="000000"/>
                  </a:solidFill>
                  <a:effectLst/>
                  <a:uLnTx/>
                  <a:uFillTx/>
                  <a:latin typeface="Franklin Gothic Book"/>
                  <a:ea typeface="新細明體" charset="0"/>
                  <a:cs typeface="新細明體" charset="0"/>
                </a:endParaRPr>
              </a:p>
            </p:txBody>
          </p:sp>
          <p:sp>
            <p:nvSpPr>
              <p:cNvPr id="23" name="Rounded Rectangle 101"/>
              <p:cNvSpPr/>
              <p:nvPr/>
            </p:nvSpPr>
            <p:spPr>
              <a:xfrm>
                <a:off x="6408158" y="3295011"/>
                <a:ext cx="369631" cy="325294"/>
              </a:xfrm>
              <a:custGeom>
                <a:avLst/>
                <a:gdLst/>
                <a:ahLst/>
                <a:cxnLst/>
                <a:rect l="l" t="t" r="r" b="b"/>
                <a:pathLst>
                  <a:path w="1098562" h="966790">
                    <a:moveTo>
                      <a:pt x="257225" y="925145"/>
                    </a:moveTo>
                    <a:lnTo>
                      <a:pt x="257225" y="925146"/>
                    </a:lnTo>
                    <a:lnTo>
                      <a:pt x="257225" y="925146"/>
                    </a:lnTo>
                    <a:close/>
                    <a:moveTo>
                      <a:pt x="298869" y="883502"/>
                    </a:moveTo>
                    <a:lnTo>
                      <a:pt x="799695" y="883502"/>
                    </a:lnTo>
                    <a:cubicBezTo>
                      <a:pt x="822694" y="883502"/>
                      <a:pt x="841339" y="902147"/>
                      <a:pt x="841339" y="925146"/>
                    </a:cubicBezTo>
                    <a:lnTo>
                      <a:pt x="841338" y="925146"/>
                    </a:lnTo>
                    <a:cubicBezTo>
                      <a:pt x="841338" y="948145"/>
                      <a:pt x="822693" y="966790"/>
                      <a:pt x="799694" y="966790"/>
                    </a:cubicBezTo>
                    <a:lnTo>
                      <a:pt x="298869" y="966789"/>
                    </a:lnTo>
                    <a:cubicBezTo>
                      <a:pt x="287370" y="966789"/>
                      <a:pt x="276959" y="962128"/>
                      <a:pt x="269423" y="954592"/>
                    </a:cubicBezTo>
                    <a:lnTo>
                      <a:pt x="257225" y="925146"/>
                    </a:lnTo>
                    <a:lnTo>
                      <a:pt x="269423" y="895700"/>
                    </a:lnTo>
                    <a:cubicBezTo>
                      <a:pt x="276959" y="888163"/>
                      <a:pt x="287370" y="883502"/>
                      <a:pt x="298869" y="883502"/>
                    </a:cubicBezTo>
                    <a:close/>
                    <a:moveTo>
                      <a:pt x="81478" y="75804"/>
                    </a:moveTo>
                    <a:lnTo>
                      <a:pt x="81478" y="678404"/>
                    </a:lnTo>
                    <a:lnTo>
                      <a:pt x="1017084" y="678404"/>
                    </a:lnTo>
                    <a:lnTo>
                      <a:pt x="1017084" y="75804"/>
                    </a:lnTo>
                    <a:close/>
                    <a:moveTo>
                      <a:pt x="102550" y="0"/>
                    </a:moveTo>
                    <a:lnTo>
                      <a:pt x="996012" y="0"/>
                    </a:lnTo>
                    <a:cubicBezTo>
                      <a:pt x="1052649" y="0"/>
                      <a:pt x="1098562" y="45913"/>
                      <a:pt x="1098562" y="102550"/>
                    </a:cubicBezTo>
                    <a:lnTo>
                      <a:pt x="1098562" y="717847"/>
                    </a:lnTo>
                    <a:cubicBezTo>
                      <a:pt x="1098562" y="774484"/>
                      <a:pt x="1052649" y="820397"/>
                      <a:pt x="996012" y="820397"/>
                    </a:cubicBezTo>
                    <a:lnTo>
                      <a:pt x="102550" y="820397"/>
                    </a:lnTo>
                    <a:cubicBezTo>
                      <a:pt x="45913" y="820397"/>
                      <a:pt x="0" y="774484"/>
                      <a:pt x="0" y="717847"/>
                    </a:cubicBezTo>
                    <a:lnTo>
                      <a:pt x="0" y="102550"/>
                    </a:lnTo>
                    <a:cubicBezTo>
                      <a:pt x="0" y="45913"/>
                      <a:pt x="45913" y="0"/>
                      <a:pt x="102550" y="0"/>
                    </a:cubicBezTo>
                    <a:close/>
                  </a:path>
                </a:pathLst>
              </a:custGeom>
              <a:solidFill>
                <a:srgbClr val="5E81D3"/>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Franklin Gothic Book"/>
                  <a:ea typeface="新細明體"/>
                  <a:cs typeface="新細明體"/>
                </a:endParaRPr>
              </a:p>
            </p:txBody>
          </p:sp>
          <p:grpSp>
            <p:nvGrpSpPr>
              <p:cNvPr id="24" name="Group 5"/>
              <p:cNvGrpSpPr>
                <a:grpSpLocks noChangeAspect="1"/>
              </p:cNvGrpSpPr>
              <p:nvPr/>
            </p:nvGrpSpPr>
            <p:grpSpPr bwMode="auto">
              <a:xfrm>
                <a:off x="6983017" y="3309339"/>
                <a:ext cx="414865" cy="296629"/>
                <a:chOff x="4329" y="271"/>
                <a:chExt cx="1186" cy="848"/>
              </a:xfrm>
              <a:solidFill>
                <a:srgbClr val="5E81D3"/>
              </a:solidFill>
            </p:grpSpPr>
            <p:sp>
              <p:nvSpPr>
                <p:cNvPr id="34" name="Freeform 6"/>
                <p:cNvSpPr>
                  <a:spLocks/>
                </p:cNvSpPr>
                <p:nvPr/>
              </p:nvSpPr>
              <p:spPr bwMode="auto">
                <a:xfrm>
                  <a:off x="4379" y="271"/>
                  <a:ext cx="1090" cy="664"/>
                </a:xfrm>
                <a:custGeom>
                  <a:avLst/>
                  <a:gdLst>
                    <a:gd name="T0" fmla="*/ 21 w 284"/>
                    <a:gd name="T1" fmla="*/ 22 h 173"/>
                    <a:gd name="T2" fmla="*/ 262 w 284"/>
                    <a:gd name="T3" fmla="*/ 22 h 173"/>
                    <a:gd name="T4" fmla="*/ 262 w 284"/>
                    <a:gd name="T5" fmla="*/ 173 h 173"/>
                    <a:gd name="T6" fmla="*/ 284 w 284"/>
                    <a:gd name="T7" fmla="*/ 173 h 173"/>
                    <a:gd name="T8" fmla="*/ 284 w 284"/>
                    <a:gd name="T9" fmla="*/ 11 h 173"/>
                    <a:gd name="T10" fmla="*/ 273 w 284"/>
                    <a:gd name="T11" fmla="*/ 0 h 173"/>
                    <a:gd name="T12" fmla="*/ 10 w 284"/>
                    <a:gd name="T13" fmla="*/ 0 h 173"/>
                    <a:gd name="T14" fmla="*/ 0 w 284"/>
                    <a:gd name="T15" fmla="*/ 11 h 173"/>
                    <a:gd name="T16" fmla="*/ 0 w 284"/>
                    <a:gd name="T17" fmla="*/ 173 h 173"/>
                    <a:gd name="T18" fmla="*/ 21 w 284"/>
                    <a:gd name="T19" fmla="*/ 173 h 173"/>
                    <a:gd name="T20" fmla="*/ 21 w 284"/>
                    <a:gd name="T21" fmla="*/ 2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173">
                      <a:moveTo>
                        <a:pt x="21" y="22"/>
                      </a:moveTo>
                      <a:cubicBezTo>
                        <a:pt x="262" y="22"/>
                        <a:pt x="262" y="22"/>
                        <a:pt x="262" y="22"/>
                      </a:cubicBezTo>
                      <a:cubicBezTo>
                        <a:pt x="262" y="173"/>
                        <a:pt x="262" y="173"/>
                        <a:pt x="262" y="173"/>
                      </a:cubicBezTo>
                      <a:cubicBezTo>
                        <a:pt x="284" y="173"/>
                        <a:pt x="284" y="173"/>
                        <a:pt x="284" y="173"/>
                      </a:cubicBezTo>
                      <a:cubicBezTo>
                        <a:pt x="284" y="11"/>
                        <a:pt x="284" y="11"/>
                        <a:pt x="284" y="11"/>
                      </a:cubicBezTo>
                      <a:cubicBezTo>
                        <a:pt x="284" y="5"/>
                        <a:pt x="279" y="0"/>
                        <a:pt x="273" y="0"/>
                      </a:cubicBezTo>
                      <a:cubicBezTo>
                        <a:pt x="10" y="0"/>
                        <a:pt x="10" y="0"/>
                        <a:pt x="10" y="0"/>
                      </a:cubicBezTo>
                      <a:cubicBezTo>
                        <a:pt x="4" y="0"/>
                        <a:pt x="0" y="5"/>
                        <a:pt x="0" y="11"/>
                      </a:cubicBezTo>
                      <a:cubicBezTo>
                        <a:pt x="0" y="173"/>
                        <a:pt x="0" y="173"/>
                        <a:pt x="0" y="173"/>
                      </a:cubicBezTo>
                      <a:cubicBezTo>
                        <a:pt x="21" y="173"/>
                        <a:pt x="21" y="173"/>
                        <a:pt x="21" y="173"/>
                      </a:cubicBezTo>
                      <a:lnTo>
                        <a:pt x="21" y="22"/>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sp>
              <p:nvSpPr>
                <p:cNvPr id="35" name="Freeform 7"/>
                <p:cNvSpPr>
                  <a:spLocks/>
                </p:cNvSpPr>
                <p:nvPr/>
              </p:nvSpPr>
              <p:spPr bwMode="auto">
                <a:xfrm>
                  <a:off x="4329" y="1004"/>
                  <a:ext cx="1186" cy="115"/>
                </a:xfrm>
                <a:custGeom>
                  <a:avLst/>
                  <a:gdLst>
                    <a:gd name="T0" fmla="*/ 171 w 309"/>
                    <a:gd name="T1" fmla="*/ 0 h 30"/>
                    <a:gd name="T2" fmla="*/ 171 w 309"/>
                    <a:gd name="T3" fmla="*/ 4 h 30"/>
                    <a:gd name="T4" fmla="*/ 165 w 309"/>
                    <a:gd name="T5" fmla="*/ 10 h 30"/>
                    <a:gd name="T6" fmla="*/ 144 w 309"/>
                    <a:gd name="T7" fmla="*/ 10 h 30"/>
                    <a:gd name="T8" fmla="*/ 138 w 309"/>
                    <a:gd name="T9" fmla="*/ 4 h 30"/>
                    <a:gd name="T10" fmla="*/ 138 w 309"/>
                    <a:gd name="T11" fmla="*/ 0 h 30"/>
                    <a:gd name="T12" fmla="*/ 0 w 309"/>
                    <a:gd name="T13" fmla="*/ 0 h 30"/>
                    <a:gd name="T14" fmla="*/ 0 w 309"/>
                    <a:gd name="T15" fmla="*/ 19 h 30"/>
                    <a:gd name="T16" fmla="*/ 11 w 309"/>
                    <a:gd name="T17" fmla="*/ 30 h 30"/>
                    <a:gd name="T18" fmla="*/ 298 w 309"/>
                    <a:gd name="T19" fmla="*/ 30 h 30"/>
                    <a:gd name="T20" fmla="*/ 309 w 309"/>
                    <a:gd name="T21" fmla="*/ 19 h 30"/>
                    <a:gd name="T22" fmla="*/ 309 w 309"/>
                    <a:gd name="T23" fmla="*/ 0 h 30"/>
                    <a:gd name="T24" fmla="*/ 171 w 309"/>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
                      <a:moveTo>
                        <a:pt x="171" y="0"/>
                      </a:moveTo>
                      <a:cubicBezTo>
                        <a:pt x="171" y="4"/>
                        <a:pt x="171" y="4"/>
                        <a:pt x="171" y="4"/>
                      </a:cubicBezTo>
                      <a:cubicBezTo>
                        <a:pt x="171" y="7"/>
                        <a:pt x="169" y="10"/>
                        <a:pt x="165" y="10"/>
                      </a:cubicBezTo>
                      <a:cubicBezTo>
                        <a:pt x="144" y="10"/>
                        <a:pt x="144" y="10"/>
                        <a:pt x="144" y="10"/>
                      </a:cubicBezTo>
                      <a:cubicBezTo>
                        <a:pt x="141" y="10"/>
                        <a:pt x="138" y="7"/>
                        <a:pt x="138" y="4"/>
                      </a:cubicBezTo>
                      <a:cubicBezTo>
                        <a:pt x="138" y="0"/>
                        <a:pt x="138" y="0"/>
                        <a:pt x="138" y="0"/>
                      </a:cubicBezTo>
                      <a:cubicBezTo>
                        <a:pt x="0" y="0"/>
                        <a:pt x="0" y="0"/>
                        <a:pt x="0" y="0"/>
                      </a:cubicBezTo>
                      <a:cubicBezTo>
                        <a:pt x="0" y="19"/>
                        <a:pt x="0" y="19"/>
                        <a:pt x="0" y="19"/>
                      </a:cubicBezTo>
                      <a:cubicBezTo>
                        <a:pt x="0" y="25"/>
                        <a:pt x="5" y="30"/>
                        <a:pt x="11" y="30"/>
                      </a:cubicBezTo>
                      <a:cubicBezTo>
                        <a:pt x="298" y="30"/>
                        <a:pt x="298" y="30"/>
                        <a:pt x="298" y="30"/>
                      </a:cubicBezTo>
                      <a:cubicBezTo>
                        <a:pt x="304" y="30"/>
                        <a:pt x="309" y="25"/>
                        <a:pt x="309" y="19"/>
                      </a:cubicBezTo>
                      <a:cubicBezTo>
                        <a:pt x="309" y="0"/>
                        <a:pt x="309" y="0"/>
                        <a:pt x="309" y="0"/>
                      </a:cubicBezTo>
                      <a:lnTo>
                        <a:pt x="171" y="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grpSp>
          <p:sp>
            <p:nvSpPr>
              <p:cNvPr id="25" name="Freeform 6"/>
              <p:cNvSpPr>
                <a:spLocks noEditPoints="1"/>
              </p:cNvSpPr>
              <p:nvPr/>
            </p:nvSpPr>
            <p:spPr bwMode="auto">
              <a:xfrm>
                <a:off x="4699215" y="2910164"/>
                <a:ext cx="249580" cy="443921"/>
              </a:xfrm>
              <a:custGeom>
                <a:avLst/>
                <a:gdLst>
                  <a:gd name="T0" fmla="*/ 87 w 103"/>
                  <a:gd name="T1" fmla="*/ 0 h 184"/>
                  <a:gd name="T2" fmla="*/ 16 w 103"/>
                  <a:gd name="T3" fmla="*/ 0 h 184"/>
                  <a:gd name="T4" fmla="*/ 0 w 103"/>
                  <a:gd name="T5" fmla="*/ 17 h 184"/>
                  <a:gd name="T6" fmla="*/ 0 w 103"/>
                  <a:gd name="T7" fmla="*/ 168 h 184"/>
                  <a:gd name="T8" fmla="*/ 16 w 103"/>
                  <a:gd name="T9" fmla="*/ 184 h 184"/>
                  <a:gd name="T10" fmla="*/ 87 w 103"/>
                  <a:gd name="T11" fmla="*/ 184 h 184"/>
                  <a:gd name="T12" fmla="*/ 103 w 103"/>
                  <a:gd name="T13" fmla="*/ 168 h 184"/>
                  <a:gd name="T14" fmla="*/ 103 w 103"/>
                  <a:gd name="T15" fmla="*/ 17 h 184"/>
                  <a:gd name="T16" fmla="*/ 87 w 103"/>
                  <a:gd name="T17" fmla="*/ 0 h 184"/>
                  <a:gd name="T18" fmla="*/ 51 w 103"/>
                  <a:gd name="T19" fmla="*/ 175 h 184"/>
                  <a:gd name="T20" fmla="*/ 42 w 103"/>
                  <a:gd name="T21" fmla="*/ 165 h 184"/>
                  <a:gd name="T22" fmla="*/ 51 w 103"/>
                  <a:gd name="T23" fmla="*/ 155 h 184"/>
                  <a:gd name="T24" fmla="*/ 61 w 103"/>
                  <a:gd name="T25" fmla="*/ 165 h 184"/>
                  <a:gd name="T26" fmla="*/ 51 w 103"/>
                  <a:gd name="T27" fmla="*/ 175 h 184"/>
                  <a:gd name="T28" fmla="*/ 92 w 103"/>
                  <a:gd name="T29" fmla="*/ 147 h 184"/>
                  <a:gd name="T30" fmla="*/ 11 w 103"/>
                  <a:gd name="T31" fmla="*/ 147 h 184"/>
                  <a:gd name="T32" fmla="*/ 11 w 103"/>
                  <a:gd name="T33" fmla="*/ 27 h 184"/>
                  <a:gd name="T34" fmla="*/ 92 w 103"/>
                  <a:gd name="T35" fmla="*/ 27 h 184"/>
                  <a:gd name="T36" fmla="*/ 92 w 103"/>
                  <a:gd name="T3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84">
                    <a:moveTo>
                      <a:pt x="87" y="0"/>
                    </a:moveTo>
                    <a:cubicBezTo>
                      <a:pt x="16" y="0"/>
                      <a:pt x="16" y="0"/>
                      <a:pt x="16" y="0"/>
                    </a:cubicBezTo>
                    <a:cubicBezTo>
                      <a:pt x="7" y="0"/>
                      <a:pt x="0" y="8"/>
                      <a:pt x="0" y="17"/>
                    </a:cubicBezTo>
                    <a:cubicBezTo>
                      <a:pt x="0" y="168"/>
                      <a:pt x="0" y="168"/>
                      <a:pt x="0" y="168"/>
                    </a:cubicBezTo>
                    <a:cubicBezTo>
                      <a:pt x="0" y="177"/>
                      <a:pt x="7" y="184"/>
                      <a:pt x="16" y="184"/>
                    </a:cubicBezTo>
                    <a:cubicBezTo>
                      <a:pt x="87" y="184"/>
                      <a:pt x="87" y="184"/>
                      <a:pt x="87" y="184"/>
                    </a:cubicBezTo>
                    <a:cubicBezTo>
                      <a:pt x="96" y="184"/>
                      <a:pt x="103" y="177"/>
                      <a:pt x="103" y="168"/>
                    </a:cubicBezTo>
                    <a:cubicBezTo>
                      <a:pt x="103" y="17"/>
                      <a:pt x="103" y="17"/>
                      <a:pt x="103" y="17"/>
                    </a:cubicBezTo>
                    <a:cubicBezTo>
                      <a:pt x="103" y="8"/>
                      <a:pt x="96" y="0"/>
                      <a:pt x="87" y="0"/>
                    </a:cubicBezTo>
                    <a:moveTo>
                      <a:pt x="51" y="175"/>
                    </a:moveTo>
                    <a:cubicBezTo>
                      <a:pt x="46" y="175"/>
                      <a:pt x="42" y="171"/>
                      <a:pt x="42" y="165"/>
                    </a:cubicBezTo>
                    <a:cubicBezTo>
                      <a:pt x="42" y="160"/>
                      <a:pt x="46" y="155"/>
                      <a:pt x="51" y="155"/>
                    </a:cubicBezTo>
                    <a:cubicBezTo>
                      <a:pt x="57" y="155"/>
                      <a:pt x="61" y="160"/>
                      <a:pt x="61" y="165"/>
                    </a:cubicBezTo>
                    <a:cubicBezTo>
                      <a:pt x="61" y="171"/>
                      <a:pt x="57" y="175"/>
                      <a:pt x="51" y="175"/>
                    </a:cubicBezTo>
                    <a:moveTo>
                      <a:pt x="92" y="147"/>
                    </a:moveTo>
                    <a:cubicBezTo>
                      <a:pt x="11" y="147"/>
                      <a:pt x="11" y="147"/>
                      <a:pt x="11" y="147"/>
                    </a:cubicBezTo>
                    <a:cubicBezTo>
                      <a:pt x="11" y="27"/>
                      <a:pt x="11" y="27"/>
                      <a:pt x="11" y="27"/>
                    </a:cubicBezTo>
                    <a:cubicBezTo>
                      <a:pt x="92" y="27"/>
                      <a:pt x="92" y="27"/>
                      <a:pt x="92" y="27"/>
                    </a:cubicBezTo>
                    <a:lnTo>
                      <a:pt x="92" y="147"/>
                    </a:lnTo>
                    <a:close/>
                  </a:path>
                </a:pathLst>
              </a:custGeom>
              <a:solidFill>
                <a:srgbClr val="5E81D3"/>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grpSp>
            <p:nvGrpSpPr>
              <p:cNvPr id="26" name="Group 5"/>
              <p:cNvGrpSpPr>
                <a:grpSpLocks noChangeAspect="1"/>
              </p:cNvGrpSpPr>
              <p:nvPr/>
            </p:nvGrpSpPr>
            <p:grpSpPr bwMode="auto">
              <a:xfrm>
                <a:off x="5125676" y="3190877"/>
                <a:ext cx="414865" cy="296629"/>
                <a:chOff x="4329" y="271"/>
                <a:chExt cx="1186" cy="848"/>
              </a:xfrm>
              <a:solidFill>
                <a:srgbClr val="5E81D3"/>
              </a:solidFill>
            </p:grpSpPr>
            <p:sp>
              <p:nvSpPr>
                <p:cNvPr id="32" name="Freeform 6"/>
                <p:cNvSpPr>
                  <a:spLocks/>
                </p:cNvSpPr>
                <p:nvPr/>
              </p:nvSpPr>
              <p:spPr bwMode="auto">
                <a:xfrm>
                  <a:off x="4379" y="271"/>
                  <a:ext cx="1090" cy="664"/>
                </a:xfrm>
                <a:custGeom>
                  <a:avLst/>
                  <a:gdLst>
                    <a:gd name="T0" fmla="*/ 21 w 284"/>
                    <a:gd name="T1" fmla="*/ 22 h 173"/>
                    <a:gd name="T2" fmla="*/ 262 w 284"/>
                    <a:gd name="T3" fmla="*/ 22 h 173"/>
                    <a:gd name="T4" fmla="*/ 262 w 284"/>
                    <a:gd name="T5" fmla="*/ 173 h 173"/>
                    <a:gd name="T6" fmla="*/ 284 w 284"/>
                    <a:gd name="T7" fmla="*/ 173 h 173"/>
                    <a:gd name="T8" fmla="*/ 284 w 284"/>
                    <a:gd name="T9" fmla="*/ 11 h 173"/>
                    <a:gd name="T10" fmla="*/ 273 w 284"/>
                    <a:gd name="T11" fmla="*/ 0 h 173"/>
                    <a:gd name="T12" fmla="*/ 10 w 284"/>
                    <a:gd name="T13" fmla="*/ 0 h 173"/>
                    <a:gd name="T14" fmla="*/ 0 w 284"/>
                    <a:gd name="T15" fmla="*/ 11 h 173"/>
                    <a:gd name="T16" fmla="*/ 0 w 284"/>
                    <a:gd name="T17" fmla="*/ 173 h 173"/>
                    <a:gd name="T18" fmla="*/ 21 w 284"/>
                    <a:gd name="T19" fmla="*/ 173 h 173"/>
                    <a:gd name="T20" fmla="*/ 21 w 284"/>
                    <a:gd name="T21" fmla="*/ 2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173">
                      <a:moveTo>
                        <a:pt x="21" y="22"/>
                      </a:moveTo>
                      <a:cubicBezTo>
                        <a:pt x="262" y="22"/>
                        <a:pt x="262" y="22"/>
                        <a:pt x="262" y="22"/>
                      </a:cubicBezTo>
                      <a:cubicBezTo>
                        <a:pt x="262" y="173"/>
                        <a:pt x="262" y="173"/>
                        <a:pt x="262" y="173"/>
                      </a:cubicBezTo>
                      <a:cubicBezTo>
                        <a:pt x="284" y="173"/>
                        <a:pt x="284" y="173"/>
                        <a:pt x="284" y="173"/>
                      </a:cubicBezTo>
                      <a:cubicBezTo>
                        <a:pt x="284" y="11"/>
                        <a:pt x="284" y="11"/>
                        <a:pt x="284" y="11"/>
                      </a:cubicBezTo>
                      <a:cubicBezTo>
                        <a:pt x="284" y="5"/>
                        <a:pt x="279" y="0"/>
                        <a:pt x="273" y="0"/>
                      </a:cubicBezTo>
                      <a:cubicBezTo>
                        <a:pt x="10" y="0"/>
                        <a:pt x="10" y="0"/>
                        <a:pt x="10" y="0"/>
                      </a:cubicBezTo>
                      <a:cubicBezTo>
                        <a:pt x="4" y="0"/>
                        <a:pt x="0" y="5"/>
                        <a:pt x="0" y="11"/>
                      </a:cubicBezTo>
                      <a:cubicBezTo>
                        <a:pt x="0" y="173"/>
                        <a:pt x="0" y="173"/>
                        <a:pt x="0" y="173"/>
                      </a:cubicBezTo>
                      <a:cubicBezTo>
                        <a:pt x="21" y="173"/>
                        <a:pt x="21" y="173"/>
                        <a:pt x="21" y="173"/>
                      </a:cubicBezTo>
                      <a:lnTo>
                        <a:pt x="21" y="22"/>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sp>
              <p:nvSpPr>
                <p:cNvPr id="33" name="Freeform 7"/>
                <p:cNvSpPr>
                  <a:spLocks/>
                </p:cNvSpPr>
                <p:nvPr/>
              </p:nvSpPr>
              <p:spPr bwMode="auto">
                <a:xfrm>
                  <a:off x="4329" y="1004"/>
                  <a:ext cx="1186" cy="115"/>
                </a:xfrm>
                <a:custGeom>
                  <a:avLst/>
                  <a:gdLst>
                    <a:gd name="T0" fmla="*/ 171 w 309"/>
                    <a:gd name="T1" fmla="*/ 0 h 30"/>
                    <a:gd name="T2" fmla="*/ 171 w 309"/>
                    <a:gd name="T3" fmla="*/ 4 h 30"/>
                    <a:gd name="T4" fmla="*/ 165 w 309"/>
                    <a:gd name="T5" fmla="*/ 10 h 30"/>
                    <a:gd name="T6" fmla="*/ 144 w 309"/>
                    <a:gd name="T7" fmla="*/ 10 h 30"/>
                    <a:gd name="T8" fmla="*/ 138 w 309"/>
                    <a:gd name="T9" fmla="*/ 4 h 30"/>
                    <a:gd name="T10" fmla="*/ 138 w 309"/>
                    <a:gd name="T11" fmla="*/ 0 h 30"/>
                    <a:gd name="T12" fmla="*/ 0 w 309"/>
                    <a:gd name="T13" fmla="*/ 0 h 30"/>
                    <a:gd name="T14" fmla="*/ 0 w 309"/>
                    <a:gd name="T15" fmla="*/ 19 h 30"/>
                    <a:gd name="T16" fmla="*/ 11 w 309"/>
                    <a:gd name="T17" fmla="*/ 30 h 30"/>
                    <a:gd name="T18" fmla="*/ 298 w 309"/>
                    <a:gd name="T19" fmla="*/ 30 h 30"/>
                    <a:gd name="T20" fmla="*/ 309 w 309"/>
                    <a:gd name="T21" fmla="*/ 19 h 30"/>
                    <a:gd name="T22" fmla="*/ 309 w 309"/>
                    <a:gd name="T23" fmla="*/ 0 h 30"/>
                    <a:gd name="T24" fmla="*/ 171 w 309"/>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
                      <a:moveTo>
                        <a:pt x="171" y="0"/>
                      </a:moveTo>
                      <a:cubicBezTo>
                        <a:pt x="171" y="4"/>
                        <a:pt x="171" y="4"/>
                        <a:pt x="171" y="4"/>
                      </a:cubicBezTo>
                      <a:cubicBezTo>
                        <a:pt x="171" y="7"/>
                        <a:pt x="169" y="10"/>
                        <a:pt x="165" y="10"/>
                      </a:cubicBezTo>
                      <a:cubicBezTo>
                        <a:pt x="144" y="10"/>
                        <a:pt x="144" y="10"/>
                        <a:pt x="144" y="10"/>
                      </a:cubicBezTo>
                      <a:cubicBezTo>
                        <a:pt x="141" y="10"/>
                        <a:pt x="138" y="7"/>
                        <a:pt x="138" y="4"/>
                      </a:cubicBezTo>
                      <a:cubicBezTo>
                        <a:pt x="138" y="0"/>
                        <a:pt x="138" y="0"/>
                        <a:pt x="138" y="0"/>
                      </a:cubicBezTo>
                      <a:cubicBezTo>
                        <a:pt x="0" y="0"/>
                        <a:pt x="0" y="0"/>
                        <a:pt x="0" y="0"/>
                      </a:cubicBezTo>
                      <a:cubicBezTo>
                        <a:pt x="0" y="19"/>
                        <a:pt x="0" y="19"/>
                        <a:pt x="0" y="19"/>
                      </a:cubicBezTo>
                      <a:cubicBezTo>
                        <a:pt x="0" y="25"/>
                        <a:pt x="5" y="30"/>
                        <a:pt x="11" y="30"/>
                      </a:cubicBezTo>
                      <a:cubicBezTo>
                        <a:pt x="298" y="30"/>
                        <a:pt x="298" y="30"/>
                        <a:pt x="298" y="30"/>
                      </a:cubicBezTo>
                      <a:cubicBezTo>
                        <a:pt x="304" y="30"/>
                        <a:pt x="309" y="25"/>
                        <a:pt x="309" y="19"/>
                      </a:cubicBezTo>
                      <a:cubicBezTo>
                        <a:pt x="309" y="0"/>
                        <a:pt x="309" y="0"/>
                        <a:pt x="309" y="0"/>
                      </a:cubicBezTo>
                      <a:lnTo>
                        <a:pt x="171" y="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grpSp>
          <p:cxnSp>
            <p:nvCxnSpPr>
              <p:cNvPr id="27" name="Straight Connector 26"/>
              <p:cNvCxnSpPr/>
              <p:nvPr/>
            </p:nvCxnSpPr>
            <p:spPr bwMode="auto">
              <a:xfrm flipH="1">
                <a:off x="6594386" y="2896369"/>
                <a:ext cx="253274" cy="323145"/>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8" name="Straight Connector 27"/>
              <p:cNvCxnSpPr/>
              <p:nvPr/>
            </p:nvCxnSpPr>
            <p:spPr bwMode="auto">
              <a:xfrm>
                <a:off x="6934995" y="2896369"/>
                <a:ext cx="253274" cy="323145"/>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9" name="Straight Connector 28"/>
              <p:cNvCxnSpPr/>
              <p:nvPr/>
            </p:nvCxnSpPr>
            <p:spPr bwMode="auto">
              <a:xfrm flipH="1">
                <a:off x="4855143" y="2578283"/>
                <a:ext cx="314411" cy="270742"/>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0" name="Straight Connector 29"/>
              <p:cNvCxnSpPr/>
              <p:nvPr/>
            </p:nvCxnSpPr>
            <p:spPr bwMode="auto">
              <a:xfrm>
                <a:off x="5478972" y="2578283"/>
                <a:ext cx="314411" cy="270742"/>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1" name="Straight Connector 30"/>
              <p:cNvCxnSpPr/>
              <p:nvPr/>
            </p:nvCxnSpPr>
            <p:spPr bwMode="auto">
              <a:xfrm flipH="1">
                <a:off x="5334245" y="2593255"/>
                <a:ext cx="2494" cy="491579"/>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38" name="Group 37"/>
          <p:cNvGrpSpPr/>
          <p:nvPr/>
        </p:nvGrpSpPr>
        <p:grpSpPr>
          <a:xfrm>
            <a:off x="429378" y="1410781"/>
            <a:ext cx="2657636" cy="2825659"/>
            <a:chOff x="572503" y="1879593"/>
            <a:chExt cx="3543515" cy="3771035"/>
          </a:xfrm>
        </p:grpSpPr>
        <p:sp>
          <p:nvSpPr>
            <p:cNvPr id="39" name="Rectangle 38"/>
            <p:cNvSpPr/>
            <p:nvPr/>
          </p:nvSpPr>
          <p:spPr>
            <a:xfrm>
              <a:off x="572503" y="4296616"/>
              <a:ext cx="3543515" cy="1354012"/>
            </a:xfrm>
            <a:prstGeom prst="rect">
              <a:avLst/>
            </a:prstGeom>
          </p:spPr>
          <p:txBody>
            <a:bodyPr wrap="square">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1799" b="0"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rPr>
                <a:t>全ての所有者</a:t>
              </a:r>
              <a:endParaRPr kumimoji="0" lang="en-US" sz="1799" b="1"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ja-JP" alt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ネットワーク上の</a:t>
              </a:r>
              <a:r>
                <a:rPr kumimoji="0" lang="en-US" altLang="ja-JP"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DHCP</a:t>
              </a:r>
              <a:r>
                <a:rPr kumimoji="0" lang="ja-JP" alt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が全ての接続されたデバイスに</a:t>
              </a:r>
              <a:r>
                <a:rPr kumimoji="0" lang="en-US" altLang="ja-JP"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DNS</a:t>
              </a:r>
              <a:r>
                <a:rPr kumimoji="0" lang="ja-JP" altLang="en-US" sz="1400" b="1" i="0" u="none" strike="noStrike" kern="0" cap="none" spc="0" normalizeH="0" baseline="0" noProof="0" dirty="0" smtClean="0">
                  <a:ln>
                    <a:noFill/>
                  </a:ln>
                  <a:solidFill>
                    <a:srgbClr val="7F7F7F"/>
                  </a:solidFill>
                  <a:effectLst/>
                  <a:uLnTx/>
                  <a:uFillTx/>
                  <a:latin typeface="ヒラギノ角ゴ Pro W3"/>
                  <a:ea typeface="ヒラギノ角ゴ Pro W3"/>
                  <a:cs typeface="ヒラギノ角ゴ Pro W3"/>
                </a:rPr>
                <a:t>を指すように支持する</a:t>
              </a:r>
              <a:endParaRPr kumimoji="0" lang="en-US" sz="1400" b="0" i="0" u="none" strike="noStrike" kern="0" cap="none" spc="0" normalizeH="0" baseline="0" noProof="0" dirty="0">
                <a:ln>
                  <a:noFill/>
                </a:ln>
                <a:solidFill>
                  <a:srgbClr val="7F7F7F"/>
                </a:solidFill>
                <a:effectLst/>
                <a:uLnTx/>
                <a:uFillTx/>
                <a:latin typeface="ヒラギノ角ゴ Pro W3"/>
                <a:ea typeface="ヒラギノ角ゴ Pro W3"/>
                <a:cs typeface="ヒラギノ角ゴ Pro W3"/>
              </a:endParaRPr>
            </a:p>
          </p:txBody>
        </p:sp>
        <p:grpSp>
          <p:nvGrpSpPr>
            <p:cNvPr id="40" name="Group 39"/>
            <p:cNvGrpSpPr/>
            <p:nvPr/>
          </p:nvGrpSpPr>
          <p:grpSpPr>
            <a:xfrm>
              <a:off x="1108024" y="1879593"/>
              <a:ext cx="2480689" cy="2111002"/>
              <a:chOff x="1108024" y="1879593"/>
              <a:chExt cx="2480689" cy="2111002"/>
            </a:xfrm>
          </p:grpSpPr>
          <p:grpSp>
            <p:nvGrpSpPr>
              <p:cNvPr id="41" name="Group 5"/>
              <p:cNvGrpSpPr>
                <a:grpSpLocks noChangeAspect="1"/>
              </p:cNvGrpSpPr>
              <p:nvPr/>
            </p:nvGrpSpPr>
            <p:grpSpPr bwMode="auto">
              <a:xfrm>
                <a:off x="1108024" y="2784409"/>
                <a:ext cx="731434" cy="522976"/>
                <a:chOff x="4329" y="271"/>
                <a:chExt cx="1186" cy="848"/>
              </a:xfrm>
              <a:solidFill>
                <a:srgbClr val="5E81D3"/>
              </a:solidFill>
            </p:grpSpPr>
            <p:sp>
              <p:nvSpPr>
                <p:cNvPr id="50" name="Freeform 6"/>
                <p:cNvSpPr>
                  <a:spLocks/>
                </p:cNvSpPr>
                <p:nvPr/>
              </p:nvSpPr>
              <p:spPr bwMode="auto">
                <a:xfrm>
                  <a:off x="4379" y="271"/>
                  <a:ext cx="1090" cy="664"/>
                </a:xfrm>
                <a:custGeom>
                  <a:avLst/>
                  <a:gdLst>
                    <a:gd name="T0" fmla="*/ 21 w 284"/>
                    <a:gd name="T1" fmla="*/ 22 h 173"/>
                    <a:gd name="T2" fmla="*/ 262 w 284"/>
                    <a:gd name="T3" fmla="*/ 22 h 173"/>
                    <a:gd name="T4" fmla="*/ 262 w 284"/>
                    <a:gd name="T5" fmla="*/ 173 h 173"/>
                    <a:gd name="T6" fmla="*/ 284 w 284"/>
                    <a:gd name="T7" fmla="*/ 173 h 173"/>
                    <a:gd name="T8" fmla="*/ 284 w 284"/>
                    <a:gd name="T9" fmla="*/ 11 h 173"/>
                    <a:gd name="T10" fmla="*/ 273 w 284"/>
                    <a:gd name="T11" fmla="*/ 0 h 173"/>
                    <a:gd name="T12" fmla="*/ 10 w 284"/>
                    <a:gd name="T13" fmla="*/ 0 h 173"/>
                    <a:gd name="T14" fmla="*/ 0 w 284"/>
                    <a:gd name="T15" fmla="*/ 11 h 173"/>
                    <a:gd name="T16" fmla="*/ 0 w 284"/>
                    <a:gd name="T17" fmla="*/ 173 h 173"/>
                    <a:gd name="T18" fmla="*/ 21 w 284"/>
                    <a:gd name="T19" fmla="*/ 173 h 173"/>
                    <a:gd name="T20" fmla="*/ 21 w 284"/>
                    <a:gd name="T21" fmla="*/ 2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173">
                      <a:moveTo>
                        <a:pt x="21" y="22"/>
                      </a:moveTo>
                      <a:cubicBezTo>
                        <a:pt x="262" y="22"/>
                        <a:pt x="262" y="22"/>
                        <a:pt x="262" y="22"/>
                      </a:cubicBezTo>
                      <a:cubicBezTo>
                        <a:pt x="262" y="173"/>
                        <a:pt x="262" y="173"/>
                        <a:pt x="262" y="173"/>
                      </a:cubicBezTo>
                      <a:cubicBezTo>
                        <a:pt x="284" y="173"/>
                        <a:pt x="284" y="173"/>
                        <a:pt x="284" y="173"/>
                      </a:cubicBezTo>
                      <a:cubicBezTo>
                        <a:pt x="284" y="11"/>
                        <a:pt x="284" y="11"/>
                        <a:pt x="284" y="11"/>
                      </a:cubicBezTo>
                      <a:cubicBezTo>
                        <a:pt x="284" y="5"/>
                        <a:pt x="279" y="0"/>
                        <a:pt x="273" y="0"/>
                      </a:cubicBezTo>
                      <a:cubicBezTo>
                        <a:pt x="10" y="0"/>
                        <a:pt x="10" y="0"/>
                        <a:pt x="10" y="0"/>
                      </a:cubicBezTo>
                      <a:cubicBezTo>
                        <a:pt x="4" y="0"/>
                        <a:pt x="0" y="5"/>
                        <a:pt x="0" y="11"/>
                      </a:cubicBezTo>
                      <a:cubicBezTo>
                        <a:pt x="0" y="173"/>
                        <a:pt x="0" y="173"/>
                        <a:pt x="0" y="173"/>
                      </a:cubicBezTo>
                      <a:cubicBezTo>
                        <a:pt x="21" y="173"/>
                        <a:pt x="21" y="173"/>
                        <a:pt x="21" y="173"/>
                      </a:cubicBezTo>
                      <a:lnTo>
                        <a:pt x="21" y="22"/>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sp>
              <p:nvSpPr>
                <p:cNvPr id="51" name="Freeform 7"/>
                <p:cNvSpPr>
                  <a:spLocks/>
                </p:cNvSpPr>
                <p:nvPr/>
              </p:nvSpPr>
              <p:spPr bwMode="auto">
                <a:xfrm>
                  <a:off x="4329" y="1004"/>
                  <a:ext cx="1186" cy="115"/>
                </a:xfrm>
                <a:custGeom>
                  <a:avLst/>
                  <a:gdLst>
                    <a:gd name="T0" fmla="*/ 171 w 309"/>
                    <a:gd name="T1" fmla="*/ 0 h 30"/>
                    <a:gd name="T2" fmla="*/ 171 w 309"/>
                    <a:gd name="T3" fmla="*/ 4 h 30"/>
                    <a:gd name="T4" fmla="*/ 165 w 309"/>
                    <a:gd name="T5" fmla="*/ 10 h 30"/>
                    <a:gd name="T6" fmla="*/ 144 w 309"/>
                    <a:gd name="T7" fmla="*/ 10 h 30"/>
                    <a:gd name="T8" fmla="*/ 138 w 309"/>
                    <a:gd name="T9" fmla="*/ 4 h 30"/>
                    <a:gd name="T10" fmla="*/ 138 w 309"/>
                    <a:gd name="T11" fmla="*/ 0 h 30"/>
                    <a:gd name="T12" fmla="*/ 0 w 309"/>
                    <a:gd name="T13" fmla="*/ 0 h 30"/>
                    <a:gd name="T14" fmla="*/ 0 w 309"/>
                    <a:gd name="T15" fmla="*/ 19 h 30"/>
                    <a:gd name="T16" fmla="*/ 11 w 309"/>
                    <a:gd name="T17" fmla="*/ 30 h 30"/>
                    <a:gd name="T18" fmla="*/ 298 w 309"/>
                    <a:gd name="T19" fmla="*/ 30 h 30"/>
                    <a:gd name="T20" fmla="*/ 309 w 309"/>
                    <a:gd name="T21" fmla="*/ 19 h 30"/>
                    <a:gd name="T22" fmla="*/ 309 w 309"/>
                    <a:gd name="T23" fmla="*/ 0 h 30"/>
                    <a:gd name="T24" fmla="*/ 171 w 309"/>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
                      <a:moveTo>
                        <a:pt x="171" y="0"/>
                      </a:moveTo>
                      <a:cubicBezTo>
                        <a:pt x="171" y="4"/>
                        <a:pt x="171" y="4"/>
                        <a:pt x="171" y="4"/>
                      </a:cubicBezTo>
                      <a:cubicBezTo>
                        <a:pt x="171" y="7"/>
                        <a:pt x="169" y="10"/>
                        <a:pt x="165" y="10"/>
                      </a:cubicBezTo>
                      <a:cubicBezTo>
                        <a:pt x="144" y="10"/>
                        <a:pt x="144" y="10"/>
                        <a:pt x="144" y="10"/>
                      </a:cubicBezTo>
                      <a:cubicBezTo>
                        <a:pt x="141" y="10"/>
                        <a:pt x="138" y="7"/>
                        <a:pt x="138" y="4"/>
                      </a:cubicBezTo>
                      <a:cubicBezTo>
                        <a:pt x="138" y="0"/>
                        <a:pt x="138" y="0"/>
                        <a:pt x="138" y="0"/>
                      </a:cubicBezTo>
                      <a:cubicBezTo>
                        <a:pt x="0" y="0"/>
                        <a:pt x="0" y="0"/>
                        <a:pt x="0" y="0"/>
                      </a:cubicBezTo>
                      <a:cubicBezTo>
                        <a:pt x="0" y="19"/>
                        <a:pt x="0" y="19"/>
                        <a:pt x="0" y="19"/>
                      </a:cubicBezTo>
                      <a:cubicBezTo>
                        <a:pt x="0" y="25"/>
                        <a:pt x="5" y="30"/>
                        <a:pt x="11" y="30"/>
                      </a:cubicBezTo>
                      <a:cubicBezTo>
                        <a:pt x="298" y="30"/>
                        <a:pt x="298" y="30"/>
                        <a:pt x="298" y="30"/>
                      </a:cubicBezTo>
                      <a:cubicBezTo>
                        <a:pt x="304" y="30"/>
                        <a:pt x="309" y="25"/>
                        <a:pt x="309" y="19"/>
                      </a:cubicBezTo>
                      <a:cubicBezTo>
                        <a:pt x="309" y="0"/>
                        <a:pt x="309" y="0"/>
                        <a:pt x="309" y="0"/>
                      </a:cubicBezTo>
                      <a:lnTo>
                        <a:pt x="171" y="0"/>
                      </a:lnTo>
                      <a:close/>
                    </a:path>
                  </a:pathLst>
                </a:custGeom>
                <a:grp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grpSp>
          <p:sp>
            <p:nvSpPr>
              <p:cNvPr id="42" name="Freeform 6"/>
              <p:cNvSpPr>
                <a:spLocks noEditPoints="1"/>
              </p:cNvSpPr>
              <p:nvPr/>
            </p:nvSpPr>
            <p:spPr bwMode="auto">
              <a:xfrm>
                <a:off x="2200650" y="3522537"/>
                <a:ext cx="263151" cy="468058"/>
              </a:xfrm>
              <a:custGeom>
                <a:avLst/>
                <a:gdLst>
                  <a:gd name="T0" fmla="*/ 87 w 103"/>
                  <a:gd name="T1" fmla="*/ 0 h 184"/>
                  <a:gd name="T2" fmla="*/ 16 w 103"/>
                  <a:gd name="T3" fmla="*/ 0 h 184"/>
                  <a:gd name="T4" fmla="*/ 0 w 103"/>
                  <a:gd name="T5" fmla="*/ 17 h 184"/>
                  <a:gd name="T6" fmla="*/ 0 w 103"/>
                  <a:gd name="T7" fmla="*/ 168 h 184"/>
                  <a:gd name="T8" fmla="*/ 16 w 103"/>
                  <a:gd name="T9" fmla="*/ 184 h 184"/>
                  <a:gd name="T10" fmla="*/ 87 w 103"/>
                  <a:gd name="T11" fmla="*/ 184 h 184"/>
                  <a:gd name="T12" fmla="*/ 103 w 103"/>
                  <a:gd name="T13" fmla="*/ 168 h 184"/>
                  <a:gd name="T14" fmla="*/ 103 w 103"/>
                  <a:gd name="T15" fmla="*/ 17 h 184"/>
                  <a:gd name="T16" fmla="*/ 87 w 103"/>
                  <a:gd name="T17" fmla="*/ 0 h 184"/>
                  <a:gd name="T18" fmla="*/ 51 w 103"/>
                  <a:gd name="T19" fmla="*/ 175 h 184"/>
                  <a:gd name="T20" fmla="*/ 42 w 103"/>
                  <a:gd name="T21" fmla="*/ 165 h 184"/>
                  <a:gd name="T22" fmla="*/ 51 w 103"/>
                  <a:gd name="T23" fmla="*/ 155 h 184"/>
                  <a:gd name="T24" fmla="*/ 61 w 103"/>
                  <a:gd name="T25" fmla="*/ 165 h 184"/>
                  <a:gd name="T26" fmla="*/ 51 w 103"/>
                  <a:gd name="T27" fmla="*/ 175 h 184"/>
                  <a:gd name="T28" fmla="*/ 92 w 103"/>
                  <a:gd name="T29" fmla="*/ 147 h 184"/>
                  <a:gd name="T30" fmla="*/ 11 w 103"/>
                  <a:gd name="T31" fmla="*/ 147 h 184"/>
                  <a:gd name="T32" fmla="*/ 11 w 103"/>
                  <a:gd name="T33" fmla="*/ 27 h 184"/>
                  <a:gd name="T34" fmla="*/ 92 w 103"/>
                  <a:gd name="T35" fmla="*/ 27 h 184"/>
                  <a:gd name="T36" fmla="*/ 92 w 103"/>
                  <a:gd name="T3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84">
                    <a:moveTo>
                      <a:pt x="87" y="0"/>
                    </a:moveTo>
                    <a:cubicBezTo>
                      <a:pt x="16" y="0"/>
                      <a:pt x="16" y="0"/>
                      <a:pt x="16" y="0"/>
                    </a:cubicBezTo>
                    <a:cubicBezTo>
                      <a:pt x="7" y="0"/>
                      <a:pt x="0" y="8"/>
                      <a:pt x="0" y="17"/>
                    </a:cubicBezTo>
                    <a:cubicBezTo>
                      <a:pt x="0" y="168"/>
                      <a:pt x="0" y="168"/>
                      <a:pt x="0" y="168"/>
                    </a:cubicBezTo>
                    <a:cubicBezTo>
                      <a:pt x="0" y="177"/>
                      <a:pt x="7" y="184"/>
                      <a:pt x="16" y="184"/>
                    </a:cubicBezTo>
                    <a:cubicBezTo>
                      <a:pt x="87" y="184"/>
                      <a:pt x="87" y="184"/>
                      <a:pt x="87" y="184"/>
                    </a:cubicBezTo>
                    <a:cubicBezTo>
                      <a:pt x="96" y="184"/>
                      <a:pt x="103" y="177"/>
                      <a:pt x="103" y="168"/>
                    </a:cubicBezTo>
                    <a:cubicBezTo>
                      <a:pt x="103" y="17"/>
                      <a:pt x="103" y="17"/>
                      <a:pt x="103" y="17"/>
                    </a:cubicBezTo>
                    <a:cubicBezTo>
                      <a:pt x="103" y="8"/>
                      <a:pt x="96" y="0"/>
                      <a:pt x="87" y="0"/>
                    </a:cubicBezTo>
                    <a:moveTo>
                      <a:pt x="51" y="175"/>
                    </a:moveTo>
                    <a:cubicBezTo>
                      <a:pt x="46" y="175"/>
                      <a:pt x="42" y="171"/>
                      <a:pt x="42" y="165"/>
                    </a:cubicBezTo>
                    <a:cubicBezTo>
                      <a:pt x="42" y="160"/>
                      <a:pt x="46" y="155"/>
                      <a:pt x="51" y="155"/>
                    </a:cubicBezTo>
                    <a:cubicBezTo>
                      <a:pt x="57" y="155"/>
                      <a:pt x="61" y="160"/>
                      <a:pt x="61" y="165"/>
                    </a:cubicBezTo>
                    <a:cubicBezTo>
                      <a:pt x="61" y="171"/>
                      <a:pt x="57" y="175"/>
                      <a:pt x="51" y="175"/>
                    </a:cubicBezTo>
                    <a:moveTo>
                      <a:pt x="92" y="147"/>
                    </a:moveTo>
                    <a:cubicBezTo>
                      <a:pt x="11" y="147"/>
                      <a:pt x="11" y="147"/>
                      <a:pt x="11" y="147"/>
                    </a:cubicBezTo>
                    <a:cubicBezTo>
                      <a:pt x="11" y="27"/>
                      <a:pt x="11" y="27"/>
                      <a:pt x="11" y="27"/>
                    </a:cubicBezTo>
                    <a:cubicBezTo>
                      <a:pt x="92" y="27"/>
                      <a:pt x="92" y="27"/>
                      <a:pt x="92" y="27"/>
                    </a:cubicBezTo>
                    <a:lnTo>
                      <a:pt x="92" y="147"/>
                    </a:lnTo>
                    <a:close/>
                  </a:path>
                </a:pathLst>
              </a:custGeom>
              <a:solidFill>
                <a:srgbClr val="5E81D3"/>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ysClr val="windowText" lastClr="000000"/>
                  </a:solidFill>
                  <a:effectLst/>
                  <a:uLnTx/>
                  <a:uFillTx/>
                </a:endParaRPr>
              </a:p>
            </p:txBody>
          </p:sp>
          <p:sp>
            <p:nvSpPr>
              <p:cNvPr id="43" name="Freeform 7"/>
              <p:cNvSpPr>
                <a:spLocks noEditPoints="1"/>
              </p:cNvSpPr>
              <p:nvPr/>
            </p:nvSpPr>
            <p:spPr bwMode="auto">
              <a:xfrm>
                <a:off x="2139799" y="2797742"/>
                <a:ext cx="403177" cy="403178"/>
              </a:xfrm>
              <a:custGeom>
                <a:avLst/>
                <a:gdLst>
                  <a:gd name="T0" fmla="*/ 115 w 231"/>
                  <a:gd name="T1" fmla="*/ 0 h 231"/>
                  <a:gd name="T2" fmla="*/ 0 w 231"/>
                  <a:gd name="T3" fmla="*/ 116 h 231"/>
                  <a:gd name="T4" fmla="*/ 115 w 231"/>
                  <a:gd name="T5" fmla="*/ 231 h 231"/>
                  <a:gd name="T6" fmla="*/ 231 w 231"/>
                  <a:gd name="T7" fmla="*/ 116 h 231"/>
                  <a:gd name="T8" fmla="*/ 115 w 231"/>
                  <a:gd name="T9" fmla="*/ 0 h 231"/>
                  <a:gd name="T10" fmla="*/ 87 w 231"/>
                  <a:gd name="T11" fmla="*/ 56 h 231"/>
                  <a:gd name="T12" fmla="*/ 113 w 231"/>
                  <a:gd name="T13" fmla="*/ 23 h 231"/>
                  <a:gd name="T14" fmla="*/ 118 w 231"/>
                  <a:gd name="T15" fmla="*/ 23 h 231"/>
                  <a:gd name="T16" fmla="*/ 144 w 231"/>
                  <a:gd name="T17" fmla="*/ 56 h 231"/>
                  <a:gd name="T18" fmla="*/ 143 w 231"/>
                  <a:gd name="T19" fmla="*/ 60 h 231"/>
                  <a:gd name="T20" fmla="*/ 125 w 231"/>
                  <a:gd name="T21" fmla="*/ 60 h 231"/>
                  <a:gd name="T22" fmla="*/ 125 w 231"/>
                  <a:gd name="T23" fmla="*/ 88 h 231"/>
                  <a:gd name="T24" fmla="*/ 120 w 231"/>
                  <a:gd name="T25" fmla="*/ 92 h 231"/>
                  <a:gd name="T26" fmla="*/ 110 w 231"/>
                  <a:gd name="T27" fmla="*/ 92 h 231"/>
                  <a:gd name="T28" fmla="*/ 106 w 231"/>
                  <a:gd name="T29" fmla="*/ 88 h 231"/>
                  <a:gd name="T30" fmla="*/ 106 w 231"/>
                  <a:gd name="T31" fmla="*/ 59 h 231"/>
                  <a:gd name="T32" fmla="*/ 88 w 231"/>
                  <a:gd name="T33" fmla="*/ 59 h 231"/>
                  <a:gd name="T34" fmla="*/ 87 w 231"/>
                  <a:gd name="T35" fmla="*/ 56 h 231"/>
                  <a:gd name="T36" fmla="*/ 52 w 231"/>
                  <a:gd name="T37" fmla="*/ 143 h 231"/>
                  <a:gd name="T38" fmla="*/ 52 w 231"/>
                  <a:gd name="T39" fmla="*/ 125 h 231"/>
                  <a:gd name="T40" fmla="*/ 24 w 231"/>
                  <a:gd name="T41" fmla="*/ 125 h 231"/>
                  <a:gd name="T42" fmla="*/ 20 w 231"/>
                  <a:gd name="T43" fmla="*/ 121 h 231"/>
                  <a:gd name="T44" fmla="*/ 20 w 231"/>
                  <a:gd name="T45" fmla="*/ 111 h 231"/>
                  <a:gd name="T46" fmla="*/ 24 w 231"/>
                  <a:gd name="T47" fmla="*/ 107 h 231"/>
                  <a:gd name="T48" fmla="*/ 52 w 231"/>
                  <a:gd name="T49" fmla="*/ 107 h 231"/>
                  <a:gd name="T50" fmla="*/ 52 w 231"/>
                  <a:gd name="T51" fmla="*/ 88 h 231"/>
                  <a:gd name="T52" fmla="*/ 55 w 231"/>
                  <a:gd name="T53" fmla="*/ 87 h 231"/>
                  <a:gd name="T54" fmla="*/ 88 w 231"/>
                  <a:gd name="T55" fmla="*/ 113 h 231"/>
                  <a:gd name="T56" fmla="*/ 88 w 231"/>
                  <a:gd name="T57" fmla="*/ 118 h 231"/>
                  <a:gd name="T58" fmla="*/ 55 w 231"/>
                  <a:gd name="T59" fmla="*/ 144 h 231"/>
                  <a:gd name="T60" fmla="*/ 52 w 231"/>
                  <a:gd name="T61" fmla="*/ 143 h 231"/>
                  <a:gd name="T62" fmla="*/ 144 w 231"/>
                  <a:gd name="T63" fmla="*/ 175 h 231"/>
                  <a:gd name="T64" fmla="*/ 118 w 231"/>
                  <a:gd name="T65" fmla="*/ 208 h 231"/>
                  <a:gd name="T66" fmla="*/ 113 w 231"/>
                  <a:gd name="T67" fmla="*/ 208 h 231"/>
                  <a:gd name="T68" fmla="*/ 87 w 231"/>
                  <a:gd name="T69" fmla="*/ 175 h 231"/>
                  <a:gd name="T70" fmla="*/ 88 w 231"/>
                  <a:gd name="T71" fmla="*/ 172 h 231"/>
                  <a:gd name="T72" fmla="*/ 106 w 231"/>
                  <a:gd name="T73" fmla="*/ 172 h 231"/>
                  <a:gd name="T74" fmla="*/ 106 w 231"/>
                  <a:gd name="T75" fmla="*/ 144 h 231"/>
                  <a:gd name="T76" fmla="*/ 110 w 231"/>
                  <a:gd name="T77" fmla="*/ 140 h 231"/>
                  <a:gd name="T78" fmla="*/ 120 w 231"/>
                  <a:gd name="T79" fmla="*/ 140 h 231"/>
                  <a:gd name="T80" fmla="*/ 125 w 231"/>
                  <a:gd name="T81" fmla="*/ 144 h 231"/>
                  <a:gd name="T82" fmla="*/ 125 w 231"/>
                  <a:gd name="T83" fmla="*/ 172 h 231"/>
                  <a:gd name="T84" fmla="*/ 143 w 231"/>
                  <a:gd name="T85" fmla="*/ 172 h 231"/>
                  <a:gd name="T86" fmla="*/ 144 w 231"/>
                  <a:gd name="T87" fmla="*/ 175 h 231"/>
                  <a:gd name="T88" fmla="*/ 207 w 231"/>
                  <a:gd name="T89" fmla="*/ 125 h 231"/>
                  <a:gd name="T90" fmla="*/ 179 w 231"/>
                  <a:gd name="T91" fmla="*/ 125 h 231"/>
                  <a:gd name="T92" fmla="*/ 179 w 231"/>
                  <a:gd name="T93" fmla="*/ 143 h 231"/>
                  <a:gd name="T94" fmla="*/ 175 w 231"/>
                  <a:gd name="T95" fmla="*/ 144 h 231"/>
                  <a:gd name="T96" fmla="*/ 143 w 231"/>
                  <a:gd name="T97" fmla="*/ 118 h 231"/>
                  <a:gd name="T98" fmla="*/ 143 w 231"/>
                  <a:gd name="T99" fmla="*/ 113 h 231"/>
                  <a:gd name="T100" fmla="*/ 175 w 231"/>
                  <a:gd name="T101" fmla="*/ 87 h 231"/>
                  <a:gd name="T102" fmla="*/ 179 w 231"/>
                  <a:gd name="T103" fmla="*/ 88 h 231"/>
                  <a:gd name="T104" fmla="*/ 179 w 231"/>
                  <a:gd name="T105" fmla="*/ 107 h 231"/>
                  <a:gd name="T106" fmla="*/ 207 w 231"/>
                  <a:gd name="T107" fmla="*/ 107 h 231"/>
                  <a:gd name="T108" fmla="*/ 211 w 231"/>
                  <a:gd name="T109" fmla="*/ 111 h 231"/>
                  <a:gd name="T110" fmla="*/ 211 w 231"/>
                  <a:gd name="T111" fmla="*/ 121 h 231"/>
                  <a:gd name="T112" fmla="*/ 207 w 231"/>
                  <a:gd name="T113" fmla="*/ 12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1" h="231">
                    <a:moveTo>
                      <a:pt x="115" y="0"/>
                    </a:moveTo>
                    <a:cubicBezTo>
                      <a:pt x="52" y="0"/>
                      <a:pt x="0" y="52"/>
                      <a:pt x="0" y="116"/>
                    </a:cubicBezTo>
                    <a:cubicBezTo>
                      <a:pt x="0" y="180"/>
                      <a:pt x="52" y="231"/>
                      <a:pt x="115" y="231"/>
                    </a:cubicBezTo>
                    <a:cubicBezTo>
                      <a:pt x="179" y="231"/>
                      <a:pt x="231" y="180"/>
                      <a:pt x="231" y="116"/>
                    </a:cubicBezTo>
                    <a:cubicBezTo>
                      <a:pt x="231" y="52"/>
                      <a:pt x="179" y="0"/>
                      <a:pt x="115" y="0"/>
                    </a:cubicBezTo>
                    <a:close/>
                    <a:moveTo>
                      <a:pt x="87" y="56"/>
                    </a:moveTo>
                    <a:cubicBezTo>
                      <a:pt x="113" y="23"/>
                      <a:pt x="113" y="23"/>
                      <a:pt x="113" y="23"/>
                    </a:cubicBezTo>
                    <a:cubicBezTo>
                      <a:pt x="114" y="22"/>
                      <a:pt x="117" y="22"/>
                      <a:pt x="118" y="23"/>
                    </a:cubicBezTo>
                    <a:cubicBezTo>
                      <a:pt x="144" y="56"/>
                      <a:pt x="144" y="56"/>
                      <a:pt x="144" y="56"/>
                    </a:cubicBezTo>
                    <a:cubicBezTo>
                      <a:pt x="146" y="58"/>
                      <a:pt x="145" y="60"/>
                      <a:pt x="143" y="60"/>
                    </a:cubicBezTo>
                    <a:cubicBezTo>
                      <a:pt x="125" y="60"/>
                      <a:pt x="125" y="60"/>
                      <a:pt x="125" y="60"/>
                    </a:cubicBezTo>
                    <a:cubicBezTo>
                      <a:pt x="125" y="88"/>
                      <a:pt x="125" y="88"/>
                      <a:pt x="125" y="88"/>
                    </a:cubicBezTo>
                    <a:cubicBezTo>
                      <a:pt x="125" y="90"/>
                      <a:pt x="123" y="92"/>
                      <a:pt x="120" y="92"/>
                    </a:cubicBezTo>
                    <a:cubicBezTo>
                      <a:pt x="110" y="92"/>
                      <a:pt x="110" y="92"/>
                      <a:pt x="110" y="92"/>
                    </a:cubicBezTo>
                    <a:cubicBezTo>
                      <a:pt x="108" y="92"/>
                      <a:pt x="106" y="90"/>
                      <a:pt x="106" y="88"/>
                    </a:cubicBezTo>
                    <a:cubicBezTo>
                      <a:pt x="106" y="59"/>
                      <a:pt x="106" y="59"/>
                      <a:pt x="106" y="59"/>
                    </a:cubicBezTo>
                    <a:cubicBezTo>
                      <a:pt x="88" y="59"/>
                      <a:pt x="88" y="59"/>
                      <a:pt x="88" y="59"/>
                    </a:cubicBezTo>
                    <a:cubicBezTo>
                      <a:pt x="86" y="59"/>
                      <a:pt x="85" y="58"/>
                      <a:pt x="87" y="56"/>
                    </a:cubicBezTo>
                    <a:close/>
                    <a:moveTo>
                      <a:pt x="52" y="143"/>
                    </a:moveTo>
                    <a:cubicBezTo>
                      <a:pt x="52" y="125"/>
                      <a:pt x="52" y="125"/>
                      <a:pt x="52" y="125"/>
                    </a:cubicBezTo>
                    <a:cubicBezTo>
                      <a:pt x="24" y="125"/>
                      <a:pt x="24" y="125"/>
                      <a:pt x="24" y="125"/>
                    </a:cubicBezTo>
                    <a:cubicBezTo>
                      <a:pt x="22" y="125"/>
                      <a:pt x="20" y="123"/>
                      <a:pt x="20" y="121"/>
                    </a:cubicBezTo>
                    <a:cubicBezTo>
                      <a:pt x="20" y="111"/>
                      <a:pt x="20" y="111"/>
                      <a:pt x="20" y="111"/>
                    </a:cubicBezTo>
                    <a:cubicBezTo>
                      <a:pt x="20" y="108"/>
                      <a:pt x="22" y="107"/>
                      <a:pt x="24" y="107"/>
                    </a:cubicBezTo>
                    <a:cubicBezTo>
                      <a:pt x="52" y="107"/>
                      <a:pt x="52" y="107"/>
                      <a:pt x="52" y="107"/>
                    </a:cubicBezTo>
                    <a:cubicBezTo>
                      <a:pt x="52" y="88"/>
                      <a:pt x="52" y="88"/>
                      <a:pt x="52" y="88"/>
                    </a:cubicBezTo>
                    <a:cubicBezTo>
                      <a:pt x="52" y="86"/>
                      <a:pt x="53" y="86"/>
                      <a:pt x="55" y="87"/>
                    </a:cubicBezTo>
                    <a:cubicBezTo>
                      <a:pt x="88" y="113"/>
                      <a:pt x="88" y="113"/>
                      <a:pt x="88" y="113"/>
                    </a:cubicBezTo>
                    <a:cubicBezTo>
                      <a:pt x="90" y="115"/>
                      <a:pt x="90" y="117"/>
                      <a:pt x="88" y="118"/>
                    </a:cubicBezTo>
                    <a:cubicBezTo>
                      <a:pt x="55" y="144"/>
                      <a:pt x="55" y="144"/>
                      <a:pt x="55" y="144"/>
                    </a:cubicBezTo>
                    <a:cubicBezTo>
                      <a:pt x="53" y="146"/>
                      <a:pt x="52" y="145"/>
                      <a:pt x="52" y="143"/>
                    </a:cubicBezTo>
                    <a:close/>
                    <a:moveTo>
                      <a:pt x="144" y="175"/>
                    </a:moveTo>
                    <a:cubicBezTo>
                      <a:pt x="118" y="208"/>
                      <a:pt x="118" y="208"/>
                      <a:pt x="118" y="208"/>
                    </a:cubicBezTo>
                    <a:cubicBezTo>
                      <a:pt x="117" y="210"/>
                      <a:pt x="114" y="210"/>
                      <a:pt x="113" y="208"/>
                    </a:cubicBezTo>
                    <a:cubicBezTo>
                      <a:pt x="87" y="175"/>
                      <a:pt x="87" y="175"/>
                      <a:pt x="87" y="175"/>
                    </a:cubicBezTo>
                    <a:cubicBezTo>
                      <a:pt x="85" y="173"/>
                      <a:pt x="86" y="172"/>
                      <a:pt x="88" y="172"/>
                    </a:cubicBezTo>
                    <a:cubicBezTo>
                      <a:pt x="106" y="172"/>
                      <a:pt x="106" y="172"/>
                      <a:pt x="106" y="172"/>
                    </a:cubicBezTo>
                    <a:cubicBezTo>
                      <a:pt x="106" y="144"/>
                      <a:pt x="106" y="144"/>
                      <a:pt x="106" y="144"/>
                    </a:cubicBezTo>
                    <a:cubicBezTo>
                      <a:pt x="106" y="141"/>
                      <a:pt x="108" y="140"/>
                      <a:pt x="110" y="140"/>
                    </a:cubicBezTo>
                    <a:cubicBezTo>
                      <a:pt x="120" y="140"/>
                      <a:pt x="120" y="140"/>
                      <a:pt x="120" y="140"/>
                    </a:cubicBezTo>
                    <a:cubicBezTo>
                      <a:pt x="123" y="140"/>
                      <a:pt x="125" y="141"/>
                      <a:pt x="125" y="144"/>
                    </a:cubicBezTo>
                    <a:cubicBezTo>
                      <a:pt x="125" y="172"/>
                      <a:pt x="125" y="172"/>
                      <a:pt x="125" y="172"/>
                    </a:cubicBezTo>
                    <a:cubicBezTo>
                      <a:pt x="143" y="172"/>
                      <a:pt x="143" y="172"/>
                      <a:pt x="143" y="172"/>
                    </a:cubicBezTo>
                    <a:cubicBezTo>
                      <a:pt x="145" y="172"/>
                      <a:pt x="146" y="173"/>
                      <a:pt x="144" y="175"/>
                    </a:cubicBezTo>
                    <a:close/>
                    <a:moveTo>
                      <a:pt x="207" y="125"/>
                    </a:moveTo>
                    <a:cubicBezTo>
                      <a:pt x="179" y="125"/>
                      <a:pt x="179" y="125"/>
                      <a:pt x="179" y="125"/>
                    </a:cubicBezTo>
                    <a:cubicBezTo>
                      <a:pt x="179" y="143"/>
                      <a:pt x="179" y="143"/>
                      <a:pt x="179" y="143"/>
                    </a:cubicBezTo>
                    <a:cubicBezTo>
                      <a:pt x="179" y="145"/>
                      <a:pt x="177" y="146"/>
                      <a:pt x="175" y="144"/>
                    </a:cubicBezTo>
                    <a:cubicBezTo>
                      <a:pt x="143" y="118"/>
                      <a:pt x="143" y="118"/>
                      <a:pt x="143" y="118"/>
                    </a:cubicBezTo>
                    <a:cubicBezTo>
                      <a:pt x="141" y="117"/>
                      <a:pt x="141" y="115"/>
                      <a:pt x="143" y="113"/>
                    </a:cubicBezTo>
                    <a:cubicBezTo>
                      <a:pt x="175" y="87"/>
                      <a:pt x="175" y="87"/>
                      <a:pt x="175" y="87"/>
                    </a:cubicBezTo>
                    <a:cubicBezTo>
                      <a:pt x="177" y="86"/>
                      <a:pt x="179" y="86"/>
                      <a:pt x="179" y="88"/>
                    </a:cubicBezTo>
                    <a:cubicBezTo>
                      <a:pt x="179" y="107"/>
                      <a:pt x="179" y="107"/>
                      <a:pt x="179" y="107"/>
                    </a:cubicBezTo>
                    <a:cubicBezTo>
                      <a:pt x="207" y="107"/>
                      <a:pt x="207" y="107"/>
                      <a:pt x="207" y="107"/>
                    </a:cubicBezTo>
                    <a:cubicBezTo>
                      <a:pt x="209" y="107"/>
                      <a:pt x="211" y="108"/>
                      <a:pt x="211" y="111"/>
                    </a:cubicBezTo>
                    <a:cubicBezTo>
                      <a:pt x="211" y="121"/>
                      <a:pt x="211" y="121"/>
                      <a:pt x="211" y="121"/>
                    </a:cubicBezTo>
                    <a:cubicBezTo>
                      <a:pt x="211" y="123"/>
                      <a:pt x="209" y="125"/>
                      <a:pt x="207" y="125"/>
                    </a:cubicBezTo>
                    <a:close/>
                  </a:path>
                </a:pathLst>
              </a:custGeom>
              <a:solidFill>
                <a:srgbClr val="4E4E62"/>
              </a:solidFill>
              <a:ln>
                <a:noFill/>
              </a:ln>
            </p:spPr>
            <p:txBody>
              <a:bodyPr vert="horz" wrap="square" lIns="91440" tIns="45720" rIns="91440" bIns="45720" numCol="1" anchor="t" anchorCtr="0" compatLnSpc="1">
                <a:prstTxWarp prst="textNoShape">
                  <a:avLst/>
                </a:prstTxWarp>
              </a:bodyPr>
              <a:lstStyle/>
              <a:p>
                <a:pPr marL="0" marR="0" lvl="0" indent="0" defTabSz="45701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44" name="Rounded Rectangle 101"/>
              <p:cNvSpPr/>
              <p:nvPr/>
            </p:nvSpPr>
            <p:spPr>
              <a:xfrm>
                <a:off x="2848043" y="2740622"/>
                <a:ext cx="740670" cy="651826"/>
              </a:xfrm>
              <a:custGeom>
                <a:avLst/>
                <a:gdLst/>
                <a:ahLst/>
                <a:cxnLst/>
                <a:rect l="l" t="t" r="r" b="b"/>
                <a:pathLst>
                  <a:path w="1098562" h="966790">
                    <a:moveTo>
                      <a:pt x="257225" y="925145"/>
                    </a:moveTo>
                    <a:lnTo>
                      <a:pt x="257225" y="925146"/>
                    </a:lnTo>
                    <a:lnTo>
                      <a:pt x="257225" y="925146"/>
                    </a:lnTo>
                    <a:close/>
                    <a:moveTo>
                      <a:pt x="298869" y="883502"/>
                    </a:moveTo>
                    <a:lnTo>
                      <a:pt x="799695" y="883502"/>
                    </a:lnTo>
                    <a:cubicBezTo>
                      <a:pt x="822694" y="883502"/>
                      <a:pt x="841339" y="902147"/>
                      <a:pt x="841339" y="925146"/>
                    </a:cubicBezTo>
                    <a:lnTo>
                      <a:pt x="841338" y="925146"/>
                    </a:lnTo>
                    <a:cubicBezTo>
                      <a:pt x="841338" y="948145"/>
                      <a:pt x="822693" y="966790"/>
                      <a:pt x="799694" y="966790"/>
                    </a:cubicBezTo>
                    <a:lnTo>
                      <a:pt x="298869" y="966789"/>
                    </a:lnTo>
                    <a:cubicBezTo>
                      <a:pt x="287370" y="966789"/>
                      <a:pt x="276959" y="962128"/>
                      <a:pt x="269423" y="954592"/>
                    </a:cubicBezTo>
                    <a:lnTo>
                      <a:pt x="257225" y="925146"/>
                    </a:lnTo>
                    <a:lnTo>
                      <a:pt x="269423" y="895700"/>
                    </a:lnTo>
                    <a:cubicBezTo>
                      <a:pt x="276959" y="888163"/>
                      <a:pt x="287370" y="883502"/>
                      <a:pt x="298869" y="883502"/>
                    </a:cubicBezTo>
                    <a:close/>
                    <a:moveTo>
                      <a:pt x="81478" y="75804"/>
                    </a:moveTo>
                    <a:lnTo>
                      <a:pt x="81478" y="678404"/>
                    </a:lnTo>
                    <a:lnTo>
                      <a:pt x="1017084" y="678404"/>
                    </a:lnTo>
                    <a:lnTo>
                      <a:pt x="1017084" y="75804"/>
                    </a:lnTo>
                    <a:close/>
                    <a:moveTo>
                      <a:pt x="102550" y="0"/>
                    </a:moveTo>
                    <a:lnTo>
                      <a:pt x="996012" y="0"/>
                    </a:lnTo>
                    <a:cubicBezTo>
                      <a:pt x="1052649" y="0"/>
                      <a:pt x="1098562" y="45913"/>
                      <a:pt x="1098562" y="102550"/>
                    </a:cubicBezTo>
                    <a:lnTo>
                      <a:pt x="1098562" y="717847"/>
                    </a:lnTo>
                    <a:cubicBezTo>
                      <a:pt x="1098562" y="774484"/>
                      <a:pt x="1052649" y="820397"/>
                      <a:pt x="996012" y="820397"/>
                    </a:cubicBezTo>
                    <a:lnTo>
                      <a:pt x="102550" y="820397"/>
                    </a:lnTo>
                    <a:cubicBezTo>
                      <a:pt x="45913" y="820397"/>
                      <a:pt x="0" y="774484"/>
                      <a:pt x="0" y="717847"/>
                    </a:cubicBezTo>
                    <a:lnTo>
                      <a:pt x="0" y="102550"/>
                    </a:lnTo>
                    <a:cubicBezTo>
                      <a:pt x="0" y="45913"/>
                      <a:pt x="45913" y="0"/>
                      <a:pt x="102550" y="0"/>
                    </a:cubicBezTo>
                    <a:close/>
                  </a:path>
                </a:pathLst>
              </a:custGeom>
              <a:solidFill>
                <a:srgbClr val="5E81D3"/>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Franklin Gothic Book"/>
                  <a:ea typeface="新細明體"/>
                  <a:cs typeface="新細明體"/>
                </a:endParaRPr>
              </a:p>
            </p:txBody>
          </p:sp>
          <p:cxnSp>
            <p:nvCxnSpPr>
              <p:cNvPr id="45" name="Straight Connector 44"/>
              <p:cNvCxnSpPr/>
              <p:nvPr/>
            </p:nvCxnSpPr>
            <p:spPr bwMode="auto">
              <a:xfrm>
                <a:off x="1851651" y="3004432"/>
                <a:ext cx="273194" cy="1"/>
              </a:xfrm>
              <a:prstGeom prst="line">
                <a:avLst/>
              </a:prstGeom>
              <a:solidFill>
                <a:srgbClr val="F37821"/>
              </a:solidFill>
              <a:ln w="12700" cap="rnd" cmpd="sng" algn="ctr">
                <a:solidFill>
                  <a:srgbClr val="4E4E62"/>
                </a:solidFill>
                <a:prstDash val="sysDot"/>
                <a:round/>
                <a:headEnd type="none" w="med" len="med"/>
                <a:tailEnd type="triangl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6" name="Straight Connector 45"/>
              <p:cNvCxnSpPr/>
              <p:nvPr/>
            </p:nvCxnSpPr>
            <p:spPr bwMode="auto">
              <a:xfrm>
                <a:off x="2559108" y="3004432"/>
                <a:ext cx="273194" cy="1"/>
              </a:xfrm>
              <a:prstGeom prst="line">
                <a:avLst/>
              </a:prstGeom>
              <a:solidFill>
                <a:srgbClr val="F37821"/>
              </a:solidFill>
              <a:ln w="12700" cap="rnd" cmpd="sng" algn="ctr">
                <a:solidFill>
                  <a:srgbClr val="4E4E62"/>
                </a:solidFill>
                <a:prstDash val="sysDot"/>
                <a:round/>
                <a:headEnd type="triangle" w="med" len="sm"/>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7" name="Straight Connector 46"/>
              <p:cNvCxnSpPr/>
              <p:nvPr/>
            </p:nvCxnSpPr>
            <p:spPr bwMode="auto">
              <a:xfrm flipV="1">
                <a:off x="2338927" y="3209196"/>
                <a:ext cx="0" cy="262009"/>
              </a:xfrm>
              <a:prstGeom prst="line">
                <a:avLst/>
              </a:prstGeom>
              <a:solidFill>
                <a:srgbClr val="F37821"/>
              </a:solidFill>
              <a:ln w="12700" cap="rnd" cmpd="sng" algn="ctr">
                <a:solidFill>
                  <a:srgbClr val="4E4E62"/>
                </a:solidFill>
                <a:prstDash val="sysDot"/>
                <a:round/>
                <a:headEnd type="none" w="med" len="med"/>
                <a:tailEnd type="triangl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8" name="Straight Connector 47"/>
              <p:cNvCxnSpPr/>
              <p:nvPr/>
            </p:nvCxnSpPr>
            <p:spPr bwMode="auto">
              <a:xfrm flipV="1">
                <a:off x="2345317" y="2519163"/>
                <a:ext cx="0" cy="262009"/>
              </a:xfrm>
              <a:prstGeom prst="line">
                <a:avLst/>
              </a:prstGeom>
              <a:solidFill>
                <a:srgbClr val="F37821"/>
              </a:solidFill>
              <a:ln w="12700" cap="rnd" cmpd="sng" algn="ctr">
                <a:solidFill>
                  <a:srgbClr val="4E4E62"/>
                </a:solidFill>
                <a:prstDash val="sysDot"/>
                <a:round/>
                <a:headEnd type="none" w="med" len="med"/>
                <a:tailEnd type="triangl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9" name="Freeform 168"/>
              <p:cNvSpPr>
                <a:spLocks noEditPoints="1"/>
              </p:cNvSpPr>
              <p:nvPr/>
            </p:nvSpPr>
            <p:spPr bwMode="auto">
              <a:xfrm>
                <a:off x="1815086" y="1879593"/>
                <a:ext cx="1047803" cy="628299"/>
              </a:xfrm>
              <a:custGeom>
                <a:avLst/>
                <a:gdLst>
                  <a:gd name="T0" fmla="*/ 1285 w 1404"/>
                  <a:gd name="T1" fmla="*/ 842 h 842"/>
                  <a:gd name="T2" fmla="*/ 1010 w 1404"/>
                  <a:gd name="T3" fmla="*/ 842 h 842"/>
                  <a:gd name="T4" fmla="*/ 1004 w 1404"/>
                  <a:gd name="T5" fmla="*/ 842 h 842"/>
                  <a:gd name="T6" fmla="*/ 998 w 1404"/>
                  <a:gd name="T7" fmla="*/ 842 h 842"/>
                  <a:gd name="T8" fmla="*/ 615 w 1404"/>
                  <a:gd name="T9" fmla="*/ 842 h 842"/>
                  <a:gd name="T10" fmla="*/ 610 w 1404"/>
                  <a:gd name="T11" fmla="*/ 842 h 842"/>
                  <a:gd name="T12" fmla="*/ 189 w 1404"/>
                  <a:gd name="T13" fmla="*/ 842 h 842"/>
                  <a:gd name="T14" fmla="*/ 186 w 1404"/>
                  <a:gd name="T15" fmla="*/ 842 h 842"/>
                  <a:gd name="T16" fmla="*/ 184 w 1404"/>
                  <a:gd name="T17" fmla="*/ 477 h 842"/>
                  <a:gd name="T18" fmla="*/ 188 w 1404"/>
                  <a:gd name="T19" fmla="*/ 472 h 842"/>
                  <a:gd name="T20" fmla="*/ 297 w 1404"/>
                  <a:gd name="T21" fmla="*/ 123 h 842"/>
                  <a:gd name="T22" fmla="*/ 994 w 1404"/>
                  <a:gd name="T23" fmla="*/ 231 h 842"/>
                  <a:gd name="T24" fmla="*/ 998 w 1404"/>
                  <a:gd name="T25" fmla="*/ 233 h 842"/>
                  <a:gd name="T26" fmla="*/ 1004 w 1404"/>
                  <a:gd name="T27" fmla="*/ 233 h 842"/>
                  <a:gd name="T28" fmla="*/ 1314 w 1404"/>
                  <a:gd name="T29" fmla="*/ 538 h 842"/>
                  <a:gd name="T30" fmla="*/ 1304 w 1404"/>
                  <a:gd name="T31" fmla="*/ 612 h 842"/>
                  <a:gd name="T32" fmla="*/ 1404 w 1404"/>
                  <a:gd name="T33" fmla="*/ 727 h 842"/>
                  <a:gd name="T34" fmla="*/ 184 w 1404"/>
                  <a:gd name="T35" fmla="*/ 520 h 842"/>
                  <a:gd name="T36" fmla="*/ 183 w 1404"/>
                  <a:gd name="T37" fmla="*/ 799 h 842"/>
                  <a:gd name="T38" fmla="*/ 184 w 1404"/>
                  <a:gd name="T39" fmla="*/ 799 h 842"/>
                  <a:gd name="T40" fmla="*/ 606 w 1404"/>
                  <a:gd name="T41" fmla="*/ 799 h 842"/>
                  <a:gd name="T42" fmla="*/ 612 w 1404"/>
                  <a:gd name="T43" fmla="*/ 799 h 842"/>
                  <a:gd name="T44" fmla="*/ 619 w 1404"/>
                  <a:gd name="T45" fmla="*/ 799 h 842"/>
                  <a:gd name="T46" fmla="*/ 1004 w 1404"/>
                  <a:gd name="T47" fmla="*/ 799 h 842"/>
                  <a:gd name="T48" fmla="*/ 1004 w 1404"/>
                  <a:gd name="T49" fmla="*/ 799 h 842"/>
                  <a:gd name="T50" fmla="*/ 1283 w 1404"/>
                  <a:gd name="T51" fmla="*/ 799 h 842"/>
                  <a:gd name="T52" fmla="*/ 1289 w 1404"/>
                  <a:gd name="T53" fmla="*/ 799 h 842"/>
                  <a:gd name="T54" fmla="*/ 1361 w 1404"/>
                  <a:gd name="T55" fmla="*/ 727 h 842"/>
                  <a:gd name="T56" fmla="*/ 1251 w 1404"/>
                  <a:gd name="T57" fmla="*/ 647 h 842"/>
                  <a:gd name="T58" fmla="*/ 1271 w 1404"/>
                  <a:gd name="T59" fmla="*/ 538 h 842"/>
                  <a:gd name="T60" fmla="*/ 998 w 1404"/>
                  <a:gd name="T61" fmla="*/ 277 h 842"/>
                  <a:gd name="T62" fmla="*/ 955 w 1404"/>
                  <a:gd name="T63" fmla="*/ 251 h 842"/>
                  <a:gd name="T64" fmla="*/ 228 w 1404"/>
                  <a:gd name="T65" fmla="*/ 421 h 842"/>
                  <a:gd name="T66" fmla="*/ 237 w 1404"/>
                  <a:gd name="T67" fmla="*/ 519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4" h="842">
                    <a:moveTo>
                      <a:pt x="1286" y="842"/>
                    </a:moveTo>
                    <a:cubicBezTo>
                      <a:pt x="1286" y="842"/>
                      <a:pt x="1286" y="842"/>
                      <a:pt x="1285" y="842"/>
                    </a:cubicBezTo>
                    <a:cubicBezTo>
                      <a:pt x="1285" y="842"/>
                      <a:pt x="1284" y="842"/>
                      <a:pt x="1283" y="842"/>
                    </a:cubicBezTo>
                    <a:cubicBezTo>
                      <a:pt x="1010" y="842"/>
                      <a:pt x="1010" y="842"/>
                      <a:pt x="1010" y="842"/>
                    </a:cubicBezTo>
                    <a:cubicBezTo>
                      <a:pt x="1009" y="842"/>
                      <a:pt x="1008" y="842"/>
                      <a:pt x="1007" y="842"/>
                    </a:cubicBezTo>
                    <a:cubicBezTo>
                      <a:pt x="1006" y="842"/>
                      <a:pt x="1005" y="842"/>
                      <a:pt x="1004" y="842"/>
                    </a:cubicBezTo>
                    <a:cubicBezTo>
                      <a:pt x="1003" y="842"/>
                      <a:pt x="1002" y="842"/>
                      <a:pt x="1001" y="842"/>
                    </a:cubicBezTo>
                    <a:cubicBezTo>
                      <a:pt x="1000" y="842"/>
                      <a:pt x="999" y="842"/>
                      <a:pt x="998" y="842"/>
                    </a:cubicBezTo>
                    <a:cubicBezTo>
                      <a:pt x="619" y="842"/>
                      <a:pt x="619" y="842"/>
                      <a:pt x="619" y="842"/>
                    </a:cubicBezTo>
                    <a:cubicBezTo>
                      <a:pt x="618" y="842"/>
                      <a:pt x="616" y="842"/>
                      <a:pt x="615" y="842"/>
                    </a:cubicBezTo>
                    <a:cubicBezTo>
                      <a:pt x="614" y="842"/>
                      <a:pt x="613" y="842"/>
                      <a:pt x="612" y="842"/>
                    </a:cubicBezTo>
                    <a:cubicBezTo>
                      <a:pt x="611" y="842"/>
                      <a:pt x="611" y="842"/>
                      <a:pt x="610" y="842"/>
                    </a:cubicBezTo>
                    <a:cubicBezTo>
                      <a:pt x="609" y="842"/>
                      <a:pt x="607" y="842"/>
                      <a:pt x="606" y="842"/>
                    </a:cubicBezTo>
                    <a:cubicBezTo>
                      <a:pt x="189" y="842"/>
                      <a:pt x="189" y="842"/>
                      <a:pt x="189" y="842"/>
                    </a:cubicBezTo>
                    <a:cubicBezTo>
                      <a:pt x="189" y="842"/>
                      <a:pt x="188" y="842"/>
                      <a:pt x="187" y="842"/>
                    </a:cubicBezTo>
                    <a:cubicBezTo>
                      <a:pt x="187" y="842"/>
                      <a:pt x="187" y="842"/>
                      <a:pt x="186" y="842"/>
                    </a:cubicBezTo>
                    <a:cubicBezTo>
                      <a:pt x="84" y="842"/>
                      <a:pt x="0" y="760"/>
                      <a:pt x="0" y="659"/>
                    </a:cubicBezTo>
                    <a:cubicBezTo>
                      <a:pt x="0" y="560"/>
                      <a:pt x="82" y="478"/>
                      <a:pt x="184" y="477"/>
                    </a:cubicBezTo>
                    <a:cubicBezTo>
                      <a:pt x="188" y="477"/>
                      <a:pt x="188" y="477"/>
                      <a:pt x="188" y="477"/>
                    </a:cubicBezTo>
                    <a:cubicBezTo>
                      <a:pt x="188" y="472"/>
                      <a:pt x="188" y="472"/>
                      <a:pt x="188" y="472"/>
                    </a:cubicBezTo>
                    <a:cubicBezTo>
                      <a:pt x="185" y="455"/>
                      <a:pt x="184" y="438"/>
                      <a:pt x="184" y="421"/>
                    </a:cubicBezTo>
                    <a:cubicBezTo>
                      <a:pt x="184" y="305"/>
                      <a:pt x="224" y="199"/>
                      <a:pt x="297" y="123"/>
                    </a:cubicBezTo>
                    <a:cubicBezTo>
                      <a:pt x="374" y="43"/>
                      <a:pt x="483" y="0"/>
                      <a:pt x="612" y="0"/>
                    </a:cubicBezTo>
                    <a:cubicBezTo>
                      <a:pt x="774" y="0"/>
                      <a:pt x="921" y="89"/>
                      <a:pt x="994" y="231"/>
                    </a:cubicBezTo>
                    <a:cubicBezTo>
                      <a:pt x="995" y="233"/>
                      <a:pt x="995" y="233"/>
                      <a:pt x="995" y="233"/>
                    </a:cubicBezTo>
                    <a:cubicBezTo>
                      <a:pt x="998" y="233"/>
                      <a:pt x="998" y="233"/>
                      <a:pt x="998" y="233"/>
                    </a:cubicBezTo>
                    <a:cubicBezTo>
                      <a:pt x="999" y="233"/>
                      <a:pt x="1000" y="233"/>
                      <a:pt x="1001" y="233"/>
                    </a:cubicBezTo>
                    <a:cubicBezTo>
                      <a:pt x="1002" y="233"/>
                      <a:pt x="1003" y="233"/>
                      <a:pt x="1004" y="233"/>
                    </a:cubicBezTo>
                    <a:cubicBezTo>
                      <a:pt x="1102" y="233"/>
                      <a:pt x="1182" y="264"/>
                      <a:pt x="1237" y="322"/>
                    </a:cubicBezTo>
                    <a:cubicBezTo>
                      <a:pt x="1287" y="376"/>
                      <a:pt x="1314" y="451"/>
                      <a:pt x="1314" y="538"/>
                    </a:cubicBezTo>
                    <a:cubicBezTo>
                      <a:pt x="1314" y="561"/>
                      <a:pt x="1311" y="584"/>
                      <a:pt x="1305" y="608"/>
                    </a:cubicBezTo>
                    <a:cubicBezTo>
                      <a:pt x="1304" y="612"/>
                      <a:pt x="1304" y="612"/>
                      <a:pt x="1304" y="612"/>
                    </a:cubicBezTo>
                    <a:cubicBezTo>
                      <a:pt x="1308" y="613"/>
                      <a:pt x="1308" y="613"/>
                      <a:pt x="1308" y="613"/>
                    </a:cubicBezTo>
                    <a:cubicBezTo>
                      <a:pt x="1364" y="623"/>
                      <a:pt x="1404" y="671"/>
                      <a:pt x="1404" y="727"/>
                    </a:cubicBezTo>
                    <a:cubicBezTo>
                      <a:pt x="1404" y="790"/>
                      <a:pt x="1351" y="842"/>
                      <a:pt x="1286" y="842"/>
                    </a:cubicBezTo>
                    <a:moveTo>
                      <a:pt x="184" y="520"/>
                    </a:moveTo>
                    <a:cubicBezTo>
                      <a:pt x="107" y="521"/>
                      <a:pt x="44" y="584"/>
                      <a:pt x="44" y="659"/>
                    </a:cubicBezTo>
                    <a:cubicBezTo>
                      <a:pt x="44" y="735"/>
                      <a:pt x="106" y="797"/>
                      <a:pt x="183" y="799"/>
                    </a:cubicBezTo>
                    <a:cubicBezTo>
                      <a:pt x="184" y="799"/>
                      <a:pt x="184" y="799"/>
                      <a:pt x="184" y="799"/>
                    </a:cubicBezTo>
                    <a:cubicBezTo>
                      <a:pt x="184" y="799"/>
                      <a:pt x="184" y="799"/>
                      <a:pt x="184" y="799"/>
                    </a:cubicBezTo>
                    <a:cubicBezTo>
                      <a:pt x="186" y="799"/>
                      <a:pt x="188" y="799"/>
                      <a:pt x="189" y="799"/>
                    </a:cubicBezTo>
                    <a:cubicBezTo>
                      <a:pt x="606" y="799"/>
                      <a:pt x="606" y="799"/>
                      <a:pt x="606" y="799"/>
                    </a:cubicBezTo>
                    <a:cubicBezTo>
                      <a:pt x="608" y="799"/>
                      <a:pt x="610" y="799"/>
                      <a:pt x="612" y="799"/>
                    </a:cubicBezTo>
                    <a:cubicBezTo>
                      <a:pt x="612" y="799"/>
                      <a:pt x="612" y="799"/>
                      <a:pt x="612" y="799"/>
                    </a:cubicBezTo>
                    <a:cubicBezTo>
                      <a:pt x="613" y="799"/>
                      <a:pt x="613" y="799"/>
                      <a:pt x="613" y="799"/>
                    </a:cubicBezTo>
                    <a:cubicBezTo>
                      <a:pt x="615" y="799"/>
                      <a:pt x="617" y="799"/>
                      <a:pt x="619" y="799"/>
                    </a:cubicBezTo>
                    <a:cubicBezTo>
                      <a:pt x="998" y="799"/>
                      <a:pt x="998" y="799"/>
                      <a:pt x="998" y="799"/>
                    </a:cubicBezTo>
                    <a:cubicBezTo>
                      <a:pt x="999" y="799"/>
                      <a:pt x="1001" y="799"/>
                      <a:pt x="1004" y="799"/>
                    </a:cubicBezTo>
                    <a:cubicBezTo>
                      <a:pt x="1004" y="799"/>
                      <a:pt x="1004" y="799"/>
                      <a:pt x="1004" y="799"/>
                    </a:cubicBezTo>
                    <a:cubicBezTo>
                      <a:pt x="1004" y="799"/>
                      <a:pt x="1004" y="799"/>
                      <a:pt x="1004" y="799"/>
                    </a:cubicBezTo>
                    <a:cubicBezTo>
                      <a:pt x="1006" y="799"/>
                      <a:pt x="1008" y="799"/>
                      <a:pt x="1010" y="799"/>
                    </a:cubicBezTo>
                    <a:cubicBezTo>
                      <a:pt x="1283" y="799"/>
                      <a:pt x="1283" y="799"/>
                      <a:pt x="1283" y="799"/>
                    </a:cubicBezTo>
                    <a:cubicBezTo>
                      <a:pt x="1285" y="799"/>
                      <a:pt x="1287" y="799"/>
                      <a:pt x="1289" y="799"/>
                    </a:cubicBezTo>
                    <a:cubicBezTo>
                      <a:pt x="1289" y="799"/>
                      <a:pt x="1289" y="799"/>
                      <a:pt x="1289" y="799"/>
                    </a:cubicBezTo>
                    <a:cubicBezTo>
                      <a:pt x="1289" y="799"/>
                      <a:pt x="1289" y="799"/>
                      <a:pt x="1289" y="799"/>
                    </a:cubicBezTo>
                    <a:cubicBezTo>
                      <a:pt x="1329" y="797"/>
                      <a:pt x="1361" y="766"/>
                      <a:pt x="1361" y="727"/>
                    </a:cubicBezTo>
                    <a:cubicBezTo>
                      <a:pt x="1361" y="692"/>
                      <a:pt x="1335" y="662"/>
                      <a:pt x="1300" y="656"/>
                    </a:cubicBezTo>
                    <a:cubicBezTo>
                      <a:pt x="1251" y="647"/>
                      <a:pt x="1251" y="647"/>
                      <a:pt x="1251" y="647"/>
                    </a:cubicBezTo>
                    <a:cubicBezTo>
                      <a:pt x="1263" y="598"/>
                      <a:pt x="1263" y="598"/>
                      <a:pt x="1263" y="598"/>
                    </a:cubicBezTo>
                    <a:cubicBezTo>
                      <a:pt x="1268" y="577"/>
                      <a:pt x="1271" y="557"/>
                      <a:pt x="1271" y="538"/>
                    </a:cubicBezTo>
                    <a:cubicBezTo>
                      <a:pt x="1271" y="374"/>
                      <a:pt x="1171" y="277"/>
                      <a:pt x="1005" y="276"/>
                    </a:cubicBezTo>
                    <a:cubicBezTo>
                      <a:pt x="1002" y="276"/>
                      <a:pt x="1000" y="277"/>
                      <a:pt x="998" y="277"/>
                    </a:cubicBezTo>
                    <a:cubicBezTo>
                      <a:pt x="969" y="277"/>
                      <a:pt x="969" y="277"/>
                      <a:pt x="969" y="277"/>
                    </a:cubicBezTo>
                    <a:cubicBezTo>
                      <a:pt x="955" y="251"/>
                      <a:pt x="955" y="251"/>
                      <a:pt x="955" y="251"/>
                    </a:cubicBezTo>
                    <a:cubicBezTo>
                      <a:pt x="889" y="123"/>
                      <a:pt x="758" y="44"/>
                      <a:pt x="612" y="44"/>
                    </a:cubicBezTo>
                    <a:cubicBezTo>
                      <a:pt x="382" y="44"/>
                      <a:pt x="228" y="195"/>
                      <a:pt x="228" y="421"/>
                    </a:cubicBezTo>
                    <a:cubicBezTo>
                      <a:pt x="228" y="436"/>
                      <a:pt x="229" y="451"/>
                      <a:pt x="231" y="467"/>
                    </a:cubicBezTo>
                    <a:cubicBezTo>
                      <a:pt x="237" y="519"/>
                      <a:pt x="237" y="519"/>
                      <a:pt x="237" y="519"/>
                    </a:cubicBezTo>
                    <a:lnTo>
                      <a:pt x="184" y="520"/>
                    </a:lnTo>
                    <a:close/>
                  </a:path>
                </a:pathLst>
              </a:custGeom>
              <a:solidFill>
                <a:srgbClr val="5E81D3"/>
              </a:solidFill>
              <a:ln>
                <a:noFill/>
              </a:ln>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spTree>
    <p:extLst>
      <p:ext uri="{BB962C8B-B14F-4D97-AF65-F5344CB8AC3E}">
        <p14:creationId xmlns:p14="http://schemas.microsoft.com/office/powerpoint/2010/main" val="1891910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42"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outHorizontal)">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ja-JP" altLang="en-US" dirty="0" smtClean="0"/>
              <a:t>だれが貴方の</a:t>
            </a:r>
            <a:r>
              <a:rPr lang="en-US" altLang="ja-JP" dirty="0" smtClean="0"/>
              <a:t>DNS</a:t>
            </a:r>
            <a:r>
              <a:rPr lang="ja-JP" altLang="en-US" dirty="0" smtClean="0"/>
              <a:t>リクエストを解決しますか？</a:t>
            </a:r>
            <a:endParaRPr lang="en-US" dirty="0"/>
          </a:p>
        </p:txBody>
      </p:sp>
      <p:grpSp>
        <p:nvGrpSpPr>
          <p:cNvPr id="3" name="Group 2"/>
          <p:cNvGrpSpPr/>
          <p:nvPr/>
        </p:nvGrpSpPr>
        <p:grpSpPr>
          <a:xfrm>
            <a:off x="4630466" y="1092787"/>
            <a:ext cx="3459317" cy="3442938"/>
            <a:chOff x="3698330" y="1136378"/>
            <a:chExt cx="3832023" cy="3813880"/>
          </a:xfrm>
        </p:grpSpPr>
        <p:sp>
          <p:nvSpPr>
            <p:cNvPr id="4" name="Freeform 6"/>
            <p:cNvSpPr>
              <a:spLocks noChangeAspect="1" noEditPoints="1"/>
            </p:cNvSpPr>
            <p:nvPr/>
          </p:nvSpPr>
          <p:spPr bwMode="auto">
            <a:xfrm>
              <a:off x="4172293" y="1165569"/>
              <a:ext cx="3358060" cy="3536676"/>
            </a:xfrm>
            <a:custGeom>
              <a:avLst/>
              <a:gdLst>
                <a:gd name="T0" fmla="*/ 46 w 545"/>
                <a:gd name="T1" fmla="*/ 502 h 573"/>
                <a:gd name="T2" fmla="*/ 23 w 545"/>
                <a:gd name="T3" fmla="*/ 381 h 573"/>
                <a:gd name="T4" fmla="*/ 30 w 545"/>
                <a:gd name="T5" fmla="*/ 318 h 573"/>
                <a:gd name="T6" fmla="*/ 1 w 545"/>
                <a:gd name="T7" fmla="*/ 215 h 573"/>
                <a:gd name="T8" fmla="*/ 4 w 545"/>
                <a:gd name="T9" fmla="*/ 187 h 573"/>
                <a:gd name="T10" fmla="*/ 137 w 545"/>
                <a:gd name="T11" fmla="*/ 51 h 573"/>
                <a:gd name="T12" fmla="*/ 218 w 545"/>
                <a:gd name="T13" fmla="*/ 13 h 573"/>
                <a:gd name="T14" fmla="*/ 212 w 545"/>
                <a:gd name="T15" fmla="*/ 81 h 573"/>
                <a:gd name="T16" fmla="*/ 217 w 545"/>
                <a:gd name="T17" fmla="*/ 92 h 573"/>
                <a:gd name="T18" fmla="*/ 179 w 545"/>
                <a:gd name="T19" fmla="*/ 145 h 573"/>
                <a:gd name="T20" fmla="*/ 236 w 545"/>
                <a:gd name="T21" fmla="*/ 145 h 573"/>
                <a:gd name="T22" fmla="*/ 188 w 545"/>
                <a:gd name="T23" fmla="*/ 180 h 573"/>
                <a:gd name="T24" fmla="*/ 165 w 545"/>
                <a:gd name="T25" fmla="*/ 203 h 573"/>
                <a:gd name="T26" fmla="*/ 136 w 545"/>
                <a:gd name="T27" fmla="*/ 208 h 573"/>
                <a:gd name="T28" fmla="*/ 74 w 545"/>
                <a:gd name="T29" fmla="*/ 216 h 573"/>
                <a:gd name="T30" fmla="*/ 38 w 545"/>
                <a:gd name="T31" fmla="*/ 251 h 573"/>
                <a:gd name="T32" fmla="*/ 40 w 545"/>
                <a:gd name="T33" fmla="*/ 305 h 573"/>
                <a:gd name="T34" fmla="*/ 88 w 545"/>
                <a:gd name="T35" fmla="*/ 347 h 573"/>
                <a:gd name="T36" fmla="*/ 157 w 545"/>
                <a:gd name="T37" fmla="*/ 418 h 573"/>
                <a:gd name="T38" fmla="*/ 214 w 545"/>
                <a:gd name="T39" fmla="*/ 476 h 573"/>
                <a:gd name="T40" fmla="*/ 162 w 545"/>
                <a:gd name="T41" fmla="*/ 541 h 573"/>
                <a:gd name="T42" fmla="*/ 98 w 545"/>
                <a:gd name="T43" fmla="*/ 552 h 573"/>
                <a:gd name="T44" fmla="*/ 418 w 545"/>
                <a:gd name="T45" fmla="*/ 543 h 573"/>
                <a:gd name="T46" fmla="*/ 388 w 545"/>
                <a:gd name="T47" fmla="*/ 459 h 573"/>
                <a:gd name="T48" fmla="*/ 402 w 545"/>
                <a:gd name="T49" fmla="*/ 307 h 573"/>
                <a:gd name="T50" fmla="*/ 509 w 545"/>
                <a:gd name="T51" fmla="*/ 290 h 573"/>
                <a:gd name="T52" fmla="*/ 494 w 545"/>
                <a:gd name="T53" fmla="*/ 207 h 573"/>
                <a:gd name="T54" fmla="*/ 483 w 545"/>
                <a:gd name="T55" fmla="*/ 266 h 573"/>
                <a:gd name="T56" fmla="*/ 454 w 545"/>
                <a:gd name="T57" fmla="*/ 255 h 573"/>
                <a:gd name="T58" fmla="*/ 391 w 545"/>
                <a:gd name="T59" fmla="*/ 280 h 573"/>
                <a:gd name="T60" fmla="*/ 422 w 545"/>
                <a:gd name="T61" fmla="*/ 184 h 573"/>
                <a:gd name="T62" fmla="*/ 431 w 545"/>
                <a:gd name="T63" fmla="*/ 157 h 573"/>
                <a:gd name="T64" fmla="*/ 401 w 545"/>
                <a:gd name="T65" fmla="*/ 138 h 573"/>
                <a:gd name="T66" fmla="*/ 415 w 545"/>
                <a:gd name="T67" fmla="*/ 89 h 573"/>
                <a:gd name="T68" fmla="*/ 367 w 545"/>
                <a:gd name="T69" fmla="*/ 40 h 573"/>
                <a:gd name="T70" fmla="*/ 244 w 545"/>
                <a:gd name="T71" fmla="*/ 9 h 573"/>
                <a:gd name="T72" fmla="*/ 253 w 545"/>
                <a:gd name="T73" fmla="*/ 0 h 573"/>
                <a:gd name="T74" fmla="*/ 534 w 545"/>
                <a:gd name="T75" fmla="*/ 315 h 573"/>
                <a:gd name="T76" fmla="*/ 358 w 545"/>
                <a:gd name="T77" fmla="*/ 48 h 573"/>
                <a:gd name="T78" fmla="*/ 396 w 545"/>
                <a:gd name="T79" fmla="*/ 199 h 573"/>
                <a:gd name="T80" fmla="*/ 394 w 545"/>
                <a:gd name="T81" fmla="*/ 184 h 573"/>
                <a:gd name="T82" fmla="*/ 433 w 545"/>
                <a:gd name="T83" fmla="*/ 274 h 573"/>
                <a:gd name="T84" fmla="*/ 363 w 545"/>
                <a:gd name="T85" fmla="*/ 81 h 573"/>
                <a:gd name="T86" fmla="*/ 357 w 545"/>
                <a:gd name="T87" fmla="*/ 153 h 573"/>
                <a:gd name="T88" fmla="*/ 246 w 545"/>
                <a:gd name="T89" fmla="*/ 59 h 573"/>
                <a:gd name="T90" fmla="*/ 246 w 545"/>
                <a:gd name="T91" fmla="*/ 63 h 573"/>
                <a:gd name="T92" fmla="*/ 227 w 545"/>
                <a:gd name="T93" fmla="*/ 51 h 573"/>
                <a:gd name="T94" fmla="*/ 236 w 545"/>
                <a:gd name="T95" fmla="*/ 66 h 573"/>
                <a:gd name="T96" fmla="*/ 276 w 545"/>
                <a:gd name="T97" fmla="*/ 70 h 573"/>
                <a:gd name="T98" fmla="*/ 285 w 545"/>
                <a:gd name="T99" fmla="*/ 88 h 573"/>
                <a:gd name="T100" fmla="*/ 326 w 545"/>
                <a:gd name="T101" fmla="*/ 134 h 573"/>
                <a:gd name="T102" fmla="*/ 320 w 545"/>
                <a:gd name="T103" fmla="*/ 73 h 573"/>
                <a:gd name="T104" fmla="*/ 224 w 545"/>
                <a:gd name="T105" fmla="*/ 53 h 573"/>
                <a:gd name="T106" fmla="*/ 241 w 545"/>
                <a:gd name="T107" fmla="*/ 100 h 573"/>
                <a:gd name="T108" fmla="*/ 230 w 545"/>
                <a:gd name="T109" fmla="*/ 116 h 573"/>
                <a:gd name="T110" fmla="*/ 260 w 545"/>
                <a:gd name="T111" fmla="*/ 102 h 573"/>
                <a:gd name="T112" fmla="*/ 206 w 545"/>
                <a:gd name="T113" fmla="*/ 100 h 573"/>
                <a:gd name="T114" fmla="*/ 200 w 545"/>
                <a:gd name="T115" fmla="*/ 195 h 573"/>
                <a:gd name="T116" fmla="*/ 87 w 545"/>
                <a:gd name="T117" fmla="*/ 304 h 573"/>
                <a:gd name="T118" fmla="*/ 73 w 545"/>
                <a:gd name="T119" fmla="*/ 296 h 573"/>
                <a:gd name="T120" fmla="*/ 74 w 545"/>
                <a:gd name="T121" fmla="*/ 26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5" h="573">
                  <a:moveTo>
                    <a:pt x="371" y="41"/>
                  </a:moveTo>
                  <a:cubicBezTo>
                    <a:pt x="370" y="41"/>
                    <a:pt x="370" y="40"/>
                    <a:pt x="369" y="40"/>
                  </a:cubicBezTo>
                  <a:lnTo>
                    <a:pt x="371" y="41"/>
                  </a:lnTo>
                  <a:close/>
                  <a:moveTo>
                    <a:pt x="233" y="62"/>
                  </a:moveTo>
                  <a:cubicBezTo>
                    <a:pt x="235" y="61"/>
                    <a:pt x="237" y="61"/>
                    <a:pt x="237" y="61"/>
                  </a:cubicBezTo>
                  <a:cubicBezTo>
                    <a:pt x="236" y="60"/>
                    <a:pt x="235" y="59"/>
                    <a:pt x="234" y="60"/>
                  </a:cubicBezTo>
                  <a:cubicBezTo>
                    <a:pt x="234" y="61"/>
                    <a:pt x="233" y="62"/>
                    <a:pt x="233" y="62"/>
                  </a:cubicBezTo>
                  <a:moveTo>
                    <a:pt x="72" y="565"/>
                  </a:moveTo>
                  <a:cubicBezTo>
                    <a:pt x="70" y="564"/>
                    <a:pt x="70" y="564"/>
                    <a:pt x="70" y="564"/>
                  </a:cubicBezTo>
                  <a:cubicBezTo>
                    <a:pt x="70" y="564"/>
                    <a:pt x="68" y="562"/>
                    <a:pt x="66" y="562"/>
                  </a:cubicBezTo>
                  <a:cubicBezTo>
                    <a:pt x="65" y="561"/>
                    <a:pt x="64" y="560"/>
                    <a:pt x="63" y="558"/>
                  </a:cubicBezTo>
                  <a:cubicBezTo>
                    <a:pt x="61" y="557"/>
                    <a:pt x="60" y="557"/>
                    <a:pt x="59" y="556"/>
                  </a:cubicBezTo>
                  <a:cubicBezTo>
                    <a:pt x="58" y="556"/>
                    <a:pt x="56" y="554"/>
                    <a:pt x="55" y="552"/>
                  </a:cubicBezTo>
                  <a:cubicBezTo>
                    <a:pt x="54" y="549"/>
                    <a:pt x="54" y="550"/>
                    <a:pt x="52" y="548"/>
                  </a:cubicBezTo>
                  <a:cubicBezTo>
                    <a:pt x="51" y="546"/>
                    <a:pt x="50" y="544"/>
                    <a:pt x="50" y="540"/>
                  </a:cubicBezTo>
                  <a:cubicBezTo>
                    <a:pt x="47" y="539"/>
                    <a:pt x="45" y="537"/>
                    <a:pt x="45" y="536"/>
                  </a:cubicBezTo>
                  <a:cubicBezTo>
                    <a:pt x="45" y="536"/>
                    <a:pt x="43" y="533"/>
                    <a:pt x="43" y="532"/>
                  </a:cubicBezTo>
                  <a:cubicBezTo>
                    <a:pt x="43" y="530"/>
                    <a:pt x="43" y="529"/>
                    <a:pt x="41" y="527"/>
                  </a:cubicBezTo>
                  <a:cubicBezTo>
                    <a:pt x="42" y="526"/>
                    <a:pt x="44" y="523"/>
                    <a:pt x="46" y="521"/>
                  </a:cubicBezTo>
                  <a:cubicBezTo>
                    <a:pt x="46" y="521"/>
                    <a:pt x="45" y="514"/>
                    <a:pt x="45" y="511"/>
                  </a:cubicBezTo>
                  <a:cubicBezTo>
                    <a:pt x="44" y="508"/>
                    <a:pt x="45" y="503"/>
                    <a:pt x="46" y="502"/>
                  </a:cubicBezTo>
                  <a:cubicBezTo>
                    <a:pt x="47" y="501"/>
                    <a:pt x="47" y="497"/>
                    <a:pt x="48" y="495"/>
                  </a:cubicBezTo>
                  <a:cubicBezTo>
                    <a:pt x="48" y="492"/>
                    <a:pt x="47" y="490"/>
                    <a:pt x="49" y="489"/>
                  </a:cubicBezTo>
                  <a:cubicBezTo>
                    <a:pt x="51" y="487"/>
                    <a:pt x="50" y="485"/>
                    <a:pt x="50" y="482"/>
                  </a:cubicBezTo>
                  <a:cubicBezTo>
                    <a:pt x="51" y="479"/>
                    <a:pt x="50" y="477"/>
                    <a:pt x="50" y="476"/>
                  </a:cubicBezTo>
                  <a:cubicBezTo>
                    <a:pt x="50" y="473"/>
                    <a:pt x="48" y="472"/>
                    <a:pt x="48" y="471"/>
                  </a:cubicBezTo>
                  <a:cubicBezTo>
                    <a:pt x="48" y="469"/>
                    <a:pt x="46" y="466"/>
                    <a:pt x="45" y="465"/>
                  </a:cubicBezTo>
                  <a:cubicBezTo>
                    <a:pt x="43" y="464"/>
                    <a:pt x="42" y="462"/>
                    <a:pt x="41" y="460"/>
                  </a:cubicBezTo>
                  <a:cubicBezTo>
                    <a:pt x="40" y="458"/>
                    <a:pt x="39" y="457"/>
                    <a:pt x="38" y="456"/>
                  </a:cubicBezTo>
                  <a:cubicBezTo>
                    <a:pt x="36" y="455"/>
                    <a:pt x="36" y="454"/>
                    <a:pt x="34" y="451"/>
                  </a:cubicBezTo>
                  <a:cubicBezTo>
                    <a:pt x="33" y="448"/>
                    <a:pt x="31" y="447"/>
                    <a:pt x="30" y="445"/>
                  </a:cubicBezTo>
                  <a:cubicBezTo>
                    <a:pt x="29" y="443"/>
                    <a:pt x="28" y="440"/>
                    <a:pt x="28" y="439"/>
                  </a:cubicBezTo>
                  <a:cubicBezTo>
                    <a:pt x="29" y="438"/>
                    <a:pt x="28" y="435"/>
                    <a:pt x="27" y="433"/>
                  </a:cubicBezTo>
                  <a:cubicBezTo>
                    <a:pt x="26" y="431"/>
                    <a:pt x="25" y="429"/>
                    <a:pt x="26" y="427"/>
                  </a:cubicBezTo>
                  <a:cubicBezTo>
                    <a:pt x="27" y="425"/>
                    <a:pt x="26" y="423"/>
                    <a:pt x="25" y="421"/>
                  </a:cubicBezTo>
                  <a:cubicBezTo>
                    <a:pt x="24" y="418"/>
                    <a:pt x="23" y="417"/>
                    <a:pt x="24" y="415"/>
                  </a:cubicBezTo>
                  <a:cubicBezTo>
                    <a:pt x="24" y="413"/>
                    <a:pt x="24" y="413"/>
                    <a:pt x="23" y="408"/>
                  </a:cubicBezTo>
                  <a:cubicBezTo>
                    <a:pt x="22" y="405"/>
                    <a:pt x="19" y="398"/>
                    <a:pt x="17" y="396"/>
                  </a:cubicBezTo>
                  <a:cubicBezTo>
                    <a:pt x="16" y="393"/>
                    <a:pt x="18" y="392"/>
                    <a:pt x="18" y="390"/>
                  </a:cubicBezTo>
                  <a:cubicBezTo>
                    <a:pt x="17" y="388"/>
                    <a:pt x="18" y="387"/>
                    <a:pt x="20" y="388"/>
                  </a:cubicBezTo>
                  <a:cubicBezTo>
                    <a:pt x="22" y="388"/>
                    <a:pt x="23" y="387"/>
                    <a:pt x="23" y="386"/>
                  </a:cubicBezTo>
                  <a:cubicBezTo>
                    <a:pt x="24" y="384"/>
                    <a:pt x="24" y="384"/>
                    <a:pt x="23" y="381"/>
                  </a:cubicBezTo>
                  <a:cubicBezTo>
                    <a:pt x="23" y="381"/>
                    <a:pt x="24" y="377"/>
                    <a:pt x="24" y="375"/>
                  </a:cubicBezTo>
                  <a:cubicBezTo>
                    <a:pt x="24" y="373"/>
                    <a:pt x="26" y="374"/>
                    <a:pt x="27" y="372"/>
                  </a:cubicBezTo>
                  <a:cubicBezTo>
                    <a:pt x="28" y="370"/>
                    <a:pt x="29" y="369"/>
                    <a:pt x="31" y="370"/>
                  </a:cubicBezTo>
                  <a:cubicBezTo>
                    <a:pt x="33" y="370"/>
                    <a:pt x="35" y="370"/>
                    <a:pt x="37" y="368"/>
                  </a:cubicBezTo>
                  <a:cubicBezTo>
                    <a:pt x="38" y="365"/>
                    <a:pt x="40" y="365"/>
                    <a:pt x="41" y="367"/>
                  </a:cubicBezTo>
                  <a:cubicBezTo>
                    <a:pt x="43" y="369"/>
                    <a:pt x="43" y="368"/>
                    <a:pt x="47" y="365"/>
                  </a:cubicBezTo>
                  <a:cubicBezTo>
                    <a:pt x="47" y="365"/>
                    <a:pt x="46" y="365"/>
                    <a:pt x="45" y="362"/>
                  </a:cubicBezTo>
                  <a:cubicBezTo>
                    <a:pt x="44" y="360"/>
                    <a:pt x="47" y="355"/>
                    <a:pt x="48" y="352"/>
                  </a:cubicBezTo>
                  <a:cubicBezTo>
                    <a:pt x="49" y="350"/>
                    <a:pt x="49" y="351"/>
                    <a:pt x="49" y="346"/>
                  </a:cubicBezTo>
                  <a:cubicBezTo>
                    <a:pt x="48" y="343"/>
                    <a:pt x="48" y="341"/>
                    <a:pt x="49" y="341"/>
                  </a:cubicBezTo>
                  <a:cubicBezTo>
                    <a:pt x="50" y="341"/>
                    <a:pt x="50" y="341"/>
                    <a:pt x="50" y="339"/>
                  </a:cubicBezTo>
                  <a:cubicBezTo>
                    <a:pt x="49" y="337"/>
                    <a:pt x="47" y="334"/>
                    <a:pt x="47" y="334"/>
                  </a:cubicBezTo>
                  <a:cubicBezTo>
                    <a:pt x="45" y="334"/>
                    <a:pt x="43" y="334"/>
                    <a:pt x="42" y="335"/>
                  </a:cubicBezTo>
                  <a:cubicBezTo>
                    <a:pt x="41" y="335"/>
                    <a:pt x="41" y="335"/>
                    <a:pt x="41" y="335"/>
                  </a:cubicBezTo>
                  <a:cubicBezTo>
                    <a:pt x="42" y="336"/>
                    <a:pt x="41" y="338"/>
                    <a:pt x="41" y="339"/>
                  </a:cubicBezTo>
                  <a:cubicBezTo>
                    <a:pt x="41" y="339"/>
                    <a:pt x="39" y="339"/>
                    <a:pt x="39" y="339"/>
                  </a:cubicBezTo>
                  <a:cubicBezTo>
                    <a:pt x="38" y="336"/>
                    <a:pt x="37" y="336"/>
                    <a:pt x="37" y="335"/>
                  </a:cubicBezTo>
                  <a:cubicBezTo>
                    <a:pt x="37" y="335"/>
                    <a:pt x="37" y="333"/>
                    <a:pt x="37" y="333"/>
                  </a:cubicBezTo>
                  <a:cubicBezTo>
                    <a:pt x="37" y="332"/>
                    <a:pt x="36" y="331"/>
                    <a:pt x="35" y="330"/>
                  </a:cubicBezTo>
                  <a:cubicBezTo>
                    <a:pt x="34" y="329"/>
                    <a:pt x="32" y="327"/>
                    <a:pt x="32" y="326"/>
                  </a:cubicBezTo>
                  <a:cubicBezTo>
                    <a:pt x="32" y="324"/>
                    <a:pt x="30" y="319"/>
                    <a:pt x="30" y="318"/>
                  </a:cubicBezTo>
                  <a:cubicBezTo>
                    <a:pt x="31" y="316"/>
                    <a:pt x="29" y="313"/>
                    <a:pt x="29" y="313"/>
                  </a:cubicBezTo>
                  <a:cubicBezTo>
                    <a:pt x="28" y="315"/>
                    <a:pt x="28" y="316"/>
                    <a:pt x="28" y="315"/>
                  </a:cubicBezTo>
                  <a:cubicBezTo>
                    <a:pt x="27" y="314"/>
                    <a:pt x="26" y="313"/>
                    <a:pt x="26" y="311"/>
                  </a:cubicBezTo>
                  <a:cubicBezTo>
                    <a:pt x="27" y="310"/>
                    <a:pt x="28" y="307"/>
                    <a:pt x="28" y="307"/>
                  </a:cubicBezTo>
                  <a:cubicBezTo>
                    <a:pt x="28" y="303"/>
                    <a:pt x="27" y="290"/>
                    <a:pt x="27" y="290"/>
                  </a:cubicBezTo>
                  <a:cubicBezTo>
                    <a:pt x="25" y="290"/>
                    <a:pt x="24" y="290"/>
                    <a:pt x="24" y="289"/>
                  </a:cubicBezTo>
                  <a:cubicBezTo>
                    <a:pt x="24" y="287"/>
                    <a:pt x="22" y="283"/>
                    <a:pt x="20" y="282"/>
                  </a:cubicBezTo>
                  <a:cubicBezTo>
                    <a:pt x="19" y="280"/>
                    <a:pt x="19" y="277"/>
                    <a:pt x="18" y="276"/>
                  </a:cubicBezTo>
                  <a:cubicBezTo>
                    <a:pt x="17" y="274"/>
                    <a:pt x="17" y="271"/>
                    <a:pt x="17" y="269"/>
                  </a:cubicBezTo>
                  <a:cubicBezTo>
                    <a:pt x="17" y="268"/>
                    <a:pt x="16" y="263"/>
                    <a:pt x="16" y="263"/>
                  </a:cubicBezTo>
                  <a:cubicBezTo>
                    <a:pt x="15" y="261"/>
                    <a:pt x="13" y="257"/>
                    <a:pt x="13" y="257"/>
                  </a:cubicBezTo>
                  <a:cubicBezTo>
                    <a:pt x="9" y="257"/>
                    <a:pt x="9" y="257"/>
                    <a:pt x="9" y="255"/>
                  </a:cubicBezTo>
                  <a:cubicBezTo>
                    <a:pt x="8" y="254"/>
                    <a:pt x="6" y="251"/>
                    <a:pt x="6" y="250"/>
                  </a:cubicBezTo>
                  <a:cubicBezTo>
                    <a:pt x="6" y="249"/>
                    <a:pt x="6" y="247"/>
                    <a:pt x="6" y="246"/>
                  </a:cubicBezTo>
                  <a:cubicBezTo>
                    <a:pt x="6" y="244"/>
                    <a:pt x="5" y="243"/>
                    <a:pt x="4" y="241"/>
                  </a:cubicBezTo>
                  <a:cubicBezTo>
                    <a:pt x="4" y="239"/>
                    <a:pt x="4" y="235"/>
                    <a:pt x="3" y="233"/>
                  </a:cubicBezTo>
                  <a:cubicBezTo>
                    <a:pt x="2" y="231"/>
                    <a:pt x="2" y="228"/>
                    <a:pt x="2" y="227"/>
                  </a:cubicBezTo>
                  <a:cubicBezTo>
                    <a:pt x="1" y="226"/>
                    <a:pt x="1" y="225"/>
                    <a:pt x="1" y="223"/>
                  </a:cubicBezTo>
                  <a:cubicBezTo>
                    <a:pt x="1" y="221"/>
                    <a:pt x="2" y="220"/>
                    <a:pt x="1" y="219"/>
                  </a:cubicBezTo>
                  <a:cubicBezTo>
                    <a:pt x="0" y="218"/>
                    <a:pt x="1" y="216"/>
                    <a:pt x="1" y="216"/>
                  </a:cubicBezTo>
                  <a:cubicBezTo>
                    <a:pt x="1" y="216"/>
                    <a:pt x="2" y="217"/>
                    <a:pt x="1" y="215"/>
                  </a:cubicBezTo>
                  <a:cubicBezTo>
                    <a:pt x="1" y="214"/>
                    <a:pt x="1" y="213"/>
                    <a:pt x="2" y="212"/>
                  </a:cubicBezTo>
                  <a:cubicBezTo>
                    <a:pt x="3" y="210"/>
                    <a:pt x="9" y="200"/>
                    <a:pt x="9" y="200"/>
                  </a:cubicBezTo>
                  <a:cubicBezTo>
                    <a:pt x="10" y="194"/>
                    <a:pt x="11" y="192"/>
                    <a:pt x="11" y="191"/>
                  </a:cubicBezTo>
                  <a:cubicBezTo>
                    <a:pt x="12" y="191"/>
                    <a:pt x="12" y="190"/>
                    <a:pt x="12" y="189"/>
                  </a:cubicBezTo>
                  <a:cubicBezTo>
                    <a:pt x="12" y="187"/>
                    <a:pt x="12" y="186"/>
                    <a:pt x="13" y="185"/>
                  </a:cubicBezTo>
                  <a:cubicBezTo>
                    <a:pt x="13" y="184"/>
                    <a:pt x="14" y="181"/>
                    <a:pt x="14" y="181"/>
                  </a:cubicBezTo>
                  <a:cubicBezTo>
                    <a:pt x="14" y="180"/>
                    <a:pt x="14" y="179"/>
                    <a:pt x="14" y="179"/>
                  </a:cubicBezTo>
                  <a:cubicBezTo>
                    <a:pt x="16" y="177"/>
                    <a:pt x="17" y="176"/>
                    <a:pt x="17" y="176"/>
                  </a:cubicBezTo>
                  <a:cubicBezTo>
                    <a:pt x="17" y="174"/>
                    <a:pt x="17" y="174"/>
                    <a:pt x="18" y="172"/>
                  </a:cubicBezTo>
                  <a:cubicBezTo>
                    <a:pt x="20" y="168"/>
                    <a:pt x="20" y="168"/>
                    <a:pt x="20" y="168"/>
                  </a:cubicBezTo>
                  <a:cubicBezTo>
                    <a:pt x="20" y="168"/>
                    <a:pt x="22" y="162"/>
                    <a:pt x="22" y="161"/>
                  </a:cubicBezTo>
                  <a:cubicBezTo>
                    <a:pt x="22" y="159"/>
                    <a:pt x="26" y="152"/>
                    <a:pt x="28" y="151"/>
                  </a:cubicBezTo>
                  <a:cubicBezTo>
                    <a:pt x="30" y="149"/>
                    <a:pt x="32" y="143"/>
                    <a:pt x="32" y="140"/>
                  </a:cubicBezTo>
                  <a:cubicBezTo>
                    <a:pt x="32" y="140"/>
                    <a:pt x="24" y="149"/>
                    <a:pt x="23" y="150"/>
                  </a:cubicBezTo>
                  <a:cubicBezTo>
                    <a:pt x="23" y="150"/>
                    <a:pt x="21" y="155"/>
                    <a:pt x="20" y="156"/>
                  </a:cubicBezTo>
                  <a:cubicBezTo>
                    <a:pt x="19" y="157"/>
                    <a:pt x="19" y="159"/>
                    <a:pt x="18" y="161"/>
                  </a:cubicBezTo>
                  <a:cubicBezTo>
                    <a:pt x="16" y="165"/>
                    <a:pt x="16" y="165"/>
                    <a:pt x="16" y="165"/>
                  </a:cubicBezTo>
                  <a:cubicBezTo>
                    <a:pt x="16" y="165"/>
                    <a:pt x="14" y="170"/>
                    <a:pt x="12" y="171"/>
                  </a:cubicBezTo>
                  <a:cubicBezTo>
                    <a:pt x="10" y="173"/>
                    <a:pt x="8" y="179"/>
                    <a:pt x="8" y="181"/>
                  </a:cubicBezTo>
                  <a:cubicBezTo>
                    <a:pt x="7" y="184"/>
                    <a:pt x="7" y="186"/>
                    <a:pt x="7" y="186"/>
                  </a:cubicBezTo>
                  <a:cubicBezTo>
                    <a:pt x="7" y="186"/>
                    <a:pt x="5" y="188"/>
                    <a:pt x="4" y="187"/>
                  </a:cubicBezTo>
                  <a:cubicBezTo>
                    <a:pt x="4" y="186"/>
                    <a:pt x="5" y="182"/>
                    <a:pt x="6" y="179"/>
                  </a:cubicBezTo>
                  <a:cubicBezTo>
                    <a:pt x="6" y="179"/>
                    <a:pt x="7" y="177"/>
                    <a:pt x="7" y="175"/>
                  </a:cubicBezTo>
                  <a:cubicBezTo>
                    <a:pt x="6" y="174"/>
                    <a:pt x="12" y="167"/>
                    <a:pt x="14" y="163"/>
                  </a:cubicBezTo>
                  <a:cubicBezTo>
                    <a:pt x="15" y="156"/>
                    <a:pt x="15" y="156"/>
                    <a:pt x="15" y="156"/>
                  </a:cubicBezTo>
                  <a:cubicBezTo>
                    <a:pt x="19" y="155"/>
                    <a:pt x="19" y="155"/>
                    <a:pt x="19" y="155"/>
                  </a:cubicBezTo>
                  <a:cubicBezTo>
                    <a:pt x="19" y="155"/>
                    <a:pt x="21" y="149"/>
                    <a:pt x="22" y="146"/>
                  </a:cubicBezTo>
                  <a:cubicBezTo>
                    <a:pt x="24" y="144"/>
                    <a:pt x="27" y="140"/>
                    <a:pt x="28" y="138"/>
                  </a:cubicBezTo>
                  <a:cubicBezTo>
                    <a:pt x="29" y="136"/>
                    <a:pt x="33" y="131"/>
                    <a:pt x="37" y="124"/>
                  </a:cubicBezTo>
                  <a:cubicBezTo>
                    <a:pt x="37" y="124"/>
                    <a:pt x="38" y="120"/>
                    <a:pt x="38" y="118"/>
                  </a:cubicBezTo>
                  <a:cubicBezTo>
                    <a:pt x="39" y="116"/>
                    <a:pt x="42" y="114"/>
                    <a:pt x="43" y="112"/>
                  </a:cubicBezTo>
                  <a:cubicBezTo>
                    <a:pt x="44" y="110"/>
                    <a:pt x="49" y="107"/>
                    <a:pt x="53" y="104"/>
                  </a:cubicBezTo>
                  <a:cubicBezTo>
                    <a:pt x="52" y="102"/>
                    <a:pt x="52" y="102"/>
                    <a:pt x="52" y="102"/>
                  </a:cubicBezTo>
                  <a:cubicBezTo>
                    <a:pt x="52" y="102"/>
                    <a:pt x="53" y="102"/>
                    <a:pt x="56" y="100"/>
                  </a:cubicBezTo>
                  <a:cubicBezTo>
                    <a:pt x="57" y="97"/>
                    <a:pt x="58" y="97"/>
                    <a:pt x="61" y="95"/>
                  </a:cubicBezTo>
                  <a:cubicBezTo>
                    <a:pt x="62" y="93"/>
                    <a:pt x="67" y="91"/>
                    <a:pt x="67" y="91"/>
                  </a:cubicBezTo>
                  <a:cubicBezTo>
                    <a:pt x="69" y="91"/>
                    <a:pt x="82" y="83"/>
                    <a:pt x="85" y="83"/>
                  </a:cubicBezTo>
                  <a:cubicBezTo>
                    <a:pt x="87" y="82"/>
                    <a:pt x="94" y="77"/>
                    <a:pt x="97" y="74"/>
                  </a:cubicBezTo>
                  <a:cubicBezTo>
                    <a:pt x="100" y="70"/>
                    <a:pt x="99" y="74"/>
                    <a:pt x="98" y="78"/>
                  </a:cubicBezTo>
                  <a:cubicBezTo>
                    <a:pt x="98" y="78"/>
                    <a:pt x="104" y="73"/>
                    <a:pt x="106" y="72"/>
                  </a:cubicBezTo>
                  <a:cubicBezTo>
                    <a:pt x="109" y="71"/>
                    <a:pt x="112" y="65"/>
                    <a:pt x="113" y="63"/>
                  </a:cubicBezTo>
                  <a:cubicBezTo>
                    <a:pt x="114" y="61"/>
                    <a:pt x="134" y="52"/>
                    <a:pt x="137" y="51"/>
                  </a:cubicBezTo>
                  <a:cubicBezTo>
                    <a:pt x="140" y="50"/>
                    <a:pt x="139" y="49"/>
                    <a:pt x="137" y="48"/>
                  </a:cubicBezTo>
                  <a:cubicBezTo>
                    <a:pt x="137" y="48"/>
                    <a:pt x="139" y="48"/>
                    <a:pt x="142" y="47"/>
                  </a:cubicBezTo>
                  <a:cubicBezTo>
                    <a:pt x="144" y="46"/>
                    <a:pt x="151" y="42"/>
                    <a:pt x="155" y="42"/>
                  </a:cubicBezTo>
                  <a:cubicBezTo>
                    <a:pt x="159" y="41"/>
                    <a:pt x="157" y="40"/>
                    <a:pt x="155" y="40"/>
                  </a:cubicBezTo>
                  <a:cubicBezTo>
                    <a:pt x="153" y="39"/>
                    <a:pt x="148" y="41"/>
                    <a:pt x="150" y="40"/>
                  </a:cubicBezTo>
                  <a:cubicBezTo>
                    <a:pt x="152" y="39"/>
                    <a:pt x="157" y="35"/>
                    <a:pt x="159" y="35"/>
                  </a:cubicBezTo>
                  <a:cubicBezTo>
                    <a:pt x="161" y="35"/>
                    <a:pt x="163" y="32"/>
                    <a:pt x="164" y="30"/>
                  </a:cubicBezTo>
                  <a:cubicBezTo>
                    <a:pt x="165" y="28"/>
                    <a:pt x="173" y="26"/>
                    <a:pt x="175" y="25"/>
                  </a:cubicBezTo>
                  <a:cubicBezTo>
                    <a:pt x="175" y="25"/>
                    <a:pt x="173" y="24"/>
                    <a:pt x="171" y="24"/>
                  </a:cubicBezTo>
                  <a:cubicBezTo>
                    <a:pt x="170" y="24"/>
                    <a:pt x="169" y="23"/>
                    <a:pt x="169" y="21"/>
                  </a:cubicBezTo>
                  <a:cubicBezTo>
                    <a:pt x="170" y="19"/>
                    <a:pt x="168" y="19"/>
                    <a:pt x="164" y="15"/>
                  </a:cubicBezTo>
                  <a:cubicBezTo>
                    <a:pt x="164" y="15"/>
                    <a:pt x="164" y="14"/>
                    <a:pt x="166" y="14"/>
                  </a:cubicBezTo>
                  <a:cubicBezTo>
                    <a:pt x="168" y="14"/>
                    <a:pt x="171" y="14"/>
                    <a:pt x="173" y="16"/>
                  </a:cubicBezTo>
                  <a:cubicBezTo>
                    <a:pt x="174" y="17"/>
                    <a:pt x="180" y="14"/>
                    <a:pt x="181" y="12"/>
                  </a:cubicBezTo>
                  <a:cubicBezTo>
                    <a:pt x="183" y="10"/>
                    <a:pt x="191" y="9"/>
                    <a:pt x="194" y="10"/>
                  </a:cubicBezTo>
                  <a:cubicBezTo>
                    <a:pt x="198" y="11"/>
                    <a:pt x="196" y="10"/>
                    <a:pt x="200" y="9"/>
                  </a:cubicBezTo>
                  <a:cubicBezTo>
                    <a:pt x="200" y="9"/>
                    <a:pt x="200" y="12"/>
                    <a:pt x="201" y="13"/>
                  </a:cubicBezTo>
                  <a:cubicBezTo>
                    <a:pt x="202" y="15"/>
                    <a:pt x="206" y="14"/>
                    <a:pt x="208" y="13"/>
                  </a:cubicBezTo>
                  <a:cubicBezTo>
                    <a:pt x="210" y="12"/>
                    <a:pt x="211" y="11"/>
                    <a:pt x="212" y="11"/>
                  </a:cubicBezTo>
                  <a:cubicBezTo>
                    <a:pt x="214" y="10"/>
                    <a:pt x="220" y="10"/>
                    <a:pt x="220" y="10"/>
                  </a:cubicBezTo>
                  <a:cubicBezTo>
                    <a:pt x="219" y="11"/>
                    <a:pt x="220" y="13"/>
                    <a:pt x="218" y="13"/>
                  </a:cubicBezTo>
                  <a:cubicBezTo>
                    <a:pt x="217" y="14"/>
                    <a:pt x="212" y="16"/>
                    <a:pt x="212" y="16"/>
                  </a:cubicBezTo>
                  <a:cubicBezTo>
                    <a:pt x="218" y="16"/>
                    <a:pt x="218" y="16"/>
                    <a:pt x="218" y="16"/>
                  </a:cubicBezTo>
                  <a:cubicBezTo>
                    <a:pt x="221" y="14"/>
                    <a:pt x="222" y="15"/>
                    <a:pt x="224" y="15"/>
                  </a:cubicBezTo>
                  <a:cubicBezTo>
                    <a:pt x="225" y="15"/>
                    <a:pt x="228" y="16"/>
                    <a:pt x="228" y="15"/>
                  </a:cubicBezTo>
                  <a:cubicBezTo>
                    <a:pt x="232" y="18"/>
                    <a:pt x="232" y="18"/>
                    <a:pt x="232" y="20"/>
                  </a:cubicBezTo>
                  <a:cubicBezTo>
                    <a:pt x="232" y="21"/>
                    <a:pt x="231" y="23"/>
                    <a:pt x="229" y="23"/>
                  </a:cubicBezTo>
                  <a:cubicBezTo>
                    <a:pt x="227" y="22"/>
                    <a:pt x="224" y="23"/>
                    <a:pt x="224" y="24"/>
                  </a:cubicBezTo>
                  <a:cubicBezTo>
                    <a:pt x="223" y="24"/>
                    <a:pt x="218" y="28"/>
                    <a:pt x="216" y="29"/>
                  </a:cubicBezTo>
                  <a:cubicBezTo>
                    <a:pt x="213" y="31"/>
                    <a:pt x="211" y="32"/>
                    <a:pt x="210" y="33"/>
                  </a:cubicBezTo>
                  <a:cubicBezTo>
                    <a:pt x="209" y="35"/>
                    <a:pt x="205" y="37"/>
                    <a:pt x="205" y="37"/>
                  </a:cubicBezTo>
                  <a:cubicBezTo>
                    <a:pt x="206" y="37"/>
                    <a:pt x="206" y="37"/>
                    <a:pt x="206" y="37"/>
                  </a:cubicBezTo>
                  <a:cubicBezTo>
                    <a:pt x="208" y="37"/>
                    <a:pt x="208" y="37"/>
                    <a:pt x="210" y="38"/>
                  </a:cubicBezTo>
                  <a:cubicBezTo>
                    <a:pt x="211" y="40"/>
                    <a:pt x="214" y="42"/>
                    <a:pt x="214" y="42"/>
                  </a:cubicBezTo>
                  <a:cubicBezTo>
                    <a:pt x="212" y="47"/>
                    <a:pt x="208" y="52"/>
                    <a:pt x="207" y="55"/>
                  </a:cubicBezTo>
                  <a:cubicBezTo>
                    <a:pt x="207" y="57"/>
                    <a:pt x="205" y="58"/>
                    <a:pt x="205" y="58"/>
                  </a:cubicBezTo>
                  <a:cubicBezTo>
                    <a:pt x="202" y="57"/>
                    <a:pt x="201" y="57"/>
                    <a:pt x="201" y="59"/>
                  </a:cubicBezTo>
                  <a:cubicBezTo>
                    <a:pt x="202" y="61"/>
                    <a:pt x="202" y="61"/>
                    <a:pt x="202" y="61"/>
                  </a:cubicBezTo>
                  <a:cubicBezTo>
                    <a:pt x="205" y="63"/>
                    <a:pt x="212" y="66"/>
                    <a:pt x="212" y="66"/>
                  </a:cubicBezTo>
                  <a:cubicBezTo>
                    <a:pt x="209" y="67"/>
                    <a:pt x="209" y="68"/>
                    <a:pt x="209" y="69"/>
                  </a:cubicBezTo>
                  <a:cubicBezTo>
                    <a:pt x="208" y="69"/>
                    <a:pt x="208" y="72"/>
                    <a:pt x="208" y="72"/>
                  </a:cubicBezTo>
                  <a:cubicBezTo>
                    <a:pt x="211" y="73"/>
                    <a:pt x="215" y="77"/>
                    <a:pt x="212" y="81"/>
                  </a:cubicBezTo>
                  <a:cubicBezTo>
                    <a:pt x="216" y="80"/>
                    <a:pt x="221" y="81"/>
                    <a:pt x="222" y="80"/>
                  </a:cubicBezTo>
                  <a:cubicBezTo>
                    <a:pt x="222" y="79"/>
                    <a:pt x="224" y="78"/>
                    <a:pt x="224" y="78"/>
                  </a:cubicBezTo>
                  <a:cubicBezTo>
                    <a:pt x="224" y="76"/>
                    <a:pt x="224" y="74"/>
                    <a:pt x="224" y="74"/>
                  </a:cubicBezTo>
                  <a:cubicBezTo>
                    <a:pt x="228" y="74"/>
                    <a:pt x="229" y="74"/>
                    <a:pt x="230" y="73"/>
                  </a:cubicBezTo>
                  <a:cubicBezTo>
                    <a:pt x="233" y="72"/>
                    <a:pt x="233" y="74"/>
                    <a:pt x="235" y="73"/>
                  </a:cubicBezTo>
                  <a:cubicBezTo>
                    <a:pt x="236" y="71"/>
                    <a:pt x="239" y="71"/>
                    <a:pt x="240" y="70"/>
                  </a:cubicBezTo>
                  <a:cubicBezTo>
                    <a:pt x="242" y="69"/>
                    <a:pt x="243" y="67"/>
                    <a:pt x="245" y="69"/>
                  </a:cubicBezTo>
                  <a:cubicBezTo>
                    <a:pt x="246" y="71"/>
                    <a:pt x="247" y="74"/>
                    <a:pt x="245" y="73"/>
                  </a:cubicBezTo>
                  <a:cubicBezTo>
                    <a:pt x="244" y="72"/>
                    <a:pt x="240" y="73"/>
                    <a:pt x="239" y="73"/>
                  </a:cubicBezTo>
                  <a:cubicBezTo>
                    <a:pt x="238" y="74"/>
                    <a:pt x="234" y="73"/>
                    <a:pt x="234" y="74"/>
                  </a:cubicBezTo>
                  <a:cubicBezTo>
                    <a:pt x="233" y="75"/>
                    <a:pt x="231" y="80"/>
                    <a:pt x="229" y="79"/>
                  </a:cubicBezTo>
                  <a:cubicBezTo>
                    <a:pt x="228" y="79"/>
                    <a:pt x="226" y="81"/>
                    <a:pt x="226" y="81"/>
                  </a:cubicBezTo>
                  <a:cubicBezTo>
                    <a:pt x="223" y="85"/>
                    <a:pt x="223" y="85"/>
                    <a:pt x="223" y="85"/>
                  </a:cubicBezTo>
                  <a:cubicBezTo>
                    <a:pt x="227" y="84"/>
                    <a:pt x="226" y="84"/>
                    <a:pt x="228" y="85"/>
                  </a:cubicBezTo>
                  <a:cubicBezTo>
                    <a:pt x="230" y="87"/>
                    <a:pt x="233" y="87"/>
                    <a:pt x="235" y="86"/>
                  </a:cubicBezTo>
                  <a:cubicBezTo>
                    <a:pt x="236" y="85"/>
                    <a:pt x="236" y="88"/>
                    <a:pt x="236" y="88"/>
                  </a:cubicBezTo>
                  <a:cubicBezTo>
                    <a:pt x="236" y="88"/>
                    <a:pt x="236" y="89"/>
                    <a:pt x="236" y="91"/>
                  </a:cubicBezTo>
                  <a:cubicBezTo>
                    <a:pt x="235" y="93"/>
                    <a:pt x="233" y="96"/>
                    <a:pt x="231" y="96"/>
                  </a:cubicBezTo>
                  <a:cubicBezTo>
                    <a:pt x="230" y="96"/>
                    <a:pt x="228" y="96"/>
                    <a:pt x="226" y="97"/>
                  </a:cubicBezTo>
                  <a:cubicBezTo>
                    <a:pt x="224" y="98"/>
                    <a:pt x="222" y="97"/>
                    <a:pt x="222" y="96"/>
                  </a:cubicBezTo>
                  <a:cubicBezTo>
                    <a:pt x="222" y="94"/>
                    <a:pt x="218" y="91"/>
                    <a:pt x="217" y="92"/>
                  </a:cubicBezTo>
                  <a:cubicBezTo>
                    <a:pt x="215" y="93"/>
                    <a:pt x="211" y="93"/>
                    <a:pt x="211" y="93"/>
                  </a:cubicBezTo>
                  <a:cubicBezTo>
                    <a:pt x="211" y="93"/>
                    <a:pt x="212" y="90"/>
                    <a:pt x="211" y="93"/>
                  </a:cubicBezTo>
                  <a:cubicBezTo>
                    <a:pt x="210" y="96"/>
                    <a:pt x="207" y="97"/>
                    <a:pt x="207" y="97"/>
                  </a:cubicBezTo>
                  <a:cubicBezTo>
                    <a:pt x="205" y="95"/>
                    <a:pt x="204" y="95"/>
                    <a:pt x="202" y="95"/>
                  </a:cubicBezTo>
                  <a:cubicBezTo>
                    <a:pt x="201" y="96"/>
                    <a:pt x="198" y="95"/>
                    <a:pt x="198" y="95"/>
                  </a:cubicBezTo>
                  <a:cubicBezTo>
                    <a:pt x="198" y="95"/>
                    <a:pt x="194" y="95"/>
                    <a:pt x="192" y="96"/>
                  </a:cubicBezTo>
                  <a:cubicBezTo>
                    <a:pt x="188" y="96"/>
                    <a:pt x="186" y="95"/>
                    <a:pt x="186" y="95"/>
                  </a:cubicBezTo>
                  <a:cubicBezTo>
                    <a:pt x="183" y="97"/>
                    <a:pt x="181" y="100"/>
                    <a:pt x="179" y="99"/>
                  </a:cubicBezTo>
                  <a:cubicBezTo>
                    <a:pt x="178" y="99"/>
                    <a:pt x="174" y="104"/>
                    <a:pt x="174" y="104"/>
                  </a:cubicBezTo>
                  <a:cubicBezTo>
                    <a:pt x="176" y="104"/>
                    <a:pt x="175" y="105"/>
                    <a:pt x="174" y="106"/>
                  </a:cubicBezTo>
                  <a:cubicBezTo>
                    <a:pt x="173" y="107"/>
                    <a:pt x="168" y="110"/>
                    <a:pt x="168" y="110"/>
                  </a:cubicBezTo>
                  <a:cubicBezTo>
                    <a:pt x="172" y="110"/>
                    <a:pt x="173" y="111"/>
                    <a:pt x="173" y="114"/>
                  </a:cubicBezTo>
                  <a:cubicBezTo>
                    <a:pt x="173" y="116"/>
                    <a:pt x="175" y="121"/>
                    <a:pt x="174" y="123"/>
                  </a:cubicBezTo>
                  <a:cubicBezTo>
                    <a:pt x="174" y="125"/>
                    <a:pt x="174" y="127"/>
                    <a:pt x="175" y="128"/>
                  </a:cubicBezTo>
                  <a:cubicBezTo>
                    <a:pt x="177" y="129"/>
                    <a:pt x="180" y="133"/>
                    <a:pt x="180" y="133"/>
                  </a:cubicBezTo>
                  <a:cubicBezTo>
                    <a:pt x="174" y="134"/>
                    <a:pt x="174" y="138"/>
                    <a:pt x="173" y="139"/>
                  </a:cubicBezTo>
                  <a:cubicBezTo>
                    <a:pt x="173" y="140"/>
                    <a:pt x="170" y="143"/>
                    <a:pt x="170" y="144"/>
                  </a:cubicBezTo>
                  <a:cubicBezTo>
                    <a:pt x="171" y="146"/>
                    <a:pt x="169" y="149"/>
                    <a:pt x="171" y="151"/>
                  </a:cubicBezTo>
                  <a:cubicBezTo>
                    <a:pt x="173" y="152"/>
                    <a:pt x="173" y="152"/>
                    <a:pt x="173" y="152"/>
                  </a:cubicBezTo>
                  <a:cubicBezTo>
                    <a:pt x="174" y="152"/>
                    <a:pt x="177" y="149"/>
                    <a:pt x="179" y="150"/>
                  </a:cubicBezTo>
                  <a:cubicBezTo>
                    <a:pt x="178" y="148"/>
                    <a:pt x="178" y="148"/>
                    <a:pt x="179" y="145"/>
                  </a:cubicBezTo>
                  <a:cubicBezTo>
                    <a:pt x="181" y="143"/>
                    <a:pt x="181" y="140"/>
                    <a:pt x="183" y="140"/>
                  </a:cubicBezTo>
                  <a:cubicBezTo>
                    <a:pt x="185" y="140"/>
                    <a:pt x="187" y="139"/>
                    <a:pt x="187" y="139"/>
                  </a:cubicBezTo>
                  <a:cubicBezTo>
                    <a:pt x="191" y="140"/>
                    <a:pt x="195" y="139"/>
                    <a:pt x="195" y="139"/>
                  </a:cubicBezTo>
                  <a:cubicBezTo>
                    <a:pt x="197" y="139"/>
                    <a:pt x="197" y="139"/>
                    <a:pt x="197" y="139"/>
                  </a:cubicBezTo>
                  <a:cubicBezTo>
                    <a:pt x="199" y="134"/>
                    <a:pt x="199" y="135"/>
                    <a:pt x="200" y="132"/>
                  </a:cubicBezTo>
                  <a:cubicBezTo>
                    <a:pt x="201" y="129"/>
                    <a:pt x="202" y="130"/>
                    <a:pt x="201" y="128"/>
                  </a:cubicBezTo>
                  <a:cubicBezTo>
                    <a:pt x="201" y="126"/>
                    <a:pt x="200" y="125"/>
                    <a:pt x="200" y="125"/>
                  </a:cubicBezTo>
                  <a:cubicBezTo>
                    <a:pt x="203" y="126"/>
                    <a:pt x="204" y="126"/>
                    <a:pt x="206" y="126"/>
                  </a:cubicBezTo>
                  <a:cubicBezTo>
                    <a:pt x="207" y="126"/>
                    <a:pt x="208" y="123"/>
                    <a:pt x="208" y="123"/>
                  </a:cubicBezTo>
                  <a:cubicBezTo>
                    <a:pt x="209" y="121"/>
                    <a:pt x="210" y="120"/>
                    <a:pt x="212" y="119"/>
                  </a:cubicBezTo>
                  <a:cubicBezTo>
                    <a:pt x="213" y="118"/>
                    <a:pt x="218" y="115"/>
                    <a:pt x="218" y="115"/>
                  </a:cubicBezTo>
                  <a:cubicBezTo>
                    <a:pt x="218" y="117"/>
                    <a:pt x="220" y="120"/>
                    <a:pt x="222" y="120"/>
                  </a:cubicBezTo>
                  <a:cubicBezTo>
                    <a:pt x="224" y="120"/>
                    <a:pt x="225" y="120"/>
                    <a:pt x="224" y="122"/>
                  </a:cubicBezTo>
                  <a:cubicBezTo>
                    <a:pt x="224" y="123"/>
                    <a:pt x="223" y="126"/>
                    <a:pt x="224" y="128"/>
                  </a:cubicBezTo>
                  <a:cubicBezTo>
                    <a:pt x="225" y="129"/>
                    <a:pt x="227" y="130"/>
                    <a:pt x="227" y="130"/>
                  </a:cubicBezTo>
                  <a:cubicBezTo>
                    <a:pt x="225" y="134"/>
                    <a:pt x="224" y="137"/>
                    <a:pt x="223" y="137"/>
                  </a:cubicBezTo>
                  <a:cubicBezTo>
                    <a:pt x="222" y="137"/>
                    <a:pt x="219" y="138"/>
                    <a:pt x="219" y="138"/>
                  </a:cubicBezTo>
                  <a:cubicBezTo>
                    <a:pt x="223" y="142"/>
                    <a:pt x="223" y="141"/>
                    <a:pt x="225" y="142"/>
                  </a:cubicBezTo>
                  <a:cubicBezTo>
                    <a:pt x="228" y="142"/>
                    <a:pt x="232" y="142"/>
                    <a:pt x="232" y="142"/>
                  </a:cubicBezTo>
                  <a:cubicBezTo>
                    <a:pt x="232" y="142"/>
                    <a:pt x="235" y="140"/>
                    <a:pt x="236" y="139"/>
                  </a:cubicBezTo>
                  <a:cubicBezTo>
                    <a:pt x="238" y="141"/>
                    <a:pt x="237" y="144"/>
                    <a:pt x="236" y="145"/>
                  </a:cubicBezTo>
                  <a:cubicBezTo>
                    <a:pt x="235" y="146"/>
                    <a:pt x="234" y="147"/>
                    <a:pt x="234" y="147"/>
                  </a:cubicBezTo>
                  <a:cubicBezTo>
                    <a:pt x="236" y="149"/>
                    <a:pt x="236" y="149"/>
                    <a:pt x="236" y="149"/>
                  </a:cubicBezTo>
                  <a:cubicBezTo>
                    <a:pt x="234" y="151"/>
                    <a:pt x="233" y="153"/>
                    <a:pt x="234" y="154"/>
                  </a:cubicBezTo>
                  <a:cubicBezTo>
                    <a:pt x="235" y="156"/>
                    <a:pt x="231" y="159"/>
                    <a:pt x="231" y="159"/>
                  </a:cubicBezTo>
                  <a:cubicBezTo>
                    <a:pt x="235" y="162"/>
                    <a:pt x="236" y="165"/>
                    <a:pt x="237" y="168"/>
                  </a:cubicBezTo>
                  <a:cubicBezTo>
                    <a:pt x="239" y="170"/>
                    <a:pt x="241" y="172"/>
                    <a:pt x="241" y="172"/>
                  </a:cubicBezTo>
                  <a:cubicBezTo>
                    <a:pt x="236" y="170"/>
                    <a:pt x="235" y="170"/>
                    <a:pt x="233" y="171"/>
                  </a:cubicBezTo>
                  <a:cubicBezTo>
                    <a:pt x="231" y="171"/>
                    <a:pt x="227" y="170"/>
                    <a:pt x="227" y="170"/>
                  </a:cubicBezTo>
                  <a:cubicBezTo>
                    <a:pt x="227" y="172"/>
                    <a:pt x="229" y="173"/>
                    <a:pt x="231" y="173"/>
                  </a:cubicBezTo>
                  <a:cubicBezTo>
                    <a:pt x="232" y="173"/>
                    <a:pt x="234" y="172"/>
                    <a:pt x="237" y="173"/>
                  </a:cubicBezTo>
                  <a:cubicBezTo>
                    <a:pt x="239" y="173"/>
                    <a:pt x="239" y="174"/>
                    <a:pt x="240" y="176"/>
                  </a:cubicBezTo>
                  <a:cubicBezTo>
                    <a:pt x="241" y="177"/>
                    <a:pt x="241" y="180"/>
                    <a:pt x="240" y="181"/>
                  </a:cubicBezTo>
                  <a:cubicBezTo>
                    <a:pt x="239" y="183"/>
                    <a:pt x="237" y="187"/>
                    <a:pt x="235" y="186"/>
                  </a:cubicBezTo>
                  <a:cubicBezTo>
                    <a:pt x="233" y="184"/>
                    <a:pt x="231" y="183"/>
                    <a:pt x="229" y="184"/>
                  </a:cubicBezTo>
                  <a:cubicBezTo>
                    <a:pt x="227" y="186"/>
                    <a:pt x="223" y="186"/>
                    <a:pt x="222" y="186"/>
                  </a:cubicBezTo>
                  <a:cubicBezTo>
                    <a:pt x="221" y="186"/>
                    <a:pt x="214" y="183"/>
                    <a:pt x="214" y="183"/>
                  </a:cubicBezTo>
                  <a:cubicBezTo>
                    <a:pt x="214" y="183"/>
                    <a:pt x="211" y="179"/>
                    <a:pt x="208" y="179"/>
                  </a:cubicBezTo>
                  <a:cubicBezTo>
                    <a:pt x="205" y="179"/>
                    <a:pt x="203" y="177"/>
                    <a:pt x="203" y="177"/>
                  </a:cubicBezTo>
                  <a:cubicBezTo>
                    <a:pt x="201" y="176"/>
                    <a:pt x="201" y="176"/>
                    <a:pt x="200" y="178"/>
                  </a:cubicBezTo>
                  <a:cubicBezTo>
                    <a:pt x="198" y="180"/>
                    <a:pt x="194" y="180"/>
                    <a:pt x="193" y="179"/>
                  </a:cubicBezTo>
                  <a:cubicBezTo>
                    <a:pt x="192" y="179"/>
                    <a:pt x="188" y="180"/>
                    <a:pt x="188" y="180"/>
                  </a:cubicBezTo>
                  <a:cubicBezTo>
                    <a:pt x="194" y="182"/>
                    <a:pt x="193" y="183"/>
                    <a:pt x="196" y="182"/>
                  </a:cubicBezTo>
                  <a:cubicBezTo>
                    <a:pt x="200" y="182"/>
                    <a:pt x="204" y="182"/>
                    <a:pt x="204" y="184"/>
                  </a:cubicBezTo>
                  <a:cubicBezTo>
                    <a:pt x="204" y="185"/>
                    <a:pt x="202" y="188"/>
                    <a:pt x="201" y="187"/>
                  </a:cubicBezTo>
                  <a:cubicBezTo>
                    <a:pt x="199" y="186"/>
                    <a:pt x="196" y="186"/>
                    <a:pt x="196" y="186"/>
                  </a:cubicBezTo>
                  <a:cubicBezTo>
                    <a:pt x="199" y="188"/>
                    <a:pt x="200" y="190"/>
                    <a:pt x="198" y="191"/>
                  </a:cubicBezTo>
                  <a:cubicBezTo>
                    <a:pt x="197" y="192"/>
                    <a:pt x="196" y="196"/>
                    <a:pt x="196" y="196"/>
                  </a:cubicBezTo>
                  <a:cubicBezTo>
                    <a:pt x="196" y="196"/>
                    <a:pt x="196" y="200"/>
                    <a:pt x="198" y="200"/>
                  </a:cubicBezTo>
                  <a:cubicBezTo>
                    <a:pt x="199" y="200"/>
                    <a:pt x="203" y="204"/>
                    <a:pt x="204" y="204"/>
                  </a:cubicBezTo>
                  <a:cubicBezTo>
                    <a:pt x="205" y="204"/>
                    <a:pt x="205" y="207"/>
                    <a:pt x="206" y="207"/>
                  </a:cubicBezTo>
                  <a:cubicBezTo>
                    <a:pt x="206" y="208"/>
                    <a:pt x="208" y="208"/>
                    <a:pt x="202" y="207"/>
                  </a:cubicBezTo>
                  <a:cubicBezTo>
                    <a:pt x="197" y="206"/>
                    <a:pt x="194" y="204"/>
                    <a:pt x="191" y="206"/>
                  </a:cubicBezTo>
                  <a:cubicBezTo>
                    <a:pt x="189" y="208"/>
                    <a:pt x="186" y="210"/>
                    <a:pt x="186" y="208"/>
                  </a:cubicBezTo>
                  <a:cubicBezTo>
                    <a:pt x="186" y="206"/>
                    <a:pt x="186" y="203"/>
                    <a:pt x="188" y="203"/>
                  </a:cubicBezTo>
                  <a:cubicBezTo>
                    <a:pt x="190" y="203"/>
                    <a:pt x="196" y="203"/>
                    <a:pt x="196" y="203"/>
                  </a:cubicBezTo>
                  <a:cubicBezTo>
                    <a:pt x="194" y="200"/>
                    <a:pt x="190" y="198"/>
                    <a:pt x="187" y="198"/>
                  </a:cubicBezTo>
                  <a:cubicBezTo>
                    <a:pt x="186" y="198"/>
                    <a:pt x="184" y="198"/>
                    <a:pt x="184" y="200"/>
                  </a:cubicBezTo>
                  <a:cubicBezTo>
                    <a:pt x="184" y="200"/>
                    <a:pt x="181" y="200"/>
                    <a:pt x="180" y="200"/>
                  </a:cubicBezTo>
                  <a:cubicBezTo>
                    <a:pt x="179" y="199"/>
                    <a:pt x="177" y="199"/>
                    <a:pt x="176" y="199"/>
                  </a:cubicBezTo>
                  <a:cubicBezTo>
                    <a:pt x="175" y="199"/>
                    <a:pt x="173" y="199"/>
                    <a:pt x="171" y="198"/>
                  </a:cubicBezTo>
                  <a:cubicBezTo>
                    <a:pt x="170" y="198"/>
                    <a:pt x="169" y="199"/>
                    <a:pt x="168" y="200"/>
                  </a:cubicBezTo>
                  <a:cubicBezTo>
                    <a:pt x="168" y="201"/>
                    <a:pt x="167" y="202"/>
                    <a:pt x="165" y="203"/>
                  </a:cubicBezTo>
                  <a:cubicBezTo>
                    <a:pt x="165" y="203"/>
                    <a:pt x="165" y="204"/>
                    <a:pt x="165" y="205"/>
                  </a:cubicBezTo>
                  <a:cubicBezTo>
                    <a:pt x="166" y="207"/>
                    <a:pt x="166" y="208"/>
                    <a:pt x="168" y="207"/>
                  </a:cubicBezTo>
                  <a:cubicBezTo>
                    <a:pt x="167" y="208"/>
                    <a:pt x="166" y="208"/>
                    <a:pt x="165" y="207"/>
                  </a:cubicBezTo>
                  <a:cubicBezTo>
                    <a:pt x="163" y="206"/>
                    <a:pt x="161" y="205"/>
                    <a:pt x="160" y="205"/>
                  </a:cubicBezTo>
                  <a:cubicBezTo>
                    <a:pt x="159" y="206"/>
                    <a:pt x="159" y="205"/>
                    <a:pt x="157" y="204"/>
                  </a:cubicBezTo>
                  <a:cubicBezTo>
                    <a:pt x="156" y="203"/>
                    <a:pt x="156" y="204"/>
                    <a:pt x="155" y="203"/>
                  </a:cubicBezTo>
                  <a:cubicBezTo>
                    <a:pt x="155" y="203"/>
                    <a:pt x="151" y="203"/>
                    <a:pt x="150" y="204"/>
                  </a:cubicBezTo>
                  <a:cubicBezTo>
                    <a:pt x="150" y="204"/>
                    <a:pt x="149" y="206"/>
                    <a:pt x="149" y="206"/>
                  </a:cubicBezTo>
                  <a:cubicBezTo>
                    <a:pt x="149" y="207"/>
                    <a:pt x="147" y="208"/>
                    <a:pt x="146" y="208"/>
                  </a:cubicBezTo>
                  <a:cubicBezTo>
                    <a:pt x="145" y="208"/>
                    <a:pt x="144" y="209"/>
                    <a:pt x="142" y="210"/>
                  </a:cubicBezTo>
                  <a:cubicBezTo>
                    <a:pt x="142" y="210"/>
                    <a:pt x="143" y="207"/>
                    <a:pt x="142" y="206"/>
                  </a:cubicBezTo>
                  <a:cubicBezTo>
                    <a:pt x="142" y="206"/>
                    <a:pt x="141" y="208"/>
                    <a:pt x="141" y="209"/>
                  </a:cubicBezTo>
                  <a:cubicBezTo>
                    <a:pt x="141" y="210"/>
                    <a:pt x="140" y="211"/>
                    <a:pt x="140" y="212"/>
                  </a:cubicBezTo>
                  <a:cubicBezTo>
                    <a:pt x="139" y="213"/>
                    <a:pt x="138" y="212"/>
                    <a:pt x="137" y="214"/>
                  </a:cubicBezTo>
                  <a:cubicBezTo>
                    <a:pt x="135" y="215"/>
                    <a:pt x="135" y="214"/>
                    <a:pt x="134" y="213"/>
                  </a:cubicBezTo>
                  <a:cubicBezTo>
                    <a:pt x="133" y="212"/>
                    <a:pt x="135" y="212"/>
                    <a:pt x="135" y="211"/>
                  </a:cubicBezTo>
                  <a:cubicBezTo>
                    <a:pt x="136" y="210"/>
                    <a:pt x="137" y="208"/>
                    <a:pt x="137" y="208"/>
                  </a:cubicBezTo>
                  <a:cubicBezTo>
                    <a:pt x="137" y="208"/>
                    <a:pt x="138" y="207"/>
                    <a:pt x="140" y="206"/>
                  </a:cubicBezTo>
                  <a:cubicBezTo>
                    <a:pt x="141" y="205"/>
                    <a:pt x="141" y="205"/>
                    <a:pt x="139" y="205"/>
                  </a:cubicBezTo>
                  <a:cubicBezTo>
                    <a:pt x="138" y="205"/>
                    <a:pt x="138" y="205"/>
                    <a:pt x="137" y="206"/>
                  </a:cubicBezTo>
                  <a:cubicBezTo>
                    <a:pt x="137" y="207"/>
                    <a:pt x="137" y="207"/>
                    <a:pt x="136" y="208"/>
                  </a:cubicBezTo>
                  <a:cubicBezTo>
                    <a:pt x="135" y="209"/>
                    <a:pt x="135" y="210"/>
                    <a:pt x="135" y="209"/>
                  </a:cubicBezTo>
                  <a:cubicBezTo>
                    <a:pt x="135" y="209"/>
                    <a:pt x="134" y="208"/>
                    <a:pt x="133" y="206"/>
                  </a:cubicBezTo>
                  <a:cubicBezTo>
                    <a:pt x="133" y="206"/>
                    <a:pt x="134" y="210"/>
                    <a:pt x="134" y="211"/>
                  </a:cubicBezTo>
                  <a:cubicBezTo>
                    <a:pt x="134" y="212"/>
                    <a:pt x="132" y="213"/>
                    <a:pt x="130" y="215"/>
                  </a:cubicBezTo>
                  <a:cubicBezTo>
                    <a:pt x="130" y="215"/>
                    <a:pt x="131" y="215"/>
                    <a:pt x="132" y="216"/>
                  </a:cubicBezTo>
                  <a:cubicBezTo>
                    <a:pt x="132" y="218"/>
                    <a:pt x="131" y="218"/>
                    <a:pt x="129" y="222"/>
                  </a:cubicBezTo>
                  <a:cubicBezTo>
                    <a:pt x="129" y="222"/>
                    <a:pt x="124" y="224"/>
                    <a:pt x="123" y="224"/>
                  </a:cubicBezTo>
                  <a:cubicBezTo>
                    <a:pt x="121" y="225"/>
                    <a:pt x="116" y="225"/>
                    <a:pt x="112" y="225"/>
                  </a:cubicBezTo>
                  <a:cubicBezTo>
                    <a:pt x="108" y="225"/>
                    <a:pt x="104" y="223"/>
                    <a:pt x="101" y="226"/>
                  </a:cubicBezTo>
                  <a:cubicBezTo>
                    <a:pt x="99" y="228"/>
                    <a:pt x="101" y="226"/>
                    <a:pt x="101" y="226"/>
                  </a:cubicBezTo>
                  <a:cubicBezTo>
                    <a:pt x="101" y="226"/>
                    <a:pt x="98" y="228"/>
                    <a:pt x="95" y="230"/>
                  </a:cubicBezTo>
                  <a:cubicBezTo>
                    <a:pt x="95" y="230"/>
                    <a:pt x="94" y="232"/>
                    <a:pt x="93" y="234"/>
                  </a:cubicBezTo>
                  <a:cubicBezTo>
                    <a:pt x="93" y="235"/>
                    <a:pt x="90" y="244"/>
                    <a:pt x="88" y="249"/>
                  </a:cubicBezTo>
                  <a:cubicBezTo>
                    <a:pt x="87" y="254"/>
                    <a:pt x="86" y="251"/>
                    <a:pt x="85" y="254"/>
                  </a:cubicBezTo>
                  <a:cubicBezTo>
                    <a:pt x="84" y="256"/>
                    <a:pt x="83" y="257"/>
                    <a:pt x="81" y="257"/>
                  </a:cubicBezTo>
                  <a:cubicBezTo>
                    <a:pt x="78" y="257"/>
                    <a:pt x="77" y="254"/>
                    <a:pt x="80" y="250"/>
                  </a:cubicBezTo>
                  <a:cubicBezTo>
                    <a:pt x="80" y="250"/>
                    <a:pt x="82" y="240"/>
                    <a:pt x="82" y="240"/>
                  </a:cubicBezTo>
                  <a:cubicBezTo>
                    <a:pt x="82" y="239"/>
                    <a:pt x="85" y="236"/>
                    <a:pt x="86" y="234"/>
                  </a:cubicBezTo>
                  <a:cubicBezTo>
                    <a:pt x="86" y="233"/>
                    <a:pt x="86" y="228"/>
                    <a:pt x="85" y="227"/>
                  </a:cubicBezTo>
                  <a:cubicBezTo>
                    <a:pt x="84" y="226"/>
                    <a:pt x="80" y="224"/>
                    <a:pt x="80" y="219"/>
                  </a:cubicBezTo>
                  <a:cubicBezTo>
                    <a:pt x="79" y="214"/>
                    <a:pt x="78" y="218"/>
                    <a:pt x="74" y="216"/>
                  </a:cubicBezTo>
                  <a:cubicBezTo>
                    <a:pt x="71" y="214"/>
                    <a:pt x="72" y="217"/>
                    <a:pt x="70" y="213"/>
                  </a:cubicBezTo>
                  <a:cubicBezTo>
                    <a:pt x="68" y="210"/>
                    <a:pt x="67" y="215"/>
                    <a:pt x="67" y="215"/>
                  </a:cubicBezTo>
                  <a:cubicBezTo>
                    <a:pt x="67" y="215"/>
                    <a:pt x="63" y="211"/>
                    <a:pt x="62" y="208"/>
                  </a:cubicBezTo>
                  <a:cubicBezTo>
                    <a:pt x="62" y="204"/>
                    <a:pt x="60" y="206"/>
                    <a:pt x="60" y="206"/>
                  </a:cubicBezTo>
                  <a:cubicBezTo>
                    <a:pt x="60" y="206"/>
                    <a:pt x="53" y="200"/>
                    <a:pt x="54" y="202"/>
                  </a:cubicBezTo>
                  <a:cubicBezTo>
                    <a:pt x="56" y="203"/>
                    <a:pt x="49" y="203"/>
                    <a:pt x="46" y="201"/>
                  </a:cubicBezTo>
                  <a:cubicBezTo>
                    <a:pt x="43" y="200"/>
                    <a:pt x="43" y="202"/>
                    <a:pt x="41" y="204"/>
                  </a:cubicBezTo>
                  <a:cubicBezTo>
                    <a:pt x="40" y="206"/>
                    <a:pt x="39" y="208"/>
                    <a:pt x="37" y="210"/>
                  </a:cubicBezTo>
                  <a:cubicBezTo>
                    <a:pt x="37" y="210"/>
                    <a:pt x="33" y="213"/>
                    <a:pt x="32" y="213"/>
                  </a:cubicBezTo>
                  <a:cubicBezTo>
                    <a:pt x="30" y="214"/>
                    <a:pt x="30" y="214"/>
                    <a:pt x="30" y="216"/>
                  </a:cubicBezTo>
                  <a:cubicBezTo>
                    <a:pt x="30" y="216"/>
                    <a:pt x="27" y="218"/>
                    <a:pt x="27" y="220"/>
                  </a:cubicBezTo>
                  <a:cubicBezTo>
                    <a:pt x="27" y="222"/>
                    <a:pt x="26" y="223"/>
                    <a:pt x="23" y="226"/>
                  </a:cubicBezTo>
                  <a:cubicBezTo>
                    <a:pt x="23" y="226"/>
                    <a:pt x="22" y="229"/>
                    <a:pt x="22" y="232"/>
                  </a:cubicBezTo>
                  <a:cubicBezTo>
                    <a:pt x="21" y="235"/>
                    <a:pt x="22" y="235"/>
                    <a:pt x="19" y="238"/>
                  </a:cubicBezTo>
                  <a:cubicBezTo>
                    <a:pt x="19" y="240"/>
                    <a:pt x="19" y="241"/>
                    <a:pt x="19" y="243"/>
                  </a:cubicBezTo>
                  <a:cubicBezTo>
                    <a:pt x="19" y="246"/>
                    <a:pt x="20" y="246"/>
                    <a:pt x="20" y="250"/>
                  </a:cubicBezTo>
                  <a:cubicBezTo>
                    <a:pt x="20" y="250"/>
                    <a:pt x="23" y="252"/>
                    <a:pt x="26" y="253"/>
                  </a:cubicBezTo>
                  <a:cubicBezTo>
                    <a:pt x="29" y="253"/>
                    <a:pt x="29" y="254"/>
                    <a:pt x="29" y="257"/>
                  </a:cubicBezTo>
                  <a:cubicBezTo>
                    <a:pt x="29" y="260"/>
                    <a:pt x="29" y="257"/>
                    <a:pt x="29" y="257"/>
                  </a:cubicBezTo>
                  <a:cubicBezTo>
                    <a:pt x="29" y="257"/>
                    <a:pt x="32" y="258"/>
                    <a:pt x="34" y="254"/>
                  </a:cubicBezTo>
                  <a:cubicBezTo>
                    <a:pt x="34" y="254"/>
                    <a:pt x="37" y="252"/>
                    <a:pt x="38" y="251"/>
                  </a:cubicBezTo>
                  <a:cubicBezTo>
                    <a:pt x="39" y="249"/>
                    <a:pt x="39" y="249"/>
                    <a:pt x="41" y="250"/>
                  </a:cubicBezTo>
                  <a:cubicBezTo>
                    <a:pt x="44" y="250"/>
                    <a:pt x="43" y="251"/>
                    <a:pt x="46" y="252"/>
                  </a:cubicBezTo>
                  <a:cubicBezTo>
                    <a:pt x="49" y="253"/>
                    <a:pt x="48" y="254"/>
                    <a:pt x="49" y="256"/>
                  </a:cubicBezTo>
                  <a:cubicBezTo>
                    <a:pt x="50" y="258"/>
                    <a:pt x="50" y="258"/>
                    <a:pt x="48" y="259"/>
                  </a:cubicBezTo>
                  <a:cubicBezTo>
                    <a:pt x="47" y="261"/>
                    <a:pt x="46" y="260"/>
                    <a:pt x="44" y="262"/>
                  </a:cubicBezTo>
                  <a:cubicBezTo>
                    <a:pt x="43" y="262"/>
                    <a:pt x="41" y="265"/>
                    <a:pt x="41" y="266"/>
                  </a:cubicBezTo>
                  <a:cubicBezTo>
                    <a:pt x="40" y="267"/>
                    <a:pt x="40" y="269"/>
                    <a:pt x="39" y="269"/>
                  </a:cubicBezTo>
                  <a:cubicBezTo>
                    <a:pt x="39" y="269"/>
                    <a:pt x="38" y="267"/>
                    <a:pt x="38" y="266"/>
                  </a:cubicBezTo>
                  <a:cubicBezTo>
                    <a:pt x="38" y="266"/>
                    <a:pt x="37" y="268"/>
                    <a:pt x="36" y="269"/>
                  </a:cubicBezTo>
                  <a:cubicBezTo>
                    <a:pt x="35" y="270"/>
                    <a:pt x="35" y="271"/>
                    <a:pt x="34" y="273"/>
                  </a:cubicBezTo>
                  <a:cubicBezTo>
                    <a:pt x="34" y="273"/>
                    <a:pt x="34" y="273"/>
                    <a:pt x="34" y="273"/>
                  </a:cubicBezTo>
                  <a:cubicBezTo>
                    <a:pt x="33" y="274"/>
                    <a:pt x="33" y="275"/>
                    <a:pt x="30" y="276"/>
                  </a:cubicBezTo>
                  <a:cubicBezTo>
                    <a:pt x="30" y="276"/>
                    <a:pt x="31" y="277"/>
                    <a:pt x="31" y="278"/>
                  </a:cubicBezTo>
                  <a:cubicBezTo>
                    <a:pt x="31" y="279"/>
                    <a:pt x="33" y="280"/>
                    <a:pt x="36" y="282"/>
                  </a:cubicBezTo>
                  <a:cubicBezTo>
                    <a:pt x="38" y="283"/>
                    <a:pt x="38" y="283"/>
                    <a:pt x="38" y="284"/>
                  </a:cubicBezTo>
                  <a:cubicBezTo>
                    <a:pt x="38" y="285"/>
                    <a:pt x="40" y="285"/>
                    <a:pt x="41" y="286"/>
                  </a:cubicBezTo>
                  <a:cubicBezTo>
                    <a:pt x="43" y="287"/>
                    <a:pt x="44" y="289"/>
                    <a:pt x="44" y="290"/>
                  </a:cubicBezTo>
                  <a:cubicBezTo>
                    <a:pt x="43" y="292"/>
                    <a:pt x="44" y="293"/>
                    <a:pt x="45" y="294"/>
                  </a:cubicBezTo>
                  <a:cubicBezTo>
                    <a:pt x="46" y="295"/>
                    <a:pt x="46" y="295"/>
                    <a:pt x="45" y="297"/>
                  </a:cubicBezTo>
                  <a:cubicBezTo>
                    <a:pt x="44" y="297"/>
                    <a:pt x="45" y="298"/>
                    <a:pt x="43" y="300"/>
                  </a:cubicBezTo>
                  <a:cubicBezTo>
                    <a:pt x="43" y="300"/>
                    <a:pt x="42" y="303"/>
                    <a:pt x="40" y="305"/>
                  </a:cubicBezTo>
                  <a:cubicBezTo>
                    <a:pt x="39" y="306"/>
                    <a:pt x="38" y="308"/>
                    <a:pt x="37" y="309"/>
                  </a:cubicBezTo>
                  <a:cubicBezTo>
                    <a:pt x="36" y="311"/>
                    <a:pt x="37" y="311"/>
                    <a:pt x="35" y="313"/>
                  </a:cubicBezTo>
                  <a:cubicBezTo>
                    <a:pt x="35" y="313"/>
                    <a:pt x="35" y="315"/>
                    <a:pt x="35" y="317"/>
                  </a:cubicBezTo>
                  <a:cubicBezTo>
                    <a:pt x="35" y="318"/>
                    <a:pt x="35" y="318"/>
                    <a:pt x="36" y="320"/>
                  </a:cubicBezTo>
                  <a:cubicBezTo>
                    <a:pt x="37" y="322"/>
                    <a:pt x="37" y="324"/>
                    <a:pt x="38" y="326"/>
                  </a:cubicBezTo>
                  <a:cubicBezTo>
                    <a:pt x="39" y="328"/>
                    <a:pt x="38" y="329"/>
                    <a:pt x="39" y="329"/>
                  </a:cubicBezTo>
                  <a:cubicBezTo>
                    <a:pt x="40" y="329"/>
                    <a:pt x="43" y="331"/>
                    <a:pt x="46" y="331"/>
                  </a:cubicBezTo>
                  <a:cubicBezTo>
                    <a:pt x="50" y="332"/>
                    <a:pt x="49" y="332"/>
                    <a:pt x="50" y="334"/>
                  </a:cubicBezTo>
                  <a:cubicBezTo>
                    <a:pt x="50" y="336"/>
                    <a:pt x="50" y="338"/>
                    <a:pt x="53" y="341"/>
                  </a:cubicBezTo>
                  <a:cubicBezTo>
                    <a:pt x="55" y="342"/>
                    <a:pt x="59" y="343"/>
                    <a:pt x="59" y="342"/>
                  </a:cubicBezTo>
                  <a:cubicBezTo>
                    <a:pt x="60" y="342"/>
                    <a:pt x="63" y="341"/>
                    <a:pt x="63" y="341"/>
                  </a:cubicBezTo>
                  <a:cubicBezTo>
                    <a:pt x="64" y="337"/>
                    <a:pt x="63" y="337"/>
                    <a:pt x="65" y="338"/>
                  </a:cubicBezTo>
                  <a:cubicBezTo>
                    <a:pt x="68" y="338"/>
                    <a:pt x="72" y="341"/>
                    <a:pt x="75" y="339"/>
                  </a:cubicBezTo>
                  <a:cubicBezTo>
                    <a:pt x="78" y="338"/>
                    <a:pt x="81" y="340"/>
                    <a:pt x="84" y="339"/>
                  </a:cubicBezTo>
                  <a:cubicBezTo>
                    <a:pt x="86" y="338"/>
                    <a:pt x="86" y="339"/>
                    <a:pt x="86" y="339"/>
                  </a:cubicBezTo>
                  <a:cubicBezTo>
                    <a:pt x="87" y="340"/>
                    <a:pt x="86" y="339"/>
                    <a:pt x="85" y="340"/>
                  </a:cubicBezTo>
                  <a:cubicBezTo>
                    <a:pt x="84" y="341"/>
                    <a:pt x="79" y="346"/>
                    <a:pt x="79" y="347"/>
                  </a:cubicBezTo>
                  <a:cubicBezTo>
                    <a:pt x="79" y="347"/>
                    <a:pt x="79" y="349"/>
                    <a:pt x="79" y="350"/>
                  </a:cubicBezTo>
                  <a:cubicBezTo>
                    <a:pt x="82" y="351"/>
                    <a:pt x="83" y="351"/>
                    <a:pt x="84" y="351"/>
                  </a:cubicBezTo>
                  <a:cubicBezTo>
                    <a:pt x="85" y="350"/>
                    <a:pt x="85" y="350"/>
                    <a:pt x="86" y="350"/>
                  </a:cubicBezTo>
                  <a:cubicBezTo>
                    <a:pt x="87" y="349"/>
                    <a:pt x="88" y="349"/>
                    <a:pt x="88" y="347"/>
                  </a:cubicBezTo>
                  <a:cubicBezTo>
                    <a:pt x="89" y="347"/>
                    <a:pt x="90" y="349"/>
                    <a:pt x="90" y="349"/>
                  </a:cubicBezTo>
                  <a:cubicBezTo>
                    <a:pt x="91" y="350"/>
                    <a:pt x="92" y="353"/>
                    <a:pt x="93" y="354"/>
                  </a:cubicBezTo>
                  <a:cubicBezTo>
                    <a:pt x="94" y="355"/>
                    <a:pt x="94" y="356"/>
                    <a:pt x="95" y="357"/>
                  </a:cubicBezTo>
                  <a:cubicBezTo>
                    <a:pt x="98" y="358"/>
                    <a:pt x="99" y="358"/>
                    <a:pt x="100" y="359"/>
                  </a:cubicBezTo>
                  <a:cubicBezTo>
                    <a:pt x="102" y="361"/>
                    <a:pt x="103" y="360"/>
                    <a:pt x="104" y="361"/>
                  </a:cubicBezTo>
                  <a:cubicBezTo>
                    <a:pt x="105" y="362"/>
                    <a:pt x="107" y="365"/>
                    <a:pt x="107" y="366"/>
                  </a:cubicBezTo>
                  <a:cubicBezTo>
                    <a:pt x="109" y="366"/>
                    <a:pt x="111" y="367"/>
                    <a:pt x="113" y="368"/>
                  </a:cubicBezTo>
                  <a:cubicBezTo>
                    <a:pt x="115" y="369"/>
                    <a:pt x="115" y="370"/>
                    <a:pt x="117" y="370"/>
                  </a:cubicBezTo>
                  <a:cubicBezTo>
                    <a:pt x="118" y="371"/>
                    <a:pt x="119" y="370"/>
                    <a:pt x="119" y="371"/>
                  </a:cubicBezTo>
                  <a:cubicBezTo>
                    <a:pt x="119" y="372"/>
                    <a:pt x="119" y="374"/>
                    <a:pt x="120" y="374"/>
                  </a:cubicBezTo>
                  <a:cubicBezTo>
                    <a:pt x="121" y="374"/>
                    <a:pt x="125" y="379"/>
                    <a:pt x="125" y="379"/>
                  </a:cubicBezTo>
                  <a:cubicBezTo>
                    <a:pt x="123" y="380"/>
                    <a:pt x="123" y="382"/>
                    <a:pt x="123" y="383"/>
                  </a:cubicBezTo>
                  <a:cubicBezTo>
                    <a:pt x="123" y="384"/>
                    <a:pt x="125" y="384"/>
                    <a:pt x="126" y="385"/>
                  </a:cubicBezTo>
                  <a:cubicBezTo>
                    <a:pt x="126" y="385"/>
                    <a:pt x="128" y="386"/>
                    <a:pt x="129" y="387"/>
                  </a:cubicBezTo>
                  <a:cubicBezTo>
                    <a:pt x="129" y="389"/>
                    <a:pt x="130" y="390"/>
                    <a:pt x="131" y="392"/>
                  </a:cubicBezTo>
                  <a:cubicBezTo>
                    <a:pt x="132" y="393"/>
                    <a:pt x="134" y="395"/>
                    <a:pt x="133" y="398"/>
                  </a:cubicBezTo>
                  <a:cubicBezTo>
                    <a:pt x="132" y="400"/>
                    <a:pt x="136" y="404"/>
                    <a:pt x="136" y="404"/>
                  </a:cubicBezTo>
                  <a:cubicBezTo>
                    <a:pt x="137" y="404"/>
                    <a:pt x="139" y="404"/>
                    <a:pt x="141" y="405"/>
                  </a:cubicBezTo>
                  <a:cubicBezTo>
                    <a:pt x="143" y="406"/>
                    <a:pt x="145" y="407"/>
                    <a:pt x="147" y="407"/>
                  </a:cubicBezTo>
                  <a:cubicBezTo>
                    <a:pt x="148" y="408"/>
                    <a:pt x="150" y="408"/>
                    <a:pt x="151" y="411"/>
                  </a:cubicBezTo>
                  <a:cubicBezTo>
                    <a:pt x="156" y="414"/>
                    <a:pt x="157" y="416"/>
                    <a:pt x="157" y="418"/>
                  </a:cubicBezTo>
                  <a:cubicBezTo>
                    <a:pt x="160" y="421"/>
                    <a:pt x="160" y="421"/>
                    <a:pt x="161" y="422"/>
                  </a:cubicBezTo>
                  <a:cubicBezTo>
                    <a:pt x="162" y="423"/>
                    <a:pt x="165" y="425"/>
                    <a:pt x="165" y="427"/>
                  </a:cubicBezTo>
                  <a:cubicBezTo>
                    <a:pt x="165" y="430"/>
                    <a:pt x="165" y="431"/>
                    <a:pt x="165" y="433"/>
                  </a:cubicBezTo>
                  <a:cubicBezTo>
                    <a:pt x="166" y="435"/>
                    <a:pt x="169" y="436"/>
                    <a:pt x="166" y="437"/>
                  </a:cubicBezTo>
                  <a:cubicBezTo>
                    <a:pt x="164" y="438"/>
                    <a:pt x="159" y="441"/>
                    <a:pt x="159" y="441"/>
                  </a:cubicBezTo>
                  <a:cubicBezTo>
                    <a:pt x="154" y="443"/>
                    <a:pt x="157" y="444"/>
                    <a:pt x="157" y="445"/>
                  </a:cubicBezTo>
                  <a:cubicBezTo>
                    <a:pt x="157" y="446"/>
                    <a:pt x="156" y="446"/>
                    <a:pt x="157" y="448"/>
                  </a:cubicBezTo>
                  <a:cubicBezTo>
                    <a:pt x="159" y="446"/>
                    <a:pt x="158" y="449"/>
                    <a:pt x="160" y="445"/>
                  </a:cubicBezTo>
                  <a:cubicBezTo>
                    <a:pt x="162" y="441"/>
                    <a:pt x="164" y="444"/>
                    <a:pt x="165" y="445"/>
                  </a:cubicBezTo>
                  <a:cubicBezTo>
                    <a:pt x="166" y="446"/>
                    <a:pt x="170" y="449"/>
                    <a:pt x="171" y="449"/>
                  </a:cubicBezTo>
                  <a:cubicBezTo>
                    <a:pt x="171" y="449"/>
                    <a:pt x="166" y="453"/>
                    <a:pt x="164" y="452"/>
                  </a:cubicBezTo>
                  <a:cubicBezTo>
                    <a:pt x="161" y="452"/>
                    <a:pt x="159" y="451"/>
                    <a:pt x="159" y="451"/>
                  </a:cubicBezTo>
                  <a:cubicBezTo>
                    <a:pt x="159" y="453"/>
                    <a:pt x="160" y="454"/>
                    <a:pt x="162" y="454"/>
                  </a:cubicBezTo>
                  <a:cubicBezTo>
                    <a:pt x="163" y="455"/>
                    <a:pt x="164" y="455"/>
                    <a:pt x="166" y="454"/>
                  </a:cubicBezTo>
                  <a:cubicBezTo>
                    <a:pt x="168" y="453"/>
                    <a:pt x="170" y="451"/>
                    <a:pt x="173" y="451"/>
                  </a:cubicBezTo>
                  <a:cubicBezTo>
                    <a:pt x="175" y="452"/>
                    <a:pt x="177" y="452"/>
                    <a:pt x="180" y="455"/>
                  </a:cubicBezTo>
                  <a:cubicBezTo>
                    <a:pt x="183" y="457"/>
                    <a:pt x="188" y="461"/>
                    <a:pt x="190" y="463"/>
                  </a:cubicBezTo>
                  <a:cubicBezTo>
                    <a:pt x="192" y="465"/>
                    <a:pt x="192" y="466"/>
                    <a:pt x="196" y="467"/>
                  </a:cubicBezTo>
                  <a:cubicBezTo>
                    <a:pt x="199" y="468"/>
                    <a:pt x="202" y="469"/>
                    <a:pt x="204" y="471"/>
                  </a:cubicBezTo>
                  <a:cubicBezTo>
                    <a:pt x="206" y="473"/>
                    <a:pt x="207" y="473"/>
                    <a:pt x="209" y="473"/>
                  </a:cubicBezTo>
                  <a:cubicBezTo>
                    <a:pt x="211" y="473"/>
                    <a:pt x="212" y="475"/>
                    <a:pt x="214" y="476"/>
                  </a:cubicBezTo>
                  <a:cubicBezTo>
                    <a:pt x="216" y="478"/>
                    <a:pt x="220" y="483"/>
                    <a:pt x="221" y="485"/>
                  </a:cubicBezTo>
                  <a:cubicBezTo>
                    <a:pt x="223" y="486"/>
                    <a:pt x="223" y="487"/>
                    <a:pt x="225" y="487"/>
                  </a:cubicBezTo>
                  <a:cubicBezTo>
                    <a:pt x="227" y="487"/>
                    <a:pt x="230" y="489"/>
                    <a:pt x="231" y="489"/>
                  </a:cubicBezTo>
                  <a:cubicBezTo>
                    <a:pt x="231" y="489"/>
                    <a:pt x="233" y="493"/>
                    <a:pt x="231" y="497"/>
                  </a:cubicBezTo>
                  <a:cubicBezTo>
                    <a:pt x="228" y="502"/>
                    <a:pt x="226" y="505"/>
                    <a:pt x="226" y="505"/>
                  </a:cubicBezTo>
                  <a:cubicBezTo>
                    <a:pt x="226" y="506"/>
                    <a:pt x="220" y="509"/>
                    <a:pt x="218" y="509"/>
                  </a:cubicBezTo>
                  <a:cubicBezTo>
                    <a:pt x="215" y="509"/>
                    <a:pt x="214" y="510"/>
                    <a:pt x="212" y="511"/>
                  </a:cubicBezTo>
                  <a:cubicBezTo>
                    <a:pt x="210" y="512"/>
                    <a:pt x="209" y="512"/>
                    <a:pt x="209" y="513"/>
                  </a:cubicBezTo>
                  <a:cubicBezTo>
                    <a:pt x="208" y="514"/>
                    <a:pt x="204" y="516"/>
                    <a:pt x="201" y="517"/>
                  </a:cubicBezTo>
                  <a:cubicBezTo>
                    <a:pt x="201" y="517"/>
                    <a:pt x="200" y="519"/>
                    <a:pt x="199" y="520"/>
                  </a:cubicBezTo>
                  <a:cubicBezTo>
                    <a:pt x="199" y="521"/>
                    <a:pt x="199" y="521"/>
                    <a:pt x="198" y="522"/>
                  </a:cubicBezTo>
                  <a:cubicBezTo>
                    <a:pt x="198" y="524"/>
                    <a:pt x="198" y="524"/>
                    <a:pt x="197" y="526"/>
                  </a:cubicBezTo>
                  <a:cubicBezTo>
                    <a:pt x="196" y="527"/>
                    <a:pt x="194" y="529"/>
                    <a:pt x="194" y="531"/>
                  </a:cubicBezTo>
                  <a:cubicBezTo>
                    <a:pt x="194" y="531"/>
                    <a:pt x="193" y="532"/>
                    <a:pt x="191" y="534"/>
                  </a:cubicBezTo>
                  <a:cubicBezTo>
                    <a:pt x="189" y="534"/>
                    <a:pt x="187" y="537"/>
                    <a:pt x="185" y="538"/>
                  </a:cubicBezTo>
                  <a:cubicBezTo>
                    <a:pt x="184" y="539"/>
                    <a:pt x="184" y="539"/>
                    <a:pt x="183" y="541"/>
                  </a:cubicBezTo>
                  <a:cubicBezTo>
                    <a:pt x="181" y="541"/>
                    <a:pt x="181" y="541"/>
                    <a:pt x="180" y="543"/>
                  </a:cubicBezTo>
                  <a:cubicBezTo>
                    <a:pt x="178" y="543"/>
                    <a:pt x="175" y="543"/>
                    <a:pt x="174" y="544"/>
                  </a:cubicBezTo>
                  <a:cubicBezTo>
                    <a:pt x="174" y="544"/>
                    <a:pt x="171" y="544"/>
                    <a:pt x="170" y="543"/>
                  </a:cubicBezTo>
                  <a:cubicBezTo>
                    <a:pt x="170" y="542"/>
                    <a:pt x="168" y="542"/>
                    <a:pt x="167" y="542"/>
                  </a:cubicBezTo>
                  <a:cubicBezTo>
                    <a:pt x="165" y="542"/>
                    <a:pt x="164" y="542"/>
                    <a:pt x="162" y="541"/>
                  </a:cubicBezTo>
                  <a:cubicBezTo>
                    <a:pt x="162" y="541"/>
                    <a:pt x="159" y="541"/>
                    <a:pt x="159" y="541"/>
                  </a:cubicBezTo>
                  <a:cubicBezTo>
                    <a:pt x="158" y="541"/>
                    <a:pt x="155" y="541"/>
                    <a:pt x="155" y="541"/>
                  </a:cubicBezTo>
                  <a:cubicBezTo>
                    <a:pt x="154" y="541"/>
                    <a:pt x="152" y="541"/>
                    <a:pt x="151" y="542"/>
                  </a:cubicBezTo>
                  <a:cubicBezTo>
                    <a:pt x="149" y="542"/>
                    <a:pt x="148" y="542"/>
                    <a:pt x="145" y="542"/>
                  </a:cubicBezTo>
                  <a:cubicBezTo>
                    <a:pt x="145" y="543"/>
                    <a:pt x="144" y="543"/>
                    <a:pt x="143" y="543"/>
                  </a:cubicBezTo>
                  <a:cubicBezTo>
                    <a:pt x="142" y="543"/>
                    <a:pt x="141" y="543"/>
                    <a:pt x="141" y="544"/>
                  </a:cubicBezTo>
                  <a:cubicBezTo>
                    <a:pt x="140" y="545"/>
                    <a:pt x="140" y="547"/>
                    <a:pt x="140" y="548"/>
                  </a:cubicBezTo>
                  <a:cubicBezTo>
                    <a:pt x="140" y="549"/>
                    <a:pt x="140" y="548"/>
                    <a:pt x="139" y="550"/>
                  </a:cubicBezTo>
                  <a:cubicBezTo>
                    <a:pt x="135" y="551"/>
                    <a:pt x="135" y="551"/>
                    <a:pt x="135" y="551"/>
                  </a:cubicBezTo>
                  <a:cubicBezTo>
                    <a:pt x="134" y="551"/>
                    <a:pt x="132" y="551"/>
                    <a:pt x="131" y="552"/>
                  </a:cubicBezTo>
                  <a:cubicBezTo>
                    <a:pt x="130" y="553"/>
                    <a:pt x="128" y="553"/>
                    <a:pt x="127" y="553"/>
                  </a:cubicBezTo>
                  <a:cubicBezTo>
                    <a:pt x="126" y="553"/>
                    <a:pt x="125" y="553"/>
                    <a:pt x="124" y="554"/>
                  </a:cubicBezTo>
                  <a:cubicBezTo>
                    <a:pt x="123" y="554"/>
                    <a:pt x="122" y="555"/>
                    <a:pt x="121" y="555"/>
                  </a:cubicBezTo>
                  <a:cubicBezTo>
                    <a:pt x="121" y="555"/>
                    <a:pt x="119" y="556"/>
                    <a:pt x="118" y="556"/>
                  </a:cubicBezTo>
                  <a:cubicBezTo>
                    <a:pt x="116" y="556"/>
                    <a:pt x="113" y="556"/>
                    <a:pt x="111" y="557"/>
                  </a:cubicBezTo>
                  <a:cubicBezTo>
                    <a:pt x="109" y="557"/>
                    <a:pt x="106" y="555"/>
                    <a:pt x="105" y="554"/>
                  </a:cubicBezTo>
                  <a:cubicBezTo>
                    <a:pt x="105" y="554"/>
                    <a:pt x="102" y="552"/>
                    <a:pt x="102" y="552"/>
                  </a:cubicBezTo>
                  <a:cubicBezTo>
                    <a:pt x="101" y="552"/>
                    <a:pt x="99" y="551"/>
                    <a:pt x="99" y="550"/>
                  </a:cubicBezTo>
                  <a:cubicBezTo>
                    <a:pt x="99" y="549"/>
                    <a:pt x="98" y="549"/>
                    <a:pt x="97" y="549"/>
                  </a:cubicBezTo>
                  <a:cubicBezTo>
                    <a:pt x="96" y="548"/>
                    <a:pt x="96" y="547"/>
                    <a:pt x="96" y="548"/>
                  </a:cubicBezTo>
                  <a:cubicBezTo>
                    <a:pt x="96" y="550"/>
                    <a:pt x="98" y="551"/>
                    <a:pt x="98" y="552"/>
                  </a:cubicBezTo>
                  <a:cubicBezTo>
                    <a:pt x="98" y="553"/>
                    <a:pt x="99" y="555"/>
                    <a:pt x="100" y="556"/>
                  </a:cubicBezTo>
                  <a:cubicBezTo>
                    <a:pt x="102" y="557"/>
                    <a:pt x="102" y="558"/>
                    <a:pt x="102" y="559"/>
                  </a:cubicBezTo>
                  <a:cubicBezTo>
                    <a:pt x="101" y="559"/>
                    <a:pt x="97" y="559"/>
                    <a:pt x="97" y="559"/>
                  </a:cubicBezTo>
                  <a:cubicBezTo>
                    <a:pt x="97" y="559"/>
                    <a:pt x="98" y="559"/>
                    <a:pt x="97" y="559"/>
                  </a:cubicBezTo>
                  <a:cubicBezTo>
                    <a:pt x="96" y="559"/>
                    <a:pt x="94" y="557"/>
                    <a:pt x="92" y="557"/>
                  </a:cubicBezTo>
                  <a:cubicBezTo>
                    <a:pt x="91" y="558"/>
                    <a:pt x="88" y="555"/>
                    <a:pt x="87" y="555"/>
                  </a:cubicBezTo>
                  <a:cubicBezTo>
                    <a:pt x="86" y="554"/>
                    <a:pt x="86" y="554"/>
                    <a:pt x="85" y="554"/>
                  </a:cubicBezTo>
                  <a:cubicBezTo>
                    <a:pt x="83" y="554"/>
                    <a:pt x="83" y="553"/>
                    <a:pt x="81" y="552"/>
                  </a:cubicBezTo>
                  <a:cubicBezTo>
                    <a:pt x="81" y="552"/>
                    <a:pt x="81" y="553"/>
                    <a:pt x="81" y="554"/>
                  </a:cubicBezTo>
                  <a:cubicBezTo>
                    <a:pt x="81" y="555"/>
                    <a:pt x="81" y="556"/>
                    <a:pt x="82" y="557"/>
                  </a:cubicBezTo>
                  <a:cubicBezTo>
                    <a:pt x="82" y="557"/>
                    <a:pt x="81" y="558"/>
                    <a:pt x="80" y="558"/>
                  </a:cubicBezTo>
                  <a:cubicBezTo>
                    <a:pt x="80" y="557"/>
                    <a:pt x="78" y="557"/>
                    <a:pt x="78" y="557"/>
                  </a:cubicBezTo>
                  <a:cubicBezTo>
                    <a:pt x="77" y="557"/>
                    <a:pt x="76" y="558"/>
                    <a:pt x="76" y="557"/>
                  </a:cubicBezTo>
                  <a:cubicBezTo>
                    <a:pt x="75" y="557"/>
                    <a:pt x="74" y="558"/>
                    <a:pt x="74" y="559"/>
                  </a:cubicBezTo>
                  <a:cubicBezTo>
                    <a:pt x="74" y="559"/>
                    <a:pt x="75" y="562"/>
                    <a:pt x="76" y="564"/>
                  </a:cubicBezTo>
                  <a:cubicBezTo>
                    <a:pt x="76" y="566"/>
                    <a:pt x="74" y="565"/>
                    <a:pt x="72" y="565"/>
                  </a:cubicBezTo>
                  <a:moveTo>
                    <a:pt x="390" y="573"/>
                  </a:moveTo>
                  <a:cubicBezTo>
                    <a:pt x="392" y="571"/>
                    <a:pt x="398" y="566"/>
                    <a:pt x="400" y="565"/>
                  </a:cubicBezTo>
                  <a:cubicBezTo>
                    <a:pt x="402" y="563"/>
                    <a:pt x="407" y="560"/>
                    <a:pt x="407" y="558"/>
                  </a:cubicBezTo>
                  <a:cubicBezTo>
                    <a:pt x="410" y="555"/>
                    <a:pt x="413" y="554"/>
                    <a:pt x="414" y="550"/>
                  </a:cubicBezTo>
                  <a:cubicBezTo>
                    <a:pt x="415" y="546"/>
                    <a:pt x="418" y="543"/>
                    <a:pt x="418" y="543"/>
                  </a:cubicBezTo>
                  <a:cubicBezTo>
                    <a:pt x="418" y="537"/>
                    <a:pt x="419" y="537"/>
                    <a:pt x="421" y="534"/>
                  </a:cubicBezTo>
                  <a:cubicBezTo>
                    <a:pt x="423" y="531"/>
                    <a:pt x="425" y="528"/>
                    <a:pt x="428" y="526"/>
                  </a:cubicBezTo>
                  <a:cubicBezTo>
                    <a:pt x="431" y="524"/>
                    <a:pt x="434" y="522"/>
                    <a:pt x="435" y="520"/>
                  </a:cubicBezTo>
                  <a:cubicBezTo>
                    <a:pt x="435" y="518"/>
                    <a:pt x="438" y="513"/>
                    <a:pt x="439" y="513"/>
                  </a:cubicBezTo>
                  <a:cubicBezTo>
                    <a:pt x="441" y="512"/>
                    <a:pt x="443" y="509"/>
                    <a:pt x="443" y="509"/>
                  </a:cubicBezTo>
                  <a:cubicBezTo>
                    <a:pt x="442" y="504"/>
                    <a:pt x="443" y="504"/>
                    <a:pt x="444" y="502"/>
                  </a:cubicBezTo>
                  <a:cubicBezTo>
                    <a:pt x="446" y="501"/>
                    <a:pt x="446" y="498"/>
                    <a:pt x="446" y="496"/>
                  </a:cubicBezTo>
                  <a:cubicBezTo>
                    <a:pt x="446" y="495"/>
                    <a:pt x="450" y="488"/>
                    <a:pt x="450" y="488"/>
                  </a:cubicBezTo>
                  <a:cubicBezTo>
                    <a:pt x="448" y="487"/>
                    <a:pt x="448" y="485"/>
                    <a:pt x="447" y="482"/>
                  </a:cubicBezTo>
                  <a:cubicBezTo>
                    <a:pt x="446" y="479"/>
                    <a:pt x="444" y="472"/>
                    <a:pt x="444" y="472"/>
                  </a:cubicBezTo>
                  <a:cubicBezTo>
                    <a:pt x="448" y="468"/>
                    <a:pt x="449" y="464"/>
                    <a:pt x="449" y="464"/>
                  </a:cubicBezTo>
                  <a:cubicBezTo>
                    <a:pt x="449" y="464"/>
                    <a:pt x="451" y="458"/>
                    <a:pt x="451" y="458"/>
                  </a:cubicBezTo>
                  <a:cubicBezTo>
                    <a:pt x="453" y="450"/>
                    <a:pt x="453" y="450"/>
                    <a:pt x="453" y="450"/>
                  </a:cubicBezTo>
                  <a:cubicBezTo>
                    <a:pt x="450" y="448"/>
                    <a:pt x="448" y="448"/>
                    <a:pt x="446" y="450"/>
                  </a:cubicBezTo>
                  <a:cubicBezTo>
                    <a:pt x="445" y="451"/>
                    <a:pt x="441" y="453"/>
                    <a:pt x="441" y="453"/>
                  </a:cubicBezTo>
                  <a:cubicBezTo>
                    <a:pt x="439" y="448"/>
                    <a:pt x="436" y="444"/>
                    <a:pt x="436" y="444"/>
                  </a:cubicBezTo>
                  <a:cubicBezTo>
                    <a:pt x="430" y="446"/>
                    <a:pt x="426" y="446"/>
                    <a:pt x="423" y="448"/>
                  </a:cubicBezTo>
                  <a:cubicBezTo>
                    <a:pt x="420" y="450"/>
                    <a:pt x="410" y="456"/>
                    <a:pt x="408" y="457"/>
                  </a:cubicBezTo>
                  <a:cubicBezTo>
                    <a:pt x="405" y="454"/>
                    <a:pt x="403" y="455"/>
                    <a:pt x="401" y="456"/>
                  </a:cubicBezTo>
                  <a:cubicBezTo>
                    <a:pt x="396" y="458"/>
                    <a:pt x="395" y="458"/>
                    <a:pt x="393" y="458"/>
                  </a:cubicBezTo>
                  <a:cubicBezTo>
                    <a:pt x="392" y="457"/>
                    <a:pt x="389" y="458"/>
                    <a:pt x="388" y="459"/>
                  </a:cubicBezTo>
                  <a:cubicBezTo>
                    <a:pt x="386" y="461"/>
                    <a:pt x="385" y="461"/>
                    <a:pt x="383" y="460"/>
                  </a:cubicBezTo>
                  <a:cubicBezTo>
                    <a:pt x="381" y="459"/>
                    <a:pt x="375" y="458"/>
                    <a:pt x="374" y="455"/>
                  </a:cubicBezTo>
                  <a:cubicBezTo>
                    <a:pt x="373" y="452"/>
                    <a:pt x="369" y="449"/>
                    <a:pt x="368" y="449"/>
                  </a:cubicBezTo>
                  <a:cubicBezTo>
                    <a:pt x="367" y="447"/>
                    <a:pt x="362" y="444"/>
                    <a:pt x="362" y="444"/>
                  </a:cubicBezTo>
                  <a:cubicBezTo>
                    <a:pt x="362" y="440"/>
                    <a:pt x="363" y="439"/>
                    <a:pt x="361" y="437"/>
                  </a:cubicBezTo>
                  <a:cubicBezTo>
                    <a:pt x="359" y="434"/>
                    <a:pt x="356" y="431"/>
                    <a:pt x="355" y="429"/>
                  </a:cubicBezTo>
                  <a:cubicBezTo>
                    <a:pt x="355" y="427"/>
                    <a:pt x="350" y="422"/>
                    <a:pt x="349" y="421"/>
                  </a:cubicBezTo>
                  <a:cubicBezTo>
                    <a:pt x="348" y="420"/>
                    <a:pt x="349" y="419"/>
                    <a:pt x="349" y="418"/>
                  </a:cubicBezTo>
                  <a:cubicBezTo>
                    <a:pt x="350" y="417"/>
                    <a:pt x="351" y="415"/>
                    <a:pt x="351" y="415"/>
                  </a:cubicBezTo>
                  <a:cubicBezTo>
                    <a:pt x="349" y="413"/>
                    <a:pt x="349" y="411"/>
                    <a:pt x="347" y="409"/>
                  </a:cubicBezTo>
                  <a:cubicBezTo>
                    <a:pt x="350" y="406"/>
                    <a:pt x="351" y="405"/>
                    <a:pt x="353" y="404"/>
                  </a:cubicBezTo>
                  <a:cubicBezTo>
                    <a:pt x="354" y="400"/>
                    <a:pt x="356" y="395"/>
                    <a:pt x="358" y="391"/>
                  </a:cubicBezTo>
                  <a:cubicBezTo>
                    <a:pt x="357" y="384"/>
                    <a:pt x="357" y="379"/>
                    <a:pt x="355" y="377"/>
                  </a:cubicBezTo>
                  <a:cubicBezTo>
                    <a:pt x="362" y="365"/>
                    <a:pt x="361" y="365"/>
                    <a:pt x="363" y="363"/>
                  </a:cubicBezTo>
                  <a:cubicBezTo>
                    <a:pt x="366" y="361"/>
                    <a:pt x="368" y="354"/>
                    <a:pt x="370" y="351"/>
                  </a:cubicBezTo>
                  <a:cubicBezTo>
                    <a:pt x="371" y="349"/>
                    <a:pt x="374" y="346"/>
                    <a:pt x="376" y="344"/>
                  </a:cubicBezTo>
                  <a:cubicBezTo>
                    <a:pt x="378" y="342"/>
                    <a:pt x="384" y="338"/>
                    <a:pt x="384" y="338"/>
                  </a:cubicBezTo>
                  <a:cubicBezTo>
                    <a:pt x="390" y="333"/>
                    <a:pt x="390" y="333"/>
                    <a:pt x="390" y="333"/>
                  </a:cubicBezTo>
                  <a:cubicBezTo>
                    <a:pt x="389" y="326"/>
                    <a:pt x="393" y="320"/>
                    <a:pt x="393" y="318"/>
                  </a:cubicBezTo>
                  <a:cubicBezTo>
                    <a:pt x="393" y="317"/>
                    <a:pt x="394" y="315"/>
                    <a:pt x="396" y="314"/>
                  </a:cubicBezTo>
                  <a:cubicBezTo>
                    <a:pt x="398" y="313"/>
                    <a:pt x="401" y="311"/>
                    <a:pt x="402" y="307"/>
                  </a:cubicBezTo>
                  <a:cubicBezTo>
                    <a:pt x="403" y="302"/>
                    <a:pt x="405" y="298"/>
                    <a:pt x="408" y="300"/>
                  </a:cubicBezTo>
                  <a:cubicBezTo>
                    <a:pt x="410" y="302"/>
                    <a:pt x="413" y="302"/>
                    <a:pt x="416" y="301"/>
                  </a:cubicBezTo>
                  <a:cubicBezTo>
                    <a:pt x="419" y="301"/>
                    <a:pt x="421" y="300"/>
                    <a:pt x="423" y="297"/>
                  </a:cubicBezTo>
                  <a:cubicBezTo>
                    <a:pt x="425" y="295"/>
                    <a:pt x="427" y="293"/>
                    <a:pt x="433" y="291"/>
                  </a:cubicBezTo>
                  <a:cubicBezTo>
                    <a:pt x="439" y="289"/>
                    <a:pt x="445" y="285"/>
                    <a:pt x="447" y="286"/>
                  </a:cubicBezTo>
                  <a:cubicBezTo>
                    <a:pt x="449" y="286"/>
                    <a:pt x="452" y="284"/>
                    <a:pt x="453" y="283"/>
                  </a:cubicBezTo>
                  <a:cubicBezTo>
                    <a:pt x="455" y="282"/>
                    <a:pt x="454" y="281"/>
                    <a:pt x="454" y="281"/>
                  </a:cubicBezTo>
                  <a:cubicBezTo>
                    <a:pt x="456" y="283"/>
                    <a:pt x="457" y="283"/>
                    <a:pt x="459" y="282"/>
                  </a:cubicBezTo>
                  <a:cubicBezTo>
                    <a:pt x="457" y="288"/>
                    <a:pt x="458" y="286"/>
                    <a:pt x="459" y="289"/>
                  </a:cubicBezTo>
                  <a:cubicBezTo>
                    <a:pt x="461" y="291"/>
                    <a:pt x="461" y="292"/>
                    <a:pt x="460" y="293"/>
                  </a:cubicBezTo>
                  <a:cubicBezTo>
                    <a:pt x="460" y="295"/>
                    <a:pt x="459" y="299"/>
                    <a:pt x="459" y="299"/>
                  </a:cubicBezTo>
                  <a:cubicBezTo>
                    <a:pt x="461" y="302"/>
                    <a:pt x="464" y="302"/>
                    <a:pt x="465" y="302"/>
                  </a:cubicBezTo>
                  <a:cubicBezTo>
                    <a:pt x="467" y="302"/>
                    <a:pt x="474" y="301"/>
                    <a:pt x="475" y="302"/>
                  </a:cubicBezTo>
                  <a:cubicBezTo>
                    <a:pt x="476" y="303"/>
                    <a:pt x="478" y="306"/>
                    <a:pt x="478" y="306"/>
                  </a:cubicBezTo>
                  <a:cubicBezTo>
                    <a:pt x="481" y="307"/>
                    <a:pt x="487" y="308"/>
                    <a:pt x="487" y="308"/>
                  </a:cubicBezTo>
                  <a:cubicBezTo>
                    <a:pt x="489" y="307"/>
                    <a:pt x="490" y="306"/>
                    <a:pt x="489" y="305"/>
                  </a:cubicBezTo>
                  <a:cubicBezTo>
                    <a:pt x="488" y="303"/>
                    <a:pt x="487" y="299"/>
                    <a:pt x="488" y="297"/>
                  </a:cubicBezTo>
                  <a:cubicBezTo>
                    <a:pt x="488" y="296"/>
                    <a:pt x="489" y="293"/>
                    <a:pt x="489" y="293"/>
                  </a:cubicBezTo>
                  <a:cubicBezTo>
                    <a:pt x="491" y="291"/>
                    <a:pt x="493" y="290"/>
                    <a:pt x="494" y="291"/>
                  </a:cubicBezTo>
                  <a:cubicBezTo>
                    <a:pt x="496" y="291"/>
                    <a:pt x="501" y="292"/>
                    <a:pt x="502" y="291"/>
                  </a:cubicBezTo>
                  <a:cubicBezTo>
                    <a:pt x="503" y="291"/>
                    <a:pt x="509" y="290"/>
                    <a:pt x="509" y="290"/>
                  </a:cubicBezTo>
                  <a:cubicBezTo>
                    <a:pt x="510" y="286"/>
                    <a:pt x="511" y="282"/>
                    <a:pt x="513" y="281"/>
                  </a:cubicBezTo>
                  <a:cubicBezTo>
                    <a:pt x="515" y="280"/>
                    <a:pt x="517" y="278"/>
                    <a:pt x="517" y="278"/>
                  </a:cubicBezTo>
                  <a:cubicBezTo>
                    <a:pt x="517" y="271"/>
                    <a:pt x="516" y="266"/>
                    <a:pt x="516" y="265"/>
                  </a:cubicBezTo>
                  <a:cubicBezTo>
                    <a:pt x="516" y="263"/>
                    <a:pt x="515" y="256"/>
                    <a:pt x="514" y="254"/>
                  </a:cubicBezTo>
                  <a:cubicBezTo>
                    <a:pt x="513" y="253"/>
                    <a:pt x="513" y="253"/>
                    <a:pt x="513" y="253"/>
                  </a:cubicBezTo>
                  <a:cubicBezTo>
                    <a:pt x="509" y="256"/>
                    <a:pt x="504" y="262"/>
                    <a:pt x="503" y="261"/>
                  </a:cubicBezTo>
                  <a:cubicBezTo>
                    <a:pt x="502" y="260"/>
                    <a:pt x="500" y="260"/>
                    <a:pt x="499" y="261"/>
                  </a:cubicBezTo>
                  <a:cubicBezTo>
                    <a:pt x="498" y="263"/>
                    <a:pt x="498" y="263"/>
                    <a:pt x="498" y="263"/>
                  </a:cubicBezTo>
                  <a:cubicBezTo>
                    <a:pt x="495" y="259"/>
                    <a:pt x="494" y="259"/>
                    <a:pt x="493" y="256"/>
                  </a:cubicBezTo>
                  <a:cubicBezTo>
                    <a:pt x="493" y="254"/>
                    <a:pt x="492" y="251"/>
                    <a:pt x="491" y="249"/>
                  </a:cubicBezTo>
                  <a:cubicBezTo>
                    <a:pt x="490" y="248"/>
                    <a:pt x="490" y="248"/>
                    <a:pt x="490" y="248"/>
                  </a:cubicBezTo>
                  <a:cubicBezTo>
                    <a:pt x="493" y="245"/>
                    <a:pt x="495" y="239"/>
                    <a:pt x="495" y="239"/>
                  </a:cubicBezTo>
                  <a:cubicBezTo>
                    <a:pt x="493" y="238"/>
                    <a:pt x="492" y="238"/>
                    <a:pt x="494" y="237"/>
                  </a:cubicBezTo>
                  <a:cubicBezTo>
                    <a:pt x="496" y="236"/>
                    <a:pt x="497" y="235"/>
                    <a:pt x="497" y="233"/>
                  </a:cubicBezTo>
                  <a:cubicBezTo>
                    <a:pt x="497" y="230"/>
                    <a:pt x="498" y="227"/>
                    <a:pt x="498" y="227"/>
                  </a:cubicBezTo>
                  <a:cubicBezTo>
                    <a:pt x="500" y="224"/>
                    <a:pt x="500" y="224"/>
                    <a:pt x="500" y="224"/>
                  </a:cubicBezTo>
                  <a:cubicBezTo>
                    <a:pt x="502" y="226"/>
                    <a:pt x="503" y="226"/>
                    <a:pt x="503" y="226"/>
                  </a:cubicBezTo>
                  <a:cubicBezTo>
                    <a:pt x="503" y="226"/>
                    <a:pt x="506" y="224"/>
                    <a:pt x="506" y="224"/>
                  </a:cubicBezTo>
                  <a:cubicBezTo>
                    <a:pt x="506" y="220"/>
                    <a:pt x="507" y="216"/>
                    <a:pt x="507" y="215"/>
                  </a:cubicBezTo>
                  <a:cubicBezTo>
                    <a:pt x="505" y="211"/>
                    <a:pt x="507" y="211"/>
                    <a:pt x="503" y="210"/>
                  </a:cubicBezTo>
                  <a:cubicBezTo>
                    <a:pt x="500" y="209"/>
                    <a:pt x="494" y="207"/>
                    <a:pt x="494" y="207"/>
                  </a:cubicBezTo>
                  <a:cubicBezTo>
                    <a:pt x="494" y="200"/>
                    <a:pt x="491" y="194"/>
                    <a:pt x="491" y="194"/>
                  </a:cubicBezTo>
                  <a:cubicBezTo>
                    <a:pt x="490" y="198"/>
                    <a:pt x="488" y="202"/>
                    <a:pt x="489" y="204"/>
                  </a:cubicBezTo>
                  <a:cubicBezTo>
                    <a:pt x="490" y="206"/>
                    <a:pt x="489" y="208"/>
                    <a:pt x="490" y="209"/>
                  </a:cubicBezTo>
                  <a:cubicBezTo>
                    <a:pt x="492" y="209"/>
                    <a:pt x="492" y="210"/>
                    <a:pt x="492" y="211"/>
                  </a:cubicBezTo>
                  <a:cubicBezTo>
                    <a:pt x="492" y="213"/>
                    <a:pt x="494" y="216"/>
                    <a:pt x="491" y="214"/>
                  </a:cubicBezTo>
                  <a:cubicBezTo>
                    <a:pt x="488" y="213"/>
                    <a:pt x="488" y="211"/>
                    <a:pt x="488" y="209"/>
                  </a:cubicBezTo>
                  <a:cubicBezTo>
                    <a:pt x="486" y="210"/>
                    <a:pt x="485" y="209"/>
                    <a:pt x="484" y="207"/>
                  </a:cubicBezTo>
                  <a:cubicBezTo>
                    <a:pt x="483" y="212"/>
                    <a:pt x="482" y="213"/>
                    <a:pt x="484" y="215"/>
                  </a:cubicBezTo>
                  <a:cubicBezTo>
                    <a:pt x="485" y="216"/>
                    <a:pt x="486" y="221"/>
                    <a:pt x="486" y="223"/>
                  </a:cubicBezTo>
                  <a:cubicBezTo>
                    <a:pt x="486" y="225"/>
                    <a:pt x="489" y="235"/>
                    <a:pt x="489" y="236"/>
                  </a:cubicBezTo>
                  <a:cubicBezTo>
                    <a:pt x="490" y="237"/>
                    <a:pt x="494" y="237"/>
                    <a:pt x="493" y="239"/>
                  </a:cubicBezTo>
                  <a:cubicBezTo>
                    <a:pt x="492" y="241"/>
                    <a:pt x="492" y="247"/>
                    <a:pt x="490" y="246"/>
                  </a:cubicBezTo>
                  <a:cubicBezTo>
                    <a:pt x="489" y="245"/>
                    <a:pt x="485" y="245"/>
                    <a:pt x="485" y="248"/>
                  </a:cubicBezTo>
                  <a:cubicBezTo>
                    <a:pt x="485" y="250"/>
                    <a:pt x="487" y="255"/>
                    <a:pt x="486" y="256"/>
                  </a:cubicBezTo>
                  <a:cubicBezTo>
                    <a:pt x="484" y="258"/>
                    <a:pt x="484" y="258"/>
                    <a:pt x="484" y="258"/>
                  </a:cubicBezTo>
                  <a:cubicBezTo>
                    <a:pt x="487" y="259"/>
                    <a:pt x="488" y="258"/>
                    <a:pt x="489" y="260"/>
                  </a:cubicBezTo>
                  <a:cubicBezTo>
                    <a:pt x="490" y="262"/>
                    <a:pt x="489" y="263"/>
                    <a:pt x="488" y="262"/>
                  </a:cubicBezTo>
                  <a:cubicBezTo>
                    <a:pt x="487" y="262"/>
                    <a:pt x="484" y="263"/>
                    <a:pt x="486" y="264"/>
                  </a:cubicBezTo>
                  <a:cubicBezTo>
                    <a:pt x="488" y="265"/>
                    <a:pt x="489" y="264"/>
                    <a:pt x="489" y="267"/>
                  </a:cubicBezTo>
                  <a:cubicBezTo>
                    <a:pt x="489" y="271"/>
                    <a:pt x="489" y="272"/>
                    <a:pt x="488" y="271"/>
                  </a:cubicBezTo>
                  <a:cubicBezTo>
                    <a:pt x="488" y="270"/>
                    <a:pt x="484" y="267"/>
                    <a:pt x="483" y="266"/>
                  </a:cubicBezTo>
                  <a:cubicBezTo>
                    <a:pt x="484" y="264"/>
                    <a:pt x="484" y="263"/>
                    <a:pt x="484" y="263"/>
                  </a:cubicBezTo>
                  <a:cubicBezTo>
                    <a:pt x="482" y="264"/>
                    <a:pt x="482" y="263"/>
                    <a:pt x="481" y="262"/>
                  </a:cubicBezTo>
                  <a:cubicBezTo>
                    <a:pt x="480" y="260"/>
                    <a:pt x="478" y="258"/>
                    <a:pt x="476" y="256"/>
                  </a:cubicBezTo>
                  <a:cubicBezTo>
                    <a:pt x="475" y="255"/>
                    <a:pt x="474" y="253"/>
                    <a:pt x="474" y="252"/>
                  </a:cubicBezTo>
                  <a:cubicBezTo>
                    <a:pt x="473" y="250"/>
                    <a:pt x="473" y="248"/>
                    <a:pt x="473" y="248"/>
                  </a:cubicBezTo>
                  <a:cubicBezTo>
                    <a:pt x="466" y="245"/>
                    <a:pt x="458" y="240"/>
                    <a:pt x="457" y="239"/>
                  </a:cubicBezTo>
                  <a:cubicBezTo>
                    <a:pt x="455" y="237"/>
                    <a:pt x="453" y="236"/>
                    <a:pt x="453" y="236"/>
                  </a:cubicBezTo>
                  <a:cubicBezTo>
                    <a:pt x="450" y="237"/>
                    <a:pt x="450" y="238"/>
                    <a:pt x="451" y="241"/>
                  </a:cubicBezTo>
                  <a:cubicBezTo>
                    <a:pt x="451" y="243"/>
                    <a:pt x="456" y="246"/>
                    <a:pt x="456" y="246"/>
                  </a:cubicBezTo>
                  <a:cubicBezTo>
                    <a:pt x="456" y="246"/>
                    <a:pt x="467" y="256"/>
                    <a:pt x="471" y="257"/>
                  </a:cubicBezTo>
                  <a:cubicBezTo>
                    <a:pt x="475" y="257"/>
                    <a:pt x="474" y="258"/>
                    <a:pt x="474" y="258"/>
                  </a:cubicBezTo>
                  <a:cubicBezTo>
                    <a:pt x="474" y="259"/>
                    <a:pt x="474" y="259"/>
                    <a:pt x="474" y="259"/>
                  </a:cubicBezTo>
                  <a:cubicBezTo>
                    <a:pt x="471" y="258"/>
                    <a:pt x="468" y="256"/>
                    <a:pt x="469" y="259"/>
                  </a:cubicBezTo>
                  <a:cubicBezTo>
                    <a:pt x="470" y="261"/>
                    <a:pt x="473" y="264"/>
                    <a:pt x="472" y="265"/>
                  </a:cubicBezTo>
                  <a:cubicBezTo>
                    <a:pt x="471" y="266"/>
                    <a:pt x="471" y="272"/>
                    <a:pt x="471" y="272"/>
                  </a:cubicBezTo>
                  <a:cubicBezTo>
                    <a:pt x="471" y="272"/>
                    <a:pt x="469" y="270"/>
                    <a:pt x="469" y="268"/>
                  </a:cubicBezTo>
                  <a:cubicBezTo>
                    <a:pt x="470" y="265"/>
                    <a:pt x="467" y="262"/>
                    <a:pt x="467" y="261"/>
                  </a:cubicBezTo>
                  <a:cubicBezTo>
                    <a:pt x="463" y="260"/>
                    <a:pt x="463" y="260"/>
                    <a:pt x="463" y="260"/>
                  </a:cubicBezTo>
                  <a:cubicBezTo>
                    <a:pt x="463" y="260"/>
                    <a:pt x="462" y="258"/>
                    <a:pt x="460" y="258"/>
                  </a:cubicBezTo>
                  <a:cubicBezTo>
                    <a:pt x="458" y="257"/>
                    <a:pt x="457" y="256"/>
                    <a:pt x="457" y="256"/>
                  </a:cubicBezTo>
                  <a:cubicBezTo>
                    <a:pt x="454" y="255"/>
                    <a:pt x="454" y="255"/>
                    <a:pt x="454" y="255"/>
                  </a:cubicBezTo>
                  <a:cubicBezTo>
                    <a:pt x="454" y="255"/>
                    <a:pt x="452" y="254"/>
                    <a:pt x="451" y="253"/>
                  </a:cubicBezTo>
                  <a:cubicBezTo>
                    <a:pt x="451" y="251"/>
                    <a:pt x="448" y="248"/>
                    <a:pt x="447" y="247"/>
                  </a:cubicBezTo>
                  <a:cubicBezTo>
                    <a:pt x="446" y="245"/>
                    <a:pt x="444" y="245"/>
                    <a:pt x="443" y="246"/>
                  </a:cubicBezTo>
                  <a:cubicBezTo>
                    <a:pt x="443" y="246"/>
                    <a:pt x="439" y="250"/>
                    <a:pt x="439" y="252"/>
                  </a:cubicBezTo>
                  <a:cubicBezTo>
                    <a:pt x="438" y="254"/>
                    <a:pt x="436" y="254"/>
                    <a:pt x="434" y="253"/>
                  </a:cubicBezTo>
                  <a:cubicBezTo>
                    <a:pt x="434" y="253"/>
                    <a:pt x="432" y="255"/>
                    <a:pt x="429" y="255"/>
                  </a:cubicBezTo>
                  <a:cubicBezTo>
                    <a:pt x="430" y="256"/>
                    <a:pt x="430" y="259"/>
                    <a:pt x="430" y="263"/>
                  </a:cubicBezTo>
                  <a:cubicBezTo>
                    <a:pt x="430" y="263"/>
                    <a:pt x="426" y="267"/>
                    <a:pt x="425" y="268"/>
                  </a:cubicBezTo>
                  <a:cubicBezTo>
                    <a:pt x="423" y="270"/>
                    <a:pt x="424" y="271"/>
                    <a:pt x="423" y="274"/>
                  </a:cubicBezTo>
                  <a:cubicBezTo>
                    <a:pt x="422" y="276"/>
                    <a:pt x="423" y="279"/>
                    <a:pt x="423" y="279"/>
                  </a:cubicBezTo>
                  <a:cubicBezTo>
                    <a:pt x="424" y="280"/>
                    <a:pt x="424" y="280"/>
                    <a:pt x="424" y="280"/>
                  </a:cubicBezTo>
                  <a:cubicBezTo>
                    <a:pt x="424" y="280"/>
                    <a:pt x="423" y="283"/>
                    <a:pt x="423" y="284"/>
                  </a:cubicBezTo>
                  <a:cubicBezTo>
                    <a:pt x="423" y="286"/>
                    <a:pt x="420" y="291"/>
                    <a:pt x="418" y="292"/>
                  </a:cubicBezTo>
                  <a:cubicBezTo>
                    <a:pt x="418" y="292"/>
                    <a:pt x="416" y="293"/>
                    <a:pt x="412" y="293"/>
                  </a:cubicBezTo>
                  <a:cubicBezTo>
                    <a:pt x="409" y="293"/>
                    <a:pt x="409" y="295"/>
                    <a:pt x="409" y="295"/>
                  </a:cubicBezTo>
                  <a:cubicBezTo>
                    <a:pt x="409" y="295"/>
                    <a:pt x="408" y="297"/>
                    <a:pt x="407" y="297"/>
                  </a:cubicBezTo>
                  <a:cubicBezTo>
                    <a:pt x="407" y="297"/>
                    <a:pt x="403" y="294"/>
                    <a:pt x="402" y="292"/>
                  </a:cubicBezTo>
                  <a:cubicBezTo>
                    <a:pt x="401" y="290"/>
                    <a:pt x="396" y="292"/>
                    <a:pt x="394" y="292"/>
                  </a:cubicBezTo>
                  <a:cubicBezTo>
                    <a:pt x="394" y="292"/>
                    <a:pt x="394" y="288"/>
                    <a:pt x="394" y="286"/>
                  </a:cubicBezTo>
                  <a:cubicBezTo>
                    <a:pt x="394" y="285"/>
                    <a:pt x="393" y="284"/>
                    <a:pt x="392" y="283"/>
                  </a:cubicBezTo>
                  <a:cubicBezTo>
                    <a:pt x="390" y="283"/>
                    <a:pt x="391" y="281"/>
                    <a:pt x="391" y="280"/>
                  </a:cubicBezTo>
                  <a:cubicBezTo>
                    <a:pt x="392" y="279"/>
                    <a:pt x="392" y="270"/>
                    <a:pt x="392" y="268"/>
                  </a:cubicBezTo>
                  <a:cubicBezTo>
                    <a:pt x="392" y="267"/>
                    <a:pt x="392" y="264"/>
                    <a:pt x="390" y="263"/>
                  </a:cubicBezTo>
                  <a:cubicBezTo>
                    <a:pt x="389" y="261"/>
                    <a:pt x="393" y="257"/>
                    <a:pt x="393" y="257"/>
                  </a:cubicBezTo>
                  <a:cubicBezTo>
                    <a:pt x="393" y="257"/>
                    <a:pt x="394" y="257"/>
                    <a:pt x="395" y="257"/>
                  </a:cubicBezTo>
                  <a:cubicBezTo>
                    <a:pt x="397" y="257"/>
                    <a:pt x="400" y="256"/>
                    <a:pt x="402" y="257"/>
                  </a:cubicBezTo>
                  <a:cubicBezTo>
                    <a:pt x="408" y="257"/>
                    <a:pt x="412" y="256"/>
                    <a:pt x="414" y="257"/>
                  </a:cubicBezTo>
                  <a:cubicBezTo>
                    <a:pt x="413" y="253"/>
                    <a:pt x="413" y="242"/>
                    <a:pt x="413" y="241"/>
                  </a:cubicBezTo>
                  <a:cubicBezTo>
                    <a:pt x="411" y="240"/>
                    <a:pt x="408" y="240"/>
                    <a:pt x="410" y="237"/>
                  </a:cubicBezTo>
                  <a:cubicBezTo>
                    <a:pt x="406" y="236"/>
                    <a:pt x="404" y="235"/>
                    <a:pt x="403" y="235"/>
                  </a:cubicBezTo>
                  <a:cubicBezTo>
                    <a:pt x="400" y="233"/>
                    <a:pt x="400" y="232"/>
                    <a:pt x="401" y="231"/>
                  </a:cubicBezTo>
                  <a:cubicBezTo>
                    <a:pt x="403" y="229"/>
                    <a:pt x="409" y="230"/>
                    <a:pt x="409" y="230"/>
                  </a:cubicBezTo>
                  <a:cubicBezTo>
                    <a:pt x="407" y="226"/>
                    <a:pt x="406" y="224"/>
                    <a:pt x="406" y="224"/>
                  </a:cubicBezTo>
                  <a:cubicBezTo>
                    <a:pt x="406" y="224"/>
                    <a:pt x="410" y="224"/>
                    <a:pt x="411" y="224"/>
                  </a:cubicBezTo>
                  <a:cubicBezTo>
                    <a:pt x="413" y="225"/>
                    <a:pt x="414" y="222"/>
                    <a:pt x="414" y="220"/>
                  </a:cubicBezTo>
                  <a:cubicBezTo>
                    <a:pt x="414" y="218"/>
                    <a:pt x="413" y="218"/>
                    <a:pt x="415" y="216"/>
                  </a:cubicBezTo>
                  <a:cubicBezTo>
                    <a:pt x="418" y="214"/>
                    <a:pt x="419" y="209"/>
                    <a:pt x="419" y="206"/>
                  </a:cubicBezTo>
                  <a:cubicBezTo>
                    <a:pt x="419" y="203"/>
                    <a:pt x="421" y="202"/>
                    <a:pt x="423" y="202"/>
                  </a:cubicBezTo>
                  <a:cubicBezTo>
                    <a:pt x="423" y="202"/>
                    <a:pt x="423" y="195"/>
                    <a:pt x="423" y="193"/>
                  </a:cubicBezTo>
                  <a:cubicBezTo>
                    <a:pt x="423" y="191"/>
                    <a:pt x="420" y="186"/>
                    <a:pt x="419" y="185"/>
                  </a:cubicBezTo>
                  <a:cubicBezTo>
                    <a:pt x="417" y="183"/>
                    <a:pt x="418" y="181"/>
                    <a:pt x="420" y="178"/>
                  </a:cubicBezTo>
                  <a:cubicBezTo>
                    <a:pt x="422" y="184"/>
                    <a:pt x="422" y="184"/>
                    <a:pt x="422" y="184"/>
                  </a:cubicBezTo>
                  <a:cubicBezTo>
                    <a:pt x="423" y="184"/>
                    <a:pt x="423" y="184"/>
                    <a:pt x="423" y="184"/>
                  </a:cubicBezTo>
                  <a:cubicBezTo>
                    <a:pt x="425" y="185"/>
                    <a:pt x="424" y="185"/>
                    <a:pt x="423" y="187"/>
                  </a:cubicBezTo>
                  <a:cubicBezTo>
                    <a:pt x="423" y="189"/>
                    <a:pt x="424" y="191"/>
                    <a:pt x="425" y="192"/>
                  </a:cubicBezTo>
                  <a:cubicBezTo>
                    <a:pt x="425" y="192"/>
                    <a:pt x="428" y="193"/>
                    <a:pt x="430" y="192"/>
                  </a:cubicBezTo>
                  <a:cubicBezTo>
                    <a:pt x="432" y="191"/>
                    <a:pt x="435" y="193"/>
                    <a:pt x="437" y="195"/>
                  </a:cubicBezTo>
                  <a:cubicBezTo>
                    <a:pt x="437" y="195"/>
                    <a:pt x="439" y="189"/>
                    <a:pt x="440" y="188"/>
                  </a:cubicBezTo>
                  <a:cubicBezTo>
                    <a:pt x="440" y="187"/>
                    <a:pt x="443" y="187"/>
                    <a:pt x="444" y="188"/>
                  </a:cubicBezTo>
                  <a:cubicBezTo>
                    <a:pt x="444" y="188"/>
                    <a:pt x="445" y="183"/>
                    <a:pt x="445" y="183"/>
                  </a:cubicBezTo>
                  <a:cubicBezTo>
                    <a:pt x="446" y="182"/>
                    <a:pt x="444" y="179"/>
                    <a:pt x="444" y="178"/>
                  </a:cubicBezTo>
                  <a:cubicBezTo>
                    <a:pt x="444" y="176"/>
                    <a:pt x="443" y="175"/>
                    <a:pt x="442" y="174"/>
                  </a:cubicBezTo>
                  <a:cubicBezTo>
                    <a:pt x="441" y="173"/>
                    <a:pt x="440" y="171"/>
                    <a:pt x="440" y="170"/>
                  </a:cubicBezTo>
                  <a:cubicBezTo>
                    <a:pt x="439" y="169"/>
                    <a:pt x="442" y="169"/>
                    <a:pt x="443" y="170"/>
                  </a:cubicBezTo>
                  <a:cubicBezTo>
                    <a:pt x="446" y="171"/>
                    <a:pt x="445" y="170"/>
                    <a:pt x="444" y="169"/>
                  </a:cubicBezTo>
                  <a:cubicBezTo>
                    <a:pt x="443" y="168"/>
                    <a:pt x="441" y="166"/>
                    <a:pt x="440" y="165"/>
                  </a:cubicBezTo>
                  <a:cubicBezTo>
                    <a:pt x="439" y="164"/>
                    <a:pt x="438" y="163"/>
                    <a:pt x="437" y="161"/>
                  </a:cubicBezTo>
                  <a:cubicBezTo>
                    <a:pt x="436" y="159"/>
                    <a:pt x="441" y="156"/>
                    <a:pt x="442" y="156"/>
                  </a:cubicBezTo>
                  <a:cubicBezTo>
                    <a:pt x="443" y="157"/>
                    <a:pt x="443" y="154"/>
                    <a:pt x="443" y="151"/>
                  </a:cubicBezTo>
                  <a:cubicBezTo>
                    <a:pt x="443" y="149"/>
                    <a:pt x="440" y="150"/>
                    <a:pt x="439" y="150"/>
                  </a:cubicBezTo>
                  <a:cubicBezTo>
                    <a:pt x="439" y="150"/>
                    <a:pt x="438" y="151"/>
                    <a:pt x="437" y="153"/>
                  </a:cubicBezTo>
                  <a:cubicBezTo>
                    <a:pt x="436" y="155"/>
                    <a:pt x="436" y="155"/>
                    <a:pt x="435" y="159"/>
                  </a:cubicBezTo>
                  <a:cubicBezTo>
                    <a:pt x="435" y="159"/>
                    <a:pt x="433" y="159"/>
                    <a:pt x="431" y="157"/>
                  </a:cubicBezTo>
                  <a:cubicBezTo>
                    <a:pt x="428" y="156"/>
                    <a:pt x="428" y="155"/>
                    <a:pt x="426" y="151"/>
                  </a:cubicBezTo>
                  <a:cubicBezTo>
                    <a:pt x="423" y="147"/>
                    <a:pt x="422" y="144"/>
                    <a:pt x="421" y="139"/>
                  </a:cubicBezTo>
                  <a:cubicBezTo>
                    <a:pt x="420" y="133"/>
                    <a:pt x="419" y="134"/>
                    <a:pt x="416" y="132"/>
                  </a:cubicBezTo>
                  <a:cubicBezTo>
                    <a:pt x="412" y="135"/>
                    <a:pt x="416" y="139"/>
                    <a:pt x="418" y="141"/>
                  </a:cubicBezTo>
                  <a:cubicBezTo>
                    <a:pt x="420" y="143"/>
                    <a:pt x="419" y="145"/>
                    <a:pt x="419" y="149"/>
                  </a:cubicBezTo>
                  <a:cubicBezTo>
                    <a:pt x="419" y="149"/>
                    <a:pt x="423" y="157"/>
                    <a:pt x="424" y="160"/>
                  </a:cubicBezTo>
                  <a:cubicBezTo>
                    <a:pt x="424" y="160"/>
                    <a:pt x="427" y="161"/>
                    <a:pt x="429" y="163"/>
                  </a:cubicBezTo>
                  <a:cubicBezTo>
                    <a:pt x="432" y="165"/>
                    <a:pt x="428" y="169"/>
                    <a:pt x="428" y="170"/>
                  </a:cubicBezTo>
                  <a:cubicBezTo>
                    <a:pt x="427" y="171"/>
                    <a:pt x="432" y="178"/>
                    <a:pt x="433" y="180"/>
                  </a:cubicBezTo>
                  <a:cubicBezTo>
                    <a:pt x="434" y="182"/>
                    <a:pt x="434" y="183"/>
                    <a:pt x="431" y="183"/>
                  </a:cubicBezTo>
                  <a:cubicBezTo>
                    <a:pt x="432" y="184"/>
                    <a:pt x="432" y="187"/>
                    <a:pt x="430" y="188"/>
                  </a:cubicBezTo>
                  <a:cubicBezTo>
                    <a:pt x="428" y="188"/>
                    <a:pt x="430" y="190"/>
                    <a:pt x="429" y="190"/>
                  </a:cubicBezTo>
                  <a:cubicBezTo>
                    <a:pt x="429" y="190"/>
                    <a:pt x="426" y="185"/>
                    <a:pt x="426" y="183"/>
                  </a:cubicBezTo>
                  <a:cubicBezTo>
                    <a:pt x="426" y="180"/>
                    <a:pt x="421" y="175"/>
                    <a:pt x="420" y="174"/>
                  </a:cubicBezTo>
                  <a:cubicBezTo>
                    <a:pt x="419" y="172"/>
                    <a:pt x="419" y="170"/>
                    <a:pt x="416" y="169"/>
                  </a:cubicBezTo>
                  <a:cubicBezTo>
                    <a:pt x="415" y="168"/>
                    <a:pt x="414" y="168"/>
                    <a:pt x="414" y="171"/>
                  </a:cubicBezTo>
                  <a:cubicBezTo>
                    <a:pt x="415" y="173"/>
                    <a:pt x="413" y="173"/>
                    <a:pt x="414" y="176"/>
                  </a:cubicBezTo>
                  <a:cubicBezTo>
                    <a:pt x="414" y="180"/>
                    <a:pt x="412" y="179"/>
                    <a:pt x="408" y="176"/>
                  </a:cubicBezTo>
                  <a:cubicBezTo>
                    <a:pt x="408" y="176"/>
                    <a:pt x="406" y="171"/>
                    <a:pt x="403" y="168"/>
                  </a:cubicBezTo>
                  <a:cubicBezTo>
                    <a:pt x="401" y="164"/>
                    <a:pt x="402" y="150"/>
                    <a:pt x="402" y="148"/>
                  </a:cubicBezTo>
                  <a:cubicBezTo>
                    <a:pt x="403" y="145"/>
                    <a:pt x="403" y="142"/>
                    <a:pt x="401" y="138"/>
                  </a:cubicBezTo>
                  <a:cubicBezTo>
                    <a:pt x="399" y="135"/>
                    <a:pt x="398" y="126"/>
                    <a:pt x="398" y="123"/>
                  </a:cubicBezTo>
                  <a:cubicBezTo>
                    <a:pt x="399" y="121"/>
                    <a:pt x="397" y="122"/>
                    <a:pt x="399" y="120"/>
                  </a:cubicBezTo>
                  <a:cubicBezTo>
                    <a:pt x="400" y="118"/>
                    <a:pt x="402" y="112"/>
                    <a:pt x="401" y="110"/>
                  </a:cubicBezTo>
                  <a:cubicBezTo>
                    <a:pt x="401" y="108"/>
                    <a:pt x="403" y="108"/>
                    <a:pt x="405" y="110"/>
                  </a:cubicBezTo>
                  <a:cubicBezTo>
                    <a:pt x="407" y="113"/>
                    <a:pt x="407" y="113"/>
                    <a:pt x="409" y="111"/>
                  </a:cubicBezTo>
                  <a:cubicBezTo>
                    <a:pt x="409" y="111"/>
                    <a:pt x="416" y="112"/>
                    <a:pt x="419" y="112"/>
                  </a:cubicBezTo>
                  <a:cubicBezTo>
                    <a:pt x="422" y="112"/>
                    <a:pt x="424" y="113"/>
                    <a:pt x="424" y="115"/>
                  </a:cubicBezTo>
                  <a:cubicBezTo>
                    <a:pt x="425" y="118"/>
                    <a:pt x="426" y="118"/>
                    <a:pt x="426" y="120"/>
                  </a:cubicBezTo>
                  <a:cubicBezTo>
                    <a:pt x="426" y="122"/>
                    <a:pt x="422" y="121"/>
                    <a:pt x="419" y="122"/>
                  </a:cubicBezTo>
                  <a:cubicBezTo>
                    <a:pt x="421" y="123"/>
                    <a:pt x="428" y="127"/>
                    <a:pt x="431" y="129"/>
                  </a:cubicBezTo>
                  <a:cubicBezTo>
                    <a:pt x="435" y="129"/>
                    <a:pt x="435" y="129"/>
                    <a:pt x="435" y="129"/>
                  </a:cubicBezTo>
                  <a:cubicBezTo>
                    <a:pt x="435" y="129"/>
                    <a:pt x="434" y="126"/>
                    <a:pt x="433" y="126"/>
                  </a:cubicBezTo>
                  <a:cubicBezTo>
                    <a:pt x="432" y="125"/>
                    <a:pt x="429" y="119"/>
                    <a:pt x="428" y="118"/>
                  </a:cubicBezTo>
                  <a:cubicBezTo>
                    <a:pt x="427" y="117"/>
                    <a:pt x="427" y="115"/>
                    <a:pt x="429" y="115"/>
                  </a:cubicBezTo>
                  <a:cubicBezTo>
                    <a:pt x="430" y="116"/>
                    <a:pt x="428" y="112"/>
                    <a:pt x="427" y="112"/>
                  </a:cubicBezTo>
                  <a:cubicBezTo>
                    <a:pt x="426" y="112"/>
                    <a:pt x="422" y="108"/>
                    <a:pt x="420" y="108"/>
                  </a:cubicBezTo>
                  <a:cubicBezTo>
                    <a:pt x="418" y="108"/>
                    <a:pt x="419" y="106"/>
                    <a:pt x="422" y="105"/>
                  </a:cubicBezTo>
                  <a:cubicBezTo>
                    <a:pt x="424" y="104"/>
                    <a:pt x="425" y="107"/>
                    <a:pt x="427" y="109"/>
                  </a:cubicBezTo>
                  <a:cubicBezTo>
                    <a:pt x="429" y="110"/>
                    <a:pt x="428" y="106"/>
                    <a:pt x="425" y="105"/>
                  </a:cubicBezTo>
                  <a:cubicBezTo>
                    <a:pt x="423" y="105"/>
                    <a:pt x="423" y="101"/>
                    <a:pt x="422" y="99"/>
                  </a:cubicBezTo>
                  <a:cubicBezTo>
                    <a:pt x="421" y="98"/>
                    <a:pt x="416" y="91"/>
                    <a:pt x="415" y="89"/>
                  </a:cubicBezTo>
                  <a:cubicBezTo>
                    <a:pt x="415" y="89"/>
                    <a:pt x="411" y="85"/>
                    <a:pt x="411" y="83"/>
                  </a:cubicBezTo>
                  <a:cubicBezTo>
                    <a:pt x="411" y="81"/>
                    <a:pt x="404" y="75"/>
                    <a:pt x="402" y="74"/>
                  </a:cubicBezTo>
                  <a:cubicBezTo>
                    <a:pt x="399" y="73"/>
                    <a:pt x="397" y="71"/>
                    <a:pt x="398" y="69"/>
                  </a:cubicBezTo>
                  <a:cubicBezTo>
                    <a:pt x="402" y="73"/>
                    <a:pt x="402" y="73"/>
                    <a:pt x="402" y="73"/>
                  </a:cubicBezTo>
                  <a:cubicBezTo>
                    <a:pt x="402" y="73"/>
                    <a:pt x="410" y="74"/>
                    <a:pt x="412" y="77"/>
                  </a:cubicBezTo>
                  <a:cubicBezTo>
                    <a:pt x="414" y="79"/>
                    <a:pt x="419" y="80"/>
                    <a:pt x="422" y="82"/>
                  </a:cubicBezTo>
                  <a:cubicBezTo>
                    <a:pt x="425" y="84"/>
                    <a:pt x="425" y="81"/>
                    <a:pt x="422" y="79"/>
                  </a:cubicBezTo>
                  <a:cubicBezTo>
                    <a:pt x="420" y="77"/>
                    <a:pt x="418" y="73"/>
                    <a:pt x="415" y="71"/>
                  </a:cubicBezTo>
                  <a:cubicBezTo>
                    <a:pt x="412" y="69"/>
                    <a:pt x="411" y="70"/>
                    <a:pt x="412" y="73"/>
                  </a:cubicBezTo>
                  <a:cubicBezTo>
                    <a:pt x="413" y="75"/>
                    <a:pt x="412" y="74"/>
                    <a:pt x="406" y="72"/>
                  </a:cubicBezTo>
                  <a:cubicBezTo>
                    <a:pt x="399" y="70"/>
                    <a:pt x="402" y="70"/>
                    <a:pt x="402" y="69"/>
                  </a:cubicBezTo>
                  <a:cubicBezTo>
                    <a:pt x="402" y="68"/>
                    <a:pt x="402" y="67"/>
                    <a:pt x="398" y="65"/>
                  </a:cubicBezTo>
                  <a:cubicBezTo>
                    <a:pt x="394" y="64"/>
                    <a:pt x="396" y="62"/>
                    <a:pt x="396" y="61"/>
                  </a:cubicBezTo>
                  <a:cubicBezTo>
                    <a:pt x="396" y="61"/>
                    <a:pt x="392" y="62"/>
                    <a:pt x="390" y="61"/>
                  </a:cubicBezTo>
                  <a:cubicBezTo>
                    <a:pt x="388" y="59"/>
                    <a:pt x="385" y="56"/>
                    <a:pt x="382" y="56"/>
                  </a:cubicBezTo>
                  <a:cubicBezTo>
                    <a:pt x="379" y="55"/>
                    <a:pt x="378" y="53"/>
                    <a:pt x="375" y="52"/>
                  </a:cubicBezTo>
                  <a:cubicBezTo>
                    <a:pt x="373" y="50"/>
                    <a:pt x="367" y="47"/>
                    <a:pt x="365" y="46"/>
                  </a:cubicBezTo>
                  <a:cubicBezTo>
                    <a:pt x="364" y="44"/>
                    <a:pt x="359" y="42"/>
                    <a:pt x="357" y="42"/>
                  </a:cubicBezTo>
                  <a:cubicBezTo>
                    <a:pt x="355" y="43"/>
                    <a:pt x="355" y="40"/>
                    <a:pt x="354" y="38"/>
                  </a:cubicBezTo>
                  <a:cubicBezTo>
                    <a:pt x="352" y="36"/>
                    <a:pt x="355" y="37"/>
                    <a:pt x="358" y="37"/>
                  </a:cubicBezTo>
                  <a:cubicBezTo>
                    <a:pt x="360" y="38"/>
                    <a:pt x="360" y="38"/>
                    <a:pt x="367" y="40"/>
                  </a:cubicBezTo>
                  <a:cubicBezTo>
                    <a:pt x="369" y="41"/>
                    <a:pt x="370" y="41"/>
                    <a:pt x="370" y="41"/>
                  </a:cubicBezTo>
                  <a:cubicBezTo>
                    <a:pt x="371" y="41"/>
                    <a:pt x="371" y="41"/>
                    <a:pt x="371" y="41"/>
                  </a:cubicBezTo>
                  <a:cubicBezTo>
                    <a:pt x="371" y="41"/>
                    <a:pt x="370" y="40"/>
                    <a:pt x="369" y="40"/>
                  </a:cubicBezTo>
                  <a:cubicBezTo>
                    <a:pt x="368" y="39"/>
                    <a:pt x="366" y="38"/>
                    <a:pt x="364" y="38"/>
                  </a:cubicBezTo>
                  <a:cubicBezTo>
                    <a:pt x="361" y="38"/>
                    <a:pt x="356" y="34"/>
                    <a:pt x="352" y="32"/>
                  </a:cubicBezTo>
                  <a:cubicBezTo>
                    <a:pt x="347" y="31"/>
                    <a:pt x="342" y="28"/>
                    <a:pt x="342" y="28"/>
                  </a:cubicBezTo>
                  <a:cubicBezTo>
                    <a:pt x="342" y="28"/>
                    <a:pt x="337" y="24"/>
                    <a:pt x="335" y="21"/>
                  </a:cubicBezTo>
                  <a:cubicBezTo>
                    <a:pt x="333" y="22"/>
                    <a:pt x="321" y="18"/>
                    <a:pt x="318" y="18"/>
                  </a:cubicBezTo>
                  <a:cubicBezTo>
                    <a:pt x="315" y="18"/>
                    <a:pt x="308" y="14"/>
                    <a:pt x="307" y="14"/>
                  </a:cubicBezTo>
                  <a:cubicBezTo>
                    <a:pt x="305" y="15"/>
                    <a:pt x="299" y="13"/>
                    <a:pt x="296" y="12"/>
                  </a:cubicBezTo>
                  <a:cubicBezTo>
                    <a:pt x="293" y="11"/>
                    <a:pt x="291" y="12"/>
                    <a:pt x="290" y="12"/>
                  </a:cubicBezTo>
                  <a:cubicBezTo>
                    <a:pt x="289" y="11"/>
                    <a:pt x="285" y="12"/>
                    <a:pt x="284" y="10"/>
                  </a:cubicBezTo>
                  <a:cubicBezTo>
                    <a:pt x="282" y="9"/>
                    <a:pt x="282" y="9"/>
                    <a:pt x="278" y="9"/>
                  </a:cubicBezTo>
                  <a:cubicBezTo>
                    <a:pt x="277" y="9"/>
                    <a:pt x="274" y="8"/>
                    <a:pt x="273" y="9"/>
                  </a:cubicBezTo>
                  <a:cubicBezTo>
                    <a:pt x="272" y="9"/>
                    <a:pt x="270" y="8"/>
                    <a:pt x="269" y="9"/>
                  </a:cubicBezTo>
                  <a:cubicBezTo>
                    <a:pt x="268" y="9"/>
                    <a:pt x="266" y="9"/>
                    <a:pt x="265" y="9"/>
                  </a:cubicBezTo>
                  <a:cubicBezTo>
                    <a:pt x="264" y="9"/>
                    <a:pt x="263" y="8"/>
                    <a:pt x="261" y="9"/>
                  </a:cubicBezTo>
                  <a:cubicBezTo>
                    <a:pt x="260" y="10"/>
                    <a:pt x="257" y="9"/>
                    <a:pt x="257" y="9"/>
                  </a:cubicBezTo>
                  <a:cubicBezTo>
                    <a:pt x="257" y="9"/>
                    <a:pt x="253" y="8"/>
                    <a:pt x="253" y="9"/>
                  </a:cubicBezTo>
                  <a:cubicBezTo>
                    <a:pt x="252" y="10"/>
                    <a:pt x="250" y="10"/>
                    <a:pt x="249" y="9"/>
                  </a:cubicBezTo>
                  <a:cubicBezTo>
                    <a:pt x="247" y="9"/>
                    <a:pt x="244" y="9"/>
                    <a:pt x="244" y="9"/>
                  </a:cubicBezTo>
                  <a:cubicBezTo>
                    <a:pt x="243" y="10"/>
                    <a:pt x="241" y="10"/>
                    <a:pt x="241" y="10"/>
                  </a:cubicBezTo>
                  <a:cubicBezTo>
                    <a:pt x="240" y="10"/>
                    <a:pt x="235" y="10"/>
                    <a:pt x="235" y="10"/>
                  </a:cubicBezTo>
                  <a:cubicBezTo>
                    <a:pt x="235" y="10"/>
                    <a:pt x="232" y="10"/>
                    <a:pt x="231" y="10"/>
                  </a:cubicBezTo>
                  <a:cubicBezTo>
                    <a:pt x="231" y="11"/>
                    <a:pt x="229" y="10"/>
                    <a:pt x="228" y="9"/>
                  </a:cubicBezTo>
                  <a:cubicBezTo>
                    <a:pt x="227" y="9"/>
                    <a:pt x="225" y="9"/>
                    <a:pt x="224" y="10"/>
                  </a:cubicBezTo>
                  <a:cubicBezTo>
                    <a:pt x="224" y="9"/>
                    <a:pt x="224" y="8"/>
                    <a:pt x="223" y="8"/>
                  </a:cubicBezTo>
                  <a:cubicBezTo>
                    <a:pt x="222" y="8"/>
                    <a:pt x="222" y="7"/>
                    <a:pt x="222" y="7"/>
                  </a:cubicBezTo>
                  <a:cubicBezTo>
                    <a:pt x="223" y="7"/>
                    <a:pt x="223" y="7"/>
                    <a:pt x="223" y="7"/>
                  </a:cubicBezTo>
                  <a:cubicBezTo>
                    <a:pt x="224" y="7"/>
                    <a:pt x="225" y="7"/>
                    <a:pt x="226" y="7"/>
                  </a:cubicBezTo>
                  <a:cubicBezTo>
                    <a:pt x="226" y="7"/>
                    <a:pt x="228" y="7"/>
                    <a:pt x="229" y="7"/>
                  </a:cubicBezTo>
                  <a:cubicBezTo>
                    <a:pt x="230" y="7"/>
                    <a:pt x="233" y="7"/>
                    <a:pt x="234" y="7"/>
                  </a:cubicBezTo>
                  <a:cubicBezTo>
                    <a:pt x="240" y="8"/>
                    <a:pt x="241" y="6"/>
                    <a:pt x="238" y="6"/>
                  </a:cubicBezTo>
                  <a:cubicBezTo>
                    <a:pt x="237" y="5"/>
                    <a:pt x="235" y="5"/>
                    <a:pt x="235" y="5"/>
                  </a:cubicBezTo>
                  <a:cubicBezTo>
                    <a:pt x="235" y="4"/>
                    <a:pt x="234" y="4"/>
                    <a:pt x="233" y="3"/>
                  </a:cubicBezTo>
                  <a:cubicBezTo>
                    <a:pt x="232" y="3"/>
                    <a:pt x="232" y="4"/>
                    <a:pt x="232" y="3"/>
                  </a:cubicBezTo>
                  <a:cubicBezTo>
                    <a:pt x="232" y="3"/>
                    <a:pt x="233" y="2"/>
                    <a:pt x="235" y="2"/>
                  </a:cubicBezTo>
                  <a:cubicBezTo>
                    <a:pt x="236" y="2"/>
                    <a:pt x="237" y="2"/>
                    <a:pt x="238" y="2"/>
                  </a:cubicBezTo>
                  <a:cubicBezTo>
                    <a:pt x="238" y="1"/>
                    <a:pt x="240" y="0"/>
                    <a:pt x="241" y="0"/>
                  </a:cubicBezTo>
                  <a:cubicBezTo>
                    <a:pt x="242" y="0"/>
                    <a:pt x="244" y="1"/>
                    <a:pt x="245" y="0"/>
                  </a:cubicBezTo>
                  <a:cubicBezTo>
                    <a:pt x="246" y="0"/>
                    <a:pt x="249" y="0"/>
                    <a:pt x="250" y="0"/>
                  </a:cubicBezTo>
                  <a:cubicBezTo>
                    <a:pt x="251" y="0"/>
                    <a:pt x="253" y="0"/>
                    <a:pt x="253" y="0"/>
                  </a:cubicBezTo>
                  <a:cubicBezTo>
                    <a:pt x="253" y="0"/>
                    <a:pt x="252" y="0"/>
                    <a:pt x="254" y="0"/>
                  </a:cubicBezTo>
                  <a:cubicBezTo>
                    <a:pt x="257" y="0"/>
                    <a:pt x="264" y="1"/>
                    <a:pt x="266" y="1"/>
                  </a:cubicBezTo>
                  <a:cubicBezTo>
                    <a:pt x="267" y="1"/>
                    <a:pt x="271" y="2"/>
                    <a:pt x="272" y="2"/>
                  </a:cubicBezTo>
                  <a:cubicBezTo>
                    <a:pt x="273" y="1"/>
                    <a:pt x="279" y="2"/>
                    <a:pt x="279" y="2"/>
                  </a:cubicBezTo>
                  <a:cubicBezTo>
                    <a:pt x="296" y="5"/>
                    <a:pt x="313" y="8"/>
                    <a:pt x="330" y="14"/>
                  </a:cubicBezTo>
                  <a:cubicBezTo>
                    <a:pt x="441" y="49"/>
                    <a:pt x="518" y="142"/>
                    <a:pt x="539" y="248"/>
                  </a:cubicBezTo>
                  <a:cubicBezTo>
                    <a:pt x="539" y="250"/>
                    <a:pt x="540" y="259"/>
                    <a:pt x="537" y="254"/>
                  </a:cubicBezTo>
                  <a:cubicBezTo>
                    <a:pt x="534" y="250"/>
                    <a:pt x="533" y="251"/>
                    <a:pt x="533" y="253"/>
                  </a:cubicBezTo>
                  <a:cubicBezTo>
                    <a:pt x="534" y="256"/>
                    <a:pt x="534" y="260"/>
                    <a:pt x="535" y="261"/>
                  </a:cubicBezTo>
                  <a:cubicBezTo>
                    <a:pt x="536" y="262"/>
                    <a:pt x="538" y="265"/>
                    <a:pt x="538" y="267"/>
                  </a:cubicBezTo>
                  <a:cubicBezTo>
                    <a:pt x="538" y="270"/>
                    <a:pt x="541" y="274"/>
                    <a:pt x="540" y="268"/>
                  </a:cubicBezTo>
                  <a:cubicBezTo>
                    <a:pt x="539" y="263"/>
                    <a:pt x="540" y="259"/>
                    <a:pt x="540" y="258"/>
                  </a:cubicBezTo>
                  <a:cubicBezTo>
                    <a:pt x="541" y="257"/>
                    <a:pt x="541" y="257"/>
                    <a:pt x="541" y="257"/>
                  </a:cubicBezTo>
                  <a:cubicBezTo>
                    <a:pt x="544" y="278"/>
                    <a:pt x="545" y="299"/>
                    <a:pt x="544" y="320"/>
                  </a:cubicBezTo>
                  <a:cubicBezTo>
                    <a:pt x="544" y="320"/>
                    <a:pt x="544" y="325"/>
                    <a:pt x="543" y="327"/>
                  </a:cubicBezTo>
                  <a:cubicBezTo>
                    <a:pt x="543" y="329"/>
                    <a:pt x="541" y="335"/>
                    <a:pt x="541" y="338"/>
                  </a:cubicBezTo>
                  <a:cubicBezTo>
                    <a:pt x="541" y="344"/>
                    <a:pt x="540" y="345"/>
                    <a:pt x="540" y="345"/>
                  </a:cubicBezTo>
                  <a:cubicBezTo>
                    <a:pt x="540" y="345"/>
                    <a:pt x="540" y="341"/>
                    <a:pt x="540" y="339"/>
                  </a:cubicBezTo>
                  <a:cubicBezTo>
                    <a:pt x="540" y="336"/>
                    <a:pt x="540" y="333"/>
                    <a:pt x="539" y="331"/>
                  </a:cubicBezTo>
                  <a:cubicBezTo>
                    <a:pt x="538" y="329"/>
                    <a:pt x="536" y="323"/>
                    <a:pt x="536" y="321"/>
                  </a:cubicBezTo>
                  <a:cubicBezTo>
                    <a:pt x="536" y="320"/>
                    <a:pt x="535" y="316"/>
                    <a:pt x="534" y="315"/>
                  </a:cubicBezTo>
                  <a:cubicBezTo>
                    <a:pt x="532" y="313"/>
                    <a:pt x="532" y="308"/>
                    <a:pt x="532" y="307"/>
                  </a:cubicBezTo>
                  <a:cubicBezTo>
                    <a:pt x="532" y="306"/>
                    <a:pt x="532" y="304"/>
                    <a:pt x="529" y="301"/>
                  </a:cubicBezTo>
                  <a:cubicBezTo>
                    <a:pt x="526" y="298"/>
                    <a:pt x="525" y="297"/>
                    <a:pt x="522" y="293"/>
                  </a:cubicBezTo>
                  <a:cubicBezTo>
                    <a:pt x="522" y="294"/>
                    <a:pt x="521" y="295"/>
                    <a:pt x="517" y="288"/>
                  </a:cubicBezTo>
                  <a:cubicBezTo>
                    <a:pt x="518" y="290"/>
                    <a:pt x="521" y="298"/>
                    <a:pt x="522" y="301"/>
                  </a:cubicBezTo>
                  <a:cubicBezTo>
                    <a:pt x="523" y="304"/>
                    <a:pt x="526" y="308"/>
                    <a:pt x="526" y="311"/>
                  </a:cubicBezTo>
                  <a:cubicBezTo>
                    <a:pt x="527" y="314"/>
                    <a:pt x="528" y="317"/>
                    <a:pt x="530" y="318"/>
                  </a:cubicBezTo>
                  <a:cubicBezTo>
                    <a:pt x="532" y="318"/>
                    <a:pt x="533" y="325"/>
                    <a:pt x="532" y="327"/>
                  </a:cubicBezTo>
                  <a:cubicBezTo>
                    <a:pt x="532" y="329"/>
                    <a:pt x="533" y="333"/>
                    <a:pt x="534" y="335"/>
                  </a:cubicBezTo>
                  <a:cubicBezTo>
                    <a:pt x="535" y="337"/>
                    <a:pt x="536" y="340"/>
                    <a:pt x="537" y="343"/>
                  </a:cubicBezTo>
                  <a:cubicBezTo>
                    <a:pt x="539" y="347"/>
                    <a:pt x="538" y="349"/>
                    <a:pt x="540" y="354"/>
                  </a:cubicBezTo>
                  <a:cubicBezTo>
                    <a:pt x="540" y="352"/>
                    <a:pt x="542" y="346"/>
                    <a:pt x="542" y="343"/>
                  </a:cubicBezTo>
                  <a:cubicBezTo>
                    <a:pt x="540" y="362"/>
                    <a:pt x="536" y="382"/>
                    <a:pt x="530" y="401"/>
                  </a:cubicBezTo>
                  <a:cubicBezTo>
                    <a:pt x="505" y="476"/>
                    <a:pt x="454" y="536"/>
                    <a:pt x="390" y="573"/>
                  </a:cubicBezTo>
                  <a:moveTo>
                    <a:pt x="353" y="47"/>
                  </a:moveTo>
                  <a:cubicBezTo>
                    <a:pt x="353" y="47"/>
                    <a:pt x="353" y="47"/>
                    <a:pt x="352" y="48"/>
                  </a:cubicBezTo>
                  <a:cubicBezTo>
                    <a:pt x="350" y="48"/>
                    <a:pt x="353" y="49"/>
                    <a:pt x="355" y="49"/>
                  </a:cubicBezTo>
                  <a:cubicBezTo>
                    <a:pt x="358" y="50"/>
                    <a:pt x="355" y="48"/>
                    <a:pt x="353" y="47"/>
                  </a:cubicBezTo>
                  <a:moveTo>
                    <a:pt x="357" y="46"/>
                  </a:moveTo>
                  <a:cubicBezTo>
                    <a:pt x="355" y="45"/>
                    <a:pt x="354" y="44"/>
                    <a:pt x="354" y="46"/>
                  </a:cubicBezTo>
                  <a:cubicBezTo>
                    <a:pt x="354" y="47"/>
                    <a:pt x="356" y="48"/>
                    <a:pt x="358" y="48"/>
                  </a:cubicBezTo>
                  <a:cubicBezTo>
                    <a:pt x="359" y="48"/>
                    <a:pt x="358" y="47"/>
                    <a:pt x="357" y="46"/>
                  </a:cubicBezTo>
                  <a:moveTo>
                    <a:pt x="355" y="45"/>
                  </a:moveTo>
                  <a:cubicBezTo>
                    <a:pt x="357" y="45"/>
                    <a:pt x="358" y="46"/>
                    <a:pt x="356" y="44"/>
                  </a:cubicBezTo>
                  <a:cubicBezTo>
                    <a:pt x="354" y="43"/>
                    <a:pt x="353" y="41"/>
                    <a:pt x="353" y="42"/>
                  </a:cubicBezTo>
                  <a:cubicBezTo>
                    <a:pt x="353" y="43"/>
                    <a:pt x="354" y="45"/>
                    <a:pt x="355" y="45"/>
                  </a:cubicBezTo>
                  <a:moveTo>
                    <a:pt x="408" y="89"/>
                  </a:moveTo>
                  <a:cubicBezTo>
                    <a:pt x="411" y="91"/>
                    <a:pt x="413" y="91"/>
                    <a:pt x="412" y="89"/>
                  </a:cubicBezTo>
                  <a:cubicBezTo>
                    <a:pt x="410" y="86"/>
                    <a:pt x="409" y="85"/>
                    <a:pt x="407" y="85"/>
                  </a:cubicBezTo>
                  <a:cubicBezTo>
                    <a:pt x="404" y="85"/>
                    <a:pt x="400" y="81"/>
                    <a:pt x="398" y="79"/>
                  </a:cubicBezTo>
                  <a:cubicBezTo>
                    <a:pt x="395" y="78"/>
                    <a:pt x="387" y="71"/>
                    <a:pt x="386" y="69"/>
                  </a:cubicBezTo>
                  <a:cubicBezTo>
                    <a:pt x="385" y="68"/>
                    <a:pt x="383" y="66"/>
                    <a:pt x="384" y="68"/>
                  </a:cubicBezTo>
                  <a:cubicBezTo>
                    <a:pt x="385" y="71"/>
                    <a:pt x="394" y="79"/>
                    <a:pt x="396" y="81"/>
                  </a:cubicBezTo>
                  <a:cubicBezTo>
                    <a:pt x="398" y="84"/>
                    <a:pt x="398" y="85"/>
                    <a:pt x="400" y="84"/>
                  </a:cubicBezTo>
                  <a:cubicBezTo>
                    <a:pt x="400" y="84"/>
                    <a:pt x="403" y="87"/>
                    <a:pt x="404" y="89"/>
                  </a:cubicBezTo>
                  <a:cubicBezTo>
                    <a:pt x="406" y="91"/>
                    <a:pt x="406" y="90"/>
                    <a:pt x="408" y="89"/>
                  </a:cubicBezTo>
                  <a:moveTo>
                    <a:pt x="390" y="181"/>
                  </a:moveTo>
                  <a:cubicBezTo>
                    <a:pt x="385" y="182"/>
                    <a:pt x="385" y="182"/>
                    <a:pt x="385" y="182"/>
                  </a:cubicBezTo>
                  <a:cubicBezTo>
                    <a:pt x="385" y="182"/>
                    <a:pt x="386" y="186"/>
                    <a:pt x="386" y="188"/>
                  </a:cubicBezTo>
                  <a:cubicBezTo>
                    <a:pt x="386" y="190"/>
                    <a:pt x="388" y="194"/>
                    <a:pt x="388" y="195"/>
                  </a:cubicBezTo>
                  <a:cubicBezTo>
                    <a:pt x="388" y="197"/>
                    <a:pt x="389" y="197"/>
                    <a:pt x="390" y="197"/>
                  </a:cubicBezTo>
                  <a:cubicBezTo>
                    <a:pt x="392" y="197"/>
                    <a:pt x="394" y="197"/>
                    <a:pt x="396" y="199"/>
                  </a:cubicBezTo>
                  <a:cubicBezTo>
                    <a:pt x="396" y="199"/>
                    <a:pt x="395" y="200"/>
                    <a:pt x="396" y="201"/>
                  </a:cubicBezTo>
                  <a:cubicBezTo>
                    <a:pt x="396" y="202"/>
                    <a:pt x="397" y="204"/>
                    <a:pt x="398" y="205"/>
                  </a:cubicBezTo>
                  <a:cubicBezTo>
                    <a:pt x="398" y="207"/>
                    <a:pt x="399" y="207"/>
                    <a:pt x="398" y="208"/>
                  </a:cubicBezTo>
                  <a:cubicBezTo>
                    <a:pt x="398" y="209"/>
                    <a:pt x="397" y="211"/>
                    <a:pt x="395" y="212"/>
                  </a:cubicBezTo>
                  <a:cubicBezTo>
                    <a:pt x="394" y="212"/>
                    <a:pt x="394" y="214"/>
                    <a:pt x="395" y="215"/>
                  </a:cubicBezTo>
                  <a:cubicBezTo>
                    <a:pt x="395" y="215"/>
                    <a:pt x="397" y="214"/>
                    <a:pt x="397" y="214"/>
                  </a:cubicBezTo>
                  <a:cubicBezTo>
                    <a:pt x="398" y="213"/>
                    <a:pt x="398" y="215"/>
                    <a:pt x="399" y="216"/>
                  </a:cubicBezTo>
                  <a:cubicBezTo>
                    <a:pt x="400" y="217"/>
                    <a:pt x="399" y="217"/>
                    <a:pt x="398" y="219"/>
                  </a:cubicBezTo>
                  <a:cubicBezTo>
                    <a:pt x="398" y="221"/>
                    <a:pt x="398" y="221"/>
                    <a:pt x="396" y="222"/>
                  </a:cubicBezTo>
                  <a:cubicBezTo>
                    <a:pt x="397" y="223"/>
                    <a:pt x="399" y="222"/>
                    <a:pt x="400" y="222"/>
                  </a:cubicBezTo>
                  <a:cubicBezTo>
                    <a:pt x="401" y="222"/>
                    <a:pt x="403" y="222"/>
                    <a:pt x="404" y="220"/>
                  </a:cubicBezTo>
                  <a:cubicBezTo>
                    <a:pt x="404" y="219"/>
                    <a:pt x="407" y="218"/>
                    <a:pt x="408" y="218"/>
                  </a:cubicBezTo>
                  <a:cubicBezTo>
                    <a:pt x="410" y="218"/>
                    <a:pt x="412" y="217"/>
                    <a:pt x="412" y="217"/>
                  </a:cubicBezTo>
                  <a:cubicBezTo>
                    <a:pt x="412" y="214"/>
                    <a:pt x="412" y="210"/>
                    <a:pt x="412" y="209"/>
                  </a:cubicBezTo>
                  <a:cubicBezTo>
                    <a:pt x="409" y="209"/>
                    <a:pt x="407" y="208"/>
                    <a:pt x="407" y="208"/>
                  </a:cubicBezTo>
                  <a:cubicBezTo>
                    <a:pt x="407" y="205"/>
                    <a:pt x="407" y="204"/>
                    <a:pt x="406" y="203"/>
                  </a:cubicBezTo>
                  <a:cubicBezTo>
                    <a:pt x="404" y="202"/>
                    <a:pt x="403" y="201"/>
                    <a:pt x="403" y="200"/>
                  </a:cubicBezTo>
                  <a:cubicBezTo>
                    <a:pt x="402" y="198"/>
                    <a:pt x="401" y="198"/>
                    <a:pt x="400" y="196"/>
                  </a:cubicBezTo>
                  <a:cubicBezTo>
                    <a:pt x="399" y="195"/>
                    <a:pt x="396" y="194"/>
                    <a:pt x="396" y="194"/>
                  </a:cubicBezTo>
                  <a:cubicBezTo>
                    <a:pt x="394" y="193"/>
                    <a:pt x="394" y="193"/>
                    <a:pt x="394" y="193"/>
                  </a:cubicBezTo>
                  <a:cubicBezTo>
                    <a:pt x="395" y="190"/>
                    <a:pt x="395" y="185"/>
                    <a:pt x="394" y="184"/>
                  </a:cubicBezTo>
                  <a:cubicBezTo>
                    <a:pt x="392" y="184"/>
                    <a:pt x="390" y="185"/>
                    <a:pt x="389" y="184"/>
                  </a:cubicBezTo>
                  <a:lnTo>
                    <a:pt x="390" y="181"/>
                  </a:lnTo>
                  <a:close/>
                  <a:moveTo>
                    <a:pt x="389" y="204"/>
                  </a:moveTo>
                  <a:cubicBezTo>
                    <a:pt x="389" y="204"/>
                    <a:pt x="388" y="202"/>
                    <a:pt x="390" y="201"/>
                  </a:cubicBezTo>
                  <a:cubicBezTo>
                    <a:pt x="390" y="201"/>
                    <a:pt x="388" y="197"/>
                    <a:pt x="387" y="197"/>
                  </a:cubicBezTo>
                  <a:cubicBezTo>
                    <a:pt x="386" y="197"/>
                    <a:pt x="384" y="197"/>
                    <a:pt x="384" y="199"/>
                  </a:cubicBezTo>
                  <a:cubicBezTo>
                    <a:pt x="384" y="199"/>
                    <a:pt x="384" y="199"/>
                    <a:pt x="383" y="198"/>
                  </a:cubicBezTo>
                  <a:cubicBezTo>
                    <a:pt x="382" y="196"/>
                    <a:pt x="383" y="201"/>
                    <a:pt x="383" y="203"/>
                  </a:cubicBezTo>
                  <a:cubicBezTo>
                    <a:pt x="383" y="203"/>
                    <a:pt x="382" y="203"/>
                    <a:pt x="380" y="203"/>
                  </a:cubicBezTo>
                  <a:cubicBezTo>
                    <a:pt x="378" y="204"/>
                    <a:pt x="379" y="205"/>
                    <a:pt x="380" y="207"/>
                  </a:cubicBezTo>
                  <a:cubicBezTo>
                    <a:pt x="380" y="208"/>
                    <a:pt x="380" y="208"/>
                    <a:pt x="383" y="208"/>
                  </a:cubicBezTo>
                  <a:cubicBezTo>
                    <a:pt x="383" y="208"/>
                    <a:pt x="381" y="212"/>
                    <a:pt x="380" y="213"/>
                  </a:cubicBezTo>
                  <a:cubicBezTo>
                    <a:pt x="379" y="214"/>
                    <a:pt x="379" y="214"/>
                    <a:pt x="381" y="216"/>
                  </a:cubicBezTo>
                  <a:cubicBezTo>
                    <a:pt x="381" y="216"/>
                    <a:pt x="384" y="216"/>
                    <a:pt x="385" y="215"/>
                  </a:cubicBezTo>
                  <a:cubicBezTo>
                    <a:pt x="386" y="214"/>
                    <a:pt x="388" y="213"/>
                    <a:pt x="390" y="213"/>
                  </a:cubicBezTo>
                  <a:cubicBezTo>
                    <a:pt x="391" y="213"/>
                    <a:pt x="390" y="210"/>
                    <a:pt x="390" y="209"/>
                  </a:cubicBezTo>
                  <a:cubicBezTo>
                    <a:pt x="389" y="208"/>
                    <a:pt x="389" y="205"/>
                    <a:pt x="389" y="204"/>
                  </a:cubicBezTo>
                  <a:moveTo>
                    <a:pt x="433" y="274"/>
                  </a:moveTo>
                  <a:cubicBezTo>
                    <a:pt x="433" y="272"/>
                    <a:pt x="432" y="273"/>
                    <a:pt x="431" y="274"/>
                  </a:cubicBezTo>
                  <a:cubicBezTo>
                    <a:pt x="430" y="275"/>
                    <a:pt x="432" y="275"/>
                    <a:pt x="432" y="276"/>
                  </a:cubicBezTo>
                  <a:cubicBezTo>
                    <a:pt x="433" y="276"/>
                    <a:pt x="433" y="274"/>
                    <a:pt x="433" y="274"/>
                  </a:cubicBezTo>
                  <a:moveTo>
                    <a:pt x="468" y="271"/>
                  </a:moveTo>
                  <a:cubicBezTo>
                    <a:pt x="468" y="271"/>
                    <a:pt x="466" y="272"/>
                    <a:pt x="465" y="273"/>
                  </a:cubicBezTo>
                  <a:cubicBezTo>
                    <a:pt x="464" y="274"/>
                    <a:pt x="463" y="274"/>
                    <a:pt x="463" y="275"/>
                  </a:cubicBezTo>
                  <a:cubicBezTo>
                    <a:pt x="462" y="275"/>
                    <a:pt x="462" y="277"/>
                    <a:pt x="464" y="277"/>
                  </a:cubicBezTo>
                  <a:cubicBezTo>
                    <a:pt x="465" y="276"/>
                    <a:pt x="467" y="278"/>
                    <a:pt x="469" y="278"/>
                  </a:cubicBezTo>
                  <a:cubicBezTo>
                    <a:pt x="470" y="278"/>
                    <a:pt x="471" y="276"/>
                    <a:pt x="470" y="275"/>
                  </a:cubicBezTo>
                  <a:cubicBezTo>
                    <a:pt x="470" y="274"/>
                    <a:pt x="468" y="272"/>
                    <a:pt x="468" y="271"/>
                  </a:cubicBezTo>
                  <a:moveTo>
                    <a:pt x="447" y="255"/>
                  </a:moveTo>
                  <a:cubicBezTo>
                    <a:pt x="447" y="254"/>
                    <a:pt x="446" y="251"/>
                    <a:pt x="446" y="253"/>
                  </a:cubicBezTo>
                  <a:cubicBezTo>
                    <a:pt x="446" y="254"/>
                    <a:pt x="444" y="255"/>
                    <a:pt x="445" y="256"/>
                  </a:cubicBezTo>
                  <a:cubicBezTo>
                    <a:pt x="446" y="257"/>
                    <a:pt x="447" y="260"/>
                    <a:pt x="447" y="260"/>
                  </a:cubicBezTo>
                  <a:cubicBezTo>
                    <a:pt x="447" y="260"/>
                    <a:pt x="447" y="262"/>
                    <a:pt x="447" y="263"/>
                  </a:cubicBezTo>
                  <a:cubicBezTo>
                    <a:pt x="446" y="264"/>
                    <a:pt x="446" y="264"/>
                    <a:pt x="447" y="265"/>
                  </a:cubicBezTo>
                  <a:cubicBezTo>
                    <a:pt x="448" y="266"/>
                    <a:pt x="449" y="269"/>
                    <a:pt x="449" y="270"/>
                  </a:cubicBezTo>
                  <a:cubicBezTo>
                    <a:pt x="449" y="271"/>
                    <a:pt x="449" y="276"/>
                    <a:pt x="450" y="274"/>
                  </a:cubicBezTo>
                  <a:cubicBezTo>
                    <a:pt x="452" y="272"/>
                    <a:pt x="453" y="272"/>
                    <a:pt x="452" y="271"/>
                  </a:cubicBezTo>
                  <a:cubicBezTo>
                    <a:pt x="451" y="269"/>
                    <a:pt x="450" y="268"/>
                    <a:pt x="450" y="266"/>
                  </a:cubicBezTo>
                  <a:cubicBezTo>
                    <a:pt x="450" y="265"/>
                    <a:pt x="449" y="264"/>
                    <a:pt x="449" y="263"/>
                  </a:cubicBezTo>
                  <a:cubicBezTo>
                    <a:pt x="448" y="262"/>
                    <a:pt x="447" y="260"/>
                    <a:pt x="448" y="258"/>
                  </a:cubicBezTo>
                  <a:cubicBezTo>
                    <a:pt x="448" y="257"/>
                    <a:pt x="447" y="255"/>
                    <a:pt x="447" y="255"/>
                  </a:cubicBezTo>
                  <a:moveTo>
                    <a:pt x="363" y="81"/>
                  </a:moveTo>
                  <a:cubicBezTo>
                    <a:pt x="363" y="81"/>
                    <a:pt x="363" y="82"/>
                    <a:pt x="363" y="81"/>
                  </a:cubicBezTo>
                  <a:cubicBezTo>
                    <a:pt x="363" y="79"/>
                    <a:pt x="362" y="80"/>
                    <a:pt x="359" y="80"/>
                  </a:cubicBezTo>
                  <a:cubicBezTo>
                    <a:pt x="357" y="81"/>
                    <a:pt x="356" y="83"/>
                    <a:pt x="358" y="83"/>
                  </a:cubicBezTo>
                  <a:cubicBezTo>
                    <a:pt x="361" y="83"/>
                    <a:pt x="364" y="84"/>
                    <a:pt x="365" y="84"/>
                  </a:cubicBezTo>
                  <a:lnTo>
                    <a:pt x="363" y="81"/>
                  </a:lnTo>
                  <a:close/>
                  <a:moveTo>
                    <a:pt x="371" y="89"/>
                  </a:moveTo>
                  <a:cubicBezTo>
                    <a:pt x="369" y="87"/>
                    <a:pt x="368" y="87"/>
                    <a:pt x="370" y="89"/>
                  </a:cubicBezTo>
                  <a:cubicBezTo>
                    <a:pt x="371" y="90"/>
                    <a:pt x="372" y="91"/>
                    <a:pt x="372" y="91"/>
                  </a:cubicBezTo>
                  <a:cubicBezTo>
                    <a:pt x="372" y="91"/>
                    <a:pt x="373" y="89"/>
                    <a:pt x="371" y="89"/>
                  </a:cubicBezTo>
                  <a:moveTo>
                    <a:pt x="366" y="91"/>
                  </a:moveTo>
                  <a:cubicBezTo>
                    <a:pt x="366" y="93"/>
                    <a:pt x="364" y="92"/>
                    <a:pt x="366" y="93"/>
                  </a:cubicBezTo>
                  <a:cubicBezTo>
                    <a:pt x="368" y="94"/>
                    <a:pt x="371" y="95"/>
                    <a:pt x="369" y="93"/>
                  </a:cubicBezTo>
                  <a:cubicBezTo>
                    <a:pt x="367" y="90"/>
                    <a:pt x="365" y="86"/>
                    <a:pt x="365" y="86"/>
                  </a:cubicBezTo>
                  <a:cubicBezTo>
                    <a:pt x="365" y="86"/>
                    <a:pt x="358" y="84"/>
                    <a:pt x="357" y="85"/>
                  </a:cubicBezTo>
                  <a:cubicBezTo>
                    <a:pt x="357" y="86"/>
                    <a:pt x="357" y="88"/>
                    <a:pt x="359" y="89"/>
                  </a:cubicBezTo>
                  <a:cubicBezTo>
                    <a:pt x="361" y="90"/>
                    <a:pt x="364" y="91"/>
                    <a:pt x="366" y="91"/>
                  </a:cubicBezTo>
                  <a:moveTo>
                    <a:pt x="341" y="151"/>
                  </a:moveTo>
                  <a:cubicBezTo>
                    <a:pt x="341" y="151"/>
                    <a:pt x="338" y="155"/>
                    <a:pt x="341" y="155"/>
                  </a:cubicBezTo>
                  <a:cubicBezTo>
                    <a:pt x="344" y="156"/>
                    <a:pt x="345" y="156"/>
                    <a:pt x="348" y="156"/>
                  </a:cubicBezTo>
                  <a:cubicBezTo>
                    <a:pt x="350" y="156"/>
                    <a:pt x="352" y="154"/>
                    <a:pt x="354" y="155"/>
                  </a:cubicBezTo>
                  <a:cubicBezTo>
                    <a:pt x="356" y="155"/>
                    <a:pt x="357" y="154"/>
                    <a:pt x="357" y="153"/>
                  </a:cubicBezTo>
                  <a:cubicBezTo>
                    <a:pt x="358" y="151"/>
                    <a:pt x="360" y="151"/>
                    <a:pt x="357" y="147"/>
                  </a:cubicBezTo>
                  <a:cubicBezTo>
                    <a:pt x="354" y="144"/>
                    <a:pt x="352" y="142"/>
                    <a:pt x="351" y="145"/>
                  </a:cubicBezTo>
                  <a:cubicBezTo>
                    <a:pt x="344" y="144"/>
                    <a:pt x="343" y="147"/>
                    <a:pt x="341" y="145"/>
                  </a:cubicBezTo>
                  <a:cubicBezTo>
                    <a:pt x="339" y="143"/>
                    <a:pt x="338" y="141"/>
                    <a:pt x="336" y="144"/>
                  </a:cubicBezTo>
                  <a:cubicBezTo>
                    <a:pt x="335" y="147"/>
                    <a:pt x="335" y="147"/>
                    <a:pt x="335" y="147"/>
                  </a:cubicBezTo>
                  <a:cubicBezTo>
                    <a:pt x="338" y="148"/>
                    <a:pt x="338" y="151"/>
                    <a:pt x="341" y="151"/>
                  </a:cubicBezTo>
                  <a:moveTo>
                    <a:pt x="267" y="66"/>
                  </a:moveTo>
                  <a:cubicBezTo>
                    <a:pt x="268" y="66"/>
                    <a:pt x="273" y="67"/>
                    <a:pt x="273" y="67"/>
                  </a:cubicBezTo>
                  <a:cubicBezTo>
                    <a:pt x="274" y="67"/>
                    <a:pt x="275" y="67"/>
                    <a:pt x="275" y="67"/>
                  </a:cubicBezTo>
                  <a:cubicBezTo>
                    <a:pt x="275" y="67"/>
                    <a:pt x="275" y="69"/>
                    <a:pt x="275" y="67"/>
                  </a:cubicBezTo>
                  <a:cubicBezTo>
                    <a:pt x="275" y="66"/>
                    <a:pt x="276" y="65"/>
                    <a:pt x="276" y="65"/>
                  </a:cubicBezTo>
                  <a:cubicBezTo>
                    <a:pt x="277" y="64"/>
                    <a:pt x="279" y="61"/>
                    <a:pt x="279" y="61"/>
                  </a:cubicBezTo>
                  <a:cubicBezTo>
                    <a:pt x="276" y="60"/>
                    <a:pt x="275" y="60"/>
                    <a:pt x="274" y="60"/>
                  </a:cubicBezTo>
                  <a:cubicBezTo>
                    <a:pt x="273" y="61"/>
                    <a:pt x="271" y="61"/>
                    <a:pt x="270" y="61"/>
                  </a:cubicBezTo>
                  <a:cubicBezTo>
                    <a:pt x="269" y="61"/>
                    <a:pt x="268" y="63"/>
                    <a:pt x="268" y="64"/>
                  </a:cubicBezTo>
                  <a:cubicBezTo>
                    <a:pt x="267" y="65"/>
                    <a:pt x="263" y="66"/>
                    <a:pt x="267" y="66"/>
                  </a:cubicBezTo>
                  <a:moveTo>
                    <a:pt x="247" y="52"/>
                  </a:moveTo>
                  <a:cubicBezTo>
                    <a:pt x="247" y="53"/>
                    <a:pt x="249" y="55"/>
                    <a:pt x="249" y="55"/>
                  </a:cubicBezTo>
                  <a:cubicBezTo>
                    <a:pt x="249" y="55"/>
                    <a:pt x="251" y="55"/>
                    <a:pt x="250" y="56"/>
                  </a:cubicBezTo>
                  <a:cubicBezTo>
                    <a:pt x="249" y="57"/>
                    <a:pt x="248" y="58"/>
                    <a:pt x="248" y="58"/>
                  </a:cubicBezTo>
                  <a:cubicBezTo>
                    <a:pt x="247" y="59"/>
                    <a:pt x="246" y="59"/>
                    <a:pt x="246" y="59"/>
                  </a:cubicBezTo>
                  <a:cubicBezTo>
                    <a:pt x="245" y="58"/>
                    <a:pt x="243" y="59"/>
                    <a:pt x="243" y="59"/>
                  </a:cubicBezTo>
                  <a:cubicBezTo>
                    <a:pt x="243" y="59"/>
                    <a:pt x="244" y="61"/>
                    <a:pt x="243" y="59"/>
                  </a:cubicBezTo>
                  <a:cubicBezTo>
                    <a:pt x="242" y="57"/>
                    <a:pt x="241" y="56"/>
                    <a:pt x="240" y="56"/>
                  </a:cubicBezTo>
                  <a:cubicBezTo>
                    <a:pt x="239" y="56"/>
                    <a:pt x="239" y="55"/>
                    <a:pt x="238" y="54"/>
                  </a:cubicBezTo>
                  <a:cubicBezTo>
                    <a:pt x="238" y="54"/>
                    <a:pt x="236" y="53"/>
                    <a:pt x="238" y="52"/>
                  </a:cubicBezTo>
                  <a:cubicBezTo>
                    <a:pt x="240" y="52"/>
                    <a:pt x="240" y="51"/>
                    <a:pt x="241" y="51"/>
                  </a:cubicBezTo>
                  <a:cubicBezTo>
                    <a:pt x="242" y="51"/>
                    <a:pt x="243" y="51"/>
                    <a:pt x="244" y="50"/>
                  </a:cubicBezTo>
                  <a:cubicBezTo>
                    <a:pt x="245" y="50"/>
                    <a:pt x="246" y="51"/>
                    <a:pt x="247" y="52"/>
                  </a:cubicBezTo>
                  <a:moveTo>
                    <a:pt x="250" y="50"/>
                  </a:moveTo>
                  <a:cubicBezTo>
                    <a:pt x="251" y="50"/>
                    <a:pt x="252" y="50"/>
                    <a:pt x="251" y="49"/>
                  </a:cubicBezTo>
                  <a:cubicBezTo>
                    <a:pt x="250" y="49"/>
                    <a:pt x="250" y="48"/>
                    <a:pt x="249" y="48"/>
                  </a:cubicBezTo>
                  <a:cubicBezTo>
                    <a:pt x="246" y="47"/>
                    <a:pt x="245" y="46"/>
                    <a:pt x="245" y="46"/>
                  </a:cubicBezTo>
                  <a:cubicBezTo>
                    <a:pt x="245" y="46"/>
                    <a:pt x="244" y="46"/>
                    <a:pt x="244" y="47"/>
                  </a:cubicBezTo>
                  <a:cubicBezTo>
                    <a:pt x="243" y="47"/>
                    <a:pt x="242" y="48"/>
                    <a:pt x="244" y="48"/>
                  </a:cubicBezTo>
                  <a:cubicBezTo>
                    <a:pt x="245" y="48"/>
                    <a:pt x="246" y="49"/>
                    <a:pt x="247" y="49"/>
                  </a:cubicBezTo>
                  <a:cubicBezTo>
                    <a:pt x="247" y="49"/>
                    <a:pt x="250" y="50"/>
                    <a:pt x="250" y="50"/>
                  </a:cubicBezTo>
                  <a:moveTo>
                    <a:pt x="252" y="64"/>
                  </a:moveTo>
                  <a:cubicBezTo>
                    <a:pt x="253" y="64"/>
                    <a:pt x="255" y="63"/>
                    <a:pt x="254" y="62"/>
                  </a:cubicBezTo>
                  <a:cubicBezTo>
                    <a:pt x="252" y="61"/>
                    <a:pt x="252" y="61"/>
                    <a:pt x="251" y="61"/>
                  </a:cubicBezTo>
                  <a:cubicBezTo>
                    <a:pt x="249" y="61"/>
                    <a:pt x="247" y="61"/>
                    <a:pt x="247" y="61"/>
                  </a:cubicBezTo>
                  <a:cubicBezTo>
                    <a:pt x="246" y="62"/>
                    <a:pt x="245" y="63"/>
                    <a:pt x="246" y="63"/>
                  </a:cubicBezTo>
                  <a:cubicBezTo>
                    <a:pt x="247" y="64"/>
                    <a:pt x="248" y="65"/>
                    <a:pt x="248" y="65"/>
                  </a:cubicBezTo>
                  <a:cubicBezTo>
                    <a:pt x="249" y="64"/>
                    <a:pt x="252" y="64"/>
                    <a:pt x="252" y="64"/>
                  </a:cubicBezTo>
                  <a:moveTo>
                    <a:pt x="261" y="59"/>
                  </a:moveTo>
                  <a:cubicBezTo>
                    <a:pt x="259" y="60"/>
                    <a:pt x="259" y="61"/>
                    <a:pt x="260" y="61"/>
                  </a:cubicBezTo>
                  <a:cubicBezTo>
                    <a:pt x="261" y="60"/>
                    <a:pt x="262" y="60"/>
                    <a:pt x="263" y="60"/>
                  </a:cubicBezTo>
                  <a:cubicBezTo>
                    <a:pt x="264" y="60"/>
                    <a:pt x="264" y="59"/>
                    <a:pt x="264" y="58"/>
                  </a:cubicBezTo>
                  <a:cubicBezTo>
                    <a:pt x="265" y="56"/>
                    <a:pt x="265" y="57"/>
                    <a:pt x="264" y="56"/>
                  </a:cubicBezTo>
                  <a:cubicBezTo>
                    <a:pt x="264" y="56"/>
                    <a:pt x="262" y="56"/>
                    <a:pt x="260" y="56"/>
                  </a:cubicBezTo>
                  <a:cubicBezTo>
                    <a:pt x="258" y="56"/>
                    <a:pt x="262" y="59"/>
                    <a:pt x="261" y="59"/>
                  </a:cubicBezTo>
                  <a:moveTo>
                    <a:pt x="257" y="54"/>
                  </a:moveTo>
                  <a:cubicBezTo>
                    <a:pt x="256" y="52"/>
                    <a:pt x="257" y="52"/>
                    <a:pt x="255" y="52"/>
                  </a:cubicBezTo>
                  <a:cubicBezTo>
                    <a:pt x="253" y="53"/>
                    <a:pt x="252" y="53"/>
                    <a:pt x="253" y="53"/>
                  </a:cubicBezTo>
                  <a:cubicBezTo>
                    <a:pt x="255" y="53"/>
                    <a:pt x="257" y="54"/>
                    <a:pt x="257" y="54"/>
                  </a:cubicBezTo>
                  <a:moveTo>
                    <a:pt x="248" y="68"/>
                  </a:moveTo>
                  <a:cubicBezTo>
                    <a:pt x="252" y="67"/>
                    <a:pt x="252" y="67"/>
                    <a:pt x="252" y="67"/>
                  </a:cubicBezTo>
                  <a:cubicBezTo>
                    <a:pt x="252" y="67"/>
                    <a:pt x="251" y="66"/>
                    <a:pt x="250" y="66"/>
                  </a:cubicBezTo>
                  <a:cubicBezTo>
                    <a:pt x="250" y="65"/>
                    <a:pt x="248" y="67"/>
                    <a:pt x="248" y="68"/>
                  </a:cubicBezTo>
                  <a:moveTo>
                    <a:pt x="218" y="47"/>
                  </a:moveTo>
                  <a:cubicBezTo>
                    <a:pt x="220" y="47"/>
                    <a:pt x="221" y="48"/>
                    <a:pt x="221" y="48"/>
                  </a:cubicBezTo>
                  <a:cubicBezTo>
                    <a:pt x="222" y="49"/>
                    <a:pt x="224" y="50"/>
                    <a:pt x="224" y="50"/>
                  </a:cubicBezTo>
                  <a:cubicBezTo>
                    <a:pt x="226" y="50"/>
                    <a:pt x="226" y="50"/>
                    <a:pt x="227" y="51"/>
                  </a:cubicBezTo>
                  <a:cubicBezTo>
                    <a:pt x="227" y="51"/>
                    <a:pt x="229" y="52"/>
                    <a:pt x="229" y="52"/>
                  </a:cubicBezTo>
                  <a:cubicBezTo>
                    <a:pt x="230" y="52"/>
                    <a:pt x="231" y="53"/>
                    <a:pt x="231" y="53"/>
                  </a:cubicBezTo>
                  <a:cubicBezTo>
                    <a:pt x="232" y="51"/>
                    <a:pt x="232" y="51"/>
                    <a:pt x="233" y="50"/>
                  </a:cubicBezTo>
                  <a:cubicBezTo>
                    <a:pt x="235" y="50"/>
                    <a:pt x="236" y="47"/>
                    <a:pt x="236" y="47"/>
                  </a:cubicBezTo>
                  <a:cubicBezTo>
                    <a:pt x="236" y="46"/>
                    <a:pt x="236" y="44"/>
                    <a:pt x="234" y="45"/>
                  </a:cubicBezTo>
                  <a:cubicBezTo>
                    <a:pt x="233" y="46"/>
                    <a:pt x="231" y="45"/>
                    <a:pt x="231" y="45"/>
                  </a:cubicBezTo>
                  <a:cubicBezTo>
                    <a:pt x="231" y="45"/>
                    <a:pt x="229" y="44"/>
                    <a:pt x="227" y="45"/>
                  </a:cubicBezTo>
                  <a:cubicBezTo>
                    <a:pt x="226" y="45"/>
                    <a:pt x="224" y="45"/>
                    <a:pt x="224" y="44"/>
                  </a:cubicBezTo>
                  <a:cubicBezTo>
                    <a:pt x="223" y="44"/>
                    <a:pt x="222" y="44"/>
                    <a:pt x="221" y="45"/>
                  </a:cubicBezTo>
                  <a:cubicBezTo>
                    <a:pt x="219" y="45"/>
                    <a:pt x="217" y="47"/>
                    <a:pt x="217" y="47"/>
                  </a:cubicBezTo>
                  <a:lnTo>
                    <a:pt x="218" y="47"/>
                  </a:lnTo>
                  <a:close/>
                  <a:moveTo>
                    <a:pt x="263" y="63"/>
                  </a:moveTo>
                  <a:cubicBezTo>
                    <a:pt x="264" y="62"/>
                    <a:pt x="265" y="61"/>
                    <a:pt x="266" y="61"/>
                  </a:cubicBezTo>
                  <a:cubicBezTo>
                    <a:pt x="262" y="61"/>
                    <a:pt x="261" y="62"/>
                    <a:pt x="261" y="62"/>
                  </a:cubicBezTo>
                  <a:lnTo>
                    <a:pt x="263" y="63"/>
                  </a:lnTo>
                  <a:close/>
                  <a:moveTo>
                    <a:pt x="233" y="72"/>
                  </a:moveTo>
                  <a:cubicBezTo>
                    <a:pt x="234" y="71"/>
                    <a:pt x="234" y="69"/>
                    <a:pt x="236" y="69"/>
                  </a:cubicBezTo>
                  <a:cubicBezTo>
                    <a:pt x="238" y="69"/>
                    <a:pt x="242" y="67"/>
                    <a:pt x="242" y="67"/>
                  </a:cubicBezTo>
                  <a:cubicBezTo>
                    <a:pt x="240" y="66"/>
                    <a:pt x="240" y="66"/>
                    <a:pt x="240" y="65"/>
                  </a:cubicBezTo>
                  <a:cubicBezTo>
                    <a:pt x="240" y="64"/>
                    <a:pt x="239" y="63"/>
                    <a:pt x="239" y="63"/>
                  </a:cubicBezTo>
                  <a:cubicBezTo>
                    <a:pt x="238" y="65"/>
                    <a:pt x="237" y="66"/>
                    <a:pt x="236" y="66"/>
                  </a:cubicBezTo>
                  <a:cubicBezTo>
                    <a:pt x="235" y="65"/>
                    <a:pt x="233" y="66"/>
                    <a:pt x="232" y="67"/>
                  </a:cubicBezTo>
                  <a:cubicBezTo>
                    <a:pt x="231" y="68"/>
                    <a:pt x="226" y="70"/>
                    <a:pt x="228" y="71"/>
                  </a:cubicBezTo>
                  <a:cubicBezTo>
                    <a:pt x="230" y="72"/>
                    <a:pt x="233" y="72"/>
                    <a:pt x="233" y="72"/>
                  </a:cubicBezTo>
                  <a:moveTo>
                    <a:pt x="262" y="78"/>
                  </a:moveTo>
                  <a:cubicBezTo>
                    <a:pt x="264" y="78"/>
                    <a:pt x="264" y="78"/>
                    <a:pt x="264" y="78"/>
                  </a:cubicBezTo>
                  <a:cubicBezTo>
                    <a:pt x="264" y="78"/>
                    <a:pt x="261" y="76"/>
                    <a:pt x="261" y="76"/>
                  </a:cubicBezTo>
                  <a:cubicBezTo>
                    <a:pt x="261" y="75"/>
                    <a:pt x="259" y="74"/>
                    <a:pt x="258" y="74"/>
                  </a:cubicBezTo>
                  <a:cubicBezTo>
                    <a:pt x="256" y="74"/>
                    <a:pt x="256" y="73"/>
                    <a:pt x="256" y="72"/>
                  </a:cubicBezTo>
                  <a:cubicBezTo>
                    <a:pt x="255" y="70"/>
                    <a:pt x="256" y="70"/>
                    <a:pt x="259" y="70"/>
                  </a:cubicBezTo>
                  <a:cubicBezTo>
                    <a:pt x="259" y="65"/>
                    <a:pt x="259" y="65"/>
                    <a:pt x="259" y="65"/>
                  </a:cubicBezTo>
                  <a:cubicBezTo>
                    <a:pt x="257" y="63"/>
                    <a:pt x="257" y="63"/>
                    <a:pt x="257" y="63"/>
                  </a:cubicBezTo>
                  <a:cubicBezTo>
                    <a:pt x="257" y="63"/>
                    <a:pt x="255" y="64"/>
                    <a:pt x="255" y="65"/>
                  </a:cubicBezTo>
                  <a:cubicBezTo>
                    <a:pt x="255" y="66"/>
                    <a:pt x="253" y="66"/>
                    <a:pt x="253" y="67"/>
                  </a:cubicBezTo>
                  <a:cubicBezTo>
                    <a:pt x="253" y="68"/>
                    <a:pt x="252" y="69"/>
                    <a:pt x="250" y="70"/>
                  </a:cubicBezTo>
                  <a:cubicBezTo>
                    <a:pt x="249" y="72"/>
                    <a:pt x="252" y="73"/>
                    <a:pt x="253" y="73"/>
                  </a:cubicBezTo>
                  <a:cubicBezTo>
                    <a:pt x="254" y="73"/>
                    <a:pt x="258" y="78"/>
                    <a:pt x="259" y="79"/>
                  </a:cubicBezTo>
                  <a:cubicBezTo>
                    <a:pt x="260" y="80"/>
                    <a:pt x="261" y="79"/>
                    <a:pt x="262" y="78"/>
                  </a:cubicBezTo>
                  <a:moveTo>
                    <a:pt x="282" y="61"/>
                  </a:moveTo>
                  <a:cubicBezTo>
                    <a:pt x="280" y="63"/>
                    <a:pt x="278" y="65"/>
                    <a:pt x="277" y="65"/>
                  </a:cubicBezTo>
                  <a:cubicBezTo>
                    <a:pt x="276" y="65"/>
                    <a:pt x="276" y="66"/>
                    <a:pt x="276" y="67"/>
                  </a:cubicBezTo>
                  <a:cubicBezTo>
                    <a:pt x="277" y="68"/>
                    <a:pt x="276" y="70"/>
                    <a:pt x="276" y="70"/>
                  </a:cubicBezTo>
                  <a:cubicBezTo>
                    <a:pt x="271" y="70"/>
                    <a:pt x="265" y="71"/>
                    <a:pt x="264" y="70"/>
                  </a:cubicBezTo>
                  <a:cubicBezTo>
                    <a:pt x="263" y="70"/>
                    <a:pt x="260" y="70"/>
                    <a:pt x="261" y="72"/>
                  </a:cubicBezTo>
                  <a:cubicBezTo>
                    <a:pt x="262" y="74"/>
                    <a:pt x="265" y="76"/>
                    <a:pt x="265" y="76"/>
                  </a:cubicBezTo>
                  <a:cubicBezTo>
                    <a:pt x="265" y="75"/>
                    <a:pt x="268" y="75"/>
                    <a:pt x="268" y="74"/>
                  </a:cubicBezTo>
                  <a:cubicBezTo>
                    <a:pt x="268" y="73"/>
                    <a:pt x="270" y="72"/>
                    <a:pt x="270" y="72"/>
                  </a:cubicBezTo>
                  <a:cubicBezTo>
                    <a:pt x="270" y="72"/>
                    <a:pt x="271" y="76"/>
                    <a:pt x="273" y="75"/>
                  </a:cubicBezTo>
                  <a:cubicBezTo>
                    <a:pt x="275" y="74"/>
                    <a:pt x="278" y="75"/>
                    <a:pt x="279" y="74"/>
                  </a:cubicBezTo>
                  <a:cubicBezTo>
                    <a:pt x="280" y="74"/>
                    <a:pt x="287" y="72"/>
                    <a:pt x="289" y="72"/>
                  </a:cubicBezTo>
                  <a:cubicBezTo>
                    <a:pt x="290" y="73"/>
                    <a:pt x="300" y="70"/>
                    <a:pt x="300" y="70"/>
                  </a:cubicBezTo>
                  <a:cubicBezTo>
                    <a:pt x="296" y="67"/>
                    <a:pt x="295" y="67"/>
                    <a:pt x="295" y="66"/>
                  </a:cubicBezTo>
                  <a:cubicBezTo>
                    <a:pt x="295" y="64"/>
                    <a:pt x="291" y="63"/>
                    <a:pt x="291" y="63"/>
                  </a:cubicBezTo>
                  <a:cubicBezTo>
                    <a:pt x="289" y="63"/>
                    <a:pt x="285" y="62"/>
                    <a:pt x="284" y="61"/>
                  </a:cubicBezTo>
                  <a:cubicBezTo>
                    <a:pt x="284" y="60"/>
                    <a:pt x="282" y="61"/>
                    <a:pt x="282" y="61"/>
                  </a:cubicBezTo>
                  <a:moveTo>
                    <a:pt x="304" y="73"/>
                  </a:moveTo>
                  <a:cubicBezTo>
                    <a:pt x="304" y="73"/>
                    <a:pt x="294" y="73"/>
                    <a:pt x="292" y="73"/>
                  </a:cubicBezTo>
                  <a:cubicBezTo>
                    <a:pt x="290" y="74"/>
                    <a:pt x="290" y="74"/>
                    <a:pt x="293" y="76"/>
                  </a:cubicBezTo>
                  <a:cubicBezTo>
                    <a:pt x="293" y="76"/>
                    <a:pt x="290" y="76"/>
                    <a:pt x="288" y="77"/>
                  </a:cubicBezTo>
                  <a:cubicBezTo>
                    <a:pt x="288" y="77"/>
                    <a:pt x="286" y="78"/>
                    <a:pt x="282" y="76"/>
                  </a:cubicBezTo>
                  <a:cubicBezTo>
                    <a:pt x="278" y="75"/>
                    <a:pt x="278" y="78"/>
                    <a:pt x="277" y="80"/>
                  </a:cubicBezTo>
                  <a:cubicBezTo>
                    <a:pt x="276" y="82"/>
                    <a:pt x="277" y="83"/>
                    <a:pt x="278" y="85"/>
                  </a:cubicBezTo>
                  <a:cubicBezTo>
                    <a:pt x="278" y="85"/>
                    <a:pt x="283" y="87"/>
                    <a:pt x="285" y="88"/>
                  </a:cubicBezTo>
                  <a:cubicBezTo>
                    <a:pt x="286" y="90"/>
                    <a:pt x="287" y="91"/>
                    <a:pt x="287" y="94"/>
                  </a:cubicBezTo>
                  <a:cubicBezTo>
                    <a:pt x="287" y="97"/>
                    <a:pt x="286" y="98"/>
                    <a:pt x="286" y="102"/>
                  </a:cubicBezTo>
                  <a:cubicBezTo>
                    <a:pt x="286" y="102"/>
                    <a:pt x="284" y="104"/>
                    <a:pt x="283" y="106"/>
                  </a:cubicBezTo>
                  <a:cubicBezTo>
                    <a:pt x="282" y="108"/>
                    <a:pt x="283" y="108"/>
                    <a:pt x="288" y="109"/>
                  </a:cubicBezTo>
                  <a:cubicBezTo>
                    <a:pt x="287" y="111"/>
                    <a:pt x="288" y="115"/>
                    <a:pt x="286" y="119"/>
                  </a:cubicBezTo>
                  <a:cubicBezTo>
                    <a:pt x="286" y="119"/>
                    <a:pt x="281" y="120"/>
                    <a:pt x="280" y="120"/>
                  </a:cubicBezTo>
                  <a:cubicBezTo>
                    <a:pt x="278" y="120"/>
                    <a:pt x="277" y="122"/>
                    <a:pt x="276" y="124"/>
                  </a:cubicBezTo>
                  <a:cubicBezTo>
                    <a:pt x="275" y="126"/>
                    <a:pt x="274" y="128"/>
                    <a:pt x="275" y="128"/>
                  </a:cubicBezTo>
                  <a:cubicBezTo>
                    <a:pt x="275" y="128"/>
                    <a:pt x="275" y="132"/>
                    <a:pt x="274" y="134"/>
                  </a:cubicBezTo>
                  <a:cubicBezTo>
                    <a:pt x="273" y="136"/>
                    <a:pt x="273" y="138"/>
                    <a:pt x="274" y="141"/>
                  </a:cubicBezTo>
                  <a:cubicBezTo>
                    <a:pt x="276" y="145"/>
                    <a:pt x="275" y="146"/>
                    <a:pt x="275" y="148"/>
                  </a:cubicBezTo>
                  <a:cubicBezTo>
                    <a:pt x="275" y="150"/>
                    <a:pt x="277" y="152"/>
                    <a:pt x="278" y="153"/>
                  </a:cubicBezTo>
                  <a:cubicBezTo>
                    <a:pt x="278" y="154"/>
                    <a:pt x="282" y="158"/>
                    <a:pt x="284" y="161"/>
                  </a:cubicBezTo>
                  <a:cubicBezTo>
                    <a:pt x="284" y="161"/>
                    <a:pt x="288" y="160"/>
                    <a:pt x="290" y="159"/>
                  </a:cubicBezTo>
                  <a:cubicBezTo>
                    <a:pt x="291" y="159"/>
                    <a:pt x="292" y="158"/>
                    <a:pt x="293" y="155"/>
                  </a:cubicBezTo>
                  <a:cubicBezTo>
                    <a:pt x="292" y="152"/>
                    <a:pt x="292" y="150"/>
                    <a:pt x="294" y="149"/>
                  </a:cubicBezTo>
                  <a:cubicBezTo>
                    <a:pt x="295" y="149"/>
                    <a:pt x="300" y="147"/>
                    <a:pt x="302" y="145"/>
                  </a:cubicBezTo>
                  <a:cubicBezTo>
                    <a:pt x="303" y="143"/>
                    <a:pt x="305" y="142"/>
                    <a:pt x="307" y="142"/>
                  </a:cubicBezTo>
                  <a:cubicBezTo>
                    <a:pt x="309" y="142"/>
                    <a:pt x="312" y="140"/>
                    <a:pt x="314" y="139"/>
                  </a:cubicBezTo>
                  <a:cubicBezTo>
                    <a:pt x="315" y="138"/>
                    <a:pt x="319" y="136"/>
                    <a:pt x="320" y="136"/>
                  </a:cubicBezTo>
                  <a:cubicBezTo>
                    <a:pt x="322" y="135"/>
                    <a:pt x="326" y="134"/>
                    <a:pt x="326" y="134"/>
                  </a:cubicBezTo>
                  <a:cubicBezTo>
                    <a:pt x="326" y="134"/>
                    <a:pt x="333" y="129"/>
                    <a:pt x="335" y="128"/>
                  </a:cubicBezTo>
                  <a:cubicBezTo>
                    <a:pt x="336" y="127"/>
                    <a:pt x="336" y="126"/>
                    <a:pt x="333" y="126"/>
                  </a:cubicBezTo>
                  <a:cubicBezTo>
                    <a:pt x="331" y="126"/>
                    <a:pt x="327" y="127"/>
                    <a:pt x="327" y="124"/>
                  </a:cubicBezTo>
                  <a:cubicBezTo>
                    <a:pt x="327" y="122"/>
                    <a:pt x="327" y="119"/>
                    <a:pt x="327" y="118"/>
                  </a:cubicBezTo>
                  <a:cubicBezTo>
                    <a:pt x="329" y="119"/>
                    <a:pt x="330" y="119"/>
                    <a:pt x="330" y="120"/>
                  </a:cubicBezTo>
                  <a:cubicBezTo>
                    <a:pt x="330" y="122"/>
                    <a:pt x="333" y="123"/>
                    <a:pt x="334" y="123"/>
                  </a:cubicBezTo>
                  <a:cubicBezTo>
                    <a:pt x="336" y="123"/>
                    <a:pt x="338" y="126"/>
                    <a:pt x="337" y="124"/>
                  </a:cubicBezTo>
                  <a:cubicBezTo>
                    <a:pt x="336" y="122"/>
                    <a:pt x="337" y="121"/>
                    <a:pt x="336" y="120"/>
                  </a:cubicBezTo>
                  <a:cubicBezTo>
                    <a:pt x="334" y="119"/>
                    <a:pt x="332" y="117"/>
                    <a:pt x="332" y="116"/>
                  </a:cubicBezTo>
                  <a:cubicBezTo>
                    <a:pt x="331" y="114"/>
                    <a:pt x="330" y="114"/>
                    <a:pt x="333" y="113"/>
                  </a:cubicBezTo>
                  <a:cubicBezTo>
                    <a:pt x="335" y="113"/>
                    <a:pt x="337" y="113"/>
                    <a:pt x="337" y="113"/>
                  </a:cubicBezTo>
                  <a:cubicBezTo>
                    <a:pt x="336" y="109"/>
                    <a:pt x="336" y="107"/>
                    <a:pt x="337" y="105"/>
                  </a:cubicBezTo>
                  <a:cubicBezTo>
                    <a:pt x="337" y="103"/>
                    <a:pt x="336" y="102"/>
                    <a:pt x="334" y="100"/>
                  </a:cubicBezTo>
                  <a:cubicBezTo>
                    <a:pt x="332" y="99"/>
                    <a:pt x="331" y="96"/>
                    <a:pt x="331" y="96"/>
                  </a:cubicBezTo>
                  <a:cubicBezTo>
                    <a:pt x="333" y="90"/>
                    <a:pt x="333" y="88"/>
                    <a:pt x="333" y="86"/>
                  </a:cubicBezTo>
                  <a:cubicBezTo>
                    <a:pt x="333" y="85"/>
                    <a:pt x="334" y="81"/>
                    <a:pt x="334" y="81"/>
                  </a:cubicBezTo>
                  <a:cubicBezTo>
                    <a:pt x="335" y="79"/>
                    <a:pt x="326" y="80"/>
                    <a:pt x="323" y="81"/>
                  </a:cubicBezTo>
                  <a:cubicBezTo>
                    <a:pt x="323" y="81"/>
                    <a:pt x="322" y="80"/>
                    <a:pt x="320" y="79"/>
                  </a:cubicBezTo>
                  <a:cubicBezTo>
                    <a:pt x="319" y="78"/>
                    <a:pt x="321" y="78"/>
                    <a:pt x="326" y="78"/>
                  </a:cubicBezTo>
                  <a:cubicBezTo>
                    <a:pt x="326" y="78"/>
                    <a:pt x="325" y="77"/>
                    <a:pt x="323" y="76"/>
                  </a:cubicBezTo>
                  <a:cubicBezTo>
                    <a:pt x="322" y="75"/>
                    <a:pt x="322" y="73"/>
                    <a:pt x="320" y="73"/>
                  </a:cubicBezTo>
                  <a:cubicBezTo>
                    <a:pt x="317" y="73"/>
                    <a:pt x="311" y="72"/>
                    <a:pt x="311" y="72"/>
                  </a:cubicBezTo>
                  <a:cubicBezTo>
                    <a:pt x="311" y="72"/>
                    <a:pt x="311" y="75"/>
                    <a:pt x="310" y="77"/>
                  </a:cubicBezTo>
                  <a:cubicBezTo>
                    <a:pt x="309" y="79"/>
                    <a:pt x="308" y="77"/>
                    <a:pt x="308" y="77"/>
                  </a:cubicBezTo>
                  <a:cubicBezTo>
                    <a:pt x="308" y="77"/>
                    <a:pt x="304" y="74"/>
                    <a:pt x="304" y="73"/>
                  </a:cubicBezTo>
                  <a:moveTo>
                    <a:pt x="222" y="74"/>
                  </a:moveTo>
                  <a:cubicBezTo>
                    <a:pt x="223" y="73"/>
                    <a:pt x="221" y="73"/>
                    <a:pt x="221" y="73"/>
                  </a:cubicBezTo>
                  <a:cubicBezTo>
                    <a:pt x="220" y="74"/>
                    <a:pt x="219" y="74"/>
                    <a:pt x="217" y="73"/>
                  </a:cubicBezTo>
                  <a:cubicBezTo>
                    <a:pt x="216" y="73"/>
                    <a:pt x="215" y="74"/>
                    <a:pt x="216" y="74"/>
                  </a:cubicBezTo>
                  <a:cubicBezTo>
                    <a:pt x="217" y="75"/>
                    <a:pt x="217" y="76"/>
                    <a:pt x="217" y="76"/>
                  </a:cubicBezTo>
                  <a:cubicBezTo>
                    <a:pt x="217" y="77"/>
                    <a:pt x="218" y="77"/>
                    <a:pt x="219" y="78"/>
                  </a:cubicBezTo>
                  <a:cubicBezTo>
                    <a:pt x="221" y="79"/>
                    <a:pt x="220" y="76"/>
                    <a:pt x="220" y="76"/>
                  </a:cubicBezTo>
                  <a:cubicBezTo>
                    <a:pt x="220" y="76"/>
                    <a:pt x="221" y="75"/>
                    <a:pt x="222" y="74"/>
                  </a:cubicBezTo>
                  <a:moveTo>
                    <a:pt x="214" y="65"/>
                  </a:moveTo>
                  <a:cubicBezTo>
                    <a:pt x="214" y="65"/>
                    <a:pt x="214" y="64"/>
                    <a:pt x="213" y="64"/>
                  </a:cubicBezTo>
                  <a:cubicBezTo>
                    <a:pt x="212" y="64"/>
                    <a:pt x="211" y="63"/>
                    <a:pt x="210" y="62"/>
                  </a:cubicBezTo>
                  <a:cubicBezTo>
                    <a:pt x="209" y="61"/>
                    <a:pt x="210" y="61"/>
                    <a:pt x="206" y="60"/>
                  </a:cubicBezTo>
                  <a:cubicBezTo>
                    <a:pt x="206" y="60"/>
                    <a:pt x="208" y="58"/>
                    <a:pt x="208" y="57"/>
                  </a:cubicBezTo>
                  <a:cubicBezTo>
                    <a:pt x="209" y="56"/>
                    <a:pt x="210" y="55"/>
                    <a:pt x="211" y="55"/>
                  </a:cubicBezTo>
                  <a:cubicBezTo>
                    <a:pt x="211" y="55"/>
                    <a:pt x="214" y="54"/>
                    <a:pt x="215" y="53"/>
                  </a:cubicBezTo>
                  <a:cubicBezTo>
                    <a:pt x="215" y="52"/>
                    <a:pt x="216" y="52"/>
                    <a:pt x="219" y="51"/>
                  </a:cubicBezTo>
                  <a:cubicBezTo>
                    <a:pt x="219" y="51"/>
                    <a:pt x="224" y="52"/>
                    <a:pt x="224" y="53"/>
                  </a:cubicBezTo>
                  <a:cubicBezTo>
                    <a:pt x="225" y="54"/>
                    <a:pt x="227" y="54"/>
                    <a:pt x="230" y="55"/>
                  </a:cubicBezTo>
                  <a:cubicBezTo>
                    <a:pt x="232" y="55"/>
                    <a:pt x="231" y="57"/>
                    <a:pt x="231" y="57"/>
                  </a:cubicBezTo>
                  <a:cubicBezTo>
                    <a:pt x="231" y="57"/>
                    <a:pt x="233" y="59"/>
                    <a:pt x="234" y="60"/>
                  </a:cubicBezTo>
                  <a:cubicBezTo>
                    <a:pt x="230" y="62"/>
                    <a:pt x="230" y="62"/>
                    <a:pt x="230" y="62"/>
                  </a:cubicBezTo>
                  <a:cubicBezTo>
                    <a:pt x="230" y="62"/>
                    <a:pt x="227" y="63"/>
                    <a:pt x="226" y="63"/>
                  </a:cubicBezTo>
                  <a:cubicBezTo>
                    <a:pt x="225" y="63"/>
                    <a:pt x="223" y="64"/>
                    <a:pt x="224" y="65"/>
                  </a:cubicBezTo>
                  <a:cubicBezTo>
                    <a:pt x="224" y="65"/>
                    <a:pt x="222" y="67"/>
                    <a:pt x="221" y="68"/>
                  </a:cubicBezTo>
                  <a:cubicBezTo>
                    <a:pt x="220" y="68"/>
                    <a:pt x="219" y="69"/>
                    <a:pt x="219" y="70"/>
                  </a:cubicBezTo>
                  <a:cubicBezTo>
                    <a:pt x="219" y="70"/>
                    <a:pt x="217" y="70"/>
                    <a:pt x="216" y="69"/>
                  </a:cubicBezTo>
                  <a:cubicBezTo>
                    <a:pt x="215" y="68"/>
                    <a:pt x="214" y="67"/>
                    <a:pt x="213" y="67"/>
                  </a:cubicBezTo>
                  <a:cubicBezTo>
                    <a:pt x="212" y="68"/>
                    <a:pt x="213" y="66"/>
                    <a:pt x="214" y="65"/>
                  </a:cubicBezTo>
                  <a:moveTo>
                    <a:pt x="254" y="85"/>
                  </a:moveTo>
                  <a:cubicBezTo>
                    <a:pt x="255" y="86"/>
                    <a:pt x="255" y="85"/>
                    <a:pt x="256" y="86"/>
                  </a:cubicBezTo>
                  <a:cubicBezTo>
                    <a:pt x="256" y="87"/>
                    <a:pt x="257" y="87"/>
                    <a:pt x="258" y="87"/>
                  </a:cubicBezTo>
                  <a:cubicBezTo>
                    <a:pt x="258" y="86"/>
                    <a:pt x="257" y="86"/>
                    <a:pt x="257" y="85"/>
                  </a:cubicBezTo>
                  <a:cubicBezTo>
                    <a:pt x="257" y="84"/>
                    <a:pt x="257" y="83"/>
                    <a:pt x="257" y="83"/>
                  </a:cubicBezTo>
                  <a:cubicBezTo>
                    <a:pt x="257" y="83"/>
                    <a:pt x="256" y="81"/>
                    <a:pt x="255" y="81"/>
                  </a:cubicBezTo>
                  <a:cubicBezTo>
                    <a:pt x="254" y="82"/>
                    <a:pt x="252" y="84"/>
                    <a:pt x="254" y="85"/>
                  </a:cubicBezTo>
                  <a:moveTo>
                    <a:pt x="239" y="103"/>
                  </a:moveTo>
                  <a:cubicBezTo>
                    <a:pt x="242" y="101"/>
                    <a:pt x="242" y="101"/>
                    <a:pt x="242" y="101"/>
                  </a:cubicBezTo>
                  <a:cubicBezTo>
                    <a:pt x="241" y="100"/>
                    <a:pt x="241" y="100"/>
                    <a:pt x="241" y="100"/>
                  </a:cubicBezTo>
                  <a:cubicBezTo>
                    <a:pt x="241" y="100"/>
                    <a:pt x="239" y="100"/>
                    <a:pt x="238" y="101"/>
                  </a:cubicBezTo>
                  <a:cubicBezTo>
                    <a:pt x="238" y="101"/>
                    <a:pt x="237" y="101"/>
                    <a:pt x="237" y="101"/>
                  </a:cubicBezTo>
                  <a:cubicBezTo>
                    <a:pt x="236" y="101"/>
                    <a:pt x="235" y="102"/>
                    <a:pt x="236" y="102"/>
                  </a:cubicBezTo>
                  <a:cubicBezTo>
                    <a:pt x="237" y="102"/>
                    <a:pt x="239" y="102"/>
                    <a:pt x="239" y="103"/>
                  </a:cubicBezTo>
                  <a:moveTo>
                    <a:pt x="235" y="83"/>
                  </a:moveTo>
                  <a:cubicBezTo>
                    <a:pt x="234" y="85"/>
                    <a:pt x="235" y="85"/>
                    <a:pt x="236" y="86"/>
                  </a:cubicBezTo>
                  <a:cubicBezTo>
                    <a:pt x="238" y="86"/>
                    <a:pt x="239" y="87"/>
                    <a:pt x="239" y="88"/>
                  </a:cubicBezTo>
                  <a:cubicBezTo>
                    <a:pt x="239" y="88"/>
                    <a:pt x="242" y="90"/>
                    <a:pt x="244" y="90"/>
                  </a:cubicBezTo>
                  <a:cubicBezTo>
                    <a:pt x="245" y="91"/>
                    <a:pt x="245" y="91"/>
                    <a:pt x="246" y="93"/>
                  </a:cubicBezTo>
                  <a:cubicBezTo>
                    <a:pt x="244" y="99"/>
                    <a:pt x="244" y="99"/>
                    <a:pt x="244" y="99"/>
                  </a:cubicBezTo>
                  <a:cubicBezTo>
                    <a:pt x="244" y="99"/>
                    <a:pt x="244" y="101"/>
                    <a:pt x="243" y="106"/>
                  </a:cubicBezTo>
                  <a:cubicBezTo>
                    <a:pt x="240" y="107"/>
                    <a:pt x="240" y="107"/>
                    <a:pt x="240" y="107"/>
                  </a:cubicBezTo>
                  <a:cubicBezTo>
                    <a:pt x="240" y="107"/>
                    <a:pt x="237" y="108"/>
                    <a:pt x="236" y="108"/>
                  </a:cubicBezTo>
                  <a:cubicBezTo>
                    <a:pt x="235" y="108"/>
                    <a:pt x="235" y="109"/>
                    <a:pt x="235" y="111"/>
                  </a:cubicBezTo>
                  <a:cubicBezTo>
                    <a:pt x="235" y="111"/>
                    <a:pt x="234" y="110"/>
                    <a:pt x="233" y="110"/>
                  </a:cubicBezTo>
                  <a:cubicBezTo>
                    <a:pt x="232" y="110"/>
                    <a:pt x="229" y="107"/>
                    <a:pt x="228" y="107"/>
                  </a:cubicBezTo>
                  <a:cubicBezTo>
                    <a:pt x="227" y="106"/>
                    <a:pt x="227" y="106"/>
                    <a:pt x="227" y="107"/>
                  </a:cubicBezTo>
                  <a:cubicBezTo>
                    <a:pt x="226" y="107"/>
                    <a:pt x="225" y="108"/>
                    <a:pt x="224" y="107"/>
                  </a:cubicBezTo>
                  <a:cubicBezTo>
                    <a:pt x="224" y="109"/>
                    <a:pt x="224" y="109"/>
                    <a:pt x="224" y="109"/>
                  </a:cubicBezTo>
                  <a:cubicBezTo>
                    <a:pt x="224" y="109"/>
                    <a:pt x="225" y="112"/>
                    <a:pt x="225" y="112"/>
                  </a:cubicBezTo>
                  <a:cubicBezTo>
                    <a:pt x="226" y="112"/>
                    <a:pt x="229" y="115"/>
                    <a:pt x="230" y="116"/>
                  </a:cubicBezTo>
                  <a:cubicBezTo>
                    <a:pt x="231" y="116"/>
                    <a:pt x="231" y="119"/>
                    <a:pt x="231" y="120"/>
                  </a:cubicBezTo>
                  <a:cubicBezTo>
                    <a:pt x="231" y="121"/>
                    <a:pt x="231" y="122"/>
                    <a:pt x="232" y="123"/>
                  </a:cubicBezTo>
                  <a:cubicBezTo>
                    <a:pt x="232" y="124"/>
                    <a:pt x="233" y="126"/>
                    <a:pt x="234" y="127"/>
                  </a:cubicBezTo>
                  <a:cubicBezTo>
                    <a:pt x="235" y="127"/>
                    <a:pt x="235" y="128"/>
                    <a:pt x="237" y="131"/>
                  </a:cubicBezTo>
                  <a:cubicBezTo>
                    <a:pt x="237" y="131"/>
                    <a:pt x="240" y="132"/>
                    <a:pt x="242" y="131"/>
                  </a:cubicBezTo>
                  <a:cubicBezTo>
                    <a:pt x="242" y="131"/>
                    <a:pt x="244" y="129"/>
                    <a:pt x="244" y="128"/>
                  </a:cubicBezTo>
                  <a:cubicBezTo>
                    <a:pt x="244" y="127"/>
                    <a:pt x="247" y="125"/>
                    <a:pt x="248" y="123"/>
                  </a:cubicBezTo>
                  <a:cubicBezTo>
                    <a:pt x="248" y="123"/>
                    <a:pt x="246" y="121"/>
                    <a:pt x="245" y="120"/>
                  </a:cubicBezTo>
                  <a:cubicBezTo>
                    <a:pt x="245" y="120"/>
                    <a:pt x="245" y="119"/>
                    <a:pt x="246" y="119"/>
                  </a:cubicBezTo>
                  <a:cubicBezTo>
                    <a:pt x="246" y="119"/>
                    <a:pt x="247" y="115"/>
                    <a:pt x="247" y="114"/>
                  </a:cubicBezTo>
                  <a:cubicBezTo>
                    <a:pt x="248" y="112"/>
                    <a:pt x="247" y="114"/>
                    <a:pt x="247" y="114"/>
                  </a:cubicBezTo>
                  <a:cubicBezTo>
                    <a:pt x="247" y="114"/>
                    <a:pt x="248" y="114"/>
                    <a:pt x="250" y="115"/>
                  </a:cubicBezTo>
                  <a:cubicBezTo>
                    <a:pt x="250" y="118"/>
                    <a:pt x="250" y="118"/>
                    <a:pt x="250" y="118"/>
                  </a:cubicBezTo>
                  <a:cubicBezTo>
                    <a:pt x="250" y="118"/>
                    <a:pt x="251" y="121"/>
                    <a:pt x="251" y="122"/>
                  </a:cubicBezTo>
                  <a:cubicBezTo>
                    <a:pt x="251" y="123"/>
                    <a:pt x="251" y="123"/>
                    <a:pt x="253" y="123"/>
                  </a:cubicBezTo>
                  <a:cubicBezTo>
                    <a:pt x="254" y="122"/>
                    <a:pt x="256" y="121"/>
                    <a:pt x="257" y="121"/>
                  </a:cubicBezTo>
                  <a:cubicBezTo>
                    <a:pt x="258" y="121"/>
                    <a:pt x="259" y="121"/>
                    <a:pt x="260" y="119"/>
                  </a:cubicBezTo>
                  <a:cubicBezTo>
                    <a:pt x="260" y="119"/>
                    <a:pt x="259" y="117"/>
                    <a:pt x="258" y="116"/>
                  </a:cubicBezTo>
                  <a:cubicBezTo>
                    <a:pt x="257" y="115"/>
                    <a:pt x="257" y="113"/>
                    <a:pt x="257" y="113"/>
                  </a:cubicBezTo>
                  <a:cubicBezTo>
                    <a:pt x="257" y="113"/>
                    <a:pt x="259" y="106"/>
                    <a:pt x="259" y="105"/>
                  </a:cubicBezTo>
                  <a:cubicBezTo>
                    <a:pt x="260" y="103"/>
                    <a:pt x="260" y="102"/>
                    <a:pt x="260" y="102"/>
                  </a:cubicBezTo>
                  <a:cubicBezTo>
                    <a:pt x="260" y="101"/>
                    <a:pt x="259" y="97"/>
                    <a:pt x="259" y="96"/>
                  </a:cubicBezTo>
                  <a:cubicBezTo>
                    <a:pt x="259" y="94"/>
                    <a:pt x="256" y="91"/>
                    <a:pt x="256" y="90"/>
                  </a:cubicBezTo>
                  <a:cubicBezTo>
                    <a:pt x="255" y="90"/>
                    <a:pt x="254" y="89"/>
                    <a:pt x="254" y="89"/>
                  </a:cubicBezTo>
                  <a:cubicBezTo>
                    <a:pt x="254" y="88"/>
                    <a:pt x="253" y="86"/>
                    <a:pt x="252" y="85"/>
                  </a:cubicBezTo>
                  <a:cubicBezTo>
                    <a:pt x="252" y="83"/>
                    <a:pt x="255" y="81"/>
                    <a:pt x="255" y="81"/>
                  </a:cubicBezTo>
                  <a:cubicBezTo>
                    <a:pt x="255" y="81"/>
                    <a:pt x="253" y="79"/>
                    <a:pt x="251" y="78"/>
                  </a:cubicBezTo>
                  <a:cubicBezTo>
                    <a:pt x="251" y="78"/>
                    <a:pt x="251" y="77"/>
                    <a:pt x="250" y="77"/>
                  </a:cubicBezTo>
                  <a:cubicBezTo>
                    <a:pt x="249" y="77"/>
                    <a:pt x="246" y="77"/>
                    <a:pt x="245" y="76"/>
                  </a:cubicBezTo>
                  <a:cubicBezTo>
                    <a:pt x="245" y="76"/>
                    <a:pt x="242" y="76"/>
                    <a:pt x="241" y="77"/>
                  </a:cubicBezTo>
                  <a:cubicBezTo>
                    <a:pt x="241" y="77"/>
                    <a:pt x="240" y="77"/>
                    <a:pt x="239" y="77"/>
                  </a:cubicBezTo>
                  <a:cubicBezTo>
                    <a:pt x="238" y="77"/>
                    <a:pt x="237" y="78"/>
                    <a:pt x="237" y="78"/>
                  </a:cubicBezTo>
                  <a:cubicBezTo>
                    <a:pt x="237" y="78"/>
                    <a:pt x="235" y="80"/>
                    <a:pt x="234" y="81"/>
                  </a:cubicBezTo>
                  <a:cubicBezTo>
                    <a:pt x="233" y="81"/>
                    <a:pt x="235" y="82"/>
                    <a:pt x="235" y="83"/>
                  </a:cubicBezTo>
                  <a:moveTo>
                    <a:pt x="213" y="104"/>
                  </a:moveTo>
                  <a:cubicBezTo>
                    <a:pt x="213" y="106"/>
                    <a:pt x="216" y="111"/>
                    <a:pt x="218" y="109"/>
                  </a:cubicBezTo>
                  <a:cubicBezTo>
                    <a:pt x="219" y="108"/>
                    <a:pt x="218" y="105"/>
                    <a:pt x="218" y="103"/>
                  </a:cubicBezTo>
                  <a:cubicBezTo>
                    <a:pt x="217" y="102"/>
                    <a:pt x="217" y="100"/>
                    <a:pt x="217" y="99"/>
                  </a:cubicBezTo>
                  <a:cubicBezTo>
                    <a:pt x="217" y="96"/>
                    <a:pt x="217" y="96"/>
                    <a:pt x="217" y="96"/>
                  </a:cubicBezTo>
                  <a:cubicBezTo>
                    <a:pt x="215" y="95"/>
                    <a:pt x="215" y="95"/>
                    <a:pt x="214" y="96"/>
                  </a:cubicBezTo>
                  <a:cubicBezTo>
                    <a:pt x="214" y="98"/>
                    <a:pt x="212" y="98"/>
                    <a:pt x="211" y="98"/>
                  </a:cubicBezTo>
                  <a:cubicBezTo>
                    <a:pt x="211" y="98"/>
                    <a:pt x="206" y="100"/>
                    <a:pt x="206" y="100"/>
                  </a:cubicBezTo>
                  <a:cubicBezTo>
                    <a:pt x="207" y="101"/>
                    <a:pt x="207" y="100"/>
                    <a:pt x="208" y="100"/>
                  </a:cubicBezTo>
                  <a:cubicBezTo>
                    <a:pt x="209" y="101"/>
                    <a:pt x="210" y="101"/>
                    <a:pt x="210" y="101"/>
                  </a:cubicBezTo>
                  <a:cubicBezTo>
                    <a:pt x="209" y="102"/>
                    <a:pt x="208" y="102"/>
                    <a:pt x="208" y="103"/>
                  </a:cubicBezTo>
                  <a:cubicBezTo>
                    <a:pt x="208" y="104"/>
                    <a:pt x="208" y="105"/>
                    <a:pt x="208" y="105"/>
                  </a:cubicBezTo>
                  <a:cubicBezTo>
                    <a:pt x="210" y="104"/>
                    <a:pt x="213" y="103"/>
                    <a:pt x="213" y="104"/>
                  </a:cubicBezTo>
                  <a:moveTo>
                    <a:pt x="238" y="187"/>
                  </a:moveTo>
                  <a:cubicBezTo>
                    <a:pt x="238" y="187"/>
                    <a:pt x="232" y="188"/>
                    <a:pt x="230" y="188"/>
                  </a:cubicBezTo>
                  <a:cubicBezTo>
                    <a:pt x="228" y="189"/>
                    <a:pt x="227" y="190"/>
                    <a:pt x="227" y="192"/>
                  </a:cubicBezTo>
                  <a:cubicBezTo>
                    <a:pt x="226" y="194"/>
                    <a:pt x="224" y="195"/>
                    <a:pt x="224" y="195"/>
                  </a:cubicBezTo>
                  <a:cubicBezTo>
                    <a:pt x="224" y="195"/>
                    <a:pt x="223" y="196"/>
                    <a:pt x="221" y="195"/>
                  </a:cubicBezTo>
                  <a:cubicBezTo>
                    <a:pt x="220" y="195"/>
                    <a:pt x="218" y="197"/>
                    <a:pt x="217" y="200"/>
                  </a:cubicBezTo>
                  <a:cubicBezTo>
                    <a:pt x="220" y="200"/>
                    <a:pt x="223" y="202"/>
                    <a:pt x="223" y="203"/>
                  </a:cubicBezTo>
                  <a:cubicBezTo>
                    <a:pt x="224" y="205"/>
                    <a:pt x="234" y="212"/>
                    <a:pt x="234" y="212"/>
                  </a:cubicBezTo>
                  <a:cubicBezTo>
                    <a:pt x="235" y="209"/>
                    <a:pt x="237" y="209"/>
                    <a:pt x="239" y="208"/>
                  </a:cubicBezTo>
                  <a:cubicBezTo>
                    <a:pt x="240" y="207"/>
                    <a:pt x="239" y="205"/>
                    <a:pt x="239" y="203"/>
                  </a:cubicBezTo>
                  <a:cubicBezTo>
                    <a:pt x="239" y="202"/>
                    <a:pt x="239" y="200"/>
                    <a:pt x="239" y="200"/>
                  </a:cubicBezTo>
                  <a:cubicBezTo>
                    <a:pt x="236" y="196"/>
                    <a:pt x="236" y="196"/>
                    <a:pt x="236" y="196"/>
                  </a:cubicBezTo>
                  <a:cubicBezTo>
                    <a:pt x="235" y="195"/>
                    <a:pt x="234" y="194"/>
                    <a:pt x="230" y="194"/>
                  </a:cubicBezTo>
                  <a:cubicBezTo>
                    <a:pt x="230" y="194"/>
                    <a:pt x="232" y="193"/>
                    <a:pt x="233" y="191"/>
                  </a:cubicBezTo>
                  <a:cubicBezTo>
                    <a:pt x="234" y="190"/>
                    <a:pt x="235" y="188"/>
                    <a:pt x="238" y="187"/>
                  </a:cubicBezTo>
                  <a:moveTo>
                    <a:pt x="200" y="195"/>
                  </a:moveTo>
                  <a:cubicBezTo>
                    <a:pt x="199" y="197"/>
                    <a:pt x="200" y="198"/>
                    <a:pt x="200" y="199"/>
                  </a:cubicBezTo>
                  <a:cubicBezTo>
                    <a:pt x="201" y="200"/>
                    <a:pt x="203" y="201"/>
                    <a:pt x="205" y="201"/>
                  </a:cubicBezTo>
                  <a:cubicBezTo>
                    <a:pt x="207" y="200"/>
                    <a:pt x="207" y="199"/>
                    <a:pt x="207" y="199"/>
                  </a:cubicBezTo>
                  <a:cubicBezTo>
                    <a:pt x="205" y="201"/>
                    <a:pt x="203" y="200"/>
                    <a:pt x="203" y="198"/>
                  </a:cubicBezTo>
                  <a:cubicBezTo>
                    <a:pt x="203" y="197"/>
                    <a:pt x="202" y="193"/>
                    <a:pt x="202" y="193"/>
                  </a:cubicBezTo>
                  <a:lnTo>
                    <a:pt x="200" y="195"/>
                  </a:lnTo>
                  <a:close/>
                  <a:moveTo>
                    <a:pt x="206" y="206"/>
                  </a:moveTo>
                  <a:cubicBezTo>
                    <a:pt x="208" y="206"/>
                    <a:pt x="211" y="207"/>
                    <a:pt x="211" y="206"/>
                  </a:cubicBezTo>
                  <a:cubicBezTo>
                    <a:pt x="212" y="206"/>
                    <a:pt x="211" y="202"/>
                    <a:pt x="211" y="200"/>
                  </a:cubicBezTo>
                  <a:cubicBezTo>
                    <a:pt x="207" y="203"/>
                    <a:pt x="205" y="203"/>
                    <a:pt x="206" y="206"/>
                  </a:cubicBezTo>
                  <a:moveTo>
                    <a:pt x="118" y="323"/>
                  </a:moveTo>
                  <a:cubicBezTo>
                    <a:pt x="117" y="322"/>
                    <a:pt x="116" y="322"/>
                    <a:pt x="116" y="322"/>
                  </a:cubicBezTo>
                  <a:cubicBezTo>
                    <a:pt x="115" y="322"/>
                    <a:pt x="115" y="322"/>
                    <a:pt x="115" y="322"/>
                  </a:cubicBezTo>
                  <a:cubicBezTo>
                    <a:pt x="115" y="323"/>
                    <a:pt x="114" y="324"/>
                    <a:pt x="116" y="324"/>
                  </a:cubicBezTo>
                  <a:cubicBezTo>
                    <a:pt x="117" y="324"/>
                    <a:pt x="117" y="325"/>
                    <a:pt x="118" y="326"/>
                  </a:cubicBezTo>
                  <a:cubicBezTo>
                    <a:pt x="119" y="326"/>
                    <a:pt x="121" y="325"/>
                    <a:pt x="121" y="325"/>
                  </a:cubicBezTo>
                  <a:lnTo>
                    <a:pt x="118" y="323"/>
                  </a:lnTo>
                  <a:close/>
                  <a:moveTo>
                    <a:pt x="92" y="307"/>
                  </a:moveTo>
                  <a:cubicBezTo>
                    <a:pt x="92" y="307"/>
                    <a:pt x="90" y="306"/>
                    <a:pt x="90" y="306"/>
                  </a:cubicBezTo>
                  <a:cubicBezTo>
                    <a:pt x="89" y="305"/>
                    <a:pt x="89" y="306"/>
                    <a:pt x="89" y="305"/>
                  </a:cubicBezTo>
                  <a:cubicBezTo>
                    <a:pt x="89" y="304"/>
                    <a:pt x="87" y="304"/>
                    <a:pt x="87" y="304"/>
                  </a:cubicBezTo>
                  <a:cubicBezTo>
                    <a:pt x="87" y="304"/>
                    <a:pt x="87" y="306"/>
                    <a:pt x="87" y="307"/>
                  </a:cubicBezTo>
                  <a:cubicBezTo>
                    <a:pt x="88" y="308"/>
                    <a:pt x="88" y="308"/>
                    <a:pt x="89" y="308"/>
                  </a:cubicBezTo>
                  <a:cubicBezTo>
                    <a:pt x="90" y="308"/>
                    <a:pt x="91" y="309"/>
                    <a:pt x="91" y="310"/>
                  </a:cubicBezTo>
                  <a:cubicBezTo>
                    <a:pt x="92" y="310"/>
                    <a:pt x="93" y="310"/>
                    <a:pt x="95" y="312"/>
                  </a:cubicBezTo>
                  <a:cubicBezTo>
                    <a:pt x="95" y="312"/>
                    <a:pt x="95" y="313"/>
                    <a:pt x="96" y="315"/>
                  </a:cubicBezTo>
                  <a:cubicBezTo>
                    <a:pt x="96" y="316"/>
                    <a:pt x="97" y="316"/>
                    <a:pt x="99" y="315"/>
                  </a:cubicBezTo>
                  <a:cubicBezTo>
                    <a:pt x="100" y="315"/>
                    <a:pt x="101" y="315"/>
                    <a:pt x="104" y="317"/>
                  </a:cubicBezTo>
                  <a:cubicBezTo>
                    <a:pt x="105" y="316"/>
                    <a:pt x="108" y="318"/>
                    <a:pt x="109" y="318"/>
                  </a:cubicBezTo>
                  <a:cubicBezTo>
                    <a:pt x="110" y="319"/>
                    <a:pt x="110" y="318"/>
                    <a:pt x="111" y="317"/>
                  </a:cubicBezTo>
                  <a:cubicBezTo>
                    <a:pt x="111" y="316"/>
                    <a:pt x="109" y="314"/>
                    <a:pt x="108" y="314"/>
                  </a:cubicBezTo>
                  <a:cubicBezTo>
                    <a:pt x="107" y="313"/>
                    <a:pt x="108" y="312"/>
                    <a:pt x="107" y="310"/>
                  </a:cubicBezTo>
                  <a:cubicBezTo>
                    <a:pt x="107" y="309"/>
                    <a:pt x="107" y="308"/>
                    <a:pt x="105" y="308"/>
                  </a:cubicBezTo>
                  <a:cubicBezTo>
                    <a:pt x="104" y="307"/>
                    <a:pt x="102" y="306"/>
                    <a:pt x="102" y="305"/>
                  </a:cubicBezTo>
                  <a:cubicBezTo>
                    <a:pt x="101" y="304"/>
                    <a:pt x="100" y="304"/>
                    <a:pt x="98" y="303"/>
                  </a:cubicBezTo>
                  <a:cubicBezTo>
                    <a:pt x="97" y="303"/>
                    <a:pt x="97" y="302"/>
                    <a:pt x="96" y="301"/>
                  </a:cubicBezTo>
                  <a:cubicBezTo>
                    <a:pt x="94" y="300"/>
                    <a:pt x="94" y="300"/>
                    <a:pt x="93" y="300"/>
                  </a:cubicBezTo>
                  <a:cubicBezTo>
                    <a:pt x="93" y="300"/>
                    <a:pt x="93" y="302"/>
                    <a:pt x="93" y="303"/>
                  </a:cubicBezTo>
                  <a:cubicBezTo>
                    <a:pt x="94" y="304"/>
                    <a:pt x="93" y="305"/>
                    <a:pt x="94" y="306"/>
                  </a:cubicBezTo>
                  <a:cubicBezTo>
                    <a:pt x="94" y="308"/>
                    <a:pt x="93" y="308"/>
                    <a:pt x="92" y="307"/>
                  </a:cubicBezTo>
                  <a:moveTo>
                    <a:pt x="71" y="295"/>
                  </a:moveTo>
                  <a:cubicBezTo>
                    <a:pt x="72" y="296"/>
                    <a:pt x="73" y="296"/>
                    <a:pt x="73" y="296"/>
                  </a:cubicBezTo>
                  <a:cubicBezTo>
                    <a:pt x="73" y="297"/>
                    <a:pt x="73" y="299"/>
                    <a:pt x="74" y="299"/>
                  </a:cubicBezTo>
                  <a:cubicBezTo>
                    <a:pt x="74" y="300"/>
                    <a:pt x="76" y="301"/>
                    <a:pt x="77" y="301"/>
                  </a:cubicBezTo>
                  <a:cubicBezTo>
                    <a:pt x="78" y="301"/>
                    <a:pt x="77" y="301"/>
                    <a:pt x="77" y="300"/>
                  </a:cubicBezTo>
                  <a:cubicBezTo>
                    <a:pt x="77" y="298"/>
                    <a:pt x="76" y="297"/>
                    <a:pt x="76" y="297"/>
                  </a:cubicBezTo>
                  <a:cubicBezTo>
                    <a:pt x="76" y="296"/>
                    <a:pt x="73" y="295"/>
                    <a:pt x="73" y="295"/>
                  </a:cubicBezTo>
                  <a:cubicBezTo>
                    <a:pt x="73" y="295"/>
                    <a:pt x="70" y="293"/>
                    <a:pt x="71" y="295"/>
                  </a:cubicBezTo>
                  <a:moveTo>
                    <a:pt x="58" y="261"/>
                  </a:moveTo>
                  <a:cubicBezTo>
                    <a:pt x="58" y="261"/>
                    <a:pt x="60" y="262"/>
                    <a:pt x="61" y="262"/>
                  </a:cubicBezTo>
                  <a:cubicBezTo>
                    <a:pt x="62" y="262"/>
                    <a:pt x="64" y="262"/>
                    <a:pt x="65" y="264"/>
                  </a:cubicBezTo>
                  <a:cubicBezTo>
                    <a:pt x="66" y="266"/>
                    <a:pt x="68" y="267"/>
                    <a:pt x="69" y="268"/>
                  </a:cubicBezTo>
                  <a:cubicBezTo>
                    <a:pt x="71" y="270"/>
                    <a:pt x="73" y="270"/>
                    <a:pt x="72" y="272"/>
                  </a:cubicBezTo>
                  <a:cubicBezTo>
                    <a:pt x="72" y="274"/>
                    <a:pt x="76" y="277"/>
                    <a:pt x="78" y="278"/>
                  </a:cubicBezTo>
                  <a:cubicBezTo>
                    <a:pt x="79" y="280"/>
                    <a:pt x="78" y="280"/>
                    <a:pt x="78" y="282"/>
                  </a:cubicBezTo>
                  <a:cubicBezTo>
                    <a:pt x="78" y="284"/>
                    <a:pt x="81" y="287"/>
                    <a:pt x="82" y="288"/>
                  </a:cubicBezTo>
                  <a:cubicBezTo>
                    <a:pt x="82" y="288"/>
                    <a:pt x="80" y="288"/>
                    <a:pt x="77" y="289"/>
                  </a:cubicBezTo>
                  <a:cubicBezTo>
                    <a:pt x="74" y="290"/>
                    <a:pt x="79" y="291"/>
                    <a:pt x="82" y="291"/>
                  </a:cubicBezTo>
                  <a:cubicBezTo>
                    <a:pt x="85" y="291"/>
                    <a:pt x="88" y="294"/>
                    <a:pt x="91" y="296"/>
                  </a:cubicBezTo>
                  <a:cubicBezTo>
                    <a:pt x="91" y="296"/>
                    <a:pt x="91" y="294"/>
                    <a:pt x="88" y="290"/>
                  </a:cubicBezTo>
                  <a:cubicBezTo>
                    <a:pt x="88" y="289"/>
                    <a:pt x="86" y="286"/>
                    <a:pt x="86" y="286"/>
                  </a:cubicBezTo>
                  <a:cubicBezTo>
                    <a:pt x="86" y="286"/>
                    <a:pt x="83" y="279"/>
                    <a:pt x="81" y="277"/>
                  </a:cubicBezTo>
                  <a:cubicBezTo>
                    <a:pt x="80" y="276"/>
                    <a:pt x="75" y="267"/>
                    <a:pt x="74" y="265"/>
                  </a:cubicBezTo>
                  <a:cubicBezTo>
                    <a:pt x="72" y="263"/>
                    <a:pt x="70" y="261"/>
                    <a:pt x="68" y="261"/>
                  </a:cubicBezTo>
                  <a:cubicBezTo>
                    <a:pt x="66" y="261"/>
                    <a:pt x="65" y="260"/>
                    <a:pt x="64" y="259"/>
                  </a:cubicBezTo>
                  <a:cubicBezTo>
                    <a:pt x="63" y="259"/>
                    <a:pt x="60" y="260"/>
                    <a:pt x="58" y="261"/>
                  </a:cubicBezTo>
                </a:path>
              </a:pathLst>
            </a:custGeom>
            <a:solidFill>
              <a:srgbClr val="FFFFFF">
                <a:lumMod val="85000"/>
                <a:alpha val="54902"/>
              </a:srgbClr>
            </a:solidFill>
            <a:ln>
              <a:noFill/>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5" name="Oval 4"/>
            <p:cNvSpPr>
              <a:spLocks noChangeAspect="1"/>
            </p:cNvSpPr>
            <p:nvPr/>
          </p:nvSpPr>
          <p:spPr bwMode="auto">
            <a:xfrm>
              <a:off x="3698330" y="1136378"/>
              <a:ext cx="3817412" cy="3813880"/>
            </a:xfrm>
            <a:prstGeom prst="ellipse">
              <a:avLst/>
            </a:prstGeom>
            <a:noFill/>
            <a:ln w="19050" cap="flat" cmpd="sng" algn="ctr">
              <a:solidFill>
                <a:srgbClr val="FFFFFF">
                  <a:lumMod val="85000"/>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latin typeface="Franklin Gothic Book"/>
                <a:ea typeface="新細明體" charset="0"/>
                <a:cs typeface="新細明體" charset="0"/>
              </a:endParaRPr>
            </a:p>
          </p:txBody>
        </p:sp>
      </p:grpSp>
      <p:sp>
        <p:nvSpPr>
          <p:cNvPr id="6" name="Oval 5"/>
          <p:cNvSpPr>
            <a:spLocks noChangeAspect="1"/>
          </p:cNvSpPr>
          <p:nvPr/>
        </p:nvSpPr>
        <p:spPr bwMode="auto">
          <a:xfrm rot="20778646" flipH="1">
            <a:off x="6829738" y="1560665"/>
            <a:ext cx="653251" cy="935465"/>
          </a:xfrm>
          <a:prstGeom prst="ellipse">
            <a:avLst/>
          </a:prstGeom>
          <a:solidFill>
            <a:srgbClr val="7F7F7F">
              <a:alpha val="55000"/>
            </a:srgbClr>
          </a:solidFill>
          <a:ln w="76200" cap="flat" cmpd="sng" algn="ctr">
            <a:solidFill>
              <a:srgbClr val="5E81D3">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a:endParaRPr>
          </a:p>
        </p:txBody>
      </p:sp>
      <p:pic>
        <p:nvPicPr>
          <p:cNvPr id="8" name="Picture 7" descr="Icon_Corporate-Building White.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92415" y="1817495"/>
            <a:ext cx="326998" cy="365130"/>
          </a:xfrm>
          <a:prstGeom prst="rect">
            <a:avLst/>
          </a:prstGeom>
        </p:spPr>
      </p:pic>
      <p:sp>
        <p:nvSpPr>
          <p:cNvPr id="9" name="Oval 8"/>
          <p:cNvSpPr>
            <a:spLocks noChangeAspect="1"/>
          </p:cNvSpPr>
          <p:nvPr/>
        </p:nvSpPr>
        <p:spPr bwMode="auto">
          <a:xfrm rot="821354">
            <a:off x="6857635" y="3139394"/>
            <a:ext cx="653251" cy="935465"/>
          </a:xfrm>
          <a:prstGeom prst="ellipse">
            <a:avLst/>
          </a:prstGeom>
          <a:solidFill>
            <a:srgbClr val="7F7F7F">
              <a:alpha val="55000"/>
            </a:srgbClr>
          </a:solidFill>
          <a:ln w="76200" cap="flat" cmpd="sng" algn="ctr">
            <a:solidFill>
              <a:srgbClr val="5E81D3">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a:endParaRPr>
          </a:p>
        </p:txBody>
      </p:sp>
      <p:pic>
        <p:nvPicPr>
          <p:cNvPr id="11" name="Picture 10" descr="Icon_Office White.pdf"/>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035823" y="3476617"/>
            <a:ext cx="254988" cy="254752"/>
          </a:xfrm>
          <a:prstGeom prst="rect">
            <a:avLst/>
          </a:prstGeom>
        </p:spPr>
      </p:pic>
      <p:sp>
        <p:nvSpPr>
          <p:cNvPr id="12" name="Oval 11"/>
          <p:cNvSpPr>
            <a:spLocks noChangeAspect="1"/>
          </p:cNvSpPr>
          <p:nvPr/>
        </p:nvSpPr>
        <p:spPr bwMode="auto">
          <a:xfrm>
            <a:off x="7104482" y="2341447"/>
            <a:ext cx="653251" cy="935465"/>
          </a:xfrm>
          <a:prstGeom prst="ellipse">
            <a:avLst/>
          </a:prstGeom>
          <a:solidFill>
            <a:srgbClr val="7F7F7F">
              <a:alpha val="55000"/>
            </a:srgbClr>
          </a:solidFill>
          <a:ln w="76200" cap="flat" cmpd="sng" algn="ctr">
            <a:solidFill>
              <a:srgbClr val="5E81D3">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a:endParaRPr>
          </a:p>
        </p:txBody>
      </p:sp>
      <p:pic>
        <p:nvPicPr>
          <p:cNvPr id="14" name="Picture 13" descr="Icon_Office White.pdf"/>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07500" y="2692904"/>
            <a:ext cx="254988" cy="254752"/>
          </a:xfrm>
          <a:prstGeom prst="rect">
            <a:avLst/>
          </a:prstGeom>
        </p:spPr>
      </p:pic>
      <p:sp>
        <p:nvSpPr>
          <p:cNvPr id="31" name="Oval 30"/>
          <p:cNvSpPr/>
          <p:nvPr/>
        </p:nvSpPr>
        <p:spPr bwMode="auto">
          <a:xfrm>
            <a:off x="8315371" y="1615936"/>
            <a:ext cx="431711" cy="431312"/>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1</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2" name="Oval 31"/>
          <p:cNvSpPr/>
          <p:nvPr/>
        </p:nvSpPr>
        <p:spPr bwMode="auto">
          <a:xfrm>
            <a:off x="3923902" y="1963017"/>
            <a:ext cx="482244" cy="481798"/>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Franklin Gothic Medium"/>
                <a:cs typeface="新細明體"/>
              </a:rPr>
              <a:t>m</a:t>
            </a:r>
            <a:r>
              <a:rPr kumimoji="0" lang="en-US" sz="600" b="1" i="0" u="none" strike="noStrike" kern="0" cap="none" spc="0" normalizeH="0" baseline="0" noProof="0" dirty="0" smtClean="0">
                <a:ln>
                  <a:noFill/>
                </a:ln>
                <a:solidFill>
                  <a:srgbClr val="FFFFFF"/>
                </a:solidFill>
                <a:effectLst/>
                <a:uLnTx/>
                <a:uFillTx/>
                <a:latin typeface="Franklin Gothic Medium"/>
                <a:cs typeface="新細明體"/>
              </a:rPr>
              <a:t>obile</a:t>
            </a:r>
            <a:r>
              <a:rPr kumimoji="0" lang="en-US" sz="600" b="1" i="0" u="none" strike="noStrike" kern="0" cap="none" spc="0" normalizeH="0" baseline="0" noProof="0" dirty="0">
                <a:ln>
                  <a:noFill/>
                </a:ln>
                <a:solidFill>
                  <a:srgbClr val="FFFFFF"/>
                </a:solidFill>
                <a:effectLst/>
                <a:uLnTx/>
                <a:uFillTx/>
                <a:latin typeface="Franklin Gothic Medium"/>
                <a:cs typeface="新細明體"/>
              </a:rPr>
              <a:t/>
            </a:r>
            <a:br>
              <a:rPr kumimoji="0" lang="en-US" sz="600" b="1" i="0" u="none" strike="noStrike" kern="0" cap="none" spc="0" normalizeH="0" baseline="0" noProof="0" dirty="0">
                <a:ln>
                  <a:noFill/>
                </a:ln>
                <a:solidFill>
                  <a:srgbClr val="FFFFFF"/>
                </a:solidFill>
                <a:effectLst/>
                <a:uLnTx/>
                <a:uFillTx/>
                <a:latin typeface="Franklin Gothic Medium"/>
                <a:cs typeface="新細明體"/>
              </a:rPr>
            </a:br>
            <a:r>
              <a:rPr kumimoji="0" lang="en-US" sz="600" b="1" i="0" u="none" strike="noStrike" kern="0" cap="none" spc="0" normalizeH="0" baseline="0" noProof="0" dirty="0">
                <a:ln>
                  <a:noFill/>
                </a:ln>
                <a:solidFill>
                  <a:srgbClr val="FFFFFF"/>
                </a:solidFill>
                <a:effectLst/>
                <a:uLnTx/>
                <a:uFillTx/>
                <a:latin typeface="Franklin Gothic Medium"/>
                <a:cs typeface="新細明體"/>
              </a:rPr>
              <a:t>carrier</a:t>
            </a:r>
          </a:p>
        </p:txBody>
      </p:sp>
      <p:sp>
        <p:nvSpPr>
          <p:cNvPr id="33" name="Oval 32"/>
          <p:cNvSpPr/>
          <p:nvPr/>
        </p:nvSpPr>
        <p:spPr bwMode="auto">
          <a:xfrm>
            <a:off x="8525528" y="2521885"/>
            <a:ext cx="431711" cy="431312"/>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Franklin Gothic Medium"/>
                <a:cs typeface="新細明體"/>
              </a:rPr>
              <a:t>ISP </a:t>
            </a: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2</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4" name="Oval 33"/>
          <p:cNvSpPr/>
          <p:nvPr/>
        </p:nvSpPr>
        <p:spPr bwMode="auto">
          <a:xfrm>
            <a:off x="8207500" y="3549026"/>
            <a:ext cx="431711" cy="431312"/>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Franklin Gothic Medium"/>
                <a:cs typeface="新細明體"/>
              </a:rPr>
              <a:t>ISP </a:t>
            </a: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3</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5" name="Oval 34"/>
          <p:cNvSpPr/>
          <p:nvPr/>
        </p:nvSpPr>
        <p:spPr bwMode="auto">
          <a:xfrm>
            <a:off x="4343422" y="1307417"/>
            <a:ext cx="353297" cy="352970"/>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6" name="Oval 35"/>
          <p:cNvSpPr/>
          <p:nvPr/>
        </p:nvSpPr>
        <p:spPr bwMode="auto">
          <a:xfrm>
            <a:off x="4102685" y="2544118"/>
            <a:ext cx="256483" cy="256246"/>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7" name="Oval 36"/>
          <p:cNvSpPr/>
          <p:nvPr/>
        </p:nvSpPr>
        <p:spPr bwMode="auto">
          <a:xfrm>
            <a:off x="4135645" y="3078054"/>
            <a:ext cx="353297" cy="352970"/>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8" name="Oval 37"/>
          <p:cNvSpPr/>
          <p:nvPr/>
        </p:nvSpPr>
        <p:spPr bwMode="auto">
          <a:xfrm>
            <a:off x="3827066" y="3378566"/>
            <a:ext cx="292153" cy="291883"/>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9" name="Oval 38"/>
          <p:cNvSpPr/>
          <p:nvPr/>
        </p:nvSpPr>
        <p:spPr bwMode="auto">
          <a:xfrm>
            <a:off x="8423888" y="2153453"/>
            <a:ext cx="256483" cy="256246"/>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0" name="Oval 39"/>
          <p:cNvSpPr/>
          <p:nvPr/>
        </p:nvSpPr>
        <p:spPr bwMode="auto">
          <a:xfrm>
            <a:off x="8309855" y="3124947"/>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1" name="Oval 40"/>
          <p:cNvSpPr/>
          <p:nvPr/>
        </p:nvSpPr>
        <p:spPr bwMode="auto">
          <a:xfrm>
            <a:off x="7916852" y="4031434"/>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2" name="Oval 41"/>
          <p:cNvSpPr/>
          <p:nvPr/>
        </p:nvSpPr>
        <p:spPr bwMode="auto">
          <a:xfrm>
            <a:off x="4008473" y="2885486"/>
            <a:ext cx="157960" cy="157814"/>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3" name="Oval 42"/>
          <p:cNvSpPr/>
          <p:nvPr/>
        </p:nvSpPr>
        <p:spPr bwMode="auto">
          <a:xfrm>
            <a:off x="8837197" y="2263353"/>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4" name="Oval 43"/>
          <p:cNvSpPr/>
          <p:nvPr/>
        </p:nvSpPr>
        <p:spPr bwMode="auto">
          <a:xfrm>
            <a:off x="8685163" y="3468310"/>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5" name="Oval 44"/>
          <p:cNvSpPr/>
          <p:nvPr/>
        </p:nvSpPr>
        <p:spPr bwMode="auto">
          <a:xfrm>
            <a:off x="8480433" y="1382309"/>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6" name="Oval 45"/>
          <p:cNvSpPr/>
          <p:nvPr/>
        </p:nvSpPr>
        <p:spPr bwMode="auto">
          <a:xfrm>
            <a:off x="8041911" y="1388341"/>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7" name="Oval 46"/>
          <p:cNvSpPr/>
          <p:nvPr/>
        </p:nvSpPr>
        <p:spPr bwMode="auto">
          <a:xfrm>
            <a:off x="4097926" y="3701947"/>
            <a:ext cx="482244" cy="481798"/>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8" name="Oval 47"/>
          <p:cNvSpPr/>
          <p:nvPr/>
        </p:nvSpPr>
        <p:spPr bwMode="auto">
          <a:xfrm>
            <a:off x="4320109" y="1777086"/>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9" name="Oval 48"/>
          <p:cNvSpPr/>
          <p:nvPr/>
        </p:nvSpPr>
        <p:spPr bwMode="auto">
          <a:xfrm>
            <a:off x="3788204" y="1881185"/>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0" name="Oval 49"/>
          <p:cNvSpPr/>
          <p:nvPr/>
        </p:nvSpPr>
        <p:spPr bwMode="auto">
          <a:xfrm>
            <a:off x="4759860" y="114105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1" name="Oval 50"/>
          <p:cNvSpPr/>
          <p:nvPr/>
        </p:nvSpPr>
        <p:spPr bwMode="auto">
          <a:xfrm>
            <a:off x="4605147" y="4149287"/>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2" name="Oval 51"/>
          <p:cNvSpPr/>
          <p:nvPr/>
        </p:nvSpPr>
        <p:spPr bwMode="auto">
          <a:xfrm>
            <a:off x="8214087" y="4129361"/>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3" name="Oval 52"/>
          <p:cNvSpPr/>
          <p:nvPr/>
        </p:nvSpPr>
        <p:spPr bwMode="auto">
          <a:xfrm>
            <a:off x="7882810" y="4360769"/>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4" name="Oval 53"/>
          <p:cNvSpPr/>
          <p:nvPr/>
        </p:nvSpPr>
        <p:spPr bwMode="auto">
          <a:xfrm>
            <a:off x="8224465" y="1091288"/>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5" name="Oval 54"/>
          <p:cNvSpPr/>
          <p:nvPr/>
        </p:nvSpPr>
        <p:spPr bwMode="auto">
          <a:xfrm>
            <a:off x="3758531" y="2440141"/>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6" name="Oval 55"/>
          <p:cNvSpPr/>
          <p:nvPr/>
        </p:nvSpPr>
        <p:spPr bwMode="auto">
          <a:xfrm>
            <a:off x="4178170" y="4298560"/>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7" name="Oval 56"/>
          <p:cNvSpPr/>
          <p:nvPr/>
        </p:nvSpPr>
        <p:spPr bwMode="auto">
          <a:xfrm>
            <a:off x="4442809" y="352498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8" name="Oval 57"/>
          <p:cNvSpPr/>
          <p:nvPr/>
        </p:nvSpPr>
        <p:spPr bwMode="auto">
          <a:xfrm>
            <a:off x="3895808" y="379475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9" name="Oval 58"/>
          <p:cNvSpPr/>
          <p:nvPr/>
        </p:nvSpPr>
        <p:spPr bwMode="auto">
          <a:xfrm>
            <a:off x="8316769" y="251334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cxnSp>
        <p:nvCxnSpPr>
          <p:cNvPr id="60" name="Straight Connector 59"/>
          <p:cNvCxnSpPr>
            <a:stCxn id="35" idx="6"/>
          </p:cNvCxnSpPr>
          <p:nvPr/>
        </p:nvCxnSpPr>
        <p:spPr bwMode="auto">
          <a:xfrm>
            <a:off x="4696693" y="1483903"/>
            <a:ext cx="816764" cy="179187"/>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a:stCxn id="32" idx="6"/>
          </p:cNvCxnSpPr>
          <p:nvPr/>
        </p:nvCxnSpPr>
        <p:spPr bwMode="auto">
          <a:xfrm>
            <a:off x="4406146" y="2203917"/>
            <a:ext cx="560310" cy="193535"/>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2" name="Straight Connector 61"/>
          <p:cNvCxnSpPr>
            <a:stCxn id="37" idx="6"/>
          </p:cNvCxnSpPr>
          <p:nvPr/>
        </p:nvCxnSpPr>
        <p:spPr bwMode="auto">
          <a:xfrm flipV="1">
            <a:off x="4488916" y="3124333"/>
            <a:ext cx="470048" cy="130207"/>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3" name="Straight Connector 62"/>
          <p:cNvCxnSpPr>
            <a:stCxn id="47" idx="6"/>
          </p:cNvCxnSpPr>
          <p:nvPr/>
        </p:nvCxnSpPr>
        <p:spPr bwMode="auto">
          <a:xfrm flipV="1">
            <a:off x="4580170" y="3701342"/>
            <a:ext cx="903314" cy="241504"/>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4" name="Oval 63"/>
          <p:cNvSpPr/>
          <p:nvPr/>
        </p:nvSpPr>
        <p:spPr bwMode="auto">
          <a:xfrm>
            <a:off x="3708783" y="2787540"/>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65" name="Oval 64"/>
          <p:cNvSpPr/>
          <p:nvPr/>
        </p:nvSpPr>
        <p:spPr bwMode="auto">
          <a:xfrm>
            <a:off x="3846057" y="313051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cxnSp>
        <p:nvCxnSpPr>
          <p:cNvPr id="66" name="Straight Connector 65"/>
          <p:cNvCxnSpPr>
            <a:endCxn id="34" idx="2"/>
          </p:cNvCxnSpPr>
          <p:nvPr/>
        </p:nvCxnSpPr>
        <p:spPr bwMode="auto">
          <a:xfrm>
            <a:off x="7349280" y="3648888"/>
            <a:ext cx="858194" cy="115782"/>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7" name="Straight Connector 66"/>
          <p:cNvCxnSpPr>
            <a:endCxn id="33" idx="2"/>
          </p:cNvCxnSpPr>
          <p:nvPr/>
        </p:nvCxnSpPr>
        <p:spPr bwMode="auto">
          <a:xfrm flipV="1">
            <a:off x="7641531" y="2737542"/>
            <a:ext cx="883989" cy="64579"/>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8" name="Straight Connector 67"/>
          <p:cNvCxnSpPr>
            <a:endCxn id="31" idx="2"/>
          </p:cNvCxnSpPr>
          <p:nvPr/>
        </p:nvCxnSpPr>
        <p:spPr bwMode="auto">
          <a:xfrm flipV="1">
            <a:off x="7341800" y="1831580"/>
            <a:ext cx="973559" cy="168710"/>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9" name="Oval 68"/>
          <p:cNvSpPr/>
          <p:nvPr/>
        </p:nvSpPr>
        <p:spPr bwMode="auto">
          <a:xfrm>
            <a:off x="8696962" y="3017314"/>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70" name="Oval 69"/>
          <p:cNvSpPr/>
          <p:nvPr/>
        </p:nvSpPr>
        <p:spPr bwMode="auto">
          <a:xfrm>
            <a:off x="3919887" y="1452669"/>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cxnSp>
        <p:nvCxnSpPr>
          <p:cNvPr id="71" name="Straight Connector 70"/>
          <p:cNvCxnSpPr>
            <a:endCxn id="33" idx="1"/>
          </p:cNvCxnSpPr>
          <p:nvPr/>
        </p:nvCxnSpPr>
        <p:spPr bwMode="auto">
          <a:xfrm>
            <a:off x="7364266" y="2097707"/>
            <a:ext cx="1224458" cy="487329"/>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2" name="Round Same Side Corner Rectangle 71"/>
          <p:cNvSpPr/>
          <p:nvPr/>
        </p:nvSpPr>
        <p:spPr bwMode="auto">
          <a:xfrm rot="5400000">
            <a:off x="-339976" y="1594615"/>
            <a:ext cx="3026911" cy="2346959"/>
          </a:xfrm>
          <a:prstGeom prst="round2SameRect">
            <a:avLst>
              <a:gd name="adj1" fmla="val 3706"/>
              <a:gd name="adj2" fmla="val 0"/>
            </a:avLst>
          </a:prstGeom>
          <a:solidFill>
            <a:srgbClr val="4E4E6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73" name="TextBox 72"/>
          <p:cNvSpPr txBox="1"/>
          <p:nvPr/>
        </p:nvSpPr>
        <p:spPr>
          <a:xfrm>
            <a:off x="16818" y="1526684"/>
            <a:ext cx="2313374" cy="2529525"/>
          </a:xfrm>
          <a:prstGeom prst="rect">
            <a:avLst/>
          </a:prstGeom>
        </p:spPr>
        <p:txBody>
          <a:bodyPr wrap="square" rtlCol="0">
            <a:noAutofit/>
          </a:bodyPr>
          <a:lstStyle/>
          <a:p>
            <a:pPr marL="0" marR="0" lvl="0" indent="0" defTabSz="914400" eaLnBrk="1" fontAlgn="auto" latinLnBrk="0" hangingPunct="1">
              <a:lnSpc>
                <a:spcPct val="90000"/>
              </a:lnSpc>
              <a:spcBef>
                <a:spcPts val="0"/>
              </a:spcBef>
              <a:spcAft>
                <a:spcPts val="1200"/>
              </a:spcAft>
              <a:buClrTx/>
              <a:buSzTx/>
              <a:buFontTx/>
              <a:buNone/>
              <a:tabLst/>
              <a:defRPr/>
            </a:pPr>
            <a:r>
              <a:rPr kumimoji="0" lang="en-US" sz="1800" b="0" i="0" u="none" strike="noStrike" kern="0" cap="none" spc="0" normalizeH="0" baseline="0" noProof="0" dirty="0" smtClean="0">
                <a:ln>
                  <a:noFill/>
                </a:ln>
                <a:solidFill>
                  <a:srgbClr val="7CBA2B"/>
                </a:solidFill>
                <a:effectLst/>
                <a:uLnTx/>
                <a:uFillTx/>
                <a:latin typeface="Franklin Gothic Medium"/>
                <a:cs typeface="新細明體"/>
              </a:rPr>
              <a:t>CHALLENGES</a:t>
            </a:r>
            <a:endParaRPr kumimoji="0" lang="en-US" sz="1400" b="0" i="0" u="none" strike="noStrike" kern="0" cap="none" spc="0" normalizeH="0" baseline="0" noProof="0" dirty="0" smtClean="0">
              <a:ln>
                <a:noFill/>
              </a:ln>
              <a:solidFill>
                <a:srgbClr val="7CBA2B"/>
              </a:solidFill>
              <a:effectLst/>
              <a:uLnTx/>
              <a:uFillTx/>
              <a:latin typeface="Franklin Gothic Medium"/>
              <a:cs typeface="新細明體"/>
            </a:endParaRPr>
          </a:p>
          <a:p>
            <a:pPr marL="0" marR="0" lvl="0" indent="0" defTabSz="914400" eaLnBrk="1" fontAlgn="auto" latinLnBrk="0" hangingPunct="1">
              <a:lnSpc>
                <a:spcPct val="90000"/>
              </a:lnSpc>
              <a:spcBef>
                <a:spcPts val="0"/>
              </a:spcBef>
              <a:spcAft>
                <a:spcPts val="1500"/>
              </a:spcAft>
              <a:buClr>
                <a:srgbClr val="5E81D3">
                  <a:lumMod val="60000"/>
                  <a:lumOff val="40000"/>
                </a:srgbClr>
              </a:buClr>
              <a:buSzTx/>
              <a:buFontTx/>
              <a:buNone/>
              <a:tabLst/>
              <a:defRPr/>
            </a:pPr>
            <a:r>
              <a:rPr kumimoji="0" lang="ja-JP" altLang="en-US" sz="1400" kern="0" dirty="0">
                <a:solidFill>
                  <a:srgbClr val="FFFFFF"/>
                </a:solidFill>
                <a:latin typeface="ヒラギノ角ゴ Pro W3"/>
                <a:ea typeface="ヒラギノ角ゴ Pro W3"/>
                <a:cs typeface="ヒラギノ角ゴ Pro W3"/>
              </a:rPr>
              <a:t>複数の</a:t>
            </a:r>
            <a:r>
              <a:rPr kumimoji="0" lang="ja-JP" altLang="en-US" sz="1400" kern="0" dirty="0" smtClean="0">
                <a:solidFill>
                  <a:srgbClr val="FFFFFF"/>
                </a:solidFill>
                <a:latin typeface="ヒラギノ角ゴ Pro W3"/>
                <a:ea typeface="ヒラギノ角ゴ Pro W3"/>
                <a:cs typeface="ヒラギノ角ゴ Pro W3"/>
              </a:rPr>
              <a:t>インターネット</a:t>
            </a:r>
            <a:r>
              <a:rPr kumimoji="0" lang="en-US" altLang="ja-JP" sz="1400" kern="0" dirty="0" smtClean="0">
                <a:solidFill>
                  <a:srgbClr val="FFFFFF"/>
                </a:solidFill>
                <a:latin typeface="ヒラギノ角ゴ Pro W3"/>
                <a:ea typeface="ヒラギノ角ゴ Pro W3"/>
                <a:cs typeface="ヒラギノ角ゴ Pro W3"/>
              </a:rPr>
              <a:t/>
            </a:r>
            <a:br>
              <a:rPr kumimoji="0" lang="en-US" altLang="ja-JP" sz="1400" kern="0" dirty="0" smtClean="0">
                <a:solidFill>
                  <a:srgbClr val="FFFFFF"/>
                </a:solidFill>
                <a:latin typeface="ヒラギノ角ゴ Pro W3"/>
                <a:ea typeface="ヒラギノ角ゴ Pro W3"/>
                <a:cs typeface="ヒラギノ角ゴ Pro W3"/>
              </a:rPr>
            </a:br>
            <a:r>
              <a:rPr kumimoji="0" lang="ja-JP" altLang="en-US" sz="1400" kern="0" dirty="0" smtClean="0">
                <a:solidFill>
                  <a:srgbClr val="FFFFFF"/>
                </a:solidFill>
                <a:latin typeface="ヒラギノ角ゴ Pro W3"/>
                <a:ea typeface="ヒラギノ角ゴ Pro W3"/>
                <a:cs typeface="ヒラギノ角ゴ Pro W3"/>
              </a:rPr>
              <a:t>サービスプロバイダ</a:t>
            </a:r>
            <a:endParaRPr kumimoji="0" lang="ja-JP" altLang="en-US" sz="1400" kern="0" dirty="0">
              <a:solidFill>
                <a:srgbClr val="FFFFFF"/>
              </a:solidFill>
              <a:latin typeface="ヒラギノ角ゴ Pro W3"/>
              <a:ea typeface="ヒラギノ角ゴ Pro W3"/>
              <a:cs typeface="ヒラギノ角ゴ Pro W3"/>
            </a:endParaRPr>
          </a:p>
          <a:p>
            <a:pPr marL="0" marR="0" lvl="0" indent="0" defTabSz="914400" eaLnBrk="1" fontAlgn="auto" latinLnBrk="0" hangingPunct="1">
              <a:lnSpc>
                <a:spcPct val="90000"/>
              </a:lnSpc>
              <a:spcBef>
                <a:spcPts val="0"/>
              </a:spcBef>
              <a:spcAft>
                <a:spcPts val="1500"/>
              </a:spcAft>
              <a:buClr>
                <a:srgbClr val="5E81D3">
                  <a:lumMod val="60000"/>
                  <a:lumOff val="40000"/>
                </a:srgbClr>
              </a:buClr>
              <a:buSzTx/>
              <a:buFontTx/>
              <a:buNone/>
              <a:tabLst/>
              <a:defRPr/>
            </a:pPr>
            <a:r>
              <a:rPr kumimoji="0" lang="ja-JP" altLang="en-US" sz="1400" kern="0" dirty="0">
                <a:solidFill>
                  <a:srgbClr val="FFFFFF"/>
                </a:solidFill>
                <a:latin typeface="ヒラギノ角ゴ Pro W3"/>
                <a:ea typeface="ヒラギノ角ゴ Pro W3"/>
                <a:cs typeface="ヒラギノ角ゴ Pro W3"/>
              </a:rPr>
              <a:t>直接インターネット</a:t>
            </a:r>
            <a:r>
              <a:rPr kumimoji="0" lang="ja-JP" altLang="en-US" sz="1400" kern="0" dirty="0" smtClean="0">
                <a:solidFill>
                  <a:srgbClr val="FFFFFF"/>
                </a:solidFill>
                <a:latin typeface="ヒラギノ角ゴ Pro W3"/>
                <a:ea typeface="ヒラギノ角ゴ Pro W3"/>
                <a:cs typeface="ヒラギノ角ゴ Pro W3"/>
              </a:rPr>
              <a:t>へ</a:t>
            </a:r>
            <a:r>
              <a:rPr kumimoji="0" lang="en-US" altLang="ja-JP" sz="1400" kern="0" dirty="0" smtClean="0">
                <a:solidFill>
                  <a:srgbClr val="FFFFFF"/>
                </a:solidFill>
                <a:latin typeface="ヒラギノ角ゴ Pro W3"/>
                <a:ea typeface="ヒラギノ角ゴ Pro W3"/>
                <a:cs typeface="ヒラギノ角ゴ Pro W3"/>
              </a:rPr>
              <a:t/>
            </a:r>
            <a:br>
              <a:rPr kumimoji="0" lang="en-US" altLang="ja-JP" sz="1400" kern="0" dirty="0" smtClean="0">
                <a:solidFill>
                  <a:srgbClr val="FFFFFF"/>
                </a:solidFill>
                <a:latin typeface="ヒラギノ角ゴ Pro W3"/>
                <a:ea typeface="ヒラギノ角ゴ Pro W3"/>
                <a:cs typeface="ヒラギノ角ゴ Pro W3"/>
              </a:rPr>
            </a:br>
            <a:r>
              <a:rPr kumimoji="0" lang="ja-JP" altLang="en-US" sz="1400" kern="0" dirty="0" smtClean="0">
                <a:solidFill>
                  <a:srgbClr val="FFFFFF"/>
                </a:solidFill>
                <a:latin typeface="ヒラギノ角ゴ Pro W3"/>
                <a:ea typeface="ヒラギノ角ゴ Pro W3"/>
                <a:cs typeface="ヒラギノ角ゴ Pro W3"/>
              </a:rPr>
              <a:t>出る</a:t>
            </a:r>
            <a:r>
              <a:rPr kumimoji="0" lang="ja-JP" altLang="en-US" sz="1400" kern="0" dirty="0">
                <a:solidFill>
                  <a:srgbClr val="FFFFFF"/>
                </a:solidFill>
                <a:latin typeface="ヒラギノ角ゴ Pro W3"/>
                <a:ea typeface="ヒラギノ角ゴ Pro W3"/>
                <a:cs typeface="ヒラギノ角ゴ Pro W3"/>
              </a:rPr>
              <a:t>ブランチ</a:t>
            </a:r>
          </a:p>
          <a:p>
            <a:pPr marL="0" marR="0" lvl="0" indent="0" defTabSz="914400" eaLnBrk="1" fontAlgn="auto" latinLnBrk="0" hangingPunct="1">
              <a:lnSpc>
                <a:spcPct val="90000"/>
              </a:lnSpc>
              <a:spcBef>
                <a:spcPts val="0"/>
              </a:spcBef>
              <a:spcAft>
                <a:spcPts val="1500"/>
              </a:spcAft>
              <a:buClr>
                <a:srgbClr val="5E81D3">
                  <a:lumMod val="60000"/>
                  <a:lumOff val="40000"/>
                </a:srgbClr>
              </a:buClr>
              <a:buSzTx/>
              <a:buFontTx/>
              <a:buNone/>
              <a:tabLst/>
              <a:defRPr/>
            </a:pPr>
            <a:r>
              <a:rPr kumimoji="0" lang="en-US" altLang="ja-JP" sz="1400" kern="0" dirty="0">
                <a:solidFill>
                  <a:srgbClr val="FFFFFF"/>
                </a:solidFill>
                <a:latin typeface="ヒラギノ角ゴ Pro W3"/>
                <a:ea typeface="ヒラギノ角ゴ Pro W3"/>
                <a:cs typeface="ヒラギノ角ゴ Pro W3"/>
              </a:rPr>
              <a:t>VPN</a:t>
            </a:r>
            <a:r>
              <a:rPr kumimoji="0" lang="ja-JP" altLang="en-US" sz="1400" kern="0" dirty="0">
                <a:solidFill>
                  <a:srgbClr val="FFFFFF"/>
                </a:solidFill>
                <a:latin typeface="ヒラギノ角ゴ Pro W3"/>
                <a:ea typeface="ヒラギノ角ゴ Pro W3"/>
                <a:cs typeface="ヒラギノ角ゴ Pro W3"/>
              </a:rPr>
              <a:t>接続を忘れてしまうユーザ</a:t>
            </a:r>
          </a:p>
          <a:p>
            <a:pPr marL="0" marR="0" lvl="0" indent="0" defTabSz="914400" eaLnBrk="1" fontAlgn="auto" latinLnBrk="0" hangingPunct="1">
              <a:lnSpc>
                <a:spcPct val="90000"/>
              </a:lnSpc>
              <a:spcBef>
                <a:spcPts val="0"/>
              </a:spcBef>
              <a:spcAft>
                <a:spcPts val="1500"/>
              </a:spcAft>
              <a:buClr>
                <a:srgbClr val="5E81D3">
                  <a:lumMod val="60000"/>
                  <a:lumOff val="40000"/>
                </a:srgbClr>
              </a:buClr>
              <a:buSzTx/>
              <a:buFontTx/>
              <a:buNone/>
              <a:tabLst/>
              <a:defRPr/>
            </a:pPr>
            <a:r>
              <a:rPr kumimoji="0" lang="ja-JP" altLang="en-US" sz="1400" kern="0" dirty="0">
                <a:solidFill>
                  <a:srgbClr val="FFFFFF"/>
                </a:solidFill>
                <a:latin typeface="ヒラギノ角ゴ Pro W3"/>
                <a:ea typeface="ヒラギノ角ゴ Pro W3"/>
                <a:cs typeface="ヒラギノ角ゴ Pro W3"/>
              </a:rPr>
              <a:t>異なる形式の</a:t>
            </a:r>
            <a:r>
              <a:rPr kumimoji="0" lang="en-US" altLang="ja-JP" sz="1400" kern="0" dirty="0">
                <a:solidFill>
                  <a:srgbClr val="FFFFFF"/>
                </a:solidFill>
                <a:latin typeface="ヒラギノ角ゴ Pro W3"/>
                <a:ea typeface="ヒラギノ角ゴ Pro W3"/>
                <a:cs typeface="ヒラギノ角ゴ Pro W3"/>
              </a:rPr>
              <a:t>DNS</a:t>
            </a:r>
            <a:r>
              <a:rPr kumimoji="0" lang="ja-JP" altLang="en-US" sz="1400" kern="0" dirty="0">
                <a:solidFill>
                  <a:srgbClr val="FFFFFF"/>
                </a:solidFill>
                <a:latin typeface="ヒラギノ角ゴ Pro W3"/>
                <a:ea typeface="ヒラギノ角ゴ Pro W3"/>
                <a:cs typeface="ヒラギノ角ゴ Pro W3"/>
              </a:rPr>
              <a:t>ログ</a:t>
            </a:r>
            <a:endParaRPr kumimoji="0" lang="en-US" sz="1400" b="0" i="0" u="none" strike="noStrike" kern="0" cap="none" spc="0" normalizeH="0" baseline="0" noProof="0" dirty="0">
              <a:ln>
                <a:noFill/>
              </a:ln>
              <a:solidFill>
                <a:srgbClr val="FFFFFF"/>
              </a:solidFill>
              <a:effectLst/>
              <a:uLnTx/>
              <a:uFillTx/>
              <a:latin typeface="ヒラギノ角ゴ Pro W3"/>
              <a:ea typeface="ヒラギノ角ゴ Pro W3"/>
              <a:cs typeface="ヒラギノ角ゴ Pro W3"/>
            </a:endParaRPr>
          </a:p>
        </p:txBody>
      </p:sp>
      <p:grpSp>
        <p:nvGrpSpPr>
          <p:cNvPr id="74" name="Group 73"/>
          <p:cNvGrpSpPr/>
          <p:nvPr/>
        </p:nvGrpSpPr>
        <p:grpSpPr>
          <a:xfrm>
            <a:off x="115457" y="2442234"/>
            <a:ext cx="2214734" cy="1151078"/>
            <a:chOff x="170866" y="2444496"/>
            <a:chExt cx="2159326" cy="1152144"/>
          </a:xfrm>
        </p:grpSpPr>
        <p:cxnSp>
          <p:nvCxnSpPr>
            <p:cNvPr id="75" name="Straight Connector 74"/>
            <p:cNvCxnSpPr/>
            <p:nvPr/>
          </p:nvCxnSpPr>
          <p:spPr bwMode="auto">
            <a:xfrm flipH="1">
              <a:off x="170866" y="2444496"/>
              <a:ext cx="2159326" cy="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6" name="Straight Connector 75"/>
            <p:cNvCxnSpPr/>
            <p:nvPr/>
          </p:nvCxnSpPr>
          <p:spPr bwMode="auto">
            <a:xfrm flipH="1" flipV="1">
              <a:off x="170866" y="3003162"/>
              <a:ext cx="2159326" cy="20454"/>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7" name="Straight Connector 76"/>
            <p:cNvCxnSpPr/>
            <p:nvPr/>
          </p:nvCxnSpPr>
          <p:spPr bwMode="auto">
            <a:xfrm flipH="1">
              <a:off x="170866" y="3596640"/>
              <a:ext cx="2159326" cy="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78" name="Rounded Rectangle 77"/>
          <p:cNvSpPr/>
          <p:nvPr/>
        </p:nvSpPr>
        <p:spPr bwMode="auto">
          <a:xfrm>
            <a:off x="5459744" y="4394465"/>
            <a:ext cx="1814877" cy="617536"/>
          </a:xfrm>
          <a:prstGeom prst="roundRect">
            <a:avLst>
              <a:gd name="adj" fmla="val 8396"/>
            </a:avLst>
          </a:prstGeom>
          <a:solidFill>
            <a:srgbClr val="FFFFFF"/>
          </a:solidFill>
          <a:ln w="3175" cap="rnd" cmpd="sng" algn="ctr">
            <a:solidFill>
              <a:srgbClr val="0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79" name="Oval 78"/>
          <p:cNvSpPr>
            <a:spLocks noChangeAspect="1"/>
          </p:cNvSpPr>
          <p:nvPr/>
        </p:nvSpPr>
        <p:spPr bwMode="auto">
          <a:xfrm>
            <a:off x="6061449" y="4747075"/>
            <a:ext cx="176944" cy="176944"/>
          </a:xfrm>
          <a:prstGeom prst="ellipse">
            <a:avLst/>
          </a:prstGeom>
          <a:solidFill>
            <a:srgbClr val="7CBA2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4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0" name="TextBox 79"/>
          <p:cNvSpPr txBox="1"/>
          <p:nvPr/>
        </p:nvSpPr>
        <p:spPr>
          <a:xfrm>
            <a:off x="6336786" y="4447926"/>
            <a:ext cx="934311" cy="243790"/>
          </a:xfrm>
          <a:prstGeom prst="rect">
            <a:avLst/>
          </a:prstGeom>
        </p:spPr>
        <p:txBody>
          <a:bodyPr wrap="square" lIns="0" tIns="0" rIns="0" bIns="0" rtlCol="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800" kern="0" dirty="0">
                <a:solidFill>
                  <a:srgbClr val="5E81D3"/>
                </a:solidFill>
                <a:latin typeface="ヒラギノ角ゴ Pro W3"/>
                <a:ea typeface="ヒラギノ角ゴ Pro W3"/>
                <a:cs typeface="ヒラギノ角ゴ Pro W3"/>
              </a:rPr>
              <a:t>外向け権威</a:t>
            </a:r>
            <a:r>
              <a:rPr kumimoji="0" lang="en-US" sz="800" kern="0" dirty="0">
                <a:solidFill>
                  <a:srgbClr val="5E81D3"/>
                </a:solidFill>
                <a:latin typeface="ヒラギノ角ゴ Pro W3"/>
                <a:ea typeface="ヒラギノ角ゴ Pro W3"/>
                <a:cs typeface="ヒラギノ角ゴ Pro W3"/>
              </a:rPr>
              <a:t> DNS</a:t>
            </a:r>
          </a:p>
        </p:txBody>
      </p:sp>
      <p:sp>
        <p:nvSpPr>
          <p:cNvPr id="81" name="TextBox 80"/>
          <p:cNvSpPr txBox="1"/>
          <p:nvPr/>
        </p:nvSpPr>
        <p:spPr>
          <a:xfrm>
            <a:off x="6336770" y="4709757"/>
            <a:ext cx="959332" cy="266729"/>
          </a:xfrm>
          <a:prstGeom prst="rect">
            <a:avLst/>
          </a:prstGeom>
        </p:spPr>
        <p:txBody>
          <a:bodyPr wrap="square" lIns="0" tIns="0" rIns="0" bIns="0"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8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外向けリカーシブ</a:t>
            </a:r>
            <a:r>
              <a:rPr kumimoji="0" lang="en-US" altLang="ja-JP" sz="8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DNS</a:t>
            </a:r>
            <a:endParaRPr kumimoji="0" lang="en-US" sz="800" b="0" i="0" u="none" strike="noStrike" kern="0" cap="none" spc="0" normalizeH="0" baseline="0" noProof="0" dirty="0">
              <a:ln>
                <a:noFill/>
              </a:ln>
              <a:solidFill>
                <a:srgbClr val="7CBA2B"/>
              </a:solidFill>
              <a:effectLst/>
              <a:uLnTx/>
              <a:uFillTx/>
              <a:latin typeface="ヒラギノ角ゴ Pro W3"/>
              <a:ea typeface="ヒラギノ角ゴ Pro W3"/>
              <a:cs typeface="ヒラギノ角ゴ Pro W3"/>
            </a:endParaRPr>
          </a:p>
        </p:txBody>
      </p:sp>
      <p:sp>
        <p:nvSpPr>
          <p:cNvPr id="82" name="Oval 81"/>
          <p:cNvSpPr>
            <a:spLocks noChangeAspect="1"/>
          </p:cNvSpPr>
          <p:nvPr/>
        </p:nvSpPr>
        <p:spPr bwMode="auto">
          <a:xfrm>
            <a:off x="5548659" y="4457464"/>
            <a:ext cx="689734" cy="177317"/>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3" name="Oval 82"/>
          <p:cNvSpPr>
            <a:spLocks noChangeAspect="1"/>
          </p:cNvSpPr>
          <p:nvPr/>
        </p:nvSpPr>
        <p:spPr bwMode="auto">
          <a:xfrm>
            <a:off x="5547609" y="4747075"/>
            <a:ext cx="176944" cy="176944"/>
          </a:xfrm>
          <a:prstGeom prst="ellipse">
            <a:avLst/>
          </a:prstGeom>
          <a:solidFill>
            <a:srgbClr val="7CBA2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4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4" name="Oval 83"/>
          <p:cNvSpPr>
            <a:spLocks noChangeAspect="1"/>
          </p:cNvSpPr>
          <p:nvPr/>
        </p:nvSpPr>
        <p:spPr bwMode="auto">
          <a:xfrm>
            <a:off x="5813166" y="4747075"/>
            <a:ext cx="176944" cy="176944"/>
          </a:xfrm>
          <a:prstGeom prst="ellipse">
            <a:avLst/>
          </a:prstGeom>
          <a:solidFill>
            <a:srgbClr val="7CBA2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4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9" name="TextBox 88"/>
          <p:cNvSpPr txBox="1"/>
          <p:nvPr/>
        </p:nvSpPr>
        <p:spPr>
          <a:xfrm>
            <a:off x="6109401" y="1745956"/>
            <a:ext cx="603106" cy="576985"/>
          </a:xfrm>
          <a:prstGeom prst="rect">
            <a:avLst/>
          </a:prstGeom>
        </p:spPr>
        <p:txBody>
          <a:bodyPr wrap="square" lIns="0" tIns="0" rIns="0" bIns="0" rtlCol="0">
            <a:noAutofit/>
          </a:bodyPr>
          <a:lstStyle/>
          <a:p>
            <a:pPr algn="r">
              <a:lnSpc>
                <a:spcPct val="90000"/>
              </a:lnSpc>
              <a:spcAft>
                <a:spcPts val="0"/>
              </a:spcAft>
            </a:pPr>
            <a:r>
              <a:rPr lang="ja-JP" altLang="en-US" sz="1000" dirty="0" smtClean="0">
                <a:solidFill>
                  <a:srgbClr val="000000"/>
                </a:solidFill>
                <a:latin typeface="ヒラギノ角ゴ Pro W3"/>
                <a:ea typeface="ヒラギノ角ゴ Pro W3"/>
                <a:cs typeface="ヒラギノ角ゴ Pro W3"/>
              </a:rPr>
              <a:t>企業</a:t>
            </a:r>
            <a:r>
              <a:rPr lang="en-US" sz="1000" dirty="0" smtClean="0">
                <a:solidFill>
                  <a:srgbClr val="000000"/>
                </a:solidFill>
                <a:latin typeface="Franklin Gothic Medium"/>
                <a:cs typeface="Franklin Gothic Medium"/>
              </a:rPr>
              <a:t>A</a:t>
            </a:r>
          </a:p>
          <a:p>
            <a:pPr algn="r">
              <a:lnSpc>
                <a:spcPct val="90000"/>
              </a:lnSpc>
            </a:pPr>
            <a:r>
              <a:rPr lang="en-US" sz="700" dirty="0">
                <a:solidFill>
                  <a:srgbClr val="5E81D3"/>
                </a:solidFill>
                <a:latin typeface="Franklin Gothic Book"/>
                <a:cs typeface="Trade Gothic LT Std"/>
              </a:rPr>
              <a:t>Internal </a:t>
            </a:r>
            <a:r>
              <a:rPr lang="en-US" sz="700" dirty="0" err="1">
                <a:solidFill>
                  <a:srgbClr val="5E81D3"/>
                </a:solidFill>
                <a:latin typeface="Franklin Gothic Book"/>
                <a:cs typeface="Trade Gothic LT Std"/>
              </a:rPr>
              <a:t>InfoBlox</a:t>
            </a:r>
            <a:r>
              <a:rPr lang="en-US" sz="700" dirty="0">
                <a:solidFill>
                  <a:srgbClr val="5E81D3"/>
                </a:solidFill>
                <a:latin typeface="Franklin Gothic Book"/>
                <a:cs typeface="Trade Gothic LT Std"/>
              </a:rPr>
              <a:t> Appliance</a:t>
            </a:r>
          </a:p>
        </p:txBody>
      </p:sp>
      <p:sp>
        <p:nvSpPr>
          <p:cNvPr id="90" name="TextBox 89"/>
          <p:cNvSpPr txBox="1"/>
          <p:nvPr/>
        </p:nvSpPr>
        <p:spPr>
          <a:xfrm>
            <a:off x="6109408" y="3364012"/>
            <a:ext cx="645067" cy="476962"/>
          </a:xfrm>
          <a:prstGeom prst="rect">
            <a:avLst/>
          </a:prstGeom>
        </p:spPr>
        <p:txBody>
          <a:bodyPr wrap="square" lIns="0" tIns="0" rIns="0" bIns="0" rtlCol="0">
            <a:noAutofit/>
          </a:bodyPr>
          <a:lstStyle/>
          <a:p>
            <a:pPr algn="r">
              <a:lnSpc>
                <a:spcPct val="90000"/>
              </a:lnSpc>
              <a:spcAft>
                <a:spcPts val="0"/>
              </a:spcAft>
            </a:pPr>
            <a:r>
              <a:rPr lang="ja-JP" altLang="en-US" sz="1000" dirty="0" smtClean="0">
                <a:solidFill>
                  <a:srgbClr val="000000"/>
                </a:solidFill>
                <a:latin typeface="ヒラギノ角ゴ Pro W3"/>
                <a:ea typeface="ヒラギノ角ゴ Pro W3"/>
                <a:cs typeface="ヒラギノ角ゴ Pro W3"/>
              </a:rPr>
              <a:t>企業</a:t>
            </a:r>
            <a:r>
              <a:rPr lang="en-US" sz="1000" dirty="0" smtClean="0">
                <a:solidFill>
                  <a:srgbClr val="000000"/>
                </a:solidFill>
                <a:latin typeface="Franklin Gothic Medium"/>
                <a:cs typeface="Franklin Gothic Medium"/>
              </a:rPr>
              <a:t>C</a:t>
            </a:r>
          </a:p>
          <a:p>
            <a:pPr algn="r">
              <a:lnSpc>
                <a:spcPct val="90000"/>
              </a:lnSpc>
            </a:pPr>
            <a:r>
              <a:rPr lang="en-US" sz="700" dirty="0">
                <a:solidFill>
                  <a:srgbClr val="5E81D3"/>
                </a:solidFill>
                <a:latin typeface="Franklin Gothic Book"/>
                <a:cs typeface="Trade Gothic LT Std"/>
              </a:rPr>
              <a:t>Internal</a:t>
            </a:r>
          </a:p>
          <a:p>
            <a:pPr algn="r">
              <a:lnSpc>
                <a:spcPct val="90000"/>
              </a:lnSpc>
            </a:pPr>
            <a:r>
              <a:rPr lang="en-US" sz="700" dirty="0">
                <a:solidFill>
                  <a:srgbClr val="5E81D3"/>
                </a:solidFill>
                <a:latin typeface="Franklin Gothic Book"/>
                <a:cs typeface="Trade Gothic LT Std"/>
              </a:rPr>
              <a:t>BIND Server</a:t>
            </a:r>
          </a:p>
        </p:txBody>
      </p:sp>
      <p:sp>
        <p:nvSpPr>
          <p:cNvPr id="91" name="TextBox 90"/>
          <p:cNvSpPr txBox="1"/>
          <p:nvPr/>
        </p:nvSpPr>
        <p:spPr>
          <a:xfrm>
            <a:off x="6404613" y="2528293"/>
            <a:ext cx="621056" cy="576985"/>
          </a:xfrm>
          <a:prstGeom prst="rect">
            <a:avLst/>
          </a:prstGeom>
        </p:spPr>
        <p:txBody>
          <a:bodyPr wrap="none" lIns="0" tIns="0" rIns="0" bIns="0" rtlCol="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ja-JP" altLang="en-US" sz="10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企業</a:t>
            </a:r>
            <a:r>
              <a:rPr kumimoji="0" lang="en-US" sz="1000" b="0" i="0" u="none" strike="noStrike" kern="0" cap="none" spc="0" normalizeH="0" baseline="0" noProof="0" dirty="0" smtClean="0">
                <a:ln>
                  <a:noFill/>
                </a:ln>
                <a:solidFill>
                  <a:srgbClr val="000000"/>
                </a:solidFill>
                <a:effectLst/>
                <a:uLnTx/>
                <a:uFillTx/>
                <a:latin typeface="Franklin Gothic Medium"/>
                <a:cs typeface="Trade Gothic LT Std"/>
              </a:rPr>
              <a:t>B</a:t>
            </a:r>
          </a:p>
          <a:p>
            <a:pPr marL="0" marR="0" lvl="0" indent="0" algn="r" defTabSz="914400" eaLnBrk="1" fontAlgn="auto" latinLnBrk="0" hangingPunct="1">
              <a:lnSpc>
                <a:spcPct val="9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5E81D3"/>
                </a:solidFill>
                <a:effectLst/>
                <a:uLnTx/>
                <a:uFillTx/>
                <a:latin typeface="Franklin Gothic Book"/>
                <a:cs typeface="Trade Gothic LT Std"/>
              </a:rPr>
              <a:t>Internal Windows</a:t>
            </a:r>
          </a:p>
          <a:p>
            <a:pPr marL="0" marR="0" lvl="0" indent="0" algn="r" defTabSz="914400" eaLnBrk="1" fontAlgn="auto" latinLnBrk="0" hangingPunct="1">
              <a:lnSpc>
                <a:spcPct val="9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5E81D3"/>
                </a:solidFill>
                <a:effectLst/>
                <a:uLnTx/>
                <a:uFillTx/>
                <a:latin typeface="Franklin Gothic Book"/>
                <a:cs typeface="Trade Gothic LT Std"/>
              </a:rPr>
              <a:t>DNS Server  </a:t>
            </a:r>
          </a:p>
        </p:txBody>
      </p:sp>
      <p:grpSp>
        <p:nvGrpSpPr>
          <p:cNvPr id="92" name="Group 91"/>
          <p:cNvGrpSpPr/>
          <p:nvPr/>
        </p:nvGrpSpPr>
        <p:grpSpPr>
          <a:xfrm>
            <a:off x="5459745" y="1465379"/>
            <a:ext cx="463510" cy="448457"/>
            <a:chOff x="3905101" y="3113630"/>
            <a:chExt cx="513449" cy="496774"/>
          </a:xfrm>
        </p:grpSpPr>
        <p:sp>
          <p:nvSpPr>
            <p:cNvPr id="93" name="TextBox 92"/>
            <p:cNvSpPr txBox="1"/>
            <p:nvPr/>
          </p:nvSpPr>
          <p:spPr>
            <a:xfrm>
              <a:off x="3905101" y="3469898"/>
              <a:ext cx="513449" cy="140506"/>
            </a:xfrm>
            <a:prstGeom prst="rect">
              <a:avLst/>
            </a:prstGeom>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在宅勤務</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grpSp>
          <p:nvGrpSpPr>
            <p:cNvPr id="94" name="Group 5"/>
            <p:cNvGrpSpPr>
              <a:grpSpLocks noChangeAspect="1"/>
            </p:cNvGrpSpPr>
            <p:nvPr/>
          </p:nvGrpSpPr>
          <p:grpSpPr bwMode="auto">
            <a:xfrm>
              <a:off x="3945899" y="3113630"/>
              <a:ext cx="372253" cy="328623"/>
              <a:chOff x="2669" y="1436"/>
              <a:chExt cx="421" cy="372"/>
            </a:xfrm>
            <a:solidFill>
              <a:srgbClr val="FFFFFF"/>
            </a:solidFill>
          </p:grpSpPr>
          <p:sp>
            <p:nvSpPr>
              <p:cNvPr id="95" name="Freeform 6"/>
              <p:cNvSpPr>
                <a:spLocks/>
              </p:cNvSpPr>
              <p:nvPr/>
            </p:nvSpPr>
            <p:spPr bwMode="auto">
              <a:xfrm>
                <a:off x="2669" y="1436"/>
                <a:ext cx="421" cy="206"/>
              </a:xfrm>
              <a:custGeom>
                <a:avLst/>
                <a:gdLst>
                  <a:gd name="T0" fmla="*/ 340 w 421"/>
                  <a:gd name="T1" fmla="*/ 114 h 206"/>
                  <a:gd name="T2" fmla="*/ 340 w 421"/>
                  <a:gd name="T3" fmla="*/ 45 h 206"/>
                  <a:gd name="T4" fmla="*/ 303 w 421"/>
                  <a:gd name="T5" fmla="*/ 45 h 206"/>
                  <a:gd name="T6" fmla="*/ 303 w 421"/>
                  <a:gd name="T7" fmla="*/ 81 h 206"/>
                  <a:gd name="T8" fmla="*/ 213 w 421"/>
                  <a:gd name="T9" fmla="*/ 0 h 206"/>
                  <a:gd name="T10" fmla="*/ 0 w 421"/>
                  <a:gd name="T11" fmla="*/ 185 h 206"/>
                  <a:gd name="T12" fmla="*/ 19 w 421"/>
                  <a:gd name="T13" fmla="*/ 206 h 206"/>
                  <a:gd name="T14" fmla="*/ 213 w 421"/>
                  <a:gd name="T15" fmla="*/ 38 h 206"/>
                  <a:gd name="T16" fmla="*/ 303 w 421"/>
                  <a:gd name="T17" fmla="*/ 118 h 206"/>
                  <a:gd name="T18" fmla="*/ 303 w 421"/>
                  <a:gd name="T19" fmla="*/ 118 h 206"/>
                  <a:gd name="T20" fmla="*/ 305 w 421"/>
                  <a:gd name="T21" fmla="*/ 118 h 206"/>
                  <a:gd name="T22" fmla="*/ 402 w 421"/>
                  <a:gd name="T23" fmla="*/ 206 h 206"/>
                  <a:gd name="T24" fmla="*/ 421 w 421"/>
                  <a:gd name="T25" fmla="*/ 185 h 206"/>
                  <a:gd name="T26" fmla="*/ 340 w 421"/>
                  <a:gd name="T27" fmla="*/ 11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1" h="206">
                    <a:moveTo>
                      <a:pt x="340" y="114"/>
                    </a:moveTo>
                    <a:lnTo>
                      <a:pt x="340" y="45"/>
                    </a:lnTo>
                    <a:lnTo>
                      <a:pt x="303" y="45"/>
                    </a:lnTo>
                    <a:lnTo>
                      <a:pt x="303" y="81"/>
                    </a:lnTo>
                    <a:lnTo>
                      <a:pt x="213" y="0"/>
                    </a:lnTo>
                    <a:lnTo>
                      <a:pt x="0" y="185"/>
                    </a:lnTo>
                    <a:lnTo>
                      <a:pt x="19" y="206"/>
                    </a:lnTo>
                    <a:lnTo>
                      <a:pt x="213" y="38"/>
                    </a:lnTo>
                    <a:lnTo>
                      <a:pt x="303" y="118"/>
                    </a:lnTo>
                    <a:lnTo>
                      <a:pt x="303" y="118"/>
                    </a:lnTo>
                    <a:lnTo>
                      <a:pt x="305" y="118"/>
                    </a:lnTo>
                    <a:lnTo>
                      <a:pt x="402" y="206"/>
                    </a:lnTo>
                    <a:lnTo>
                      <a:pt x="421" y="185"/>
                    </a:lnTo>
                    <a:lnTo>
                      <a:pt x="340" y="114"/>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sp>
            <p:nvSpPr>
              <p:cNvPr id="96" name="Freeform 7"/>
              <p:cNvSpPr>
                <a:spLocks/>
              </p:cNvSpPr>
              <p:nvPr/>
            </p:nvSpPr>
            <p:spPr bwMode="auto">
              <a:xfrm>
                <a:off x="2731" y="1500"/>
                <a:ext cx="297" cy="308"/>
              </a:xfrm>
              <a:custGeom>
                <a:avLst/>
                <a:gdLst>
                  <a:gd name="T0" fmla="*/ 0 w 297"/>
                  <a:gd name="T1" fmla="*/ 128 h 308"/>
                  <a:gd name="T2" fmla="*/ 0 w 297"/>
                  <a:gd name="T3" fmla="*/ 308 h 308"/>
                  <a:gd name="T4" fmla="*/ 120 w 297"/>
                  <a:gd name="T5" fmla="*/ 308 h 308"/>
                  <a:gd name="T6" fmla="*/ 120 w 297"/>
                  <a:gd name="T7" fmla="*/ 220 h 308"/>
                  <a:gd name="T8" fmla="*/ 177 w 297"/>
                  <a:gd name="T9" fmla="*/ 220 h 308"/>
                  <a:gd name="T10" fmla="*/ 177 w 297"/>
                  <a:gd name="T11" fmla="*/ 308 h 308"/>
                  <a:gd name="T12" fmla="*/ 297 w 297"/>
                  <a:gd name="T13" fmla="*/ 308 h 308"/>
                  <a:gd name="T14" fmla="*/ 297 w 297"/>
                  <a:gd name="T15" fmla="*/ 128 h 308"/>
                  <a:gd name="T16" fmla="*/ 151 w 297"/>
                  <a:gd name="T17" fmla="*/ 0 h 308"/>
                  <a:gd name="T18" fmla="*/ 0 w 297"/>
                  <a:gd name="T19" fmla="*/ 12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7" h="308">
                    <a:moveTo>
                      <a:pt x="0" y="128"/>
                    </a:moveTo>
                    <a:lnTo>
                      <a:pt x="0" y="308"/>
                    </a:lnTo>
                    <a:lnTo>
                      <a:pt x="120" y="308"/>
                    </a:lnTo>
                    <a:lnTo>
                      <a:pt x="120" y="220"/>
                    </a:lnTo>
                    <a:lnTo>
                      <a:pt x="177" y="220"/>
                    </a:lnTo>
                    <a:lnTo>
                      <a:pt x="177" y="308"/>
                    </a:lnTo>
                    <a:lnTo>
                      <a:pt x="297" y="308"/>
                    </a:lnTo>
                    <a:lnTo>
                      <a:pt x="297" y="128"/>
                    </a:lnTo>
                    <a:lnTo>
                      <a:pt x="151" y="0"/>
                    </a:lnTo>
                    <a:lnTo>
                      <a:pt x="0" y="12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grpSp>
      </p:grpSp>
      <p:grpSp>
        <p:nvGrpSpPr>
          <p:cNvPr id="97" name="Group 96"/>
          <p:cNvGrpSpPr/>
          <p:nvPr/>
        </p:nvGrpSpPr>
        <p:grpSpPr>
          <a:xfrm>
            <a:off x="4993397" y="3000384"/>
            <a:ext cx="1039194" cy="254414"/>
            <a:chOff x="4122554" y="2560280"/>
            <a:chExt cx="1151156" cy="281825"/>
          </a:xfrm>
        </p:grpSpPr>
        <p:sp>
          <p:nvSpPr>
            <p:cNvPr id="98" name="TextBox 97"/>
            <p:cNvSpPr txBox="1"/>
            <p:nvPr/>
          </p:nvSpPr>
          <p:spPr>
            <a:xfrm>
              <a:off x="4583259" y="2619153"/>
              <a:ext cx="690451" cy="140506"/>
            </a:xfrm>
            <a:prstGeom prst="rect">
              <a:avLst/>
            </a:prstGeom>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ローミング</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grpSp>
          <p:nvGrpSpPr>
            <p:cNvPr id="99" name="Group 5"/>
            <p:cNvGrpSpPr>
              <a:grpSpLocks noChangeAspect="1"/>
            </p:cNvGrpSpPr>
            <p:nvPr/>
          </p:nvGrpSpPr>
          <p:grpSpPr bwMode="auto">
            <a:xfrm>
              <a:off x="4122554" y="2560280"/>
              <a:ext cx="394522" cy="281825"/>
              <a:chOff x="4329" y="226"/>
              <a:chExt cx="1186" cy="848"/>
            </a:xfrm>
            <a:solidFill>
              <a:srgbClr val="FFFFFF"/>
            </a:solidFill>
          </p:grpSpPr>
          <p:sp>
            <p:nvSpPr>
              <p:cNvPr id="100" name="Freeform 6"/>
              <p:cNvSpPr>
                <a:spLocks/>
              </p:cNvSpPr>
              <p:nvPr/>
            </p:nvSpPr>
            <p:spPr bwMode="auto">
              <a:xfrm>
                <a:off x="4379" y="226"/>
                <a:ext cx="1090" cy="664"/>
              </a:xfrm>
              <a:custGeom>
                <a:avLst/>
                <a:gdLst>
                  <a:gd name="T0" fmla="*/ 21 w 284"/>
                  <a:gd name="T1" fmla="*/ 22 h 173"/>
                  <a:gd name="T2" fmla="*/ 262 w 284"/>
                  <a:gd name="T3" fmla="*/ 22 h 173"/>
                  <a:gd name="T4" fmla="*/ 262 w 284"/>
                  <a:gd name="T5" fmla="*/ 173 h 173"/>
                  <a:gd name="T6" fmla="*/ 284 w 284"/>
                  <a:gd name="T7" fmla="*/ 173 h 173"/>
                  <a:gd name="T8" fmla="*/ 284 w 284"/>
                  <a:gd name="T9" fmla="*/ 11 h 173"/>
                  <a:gd name="T10" fmla="*/ 273 w 284"/>
                  <a:gd name="T11" fmla="*/ 0 h 173"/>
                  <a:gd name="T12" fmla="*/ 10 w 284"/>
                  <a:gd name="T13" fmla="*/ 0 h 173"/>
                  <a:gd name="T14" fmla="*/ 0 w 284"/>
                  <a:gd name="T15" fmla="*/ 11 h 173"/>
                  <a:gd name="T16" fmla="*/ 0 w 284"/>
                  <a:gd name="T17" fmla="*/ 173 h 173"/>
                  <a:gd name="T18" fmla="*/ 21 w 284"/>
                  <a:gd name="T19" fmla="*/ 173 h 173"/>
                  <a:gd name="T20" fmla="*/ 21 w 284"/>
                  <a:gd name="T21" fmla="*/ 2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173">
                    <a:moveTo>
                      <a:pt x="21" y="22"/>
                    </a:moveTo>
                    <a:cubicBezTo>
                      <a:pt x="262" y="22"/>
                      <a:pt x="262" y="22"/>
                      <a:pt x="262" y="22"/>
                    </a:cubicBezTo>
                    <a:cubicBezTo>
                      <a:pt x="262" y="173"/>
                      <a:pt x="262" y="173"/>
                      <a:pt x="262" y="173"/>
                    </a:cubicBezTo>
                    <a:cubicBezTo>
                      <a:pt x="284" y="173"/>
                      <a:pt x="284" y="173"/>
                      <a:pt x="284" y="173"/>
                    </a:cubicBezTo>
                    <a:cubicBezTo>
                      <a:pt x="284" y="11"/>
                      <a:pt x="284" y="11"/>
                      <a:pt x="284" y="11"/>
                    </a:cubicBezTo>
                    <a:cubicBezTo>
                      <a:pt x="284" y="5"/>
                      <a:pt x="279" y="0"/>
                      <a:pt x="273" y="0"/>
                    </a:cubicBezTo>
                    <a:cubicBezTo>
                      <a:pt x="10" y="0"/>
                      <a:pt x="10" y="0"/>
                      <a:pt x="10" y="0"/>
                    </a:cubicBezTo>
                    <a:cubicBezTo>
                      <a:pt x="4" y="0"/>
                      <a:pt x="0" y="5"/>
                      <a:pt x="0" y="11"/>
                    </a:cubicBezTo>
                    <a:cubicBezTo>
                      <a:pt x="0" y="173"/>
                      <a:pt x="0" y="173"/>
                      <a:pt x="0" y="173"/>
                    </a:cubicBezTo>
                    <a:cubicBezTo>
                      <a:pt x="21" y="173"/>
                      <a:pt x="21" y="173"/>
                      <a:pt x="21" y="173"/>
                    </a:cubicBezTo>
                    <a:lnTo>
                      <a:pt x="21" y="22"/>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sp>
            <p:nvSpPr>
              <p:cNvPr id="101" name="Freeform 7"/>
              <p:cNvSpPr>
                <a:spLocks/>
              </p:cNvSpPr>
              <p:nvPr/>
            </p:nvSpPr>
            <p:spPr bwMode="auto">
              <a:xfrm>
                <a:off x="4329" y="959"/>
                <a:ext cx="1186" cy="115"/>
              </a:xfrm>
              <a:custGeom>
                <a:avLst/>
                <a:gdLst>
                  <a:gd name="T0" fmla="*/ 171 w 309"/>
                  <a:gd name="T1" fmla="*/ 0 h 30"/>
                  <a:gd name="T2" fmla="*/ 171 w 309"/>
                  <a:gd name="T3" fmla="*/ 4 h 30"/>
                  <a:gd name="T4" fmla="*/ 165 w 309"/>
                  <a:gd name="T5" fmla="*/ 10 h 30"/>
                  <a:gd name="T6" fmla="*/ 144 w 309"/>
                  <a:gd name="T7" fmla="*/ 10 h 30"/>
                  <a:gd name="T8" fmla="*/ 138 w 309"/>
                  <a:gd name="T9" fmla="*/ 4 h 30"/>
                  <a:gd name="T10" fmla="*/ 138 w 309"/>
                  <a:gd name="T11" fmla="*/ 0 h 30"/>
                  <a:gd name="T12" fmla="*/ 0 w 309"/>
                  <a:gd name="T13" fmla="*/ 0 h 30"/>
                  <a:gd name="T14" fmla="*/ 0 w 309"/>
                  <a:gd name="T15" fmla="*/ 19 h 30"/>
                  <a:gd name="T16" fmla="*/ 11 w 309"/>
                  <a:gd name="T17" fmla="*/ 30 h 30"/>
                  <a:gd name="T18" fmla="*/ 298 w 309"/>
                  <a:gd name="T19" fmla="*/ 30 h 30"/>
                  <a:gd name="T20" fmla="*/ 309 w 309"/>
                  <a:gd name="T21" fmla="*/ 19 h 30"/>
                  <a:gd name="T22" fmla="*/ 309 w 309"/>
                  <a:gd name="T23" fmla="*/ 0 h 30"/>
                  <a:gd name="T24" fmla="*/ 171 w 309"/>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
                    <a:moveTo>
                      <a:pt x="171" y="0"/>
                    </a:moveTo>
                    <a:cubicBezTo>
                      <a:pt x="171" y="4"/>
                      <a:pt x="171" y="4"/>
                      <a:pt x="171" y="4"/>
                    </a:cubicBezTo>
                    <a:cubicBezTo>
                      <a:pt x="171" y="7"/>
                      <a:pt x="169" y="10"/>
                      <a:pt x="165" y="10"/>
                    </a:cubicBezTo>
                    <a:cubicBezTo>
                      <a:pt x="144" y="10"/>
                      <a:pt x="144" y="10"/>
                      <a:pt x="144" y="10"/>
                    </a:cubicBezTo>
                    <a:cubicBezTo>
                      <a:pt x="141" y="10"/>
                      <a:pt x="138" y="7"/>
                      <a:pt x="138" y="4"/>
                    </a:cubicBezTo>
                    <a:cubicBezTo>
                      <a:pt x="138" y="0"/>
                      <a:pt x="138" y="0"/>
                      <a:pt x="138" y="0"/>
                    </a:cubicBezTo>
                    <a:cubicBezTo>
                      <a:pt x="0" y="0"/>
                      <a:pt x="0" y="0"/>
                      <a:pt x="0" y="0"/>
                    </a:cubicBezTo>
                    <a:cubicBezTo>
                      <a:pt x="0" y="19"/>
                      <a:pt x="0" y="19"/>
                      <a:pt x="0" y="19"/>
                    </a:cubicBezTo>
                    <a:cubicBezTo>
                      <a:pt x="0" y="25"/>
                      <a:pt x="5" y="30"/>
                      <a:pt x="11" y="30"/>
                    </a:cubicBezTo>
                    <a:cubicBezTo>
                      <a:pt x="298" y="30"/>
                      <a:pt x="298" y="30"/>
                      <a:pt x="298" y="30"/>
                    </a:cubicBezTo>
                    <a:cubicBezTo>
                      <a:pt x="304" y="30"/>
                      <a:pt x="309" y="25"/>
                      <a:pt x="309" y="19"/>
                    </a:cubicBezTo>
                    <a:cubicBezTo>
                      <a:pt x="309" y="0"/>
                      <a:pt x="309" y="0"/>
                      <a:pt x="309" y="0"/>
                    </a:cubicBezTo>
                    <a:lnTo>
                      <a:pt x="171"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grpSp>
      </p:grpSp>
      <p:grpSp>
        <p:nvGrpSpPr>
          <p:cNvPr id="102" name="Group 101"/>
          <p:cNvGrpSpPr/>
          <p:nvPr/>
        </p:nvGrpSpPr>
        <p:grpSpPr>
          <a:xfrm>
            <a:off x="5012579" y="2242093"/>
            <a:ext cx="741702" cy="334418"/>
            <a:chOff x="4287357" y="1880236"/>
            <a:chExt cx="821611" cy="370448"/>
          </a:xfrm>
        </p:grpSpPr>
        <p:sp>
          <p:nvSpPr>
            <p:cNvPr id="103" name="TextBox 102"/>
            <p:cNvSpPr txBox="1"/>
            <p:nvPr/>
          </p:nvSpPr>
          <p:spPr>
            <a:xfrm>
              <a:off x="4560579" y="1993767"/>
              <a:ext cx="548389" cy="140506"/>
            </a:xfrm>
            <a:prstGeom prst="rect">
              <a:avLst/>
            </a:prstGeom>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モバイル</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sp>
          <p:nvSpPr>
            <p:cNvPr id="104" name="Freeform 6"/>
            <p:cNvSpPr>
              <a:spLocks noEditPoints="1"/>
            </p:cNvSpPr>
            <p:nvPr/>
          </p:nvSpPr>
          <p:spPr bwMode="auto">
            <a:xfrm>
              <a:off x="4287357" y="1880236"/>
              <a:ext cx="208464" cy="370448"/>
            </a:xfrm>
            <a:custGeom>
              <a:avLst/>
              <a:gdLst>
                <a:gd name="T0" fmla="*/ 87 w 103"/>
                <a:gd name="T1" fmla="*/ 0 h 184"/>
                <a:gd name="T2" fmla="*/ 16 w 103"/>
                <a:gd name="T3" fmla="*/ 0 h 184"/>
                <a:gd name="T4" fmla="*/ 0 w 103"/>
                <a:gd name="T5" fmla="*/ 17 h 184"/>
                <a:gd name="T6" fmla="*/ 0 w 103"/>
                <a:gd name="T7" fmla="*/ 168 h 184"/>
                <a:gd name="T8" fmla="*/ 16 w 103"/>
                <a:gd name="T9" fmla="*/ 184 h 184"/>
                <a:gd name="T10" fmla="*/ 87 w 103"/>
                <a:gd name="T11" fmla="*/ 184 h 184"/>
                <a:gd name="T12" fmla="*/ 103 w 103"/>
                <a:gd name="T13" fmla="*/ 168 h 184"/>
                <a:gd name="T14" fmla="*/ 103 w 103"/>
                <a:gd name="T15" fmla="*/ 17 h 184"/>
                <a:gd name="T16" fmla="*/ 87 w 103"/>
                <a:gd name="T17" fmla="*/ 0 h 184"/>
                <a:gd name="T18" fmla="*/ 51 w 103"/>
                <a:gd name="T19" fmla="*/ 175 h 184"/>
                <a:gd name="T20" fmla="*/ 42 w 103"/>
                <a:gd name="T21" fmla="*/ 165 h 184"/>
                <a:gd name="T22" fmla="*/ 51 w 103"/>
                <a:gd name="T23" fmla="*/ 155 h 184"/>
                <a:gd name="T24" fmla="*/ 61 w 103"/>
                <a:gd name="T25" fmla="*/ 165 h 184"/>
                <a:gd name="T26" fmla="*/ 51 w 103"/>
                <a:gd name="T27" fmla="*/ 175 h 184"/>
                <a:gd name="T28" fmla="*/ 92 w 103"/>
                <a:gd name="T29" fmla="*/ 147 h 184"/>
                <a:gd name="T30" fmla="*/ 11 w 103"/>
                <a:gd name="T31" fmla="*/ 147 h 184"/>
                <a:gd name="T32" fmla="*/ 11 w 103"/>
                <a:gd name="T33" fmla="*/ 27 h 184"/>
                <a:gd name="T34" fmla="*/ 92 w 103"/>
                <a:gd name="T35" fmla="*/ 27 h 184"/>
                <a:gd name="T36" fmla="*/ 92 w 103"/>
                <a:gd name="T3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84">
                  <a:moveTo>
                    <a:pt x="87" y="0"/>
                  </a:moveTo>
                  <a:cubicBezTo>
                    <a:pt x="16" y="0"/>
                    <a:pt x="16" y="0"/>
                    <a:pt x="16" y="0"/>
                  </a:cubicBezTo>
                  <a:cubicBezTo>
                    <a:pt x="7" y="0"/>
                    <a:pt x="0" y="8"/>
                    <a:pt x="0" y="17"/>
                  </a:cubicBezTo>
                  <a:cubicBezTo>
                    <a:pt x="0" y="168"/>
                    <a:pt x="0" y="168"/>
                    <a:pt x="0" y="168"/>
                  </a:cubicBezTo>
                  <a:cubicBezTo>
                    <a:pt x="0" y="177"/>
                    <a:pt x="7" y="184"/>
                    <a:pt x="16" y="184"/>
                  </a:cubicBezTo>
                  <a:cubicBezTo>
                    <a:pt x="87" y="184"/>
                    <a:pt x="87" y="184"/>
                    <a:pt x="87" y="184"/>
                  </a:cubicBezTo>
                  <a:cubicBezTo>
                    <a:pt x="96" y="184"/>
                    <a:pt x="103" y="177"/>
                    <a:pt x="103" y="168"/>
                  </a:cubicBezTo>
                  <a:cubicBezTo>
                    <a:pt x="103" y="17"/>
                    <a:pt x="103" y="17"/>
                    <a:pt x="103" y="17"/>
                  </a:cubicBezTo>
                  <a:cubicBezTo>
                    <a:pt x="103" y="8"/>
                    <a:pt x="96" y="0"/>
                    <a:pt x="87" y="0"/>
                  </a:cubicBezTo>
                  <a:moveTo>
                    <a:pt x="51" y="175"/>
                  </a:moveTo>
                  <a:cubicBezTo>
                    <a:pt x="46" y="175"/>
                    <a:pt x="42" y="171"/>
                    <a:pt x="42" y="165"/>
                  </a:cubicBezTo>
                  <a:cubicBezTo>
                    <a:pt x="42" y="160"/>
                    <a:pt x="46" y="155"/>
                    <a:pt x="51" y="155"/>
                  </a:cubicBezTo>
                  <a:cubicBezTo>
                    <a:pt x="57" y="155"/>
                    <a:pt x="61" y="160"/>
                    <a:pt x="61" y="165"/>
                  </a:cubicBezTo>
                  <a:cubicBezTo>
                    <a:pt x="61" y="171"/>
                    <a:pt x="57" y="175"/>
                    <a:pt x="51" y="175"/>
                  </a:cubicBezTo>
                  <a:moveTo>
                    <a:pt x="92" y="147"/>
                  </a:moveTo>
                  <a:cubicBezTo>
                    <a:pt x="11" y="147"/>
                    <a:pt x="11" y="147"/>
                    <a:pt x="11" y="147"/>
                  </a:cubicBezTo>
                  <a:cubicBezTo>
                    <a:pt x="11" y="27"/>
                    <a:pt x="11" y="27"/>
                    <a:pt x="11" y="27"/>
                  </a:cubicBezTo>
                  <a:cubicBezTo>
                    <a:pt x="92" y="27"/>
                    <a:pt x="92" y="27"/>
                    <a:pt x="92" y="27"/>
                  </a:cubicBezTo>
                  <a:lnTo>
                    <a:pt x="92" y="147"/>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grpSp>
      <p:grpSp>
        <p:nvGrpSpPr>
          <p:cNvPr id="105" name="Group 104"/>
          <p:cNvGrpSpPr/>
          <p:nvPr/>
        </p:nvGrpSpPr>
        <p:grpSpPr>
          <a:xfrm>
            <a:off x="5476355" y="3499351"/>
            <a:ext cx="437800" cy="480077"/>
            <a:chOff x="4842026" y="3268106"/>
            <a:chExt cx="484969" cy="531801"/>
          </a:xfrm>
        </p:grpSpPr>
        <p:sp>
          <p:nvSpPr>
            <p:cNvPr id="106" name="TextBox 105"/>
            <p:cNvSpPr txBox="1"/>
            <p:nvPr/>
          </p:nvSpPr>
          <p:spPr>
            <a:xfrm>
              <a:off x="4842026" y="3659401"/>
              <a:ext cx="484969" cy="140506"/>
            </a:xfrm>
            <a:prstGeom prst="rect">
              <a:avLst/>
            </a:prstGeom>
          </p:spPr>
          <p:txBody>
            <a:bodyPr wrap="square" lIns="0" tIns="0" rIns="0" bIns="0" rtlCol="0">
              <a:spAutoFit/>
            </a:bodyPr>
            <a:lstStyle/>
            <a:p>
              <a:pPr algn="ctr">
                <a:lnSpc>
                  <a:spcPct val="90000"/>
                </a:lnSpc>
                <a:spcAft>
                  <a:spcPts val="0"/>
                </a:spcAft>
              </a:pPr>
              <a:r>
                <a:rPr lang="ja-JP" altLang="en-US" sz="900" dirty="0" smtClean="0">
                  <a:solidFill>
                    <a:srgbClr val="000000"/>
                  </a:solidFill>
                  <a:latin typeface="ヒラギノ角ゴ Pro W3"/>
                  <a:ea typeface="ヒラギノ角ゴ Pro W3"/>
                  <a:cs typeface="ヒラギノ角ゴ Pro W3"/>
                </a:rPr>
                <a:t>工場</a:t>
              </a:r>
              <a:endParaRPr lang="en-US" sz="900" dirty="0" smtClean="0">
                <a:solidFill>
                  <a:srgbClr val="000000"/>
                </a:solidFill>
                <a:latin typeface="ヒラギノ角ゴ Pro W3"/>
                <a:ea typeface="ヒラギノ角ゴ Pro W3"/>
                <a:cs typeface="ヒラギノ角ゴ Pro W3"/>
              </a:endParaRPr>
            </a:p>
          </p:txBody>
        </p:sp>
        <p:pic>
          <p:nvPicPr>
            <p:cNvPr id="107" name="Picture 106" descr="Icon_Factory2 Gray.pdf"/>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96090" y="3268106"/>
              <a:ext cx="364846" cy="364508"/>
            </a:xfrm>
            <a:prstGeom prst="rect">
              <a:avLst/>
            </a:prstGeom>
          </p:spPr>
        </p:pic>
      </p:grpSp>
    </p:spTree>
    <p:extLst>
      <p:ext uri="{BB962C8B-B14F-4D97-AF65-F5344CB8AC3E}">
        <p14:creationId xmlns:p14="http://schemas.microsoft.com/office/powerpoint/2010/main" val="496143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900"/>
                                  </p:stCondLst>
                                  <p:childTnLst>
                                    <p:set>
                                      <p:cBhvr>
                                        <p:cTn id="6" dur="1" fill="hold">
                                          <p:stCondLst>
                                            <p:cond delay="0"/>
                                          </p:stCondLst>
                                        </p:cTn>
                                        <p:tgtEl>
                                          <p:spTgt spid="73"/>
                                        </p:tgtEl>
                                        <p:attrNameLst>
                                          <p:attrName>style.visibility</p:attrName>
                                        </p:attrNameLst>
                                      </p:cBhvr>
                                      <p:to>
                                        <p:strVal val="visible"/>
                                      </p:to>
                                    </p:set>
                                    <p:animEffect transition="in" filter="wipe(up)">
                                      <p:cBhvr>
                                        <p:cTn id="7" dur="2000"/>
                                        <p:tgtEl>
                                          <p:spTgt spid="73"/>
                                        </p:tgtEl>
                                      </p:cBhvr>
                                    </p:animEffect>
                                  </p:childTnLst>
                                </p:cTn>
                              </p:par>
                              <p:par>
                                <p:cTn id="8" presetID="53" presetClass="entr" presetSubtype="16" fill="hold" grpId="0" nodeType="withEffect">
                                  <p:stCondLst>
                                    <p:cond delay="900"/>
                                  </p:stCondLst>
                                  <p:childTnLst>
                                    <p:set>
                                      <p:cBhvr>
                                        <p:cTn id="9" dur="1" fill="hold">
                                          <p:stCondLst>
                                            <p:cond delay="0"/>
                                          </p:stCondLst>
                                        </p:cTn>
                                        <p:tgtEl>
                                          <p:spTgt spid="41"/>
                                        </p:tgtEl>
                                        <p:attrNameLst>
                                          <p:attrName>style.visibility</p:attrName>
                                        </p:attrNameLst>
                                      </p:cBhvr>
                                      <p:to>
                                        <p:strVal val="visible"/>
                                      </p:to>
                                    </p:set>
                                    <p:anim calcmode="lin" valueType="num">
                                      <p:cBhvr>
                                        <p:cTn id="10" dur="500" fill="hold"/>
                                        <p:tgtEl>
                                          <p:spTgt spid="41"/>
                                        </p:tgtEl>
                                        <p:attrNameLst>
                                          <p:attrName>ppt_w</p:attrName>
                                        </p:attrNameLst>
                                      </p:cBhvr>
                                      <p:tavLst>
                                        <p:tav tm="0">
                                          <p:val>
                                            <p:fltVal val="0"/>
                                          </p:val>
                                        </p:tav>
                                        <p:tav tm="100000">
                                          <p:val>
                                            <p:strVal val="#ppt_w"/>
                                          </p:val>
                                        </p:tav>
                                      </p:tavLst>
                                    </p:anim>
                                    <p:anim calcmode="lin" valueType="num">
                                      <p:cBhvr>
                                        <p:cTn id="11" dur="500" fill="hold"/>
                                        <p:tgtEl>
                                          <p:spTgt spid="41"/>
                                        </p:tgtEl>
                                        <p:attrNameLst>
                                          <p:attrName>ppt_h</p:attrName>
                                        </p:attrNameLst>
                                      </p:cBhvr>
                                      <p:tavLst>
                                        <p:tav tm="0">
                                          <p:val>
                                            <p:fltVal val="0"/>
                                          </p:val>
                                        </p:tav>
                                        <p:tav tm="100000">
                                          <p:val>
                                            <p:strVal val="#ppt_h"/>
                                          </p:val>
                                        </p:tav>
                                      </p:tavLst>
                                    </p:anim>
                                    <p:animEffect transition="in" filter="fade">
                                      <p:cBhvr>
                                        <p:cTn id="12" dur="500"/>
                                        <p:tgtEl>
                                          <p:spTgt spid="41"/>
                                        </p:tgtEl>
                                      </p:cBhvr>
                                    </p:animEffect>
                                  </p:childTnLst>
                                </p:cTn>
                              </p:par>
                              <p:par>
                                <p:cTn id="13" presetID="53" presetClass="entr" presetSubtype="16" fill="hold" grpId="0" nodeType="withEffect">
                                  <p:stCondLst>
                                    <p:cond delay="100"/>
                                  </p:stCondLst>
                                  <p:childTnLst>
                                    <p:set>
                                      <p:cBhvr>
                                        <p:cTn id="14" dur="1" fill="hold">
                                          <p:stCondLst>
                                            <p:cond delay="0"/>
                                          </p:stCondLst>
                                        </p:cTn>
                                        <p:tgtEl>
                                          <p:spTgt spid="34"/>
                                        </p:tgtEl>
                                        <p:attrNameLst>
                                          <p:attrName>style.visibility</p:attrName>
                                        </p:attrNameLst>
                                      </p:cBhvr>
                                      <p:to>
                                        <p:strVal val="visible"/>
                                      </p:to>
                                    </p:set>
                                    <p:anim calcmode="lin" valueType="num">
                                      <p:cBhvr>
                                        <p:cTn id="15" dur="500" fill="hold"/>
                                        <p:tgtEl>
                                          <p:spTgt spid="34"/>
                                        </p:tgtEl>
                                        <p:attrNameLst>
                                          <p:attrName>ppt_w</p:attrName>
                                        </p:attrNameLst>
                                      </p:cBhvr>
                                      <p:tavLst>
                                        <p:tav tm="0">
                                          <p:val>
                                            <p:fltVal val="0"/>
                                          </p:val>
                                        </p:tav>
                                        <p:tav tm="100000">
                                          <p:val>
                                            <p:strVal val="#ppt_w"/>
                                          </p:val>
                                        </p:tav>
                                      </p:tavLst>
                                    </p:anim>
                                    <p:anim calcmode="lin" valueType="num">
                                      <p:cBhvr>
                                        <p:cTn id="16" dur="500" fill="hold"/>
                                        <p:tgtEl>
                                          <p:spTgt spid="34"/>
                                        </p:tgtEl>
                                        <p:attrNameLst>
                                          <p:attrName>ppt_h</p:attrName>
                                        </p:attrNameLst>
                                      </p:cBhvr>
                                      <p:tavLst>
                                        <p:tav tm="0">
                                          <p:val>
                                            <p:fltVal val="0"/>
                                          </p:val>
                                        </p:tav>
                                        <p:tav tm="100000">
                                          <p:val>
                                            <p:strVal val="#ppt_h"/>
                                          </p:val>
                                        </p:tav>
                                      </p:tavLst>
                                    </p:anim>
                                    <p:animEffect transition="in" filter="fade">
                                      <p:cBhvr>
                                        <p:cTn id="17" dur="500"/>
                                        <p:tgtEl>
                                          <p:spTgt spid="34"/>
                                        </p:tgtEl>
                                      </p:cBhvr>
                                    </p:animEffect>
                                  </p:childTnLst>
                                </p:cTn>
                              </p:par>
                              <p:par>
                                <p:cTn id="18" presetID="22" presetClass="entr" presetSubtype="8" fill="hold" nodeType="withEffect">
                                  <p:stCondLst>
                                    <p:cond delay="100"/>
                                  </p:stCondLst>
                                  <p:childTnLst>
                                    <p:set>
                                      <p:cBhvr>
                                        <p:cTn id="19" dur="1" fill="hold">
                                          <p:stCondLst>
                                            <p:cond delay="0"/>
                                          </p:stCondLst>
                                        </p:cTn>
                                        <p:tgtEl>
                                          <p:spTgt spid="66"/>
                                        </p:tgtEl>
                                        <p:attrNameLst>
                                          <p:attrName>style.visibility</p:attrName>
                                        </p:attrNameLst>
                                      </p:cBhvr>
                                      <p:to>
                                        <p:strVal val="visible"/>
                                      </p:to>
                                    </p:set>
                                    <p:animEffect transition="in" filter="wipe(left)">
                                      <p:cBhvr>
                                        <p:cTn id="20" dur="500"/>
                                        <p:tgtEl>
                                          <p:spTgt spid="66"/>
                                        </p:tgtEl>
                                      </p:cBhvr>
                                    </p:animEffect>
                                  </p:childTnLst>
                                </p:cTn>
                              </p:par>
                              <p:par>
                                <p:cTn id="21" presetID="53" presetClass="entr" presetSubtype="16" fill="hold" grpId="0" nodeType="withEffect">
                                  <p:stCondLst>
                                    <p:cond delay="200"/>
                                  </p:stCondLst>
                                  <p:childTnLst>
                                    <p:set>
                                      <p:cBhvr>
                                        <p:cTn id="22" dur="1" fill="hold">
                                          <p:stCondLst>
                                            <p:cond delay="0"/>
                                          </p:stCondLst>
                                        </p:cTn>
                                        <p:tgtEl>
                                          <p:spTgt spid="52"/>
                                        </p:tgtEl>
                                        <p:attrNameLst>
                                          <p:attrName>style.visibility</p:attrName>
                                        </p:attrNameLst>
                                      </p:cBhvr>
                                      <p:to>
                                        <p:strVal val="visible"/>
                                      </p:to>
                                    </p:set>
                                    <p:anim calcmode="lin" valueType="num">
                                      <p:cBhvr>
                                        <p:cTn id="23" dur="500" fill="hold"/>
                                        <p:tgtEl>
                                          <p:spTgt spid="52"/>
                                        </p:tgtEl>
                                        <p:attrNameLst>
                                          <p:attrName>ppt_w</p:attrName>
                                        </p:attrNameLst>
                                      </p:cBhvr>
                                      <p:tavLst>
                                        <p:tav tm="0">
                                          <p:val>
                                            <p:fltVal val="0"/>
                                          </p:val>
                                        </p:tav>
                                        <p:tav tm="100000">
                                          <p:val>
                                            <p:strVal val="#ppt_w"/>
                                          </p:val>
                                        </p:tav>
                                      </p:tavLst>
                                    </p:anim>
                                    <p:anim calcmode="lin" valueType="num">
                                      <p:cBhvr>
                                        <p:cTn id="24" dur="500" fill="hold"/>
                                        <p:tgtEl>
                                          <p:spTgt spid="52"/>
                                        </p:tgtEl>
                                        <p:attrNameLst>
                                          <p:attrName>ppt_h</p:attrName>
                                        </p:attrNameLst>
                                      </p:cBhvr>
                                      <p:tavLst>
                                        <p:tav tm="0">
                                          <p:val>
                                            <p:fltVal val="0"/>
                                          </p:val>
                                        </p:tav>
                                        <p:tav tm="100000">
                                          <p:val>
                                            <p:strVal val="#ppt_h"/>
                                          </p:val>
                                        </p:tav>
                                      </p:tavLst>
                                    </p:anim>
                                    <p:animEffect transition="in" filter="fade">
                                      <p:cBhvr>
                                        <p:cTn id="25" dur="500"/>
                                        <p:tgtEl>
                                          <p:spTgt spid="52"/>
                                        </p:tgtEl>
                                      </p:cBhvr>
                                    </p:animEffect>
                                  </p:childTnLst>
                                </p:cTn>
                              </p:par>
                              <p:par>
                                <p:cTn id="26" presetID="53" presetClass="entr" presetSubtype="16" fill="hold" grpId="0" nodeType="withEffect">
                                  <p:stCondLst>
                                    <p:cond delay="300"/>
                                  </p:stCondLst>
                                  <p:childTnLst>
                                    <p:set>
                                      <p:cBhvr>
                                        <p:cTn id="27" dur="1" fill="hold">
                                          <p:stCondLst>
                                            <p:cond delay="0"/>
                                          </p:stCondLst>
                                        </p:cTn>
                                        <p:tgtEl>
                                          <p:spTgt spid="44"/>
                                        </p:tgtEl>
                                        <p:attrNameLst>
                                          <p:attrName>style.visibility</p:attrName>
                                        </p:attrNameLst>
                                      </p:cBhvr>
                                      <p:to>
                                        <p:strVal val="visible"/>
                                      </p:to>
                                    </p:set>
                                    <p:anim calcmode="lin" valueType="num">
                                      <p:cBhvr>
                                        <p:cTn id="28" dur="500" fill="hold"/>
                                        <p:tgtEl>
                                          <p:spTgt spid="44"/>
                                        </p:tgtEl>
                                        <p:attrNameLst>
                                          <p:attrName>ppt_w</p:attrName>
                                        </p:attrNameLst>
                                      </p:cBhvr>
                                      <p:tavLst>
                                        <p:tav tm="0">
                                          <p:val>
                                            <p:fltVal val="0"/>
                                          </p:val>
                                        </p:tav>
                                        <p:tav tm="100000">
                                          <p:val>
                                            <p:strVal val="#ppt_w"/>
                                          </p:val>
                                        </p:tav>
                                      </p:tavLst>
                                    </p:anim>
                                    <p:anim calcmode="lin" valueType="num">
                                      <p:cBhvr>
                                        <p:cTn id="29" dur="500" fill="hold"/>
                                        <p:tgtEl>
                                          <p:spTgt spid="44"/>
                                        </p:tgtEl>
                                        <p:attrNameLst>
                                          <p:attrName>ppt_h</p:attrName>
                                        </p:attrNameLst>
                                      </p:cBhvr>
                                      <p:tavLst>
                                        <p:tav tm="0">
                                          <p:val>
                                            <p:fltVal val="0"/>
                                          </p:val>
                                        </p:tav>
                                        <p:tav tm="100000">
                                          <p:val>
                                            <p:strVal val="#ppt_h"/>
                                          </p:val>
                                        </p:tav>
                                      </p:tavLst>
                                    </p:anim>
                                    <p:animEffect transition="in" filter="fade">
                                      <p:cBhvr>
                                        <p:cTn id="30" dur="500"/>
                                        <p:tgtEl>
                                          <p:spTgt spid="44"/>
                                        </p:tgtEl>
                                      </p:cBhvr>
                                    </p:animEffect>
                                  </p:childTnLst>
                                </p:cTn>
                              </p:par>
                              <p:par>
                                <p:cTn id="31" presetID="53" presetClass="entr" presetSubtype="16" fill="hold" grpId="0" nodeType="withEffect">
                                  <p:stCondLst>
                                    <p:cond delay="400"/>
                                  </p:stCondLst>
                                  <p:childTnLst>
                                    <p:set>
                                      <p:cBhvr>
                                        <p:cTn id="32" dur="1" fill="hold">
                                          <p:stCondLst>
                                            <p:cond delay="0"/>
                                          </p:stCondLst>
                                        </p:cTn>
                                        <p:tgtEl>
                                          <p:spTgt spid="53"/>
                                        </p:tgtEl>
                                        <p:attrNameLst>
                                          <p:attrName>style.visibility</p:attrName>
                                        </p:attrNameLst>
                                      </p:cBhvr>
                                      <p:to>
                                        <p:strVal val="visible"/>
                                      </p:to>
                                    </p:set>
                                    <p:anim calcmode="lin" valueType="num">
                                      <p:cBhvr>
                                        <p:cTn id="33" dur="500" fill="hold"/>
                                        <p:tgtEl>
                                          <p:spTgt spid="53"/>
                                        </p:tgtEl>
                                        <p:attrNameLst>
                                          <p:attrName>ppt_w</p:attrName>
                                        </p:attrNameLst>
                                      </p:cBhvr>
                                      <p:tavLst>
                                        <p:tav tm="0">
                                          <p:val>
                                            <p:fltVal val="0"/>
                                          </p:val>
                                        </p:tav>
                                        <p:tav tm="100000">
                                          <p:val>
                                            <p:strVal val="#ppt_w"/>
                                          </p:val>
                                        </p:tav>
                                      </p:tavLst>
                                    </p:anim>
                                    <p:anim calcmode="lin" valueType="num">
                                      <p:cBhvr>
                                        <p:cTn id="34" dur="500" fill="hold"/>
                                        <p:tgtEl>
                                          <p:spTgt spid="53"/>
                                        </p:tgtEl>
                                        <p:attrNameLst>
                                          <p:attrName>ppt_h</p:attrName>
                                        </p:attrNameLst>
                                      </p:cBhvr>
                                      <p:tavLst>
                                        <p:tav tm="0">
                                          <p:val>
                                            <p:fltVal val="0"/>
                                          </p:val>
                                        </p:tav>
                                        <p:tav tm="100000">
                                          <p:val>
                                            <p:strVal val="#ppt_h"/>
                                          </p:val>
                                        </p:tav>
                                      </p:tavLst>
                                    </p:anim>
                                    <p:animEffect transition="in" filter="fade">
                                      <p:cBhvr>
                                        <p:cTn id="35" dur="500"/>
                                        <p:tgtEl>
                                          <p:spTgt spid="53"/>
                                        </p:tgtEl>
                                      </p:cBhvr>
                                    </p:animEffect>
                                  </p:childTnLst>
                                </p:cTn>
                              </p:par>
                              <p:par>
                                <p:cTn id="36" presetID="53" presetClass="entr" presetSubtype="16" fill="hold" grpId="0" nodeType="withEffect">
                                  <p:stCondLst>
                                    <p:cond delay="500"/>
                                  </p:stCondLst>
                                  <p:childTnLst>
                                    <p:set>
                                      <p:cBhvr>
                                        <p:cTn id="37" dur="1" fill="hold">
                                          <p:stCondLst>
                                            <p:cond delay="0"/>
                                          </p:stCondLst>
                                        </p:cTn>
                                        <p:tgtEl>
                                          <p:spTgt spid="33"/>
                                        </p:tgtEl>
                                        <p:attrNameLst>
                                          <p:attrName>style.visibility</p:attrName>
                                        </p:attrNameLst>
                                      </p:cBhvr>
                                      <p:to>
                                        <p:strVal val="visible"/>
                                      </p:to>
                                    </p:set>
                                    <p:anim calcmode="lin" valueType="num">
                                      <p:cBhvr>
                                        <p:cTn id="38" dur="500" fill="hold"/>
                                        <p:tgtEl>
                                          <p:spTgt spid="33"/>
                                        </p:tgtEl>
                                        <p:attrNameLst>
                                          <p:attrName>ppt_w</p:attrName>
                                        </p:attrNameLst>
                                      </p:cBhvr>
                                      <p:tavLst>
                                        <p:tav tm="0">
                                          <p:val>
                                            <p:fltVal val="0"/>
                                          </p:val>
                                        </p:tav>
                                        <p:tav tm="100000">
                                          <p:val>
                                            <p:strVal val="#ppt_w"/>
                                          </p:val>
                                        </p:tav>
                                      </p:tavLst>
                                    </p:anim>
                                    <p:anim calcmode="lin" valueType="num">
                                      <p:cBhvr>
                                        <p:cTn id="39" dur="500" fill="hold"/>
                                        <p:tgtEl>
                                          <p:spTgt spid="33"/>
                                        </p:tgtEl>
                                        <p:attrNameLst>
                                          <p:attrName>ppt_h</p:attrName>
                                        </p:attrNameLst>
                                      </p:cBhvr>
                                      <p:tavLst>
                                        <p:tav tm="0">
                                          <p:val>
                                            <p:fltVal val="0"/>
                                          </p:val>
                                        </p:tav>
                                        <p:tav tm="100000">
                                          <p:val>
                                            <p:strVal val="#ppt_h"/>
                                          </p:val>
                                        </p:tav>
                                      </p:tavLst>
                                    </p:anim>
                                    <p:animEffect transition="in" filter="fade">
                                      <p:cBhvr>
                                        <p:cTn id="40" dur="500"/>
                                        <p:tgtEl>
                                          <p:spTgt spid="33"/>
                                        </p:tgtEl>
                                      </p:cBhvr>
                                    </p:animEffect>
                                  </p:childTnLst>
                                </p:cTn>
                              </p:par>
                              <p:par>
                                <p:cTn id="41" presetID="22" presetClass="entr" presetSubtype="8" fill="hold" nodeType="withEffect">
                                  <p:stCondLst>
                                    <p:cond delay="500"/>
                                  </p:stCondLst>
                                  <p:childTnLst>
                                    <p:set>
                                      <p:cBhvr>
                                        <p:cTn id="42" dur="1" fill="hold">
                                          <p:stCondLst>
                                            <p:cond delay="0"/>
                                          </p:stCondLst>
                                        </p:cTn>
                                        <p:tgtEl>
                                          <p:spTgt spid="67"/>
                                        </p:tgtEl>
                                        <p:attrNameLst>
                                          <p:attrName>style.visibility</p:attrName>
                                        </p:attrNameLst>
                                      </p:cBhvr>
                                      <p:to>
                                        <p:strVal val="visible"/>
                                      </p:to>
                                    </p:set>
                                    <p:animEffect transition="in" filter="wipe(left)">
                                      <p:cBhvr>
                                        <p:cTn id="43" dur="500"/>
                                        <p:tgtEl>
                                          <p:spTgt spid="67"/>
                                        </p:tgtEl>
                                      </p:cBhvr>
                                    </p:animEffect>
                                  </p:childTnLst>
                                </p:cTn>
                              </p:par>
                              <p:par>
                                <p:cTn id="44" presetID="22" presetClass="entr" presetSubtype="8" fill="hold" nodeType="withEffect">
                                  <p:stCondLst>
                                    <p:cond delay="500"/>
                                  </p:stCondLst>
                                  <p:childTnLst>
                                    <p:set>
                                      <p:cBhvr>
                                        <p:cTn id="45" dur="1" fill="hold">
                                          <p:stCondLst>
                                            <p:cond delay="0"/>
                                          </p:stCondLst>
                                        </p:cTn>
                                        <p:tgtEl>
                                          <p:spTgt spid="71"/>
                                        </p:tgtEl>
                                        <p:attrNameLst>
                                          <p:attrName>style.visibility</p:attrName>
                                        </p:attrNameLst>
                                      </p:cBhvr>
                                      <p:to>
                                        <p:strVal val="visible"/>
                                      </p:to>
                                    </p:set>
                                    <p:animEffect transition="in" filter="wipe(left)">
                                      <p:cBhvr>
                                        <p:cTn id="46" dur="500"/>
                                        <p:tgtEl>
                                          <p:spTgt spid="71"/>
                                        </p:tgtEl>
                                      </p:cBhvr>
                                    </p:animEffect>
                                  </p:childTnLst>
                                </p:cTn>
                              </p:par>
                              <p:par>
                                <p:cTn id="47" presetID="53" presetClass="entr" presetSubtype="16" fill="hold" grpId="0" nodeType="withEffect">
                                  <p:stCondLst>
                                    <p:cond delay="600"/>
                                  </p:stCondLst>
                                  <p:childTnLst>
                                    <p:set>
                                      <p:cBhvr>
                                        <p:cTn id="48" dur="1" fill="hold">
                                          <p:stCondLst>
                                            <p:cond delay="0"/>
                                          </p:stCondLst>
                                        </p:cTn>
                                        <p:tgtEl>
                                          <p:spTgt spid="40"/>
                                        </p:tgtEl>
                                        <p:attrNameLst>
                                          <p:attrName>style.visibility</p:attrName>
                                        </p:attrNameLst>
                                      </p:cBhvr>
                                      <p:to>
                                        <p:strVal val="visible"/>
                                      </p:to>
                                    </p:set>
                                    <p:anim calcmode="lin" valueType="num">
                                      <p:cBhvr>
                                        <p:cTn id="49" dur="500" fill="hold"/>
                                        <p:tgtEl>
                                          <p:spTgt spid="40"/>
                                        </p:tgtEl>
                                        <p:attrNameLst>
                                          <p:attrName>ppt_w</p:attrName>
                                        </p:attrNameLst>
                                      </p:cBhvr>
                                      <p:tavLst>
                                        <p:tav tm="0">
                                          <p:val>
                                            <p:fltVal val="0"/>
                                          </p:val>
                                        </p:tav>
                                        <p:tav tm="100000">
                                          <p:val>
                                            <p:strVal val="#ppt_w"/>
                                          </p:val>
                                        </p:tav>
                                      </p:tavLst>
                                    </p:anim>
                                    <p:anim calcmode="lin" valueType="num">
                                      <p:cBhvr>
                                        <p:cTn id="50" dur="500" fill="hold"/>
                                        <p:tgtEl>
                                          <p:spTgt spid="40"/>
                                        </p:tgtEl>
                                        <p:attrNameLst>
                                          <p:attrName>ppt_h</p:attrName>
                                        </p:attrNameLst>
                                      </p:cBhvr>
                                      <p:tavLst>
                                        <p:tav tm="0">
                                          <p:val>
                                            <p:fltVal val="0"/>
                                          </p:val>
                                        </p:tav>
                                        <p:tav tm="100000">
                                          <p:val>
                                            <p:strVal val="#ppt_h"/>
                                          </p:val>
                                        </p:tav>
                                      </p:tavLst>
                                    </p:anim>
                                    <p:animEffect transition="in" filter="fade">
                                      <p:cBhvr>
                                        <p:cTn id="51" dur="500"/>
                                        <p:tgtEl>
                                          <p:spTgt spid="40"/>
                                        </p:tgtEl>
                                      </p:cBhvr>
                                    </p:animEffect>
                                  </p:childTnLst>
                                </p:cTn>
                              </p:par>
                              <p:par>
                                <p:cTn id="52" presetID="53" presetClass="entr" presetSubtype="16" fill="hold" grpId="0" nodeType="withEffect">
                                  <p:stCondLst>
                                    <p:cond delay="700"/>
                                  </p:stCondLst>
                                  <p:childTnLst>
                                    <p:set>
                                      <p:cBhvr>
                                        <p:cTn id="53" dur="1" fill="hold">
                                          <p:stCondLst>
                                            <p:cond delay="0"/>
                                          </p:stCondLst>
                                        </p:cTn>
                                        <p:tgtEl>
                                          <p:spTgt spid="39"/>
                                        </p:tgtEl>
                                        <p:attrNameLst>
                                          <p:attrName>style.visibility</p:attrName>
                                        </p:attrNameLst>
                                      </p:cBhvr>
                                      <p:to>
                                        <p:strVal val="visible"/>
                                      </p:to>
                                    </p:set>
                                    <p:anim calcmode="lin" valueType="num">
                                      <p:cBhvr>
                                        <p:cTn id="54" dur="500" fill="hold"/>
                                        <p:tgtEl>
                                          <p:spTgt spid="39"/>
                                        </p:tgtEl>
                                        <p:attrNameLst>
                                          <p:attrName>ppt_w</p:attrName>
                                        </p:attrNameLst>
                                      </p:cBhvr>
                                      <p:tavLst>
                                        <p:tav tm="0">
                                          <p:val>
                                            <p:fltVal val="0"/>
                                          </p:val>
                                        </p:tav>
                                        <p:tav tm="100000">
                                          <p:val>
                                            <p:strVal val="#ppt_w"/>
                                          </p:val>
                                        </p:tav>
                                      </p:tavLst>
                                    </p:anim>
                                    <p:anim calcmode="lin" valueType="num">
                                      <p:cBhvr>
                                        <p:cTn id="55" dur="500" fill="hold"/>
                                        <p:tgtEl>
                                          <p:spTgt spid="39"/>
                                        </p:tgtEl>
                                        <p:attrNameLst>
                                          <p:attrName>ppt_h</p:attrName>
                                        </p:attrNameLst>
                                      </p:cBhvr>
                                      <p:tavLst>
                                        <p:tav tm="0">
                                          <p:val>
                                            <p:fltVal val="0"/>
                                          </p:val>
                                        </p:tav>
                                        <p:tav tm="100000">
                                          <p:val>
                                            <p:strVal val="#ppt_h"/>
                                          </p:val>
                                        </p:tav>
                                      </p:tavLst>
                                    </p:anim>
                                    <p:animEffect transition="in" filter="fade">
                                      <p:cBhvr>
                                        <p:cTn id="56" dur="500"/>
                                        <p:tgtEl>
                                          <p:spTgt spid="39"/>
                                        </p:tgtEl>
                                      </p:cBhvr>
                                    </p:animEffect>
                                  </p:childTnLst>
                                </p:cTn>
                              </p:par>
                              <p:par>
                                <p:cTn id="57" presetID="53" presetClass="entr" presetSubtype="16" fill="hold" grpId="0" nodeType="withEffect">
                                  <p:stCondLst>
                                    <p:cond delay="800"/>
                                  </p:stCondLst>
                                  <p:childTnLst>
                                    <p:set>
                                      <p:cBhvr>
                                        <p:cTn id="58" dur="1" fill="hold">
                                          <p:stCondLst>
                                            <p:cond delay="0"/>
                                          </p:stCondLst>
                                        </p:cTn>
                                        <p:tgtEl>
                                          <p:spTgt spid="69"/>
                                        </p:tgtEl>
                                        <p:attrNameLst>
                                          <p:attrName>style.visibility</p:attrName>
                                        </p:attrNameLst>
                                      </p:cBhvr>
                                      <p:to>
                                        <p:strVal val="visible"/>
                                      </p:to>
                                    </p:set>
                                    <p:anim calcmode="lin" valueType="num">
                                      <p:cBhvr>
                                        <p:cTn id="59" dur="500" fill="hold"/>
                                        <p:tgtEl>
                                          <p:spTgt spid="69"/>
                                        </p:tgtEl>
                                        <p:attrNameLst>
                                          <p:attrName>ppt_w</p:attrName>
                                        </p:attrNameLst>
                                      </p:cBhvr>
                                      <p:tavLst>
                                        <p:tav tm="0">
                                          <p:val>
                                            <p:fltVal val="0"/>
                                          </p:val>
                                        </p:tav>
                                        <p:tav tm="100000">
                                          <p:val>
                                            <p:strVal val="#ppt_w"/>
                                          </p:val>
                                        </p:tav>
                                      </p:tavLst>
                                    </p:anim>
                                    <p:anim calcmode="lin" valueType="num">
                                      <p:cBhvr>
                                        <p:cTn id="60" dur="500" fill="hold"/>
                                        <p:tgtEl>
                                          <p:spTgt spid="69"/>
                                        </p:tgtEl>
                                        <p:attrNameLst>
                                          <p:attrName>ppt_h</p:attrName>
                                        </p:attrNameLst>
                                      </p:cBhvr>
                                      <p:tavLst>
                                        <p:tav tm="0">
                                          <p:val>
                                            <p:fltVal val="0"/>
                                          </p:val>
                                        </p:tav>
                                        <p:tav tm="100000">
                                          <p:val>
                                            <p:strVal val="#ppt_h"/>
                                          </p:val>
                                        </p:tav>
                                      </p:tavLst>
                                    </p:anim>
                                    <p:animEffect transition="in" filter="fade">
                                      <p:cBhvr>
                                        <p:cTn id="61" dur="500"/>
                                        <p:tgtEl>
                                          <p:spTgt spid="69"/>
                                        </p:tgtEl>
                                      </p:cBhvr>
                                    </p:animEffect>
                                  </p:childTnLst>
                                </p:cTn>
                              </p:par>
                              <p:par>
                                <p:cTn id="62" presetID="53" presetClass="entr" presetSubtype="16" fill="hold" grpId="0" nodeType="withEffect">
                                  <p:stCondLst>
                                    <p:cond delay="900"/>
                                  </p:stCondLst>
                                  <p:childTnLst>
                                    <p:set>
                                      <p:cBhvr>
                                        <p:cTn id="63" dur="1" fill="hold">
                                          <p:stCondLst>
                                            <p:cond delay="0"/>
                                          </p:stCondLst>
                                        </p:cTn>
                                        <p:tgtEl>
                                          <p:spTgt spid="59"/>
                                        </p:tgtEl>
                                        <p:attrNameLst>
                                          <p:attrName>style.visibility</p:attrName>
                                        </p:attrNameLst>
                                      </p:cBhvr>
                                      <p:to>
                                        <p:strVal val="visible"/>
                                      </p:to>
                                    </p:set>
                                    <p:anim calcmode="lin" valueType="num">
                                      <p:cBhvr>
                                        <p:cTn id="64" dur="500" fill="hold"/>
                                        <p:tgtEl>
                                          <p:spTgt spid="59"/>
                                        </p:tgtEl>
                                        <p:attrNameLst>
                                          <p:attrName>ppt_w</p:attrName>
                                        </p:attrNameLst>
                                      </p:cBhvr>
                                      <p:tavLst>
                                        <p:tav tm="0">
                                          <p:val>
                                            <p:fltVal val="0"/>
                                          </p:val>
                                        </p:tav>
                                        <p:tav tm="100000">
                                          <p:val>
                                            <p:strVal val="#ppt_w"/>
                                          </p:val>
                                        </p:tav>
                                      </p:tavLst>
                                    </p:anim>
                                    <p:anim calcmode="lin" valueType="num">
                                      <p:cBhvr>
                                        <p:cTn id="65" dur="500" fill="hold"/>
                                        <p:tgtEl>
                                          <p:spTgt spid="59"/>
                                        </p:tgtEl>
                                        <p:attrNameLst>
                                          <p:attrName>ppt_h</p:attrName>
                                        </p:attrNameLst>
                                      </p:cBhvr>
                                      <p:tavLst>
                                        <p:tav tm="0">
                                          <p:val>
                                            <p:fltVal val="0"/>
                                          </p:val>
                                        </p:tav>
                                        <p:tav tm="100000">
                                          <p:val>
                                            <p:strVal val="#ppt_h"/>
                                          </p:val>
                                        </p:tav>
                                      </p:tavLst>
                                    </p:anim>
                                    <p:animEffect transition="in" filter="fade">
                                      <p:cBhvr>
                                        <p:cTn id="66" dur="500"/>
                                        <p:tgtEl>
                                          <p:spTgt spid="59"/>
                                        </p:tgtEl>
                                      </p:cBhvr>
                                    </p:animEffect>
                                  </p:childTnLst>
                                </p:cTn>
                              </p:par>
                              <p:par>
                                <p:cTn id="67" presetID="53" presetClass="entr" presetSubtype="16" fill="hold" grpId="0" nodeType="withEffect">
                                  <p:stCondLst>
                                    <p:cond delay="1000"/>
                                  </p:stCondLst>
                                  <p:childTnLst>
                                    <p:set>
                                      <p:cBhvr>
                                        <p:cTn id="68" dur="1" fill="hold">
                                          <p:stCondLst>
                                            <p:cond delay="0"/>
                                          </p:stCondLst>
                                        </p:cTn>
                                        <p:tgtEl>
                                          <p:spTgt spid="31"/>
                                        </p:tgtEl>
                                        <p:attrNameLst>
                                          <p:attrName>style.visibility</p:attrName>
                                        </p:attrNameLst>
                                      </p:cBhvr>
                                      <p:to>
                                        <p:strVal val="visible"/>
                                      </p:to>
                                    </p:set>
                                    <p:anim calcmode="lin" valueType="num">
                                      <p:cBhvr>
                                        <p:cTn id="69" dur="500" fill="hold"/>
                                        <p:tgtEl>
                                          <p:spTgt spid="31"/>
                                        </p:tgtEl>
                                        <p:attrNameLst>
                                          <p:attrName>ppt_w</p:attrName>
                                        </p:attrNameLst>
                                      </p:cBhvr>
                                      <p:tavLst>
                                        <p:tav tm="0">
                                          <p:val>
                                            <p:fltVal val="0"/>
                                          </p:val>
                                        </p:tav>
                                        <p:tav tm="100000">
                                          <p:val>
                                            <p:strVal val="#ppt_w"/>
                                          </p:val>
                                        </p:tav>
                                      </p:tavLst>
                                    </p:anim>
                                    <p:anim calcmode="lin" valueType="num">
                                      <p:cBhvr>
                                        <p:cTn id="70" dur="500" fill="hold"/>
                                        <p:tgtEl>
                                          <p:spTgt spid="31"/>
                                        </p:tgtEl>
                                        <p:attrNameLst>
                                          <p:attrName>ppt_h</p:attrName>
                                        </p:attrNameLst>
                                      </p:cBhvr>
                                      <p:tavLst>
                                        <p:tav tm="0">
                                          <p:val>
                                            <p:fltVal val="0"/>
                                          </p:val>
                                        </p:tav>
                                        <p:tav tm="100000">
                                          <p:val>
                                            <p:strVal val="#ppt_h"/>
                                          </p:val>
                                        </p:tav>
                                      </p:tavLst>
                                    </p:anim>
                                    <p:animEffect transition="in" filter="fade">
                                      <p:cBhvr>
                                        <p:cTn id="71" dur="500"/>
                                        <p:tgtEl>
                                          <p:spTgt spid="31"/>
                                        </p:tgtEl>
                                      </p:cBhvr>
                                    </p:animEffect>
                                  </p:childTnLst>
                                </p:cTn>
                              </p:par>
                              <p:par>
                                <p:cTn id="72" presetID="22" presetClass="entr" presetSubtype="8" fill="hold" nodeType="withEffect">
                                  <p:stCondLst>
                                    <p:cond delay="1000"/>
                                  </p:stCondLst>
                                  <p:childTnLst>
                                    <p:set>
                                      <p:cBhvr>
                                        <p:cTn id="73" dur="1" fill="hold">
                                          <p:stCondLst>
                                            <p:cond delay="0"/>
                                          </p:stCondLst>
                                        </p:cTn>
                                        <p:tgtEl>
                                          <p:spTgt spid="68"/>
                                        </p:tgtEl>
                                        <p:attrNameLst>
                                          <p:attrName>style.visibility</p:attrName>
                                        </p:attrNameLst>
                                      </p:cBhvr>
                                      <p:to>
                                        <p:strVal val="visible"/>
                                      </p:to>
                                    </p:set>
                                    <p:animEffect transition="in" filter="wipe(left)">
                                      <p:cBhvr>
                                        <p:cTn id="74" dur="500"/>
                                        <p:tgtEl>
                                          <p:spTgt spid="68"/>
                                        </p:tgtEl>
                                      </p:cBhvr>
                                    </p:animEffect>
                                  </p:childTnLst>
                                </p:cTn>
                              </p:par>
                              <p:par>
                                <p:cTn id="75" presetID="53" presetClass="entr" presetSubtype="16" fill="hold" grpId="0" nodeType="withEffect">
                                  <p:stCondLst>
                                    <p:cond delay="1100"/>
                                  </p:stCondLst>
                                  <p:childTnLst>
                                    <p:set>
                                      <p:cBhvr>
                                        <p:cTn id="76" dur="1" fill="hold">
                                          <p:stCondLst>
                                            <p:cond delay="0"/>
                                          </p:stCondLst>
                                        </p:cTn>
                                        <p:tgtEl>
                                          <p:spTgt spid="43"/>
                                        </p:tgtEl>
                                        <p:attrNameLst>
                                          <p:attrName>style.visibility</p:attrName>
                                        </p:attrNameLst>
                                      </p:cBhvr>
                                      <p:to>
                                        <p:strVal val="visible"/>
                                      </p:to>
                                    </p:set>
                                    <p:anim calcmode="lin" valueType="num">
                                      <p:cBhvr>
                                        <p:cTn id="77" dur="500" fill="hold"/>
                                        <p:tgtEl>
                                          <p:spTgt spid="43"/>
                                        </p:tgtEl>
                                        <p:attrNameLst>
                                          <p:attrName>ppt_w</p:attrName>
                                        </p:attrNameLst>
                                      </p:cBhvr>
                                      <p:tavLst>
                                        <p:tav tm="0">
                                          <p:val>
                                            <p:fltVal val="0"/>
                                          </p:val>
                                        </p:tav>
                                        <p:tav tm="100000">
                                          <p:val>
                                            <p:strVal val="#ppt_w"/>
                                          </p:val>
                                        </p:tav>
                                      </p:tavLst>
                                    </p:anim>
                                    <p:anim calcmode="lin" valueType="num">
                                      <p:cBhvr>
                                        <p:cTn id="78" dur="500" fill="hold"/>
                                        <p:tgtEl>
                                          <p:spTgt spid="43"/>
                                        </p:tgtEl>
                                        <p:attrNameLst>
                                          <p:attrName>ppt_h</p:attrName>
                                        </p:attrNameLst>
                                      </p:cBhvr>
                                      <p:tavLst>
                                        <p:tav tm="0">
                                          <p:val>
                                            <p:fltVal val="0"/>
                                          </p:val>
                                        </p:tav>
                                        <p:tav tm="100000">
                                          <p:val>
                                            <p:strVal val="#ppt_h"/>
                                          </p:val>
                                        </p:tav>
                                      </p:tavLst>
                                    </p:anim>
                                    <p:animEffect transition="in" filter="fade">
                                      <p:cBhvr>
                                        <p:cTn id="79" dur="500"/>
                                        <p:tgtEl>
                                          <p:spTgt spid="43"/>
                                        </p:tgtEl>
                                      </p:cBhvr>
                                    </p:animEffect>
                                  </p:childTnLst>
                                </p:cTn>
                              </p:par>
                              <p:par>
                                <p:cTn id="80" presetID="53" presetClass="entr" presetSubtype="16" fill="hold" grpId="0" nodeType="withEffect">
                                  <p:stCondLst>
                                    <p:cond delay="1200"/>
                                  </p:stCondLst>
                                  <p:childTnLst>
                                    <p:set>
                                      <p:cBhvr>
                                        <p:cTn id="81" dur="1" fill="hold">
                                          <p:stCondLst>
                                            <p:cond delay="0"/>
                                          </p:stCondLst>
                                        </p:cTn>
                                        <p:tgtEl>
                                          <p:spTgt spid="45"/>
                                        </p:tgtEl>
                                        <p:attrNameLst>
                                          <p:attrName>style.visibility</p:attrName>
                                        </p:attrNameLst>
                                      </p:cBhvr>
                                      <p:to>
                                        <p:strVal val="visible"/>
                                      </p:to>
                                    </p:set>
                                    <p:anim calcmode="lin" valueType="num">
                                      <p:cBhvr>
                                        <p:cTn id="82" dur="500" fill="hold"/>
                                        <p:tgtEl>
                                          <p:spTgt spid="45"/>
                                        </p:tgtEl>
                                        <p:attrNameLst>
                                          <p:attrName>ppt_w</p:attrName>
                                        </p:attrNameLst>
                                      </p:cBhvr>
                                      <p:tavLst>
                                        <p:tav tm="0">
                                          <p:val>
                                            <p:fltVal val="0"/>
                                          </p:val>
                                        </p:tav>
                                        <p:tav tm="100000">
                                          <p:val>
                                            <p:strVal val="#ppt_w"/>
                                          </p:val>
                                        </p:tav>
                                      </p:tavLst>
                                    </p:anim>
                                    <p:anim calcmode="lin" valueType="num">
                                      <p:cBhvr>
                                        <p:cTn id="83" dur="500" fill="hold"/>
                                        <p:tgtEl>
                                          <p:spTgt spid="45"/>
                                        </p:tgtEl>
                                        <p:attrNameLst>
                                          <p:attrName>ppt_h</p:attrName>
                                        </p:attrNameLst>
                                      </p:cBhvr>
                                      <p:tavLst>
                                        <p:tav tm="0">
                                          <p:val>
                                            <p:fltVal val="0"/>
                                          </p:val>
                                        </p:tav>
                                        <p:tav tm="100000">
                                          <p:val>
                                            <p:strVal val="#ppt_h"/>
                                          </p:val>
                                        </p:tav>
                                      </p:tavLst>
                                    </p:anim>
                                    <p:animEffect transition="in" filter="fade">
                                      <p:cBhvr>
                                        <p:cTn id="84" dur="500"/>
                                        <p:tgtEl>
                                          <p:spTgt spid="45"/>
                                        </p:tgtEl>
                                      </p:cBhvr>
                                    </p:animEffect>
                                  </p:childTnLst>
                                </p:cTn>
                              </p:par>
                              <p:par>
                                <p:cTn id="85" presetID="53" presetClass="entr" presetSubtype="16" fill="hold" grpId="0" nodeType="withEffect">
                                  <p:stCondLst>
                                    <p:cond delay="1300"/>
                                  </p:stCondLst>
                                  <p:childTnLst>
                                    <p:set>
                                      <p:cBhvr>
                                        <p:cTn id="86" dur="1" fill="hold">
                                          <p:stCondLst>
                                            <p:cond delay="0"/>
                                          </p:stCondLst>
                                        </p:cTn>
                                        <p:tgtEl>
                                          <p:spTgt spid="54"/>
                                        </p:tgtEl>
                                        <p:attrNameLst>
                                          <p:attrName>style.visibility</p:attrName>
                                        </p:attrNameLst>
                                      </p:cBhvr>
                                      <p:to>
                                        <p:strVal val="visible"/>
                                      </p:to>
                                    </p:set>
                                    <p:anim calcmode="lin" valueType="num">
                                      <p:cBhvr>
                                        <p:cTn id="87" dur="500" fill="hold"/>
                                        <p:tgtEl>
                                          <p:spTgt spid="54"/>
                                        </p:tgtEl>
                                        <p:attrNameLst>
                                          <p:attrName>ppt_w</p:attrName>
                                        </p:attrNameLst>
                                      </p:cBhvr>
                                      <p:tavLst>
                                        <p:tav tm="0">
                                          <p:val>
                                            <p:fltVal val="0"/>
                                          </p:val>
                                        </p:tav>
                                        <p:tav tm="100000">
                                          <p:val>
                                            <p:strVal val="#ppt_w"/>
                                          </p:val>
                                        </p:tav>
                                      </p:tavLst>
                                    </p:anim>
                                    <p:anim calcmode="lin" valueType="num">
                                      <p:cBhvr>
                                        <p:cTn id="88" dur="500" fill="hold"/>
                                        <p:tgtEl>
                                          <p:spTgt spid="54"/>
                                        </p:tgtEl>
                                        <p:attrNameLst>
                                          <p:attrName>ppt_h</p:attrName>
                                        </p:attrNameLst>
                                      </p:cBhvr>
                                      <p:tavLst>
                                        <p:tav tm="0">
                                          <p:val>
                                            <p:fltVal val="0"/>
                                          </p:val>
                                        </p:tav>
                                        <p:tav tm="100000">
                                          <p:val>
                                            <p:strVal val="#ppt_h"/>
                                          </p:val>
                                        </p:tav>
                                      </p:tavLst>
                                    </p:anim>
                                    <p:animEffect transition="in" filter="fade">
                                      <p:cBhvr>
                                        <p:cTn id="89" dur="500"/>
                                        <p:tgtEl>
                                          <p:spTgt spid="54"/>
                                        </p:tgtEl>
                                      </p:cBhvr>
                                    </p:animEffect>
                                  </p:childTnLst>
                                </p:cTn>
                              </p:par>
                              <p:par>
                                <p:cTn id="90" presetID="53" presetClass="entr" presetSubtype="16" fill="hold" grpId="0" nodeType="withEffect">
                                  <p:stCondLst>
                                    <p:cond delay="1400"/>
                                  </p:stCondLst>
                                  <p:childTnLst>
                                    <p:set>
                                      <p:cBhvr>
                                        <p:cTn id="91" dur="1" fill="hold">
                                          <p:stCondLst>
                                            <p:cond delay="0"/>
                                          </p:stCondLst>
                                        </p:cTn>
                                        <p:tgtEl>
                                          <p:spTgt spid="46"/>
                                        </p:tgtEl>
                                        <p:attrNameLst>
                                          <p:attrName>style.visibility</p:attrName>
                                        </p:attrNameLst>
                                      </p:cBhvr>
                                      <p:to>
                                        <p:strVal val="visible"/>
                                      </p:to>
                                    </p:set>
                                    <p:anim calcmode="lin" valueType="num">
                                      <p:cBhvr>
                                        <p:cTn id="92" dur="500" fill="hold"/>
                                        <p:tgtEl>
                                          <p:spTgt spid="46"/>
                                        </p:tgtEl>
                                        <p:attrNameLst>
                                          <p:attrName>ppt_w</p:attrName>
                                        </p:attrNameLst>
                                      </p:cBhvr>
                                      <p:tavLst>
                                        <p:tav tm="0">
                                          <p:val>
                                            <p:fltVal val="0"/>
                                          </p:val>
                                        </p:tav>
                                        <p:tav tm="100000">
                                          <p:val>
                                            <p:strVal val="#ppt_w"/>
                                          </p:val>
                                        </p:tav>
                                      </p:tavLst>
                                    </p:anim>
                                    <p:anim calcmode="lin" valueType="num">
                                      <p:cBhvr>
                                        <p:cTn id="93" dur="500" fill="hold"/>
                                        <p:tgtEl>
                                          <p:spTgt spid="46"/>
                                        </p:tgtEl>
                                        <p:attrNameLst>
                                          <p:attrName>ppt_h</p:attrName>
                                        </p:attrNameLst>
                                      </p:cBhvr>
                                      <p:tavLst>
                                        <p:tav tm="0">
                                          <p:val>
                                            <p:fltVal val="0"/>
                                          </p:val>
                                        </p:tav>
                                        <p:tav tm="100000">
                                          <p:val>
                                            <p:strVal val="#ppt_h"/>
                                          </p:val>
                                        </p:tav>
                                      </p:tavLst>
                                    </p:anim>
                                    <p:animEffect transition="in" filter="fade">
                                      <p:cBhvr>
                                        <p:cTn id="94" dur="500"/>
                                        <p:tgtEl>
                                          <p:spTgt spid="46"/>
                                        </p:tgtEl>
                                      </p:cBhvr>
                                    </p:animEffect>
                                  </p:childTnLst>
                                </p:cTn>
                              </p:par>
                            </p:childTnLst>
                          </p:cTn>
                        </p:par>
                        <p:par>
                          <p:cTn id="95" fill="hold">
                            <p:stCondLst>
                              <p:cond delay="2900"/>
                            </p:stCondLst>
                            <p:childTnLst>
                              <p:par>
                                <p:cTn id="96" presetID="53" presetClass="entr" presetSubtype="16" fill="hold" grpId="0" nodeType="afterEffect">
                                  <p:stCondLst>
                                    <p:cond delay="0"/>
                                  </p:stCondLst>
                                  <p:childTnLst>
                                    <p:set>
                                      <p:cBhvr>
                                        <p:cTn id="97" dur="1" fill="hold">
                                          <p:stCondLst>
                                            <p:cond delay="0"/>
                                          </p:stCondLst>
                                        </p:cTn>
                                        <p:tgtEl>
                                          <p:spTgt spid="50"/>
                                        </p:tgtEl>
                                        <p:attrNameLst>
                                          <p:attrName>style.visibility</p:attrName>
                                        </p:attrNameLst>
                                      </p:cBhvr>
                                      <p:to>
                                        <p:strVal val="visible"/>
                                      </p:to>
                                    </p:set>
                                    <p:anim calcmode="lin" valueType="num">
                                      <p:cBhvr>
                                        <p:cTn id="98" dur="500" fill="hold"/>
                                        <p:tgtEl>
                                          <p:spTgt spid="50"/>
                                        </p:tgtEl>
                                        <p:attrNameLst>
                                          <p:attrName>ppt_w</p:attrName>
                                        </p:attrNameLst>
                                      </p:cBhvr>
                                      <p:tavLst>
                                        <p:tav tm="0">
                                          <p:val>
                                            <p:fltVal val="0"/>
                                          </p:val>
                                        </p:tav>
                                        <p:tav tm="100000">
                                          <p:val>
                                            <p:strVal val="#ppt_w"/>
                                          </p:val>
                                        </p:tav>
                                      </p:tavLst>
                                    </p:anim>
                                    <p:anim calcmode="lin" valueType="num">
                                      <p:cBhvr>
                                        <p:cTn id="99" dur="500" fill="hold"/>
                                        <p:tgtEl>
                                          <p:spTgt spid="50"/>
                                        </p:tgtEl>
                                        <p:attrNameLst>
                                          <p:attrName>ppt_h</p:attrName>
                                        </p:attrNameLst>
                                      </p:cBhvr>
                                      <p:tavLst>
                                        <p:tav tm="0">
                                          <p:val>
                                            <p:fltVal val="0"/>
                                          </p:val>
                                        </p:tav>
                                        <p:tav tm="100000">
                                          <p:val>
                                            <p:strVal val="#ppt_h"/>
                                          </p:val>
                                        </p:tav>
                                      </p:tavLst>
                                    </p:anim>
                                    <p:animEffect transition="in" filter="fade">
                                      <p:cBhvr>
                                        <p:cTn id="100" dur="500"/>
                                        <p:tgtEl>
                                          <p:spTgt spid="50"/>
                                        </p:tgtEl>
                                      </p:cBhvr>
                                    </p:animEffect>
                                  </p:childTnLst>
                                </p:cTn>
                              </p:par>
                              <p:par>
                                <p:cTn id="101" presetID="53" presetClass="entr" presetSubtype="16" fill="hold" grpId="0" nodeType="withEffect">
                                  <p:stCondLst>
                                    <p:cond delay="100"/>
                                  </p:stCondLst>
                                  <p:childTnLst>
                                    <p:set>
                                      <p:cBhvr>
                                        <p:cTn id="102" dur="1" fill="hold">
                                          <p:stCondLst>
                                            <p:cond delay="0"/>
                                          </p:stCondLst>
                                        </p:cTn>
                                        <p:tgtEl>
                                          <p:spTgt spid="70"/>
                                        </p:tgtEl>
                                        <p:attrNameLst>
                                          <p:attrName>style.visibility</p:attrName>
                                        </p:attrNameLst>
                                      </p:cBhvr>
                                      <p:to>
                                        <p:strVal val="visible"/>
                                      </p:to>
                                    </p:set>
                                    <p:anim calcmode="lin" valueType="num">
                                      <p:cBhvr>
                                        <p:cTn id="103" dur="500" fill="hold"/>
                                        <p:tgtEl>
                                          <p:spTgt spid="70"/>
                                        </p:tgtEl>
                                        <p:attrNameLst>
                                          <p:attrName>ppt_w</p:attrName>
                                        </p:attrNameLst>
                                      </p:cBhvr>
                                      <p:tavLst>
                                        <p:tav tm="0">
                                          <p:val>
                                            <p:fltVal val="0"/>
                                          </p:val>
                                        </p:tav>
                                        <p:tav tm="100000">
                                          <p:val>
                                            <p:strVal val="#ppt_w"/>
                                          </p:val>
                                        </p:tav>
                                      </p:tavLst>
                                    </p:anim>
                                    <p:anim calcmode="lin" valueType="num">
                                      <p:cBhvr>
                                        <p:cTn id="104" dur="500" fill="hold"/>
                                        <p:tgtEl>
                                          <p:spTgt spid="70"/>
                                        </p:tgtEl>
                                        <p:attrNameLst>
                                          <p:attrName>ppt_h</p:attrName>
                                        </p:attrNameLst>
                                      </p:cBhvr>
                                      <p:tavLst>
                                        <p:tav tm="0">
                                          <p:val>
                                            <p:fltVal val="0"/>
                                          </p:val>
                                        </p:tav>
                                        <p:tav tm="100000">
                                          <p:val>
                                            <p:strVal val="#ppt_h"/>
                                          </p:val>
                                        </p:tav>
                                      </p:tavLst>
                                    </p:anim>
                                    <p:animEffect transition="in" filter="fade">
                                      <p:cBhvr>
                                        <p:cTn id="105" dur="500"/>
                                        <p:tgtEl>
                                          <p:spTgt spid="70"/>
                                        </p:tgtEl>
                                      </p:cBhvr>
                                    </p:animEffect>
                                  </p:childTnLst>
                                </p:cTn>
                              </p:par>
                              <p:par>
                                <p:cTn id="106" presetID="53" presetClass="entr" presetSubtype="16" fill="hold" grpId="0" nodeType="withEffect">
                                  <p:stCondLst>
                                    <p:cond delay="200"/>
                                  </p:stCondLst>
                                  <p:childTnLst>
                                    <p:set>
                                      <p:cBhvr>
                                        <p:cTn id="107" dur="1" fill="hold">
                                          <p:stCondLst>
                                            <p:cond delay="0"/>
                                          </p:stCondLst>
                                        </p:cTn>
                                        <p:tgtEl>
                                          <p:spTgt spid="35"/>
                                        </p:tgtEl>
                                        <p:attrNameLst>
                                          <p:attrName>style.visibility</p:attrName>
                                        </p:attrNameLst>
                                      </p:cBhvr>
                                      <p:to>
                                        <p:strVal val="visible"/>
                                      </p:to>
                                    </p:set>
                                    <p:anim calcmode="lin" valueType="num">
                                      <p:cBhvr>
                                        <p:cTn id="108" dur="500" fill="hold"/>
                                        <p:tgtEl>
                                          <p:spTgt spid="35"/>
                                        </p:tgtEl>
                                        <p:attrNameLst>
                                          <p:attrName>ppt_w</p:attrName>
                                        </p:attrNameLst>
                                      </p:cBhvr>
                                      <p:tavLst>
                                        <p:tav tm="0">
                                          <p:val>
                                            <p:fltVal val="0"/>
                                          </p:val>
                                        </p:tav>
                                        <p:tav tm="100000">
                                          <p:val>
                                            <p:strVal val="#ppt_w"/>
                                          </p:val>
                                        </p:tav>
                                      </p:tavLst>
                                    </p:anim>
                                    <p:anim calcmode="lin" valueType="num">
                                      <p:cBhvr>
                                        <p:cTn id="109" dur="500" fill="hold"/>
                                        <p:tgtEl>
                                          <p:spTgt spid="35"/>
                                        </p:tgtEl>
                                        <p:attrNameLst>
                                          <p:attrName>ppt_h</p:attrName>
                                        </p:attrNameLst>
                                      </p:cBhvr>
                                      <p:tavLst>
                                        <p:tav tm="0">
                                          <p:val>
                                            <p:fltVal val="0"/>
                                          </p:val>
                                        </p:tav>
                                        <p:tav tm="100000">
                                          <p:val>
                                            <p:strVal val="#ppt_h"/>
                                          </p:val>
                                        </p:tav>
                                      </p:tavLst>
                                    </p:anim>
                                    <p:animEffect transition="in" filter="fade">
                                      <p:cBhvr>
                                        <p:cTn id="110" dur="500"/>
                                        <p:tgtEl>
                                          <p:spTgt spid="35"/>
                                        </p:tgtEl>
                                      </p:cBhvr>
                                    </p:animEffect>
                                  </p:childTnLst>
                                </p:cTn>
                              </p:par>
                              <p:par>
                                <p:cTn id="111" presetID="22" presetClass="entr" presetSubtype="2" fill="hold" nodeType="withEffect">
                                  <p:stCondLst>
                                    <p:cond delay="200"/>
                                  </p:stCondLst>
                                  <p:childTnLst>
                                    <p:set>
                                      <p:cBhvr>
                                        <p:cTn id="112" dur="1" fill="hold">
                                          <p:stCondLst>
                                            <p:cond delay="0"/>
                                          </p:stCondLst>
                                        </p:cTn>
                                        <p:tgtEl>
                                          <p:spTgt spid="60"/>
                                        </p:tgtEl>
                                        <p:attrNameLst>
                                          <p:attrName>style.visibility</p:attrName>
                                        </p:attrNameLst>
                                      </p:cBhvr>
                                      <p:to>
                                        <p:strVal val="visible"/>
                                      </p:to>
                                    </p:set>
                                    <p:animEffect transition="in" filter="wipe(right)">
                                      <p:cBhvr>
                                        <p:cTn id="113" dur="500"/>
                                        <p:tgtEl>
                                          <p:spTgt spid="60"/>
                                        </p:tgtEl>
                                      </p:cBhvr>
                                    </p:animEffect>
                                  </p:childTnLst>
                                </p:cTn>
                              </p:par>
                              <p:par>
                                <p:cTn id="114" presetID="53" presetClass="entr" presetSubtype="16" fill="hold" grpId="0" nodeType="withEffect">
                                  <p:stCondLst>
                                    <p:cond delay="300"/>
                                  </p:stCondLst>
                                  <p:childTnLst>
                                    <p:set>
                                      <p:cBhvr>
                                        <p:cTn id="115" dur="1" fill="hold">
                                          <p:stCondLst>
                                            <p:cond delay="0"/>
                                          </p:stCondLst>
                                        </p:cTn>
                                        <p:tgtEl>
                                          <p:spTgt spid="48"/>
                                        </p:tgtEl>
                                        <p:attrNameLst>
                                          <p:attrName>style.visibility</p:attrName>
                                        </p:attrNameLst>
                                      </p:cBhvr>
                                      <p:to>
                                        <p:strVal val="visible"/>
                                      </p:to>
                                    </p:set>
                                    <p:anim calcmode="lin" valueType="num">
                                      <p:cBhvr>
                                        <p:cTn id="116" dur="500" fill="hold"/>
                                        <p:tgtEl>
                                          <p:spTgt spid="48"/>
                                        </p:tgtEl>
                                        <p:attrNameLst>
                                          <p:attrName>ppt_w</p:attrName>
                                        </p:attrNameLst>
                                      </p:cBhvr>
                                      <p:tavLst>
                                        <p:tav tm="0">
                                          <p:val>
                                            <p:fltVal val="0"/>
                                          </p:val>
                                        </p:tav>
                                        <p:tav tm="100000">
                                          <p:val>
                                            <p:strVal val="#ppt_w"/>
                                          </p:val>
                                        </p:tav>
                                      </p:tavLst>
                                    </p:anim>
                                    <p:anim calcmode="lin" valueType="num">
                                      <p:cBhvr>
                                        <p:cTn id="117" dur="500" fill="hold"/>
                                        <p:tgtEl>
                                          <p:spTgt spid="48"/>
                                        </p:tgtEl>
                                        <p:attrNameLst>
                                          <p:attrName>ppt_h</p:attrName>
                                        </p:attrNameLst>
                                      </p:cBhvr>
                                      <p:tavLst>
                                        <p:tav tm="0">
                                          <p:val>
                                            <p:fltVal val="0"/>
                                          </p:val>
                                        </p:tav>
                                        <p:tav tm="100000">
                                          <p:val>
                                            <p:strVal val="#ppt_h"/>
                                          </p:val>
                                        </p:tav>
                                      </p:tavLst>
                                    </p:anim>
                                    <p:animEffect transition="in" filter="fade">
                                      <p:cBhvr>
                                        <p:cTn id="118" dur="500"/>
                                        <p:tgtEl>
                                          <p:spTgt spid="48"/>
                                        </p:tgtEl>
                                      </p:cBhvr>
                                    </p:animEffect>
                                  </p:childTnLst>
                                </p:cTn>
                              </p:par>
                              <p:par>
                                <p:cTn id="119" presetID="53" presetClass="entr" presetSubtype="16" fill="hold" grpId="0" nodeType="withEffect">
                                  <p:stCondLst>
                                    <p:cond delay="400"/>
                                  </p:stCondLst>
                                  <p:childTnLst>
                                    <p:set>
                                      <p:cBhvr>
                                        <p:cTn id="120" dur="1" fill="hold">
                                          <p:stCondLst>
                                            <p:cond delay="0"/>
                                          </p:stCondLst>
                                        </p:cTn>
                                        <p:tgtEl>
                                          <p:spTgt spid="32"/>
                                        </p:tgtEl>
                                        <p:attrNameLst>
                                          <p:attrName>style.visibility</p:attrName>
                                        </p:attrNameLst>
                                      </p:cBhvr>
                                      <p:to>
                                        <p:strVal val="visible"/>
                                      </p:to>
                                    </p:set>
                                    <p:anim calcmode="lin" valueType="num">
                                      <p:cBhvr>
                                        <p:cTn id="121" dur="500" fill="hold"/>
                                        <p:tgtEl>
                                          <p:spTgt spid="32"/>
                                        </p:tgtEl>
                                        <p:attrNameLst>
                                          <p:attrName>ppt_w</p:attrName>
                                        </p:attrNameLst>
                                      </p:cBhvr>
                                      <p:tavLst>
                                        <p:tav tm="0">
                                          <p:val>
                                            <p:fltVal val="0"/>
                                          </p:val>
                                        </p:tav>
                                        <p:tav tm="100000">
                                          <p:val>
                                            <p:strVal val="#ppt_w"/>
                                          </p:val>
                                        </p:tav>
                                      </p:tavLst>
                                    </p:anim>
                                    <p:anim calcmode="lin" valueType="num">
                                      <p:cBhvr>
                                        <p:cTn id="122" dur="500" fill="hold"/>
                                        <p:tgtEl>
                                          <p:spTgt spid="32"/>
                                        </p:tgtEl>
                                        <p:attrNameLst>
                                          <p:attrName>ppt_h</p:attrName>
                                        </p:attrNameLst>
                                      </p:cBhvr>
                                      <p:tavLst>
                                        <p:tav tm="0">
                                          <p:val>
                                            <p:fltVal val="0"/>
                                          </p:val>
                                        </p:tav>
                                        <p:tav tm="100000">
                                          <p:val>
                                            <p:strVal val="#ppt_h"/>
                                          </p:val>
                                        </p:tav>
                                      </p:tavLst>
                                    </p:anim>
                                    <p:animEffect transition="in" filter="fade">
                                      <p:cBhvr>
                                        <p:cTn id="123" dur="500"/>
                                        <p:tgtEl>
                                          <p:spTgt spid="32"/>
                                        </p:tgtEl>
                                      </p:cBhvr>
                                    </p:animEffect>
                                  </p:childTnLst>
                                </p:cTn>
                              </p:par>
                              <p:par>
                                <p:cTn id="124" presetID="22" presetClass="entr" presetSubtype="2" fill="hold" nodeType="withEffect">
                                  <p:stCondLst>
                                    <p:cond delay="400"/>
                                  </p:stCondLst>
                                  <p:childTnLst>
                                    <p:set>
                                      <p:cBhvr>
                                        <p:cTn id="125" dur="1" fill="hold">
                                          <p:stCondLst>
                                            <p:cond delay="0"/>
                                          </p:stCondLst>
                                        </p:cTn>
                                        <p:tgtEl>
                                          <p:spTgt spid="61"/>
                                        </p:tgtEl>
                                        <p:attrNameLst>
                                          <p:attrName>style.visibility</p:attrName>
                                        </p:attrNameLst>
                                      </p:cBhvr>
                                      <p:to>
                                        <p:strVal val="visible"/>
                                      </p:to>
                                    </p:set>
                                    <p:animEffect transition="in" filter="wipe(right)">
                                      <p:cBhvr>
                                        <p:cTn id="126" dur="500"/>
                                        <p:tgtEl>
                                          <p:spTgt spid="61"/>
                                        </p:tgtEl>
                                      </p:cBhvr>
                                    </p:animEffect>
                                  </p:childTnLst>
                                </p:cTn>
                              </p:par>
                              <p:par>
                                <p:cTn id="127" presetID="53" presetClass="entr" presetSubtype="16" fill="hold" grpId="0" nodeType="withEffect">
                                  <p:stCondLst>
                                    <p:cond delay="500"/>
                                  </p:stCondLst>
                                  <p:childTnLst>
                                    <p:set>
                                      <p:cBhvr>
                                        <p:cTn id="128" dur="1" fill="hold">
                                          <p:stCondLst>
                                            <p:cond delay="0"/>
                                          </p:stCondLst>
                                        </p:cTn>
                                        <p:tgtEl>
                                          <p:spTgt spid="49"/>
                                        </p:tgtEl>
                                        <p:attrNameLst>
                                          <p:attrName>style.visibility</p:attrName>
                                        </p:attrNameLst>
                                      </p:cBhvr>
                                      <p:to>
                                        <p:strVal val="visible"/>
                                      </p:to>
                                    </p:set>
                                    <p:anim calcmode="lin" valueType="num">
                                      <p:cBhvr>
                                        <p:cTn id="129" dur="500" fill="hold"/>
                                        <p:tgtEl>
                                          <p:spTgt spid="49"/>
                                        </p:tgtEl>
                                        <p:attrNameLst>
                                          <p:attrName>ppt_w</p:attrName>
                                        </p:attrNameLst>
                                      </p:cBhvr>
                                      <p:tavLst>
                                        <p:tav tm="0">
                                          <p:val>
                                            <p:fltVal val="0"/>
                                          </p:val>
                                        </p:tav>
                                        <p:tav tm="100000">
                                          <p:val>
                                            <p:strVal val="#ppt_w"/>
                                          </p:val>
                                        </p:tav>
                                      </p:tavLst>
                                    </p:anim>
                                    <p:anim calcmode="lin" valueType="num">
                                      <p:cBhvr>
                                        <p:cTn id="130" dur="500" fill="hold"/>
                                        <p:tgtEl>
                                          <p:spTgt spid="49"/>
                                        </p:tgtEl>
                                        <p:attrNameLst>
                                          <p:attrName>ppt_h</p:attrName>
                                        </p:attrNameLst>
                                      </p:cBhvr>
                                      <p:tavLst>
                                        <p:tav tm="0">
                                          <p:val>
                                            <p:fltVal val="0"/>
                                          </p:val>
                                        </p:tav>
                                        <p:tav tm="100000">
                                          <p:val>
                                            <p:strVal val="#ppt_h"/>
                                          </p:val>
                                        </p:tav>
                                      </p:tavLst>
                                    </p:anim>
                                    <p:animEffect transition="in" filter="fade">
                                      <p:cBhvr>
                                        <p:cTn id="131" dur="500"/>
                                        <p:tgtEl>
                                          <p:spTgt spid="49"/>
                                        </p:tgtEl>
                                      </p:cBhvr>
                                    </p:animEffect>
                                  </p:childTnLst>
                                </p:cTn>
                              </p:par>
                              <p:par>
                                <p:cTn id="132" presetID="53" presetClass="entr" presetSubtype="16" fill="hold" grpId="0" nodeType="withEffect">
                                  <p:stCondLst>
                                    <p:cond delay="600"/>
                                  </p:stCondLst>
                                  <p:childTnLst>
                                    <p:set>
                                      <p:cBhvr>
                                        <p:cTn id="133" dur="1" fill="hold">
                                          <p:stCondLst>
                                            <p:cond delay="0"/>
                                          </p:stCondLst>
                                        </p:cTn>
                                        <p:tgtEl>
                                          <p:spTgt spid="55"/>
                                        </p:tgtEl>
                                        <p:attrNameLst>
                                          <p:attrName>style.visibility</p:attrName>
                                        </p:attrNameLst>
                                      </p:cBhvr>
                                      <p:to>
                                        <p:strVal val="visible"/>
                                      </p:to>
                                    </p:set>
                                    <p:anim calcmode="lin" valueType="num">
                                      <p:cBhvr>
                                        <p:cTn id="134" dur="500" fill="hold"/>
                                        <p:tgtEl>
                                          <p:spTgt spid="55"/>
                                        </p:tgtEl>
                                        <p:attrNameLst>
                                          <p:attrName>ppt_w</p:attrName>
                                        </p:attrNameLst>
                                      </p:cBhvr>
                                      <p:tavLst>
                                        <p:tav tm="0">
                                          <p:val>
                                            <p:fltVal val="0"/>
                                          </p:val>
                                        </p:tav>
                                        <p:tav tm="100000">
                                          <p:val>
                                            <p:strVal val="#ppt_w"/>
                                          </p:val>
                                        </p:tav>
                                      </p:tavLst>
                                    </p:anim>
                                    <p:anim calcmode="lin" valueType="num">
                                      <p:cBhvr>
                                        <p:cTn id="135" dur="500" fill="hold"/>
                                        <p:tgtEl>
                                          <p:spTgt spid="55"/>
                                        </p:tgtEl>
                                        <p:attrNameLst>
                                          <p:attrName>ppt_h</p:attrName>
                                        </p:attrNameLst>
                                      </p:cBhvr>
                                      <p:tavLst>
                                        <p:tav tm="0">
                                          <p:val>
                                            <p:fltVal val="0"/>
                                          </p:val>
                                        </p:tav>
                                        <p:tav tm="100000">
                                          <p:val>
                                            <p:strVal val="#ppt_h"/>
                                          </p:val>
                                        </p:tav>
                                      </p:tavLst>
                                    </p:anim>
                                    <p:animEffect transition="in" filter="fade">
                                      <p:cBhvr>
                                        <p:cTn id="136" dur="500"/>
                                        <p:tgtEl>
                                          <p:spTgt spid="55"/>
                                        </p:tgtEl>
                                      </p:cBhvr>
                                    </p:animEffect>
                                  </p:childTnLst>
                                </p:cTn>
                              </p:par>
                              <p:par>
                                <p:cTn id="137" presetID="53" presetClass="entr" presetSubtype="16" fill="hold" grpId="0" nodeType="withEffect">
                                  <p:stCondLst>
                                    <p:cond delay="700"/>
                                  </p:stCondLst>
                                  <p:childTnLst>
                                    <p:set>
                                      <p:cBhvr>
                                        <p:cTn id="138" dur="1" fill="hold">
                                          <p:stCondLst>
                                            <p:cond delay="0"/>
                                          </p:stCondLst>
                                        </p:cTn>
                                        <p:tgtEl>
                                          <p:spTgt spid="42"/>
                                        </p:tgtEl>
                                        <p:attrNameLst>
                                          <p:attrName>style.visibility</p:attrName>
                                        </p:attrNameLst>
                                      </p:cBhvr>
                                      <p:to>
                                        <p:strVal val="visible"/>
                                      </p:to>
                                    </p:set>
                                    <p:anim calcmode="lin" valueType="num">
                                      <p:cBhvr>
                                        <p:cTn id="139" dur="500" fill="hold"/>
                                        <p:tgtEl>
                                          <p:spTgt spid="42"/>
                                        </p:tgtEl>
                                        <p:attrNameLst>
                                          <p:attrName>ppt_w</p:attrName>
                                        </p:attrNameLst>
                                      </p:cBhvr>
                                      <p:tavLst>
                                        <p:tav tm="0">
                                          <p:val>
                                            <p:fltVal val="0"/>
                                          </p:val>
                                        </p:tav>
                                        <p:tav tm="100000">
                                          <p:val>
                                            <p:strVal val="#ppt_w"/>
                                          </p:val>
                                        </p:tav>
                                      </p:tavLst>
                                    </p:anim>
                                    <p:anim calcmode="lin" valueType="num">
                                      <p:cBhvr>
                                        <p:cTn id="140" dur="500" fill="hold"/>
                                        <p:tgtEl>
                                          <p:spTgt spid="42"/>
                                        </p:tgtEl>
                                        <p:attrNameLst>
                                          <p:attrName>ppt_h</p:attrName>
                                        </p:attrNameLst>
                                      </p:cBhvr>
                                      <p:tavLst>
                                        <p:tav tm="0">
                                          <p:val>
                                            <p:fltVal val="0"/>
                                          </p:val>
                                        </p:tav>
                                        <p:tav tm="100000">
                                          <p:val>
                                            <p:strVal val="#ppt_h"/>
                                          </p:val>
                                        </p:tav>
                                      </p:tavLst>
                                    </p:anim>
                                    <p:animEffect transition="in" filter="fade">
                                      <p:cBhvr>
                                        <p:cTn id="141" dur="500"/>
                                        <p:tgtEl>
                                          <p:spTgt spid="42"/>
                                        </p:tgtEl>
                                      </p:cBhvr>
                                    </p:animEffect>
                                  </p:childTnLst>
                                </p:cTn>
                              </p:par>
                              <p:par>
                                <p:cTn id="142" presetID="53" presetClass="entr" presetSubtype="16" fill="hold" grpId="0" nodeType="withEffect">
                                  <p:stCondLst>
                                    <p:cond delay="800"/>
                                  </p:stCondLst>
                                  <p:childTnLst>
                                    <p:set>
                                      <p:cBhvr>
                                        <p:cTn id="143" dur="1" fill="hold">
                                          <p:stCondLst>
                                            <p:cond delay="0"/>
                                          </p:stCondLst>
                                        </p:cTn>
                                        <p:tgtEl>
                                          <p:spTgt spid="37"/>
                                        </p:tgtEl>
                                        <p:attrNameLst>
                                          <p:attrName>style.visibility</p:attrName>
                                        </p:attrNameLst>
                                      </p:cBhvr>
                                      <p:to>
                                        <p:strVal val="visible"/>
                                      </p:to>
                                    </p:set>
                                    <p:anim calcmode="lin" valueType="num">
                                      <p:cBhvr>
                                        <p:cTn id="144" dur="500" fill="hold"/>
                                        <p:tgtEl>
                                          <p:spTgt spid="37"/>
                                        </p:tgtEl>
                                        <p:attrNameLst>
                                          <p:attrName>ppt_w</p:attrName>
                                        </p:attrNameLst>
                                      </p:cBhvr>
                                      <p:tavLst>
                                        <p:tav tm="0">
                                          <p:val>
                                            <p:fltVal val="0"/>
                                          </p:val>
                                        </p:tav>
                                        <p:tav tm="100000">
                                          <p:val>
                                            <p:strVal val="#ppt_w"/>
                                          </p:val>
                                        </p:tav>
                                      </p:tavLst>
                                    </p:anim>
                                    <p:anim calcmode="lin" valueType="num">
                                      <p:cBhvr>
                                        <p:cTn id="145" dur="500" fill="hold"/>
                                        <p:tgtEl>
                                          <p:spTgt spid="37"/>
                                        </p:tgtEl>
                                        <p:attrNameLst>
                                          <p:attrName>ppt_h</p:attrName>
                                        </p:attrNameLst>
                                      </p:cBhvr>
                                      <p:tavLst>
                                        <p:tav tm="0">
                                          <p:val>
                                            <p:fltVal val="0"/>
                                          </p:val>
                                        </p:tav>
                                        <p:tav tm="100000">
                                          <p:val>
                                            <p:strVal val="#ppt_h"/>
                                          </p:val>
                                        </p:tav>
                                      </p:tavLst>
                                    </p:anim>
                                    <p:animEffect transition="in" filter="fade">
                                      <p:cBhvr>
                                        <p:cTn id="146" dur="500"/>
                                        <p:tgtEl>
                                          <p:spTgt spid="37"/>
                                        </p:tgtEl>
                                      </p:cBhvr>
                                    </p:animEffect>
                                  </p:childTnLst>
                                </p:cTn>
                              </p:par>
                              <p:par>
                                <p:cTn id="147" presetID="22" presetClass="entr" presetSubtype="2" fill="hold" nodeType="withEffect">
                                  <p:stCondLst>
                                    <p:cond delay="800"/>
                                  </p:stCondLst>
                                  <p:childTnLst>
                                    <p:set>
                                      <p:cBhvr>
                                        <p:cTn id="148" dur="1" fill="hold">
                                          <p:stCondLst>
                                            <p:cond delay="0"/>
                                          </p:stCondLst>
                                        </p:cTn>
                                        <p:tgtEl>
                                          <p:spTgt spid="62"/>
                                        </p:tgtEl>
                                        <p:attrNameLst>
                                          <p:attrName>style.visibility</p:attrName>
                                        </p:attrNameLst>
                                      </p:cBhvr>
                                      <p:to>
                                        <p:strVal val="visible"/>
                                      </p:to>
                                    </p:set>
                                    <p:animEffect transition="in" filter="wipe(right)">
                                      <p:cBhvr>
                                        <p:cTn id="149" dur="500"/>
                                        <p:tgtEl>
                                          <p:spTgt spid="62"/>
                                        </p:tgtEl>
                                      </p:cBhvr>
                                    </p:animEffect>
                                  </p:childTnLst>
                                </p:cTn>
                              </p:par>
                              <p:par>
                                <p:cTn id="150" presetID="53" presetClass="entr" presetSubtype="16" fill="hold" grpId="0" nodeType="withEffect">
                                  <p:stCondLst>
                                    <p:cond delay="900"/>
                                  </p:stCondLst>
                                  <p:childTnLst>
                                    <p:set>
                                      <p:cBhvr>
                                        <p:cTn id="151" dur="1" fill="hold">
                                          <p:stCondLst>
                                            <p:cond delay="0"/>
                                          </p:stCondLst>
                                        </p:cTn>
                                        <p:tgtEl>
                                          <p:spTgt spid="36"/>
                                        </p:tgtEl>
                                        <p:attrNameLst>
                                          <p:attrName>style.visibility</p:attrName>
                                        </p:attrNameLst>
                                      </p:cBhvr>
                                      <p:to>
                                        <p:strVal val="visible"/>
                                      </p:to>
                                    </p:set>
                                    <p:anim calcmode="lin" valueType="num">
                                      <p:cBhvr>
                                        <p:cTn id="152" dur="500" fill="hold"/>
                                        <p:tgtEl>
                                          <p:spTgt spid="36"/>
                                        </p:tgtEl>
                                        <p:attrNameLst>
                                          <p:attrName>ppt_w</p:attrName>
                                        </p:attrNameLst>
                                      </p:cBhvr>
                                      <p:tavLst>
                                        <p:tav tm="0">
                                          <p:val>
                                            <p:fltVal val="0"/>
                                          </p:val>
                                        </p:tav>
                                        <p:tav tm="100000">
                                          <p:val>
                                            <p:strVal val="#ppt_w"/>
                                          </p:val>
                                        </p:tav>
                                      </p:tavLst>
                                    </p:anim>
                                    <p:anim calcmode="lin" valueType="num">
                                      <p:cBhvr>
                                        <p:cTn id="153" dur="500" fill="hold"/>
                                        <p:tgtEl>
                                          <p:spTgt spid="36"/>
                                        </p:tgtEl>
                                        <p:attrNameLst>
                                          <p:attrName>ppt_h</p:attrName>
                                        </p:attrNameLst>
                                      </p:cBhvr>
                                      <p:tavLst>
                                        <p:tav tm="0">
                                          <p:val>
                                            <p:fltVal val="0"/>
                                          </p:val>
                                        </p:tav>
                                        <p:tav tm="100000">
                                          <p:val>
                                            <p:strVal val="#ppt_h"/>
                                          </p:val>
                                        </p:tav>
                                      </p:tavLst>
                                    </p:anim>
                                    <p:animEffect transition="in" filter="fade">
                                      <p:cBhvr>
                                        <p:cTn id="154" dur="500"/>
                                        <p:tgtEl>
                                          <p:spTgt spid="36"/>
                                        </p:tgtEl>
                                      </p:cBhvr>
                                    </p:animEffect>
                                  </p:childTnLst>
                                </p:cTn>
                              </p:par>
                              <p:par>
                                <p:cTn id="155" presetID="53" presetClass="entr" presetSubtype="16" fill="hold" grpId="0" nodeType="withEffect">
                                  <p:stCondLst>
                                    <p:cond delay="1000"/>
                                  </p:stCondLst>
                                  <p:childTnLst>
                                    <p:set>
                                      <p:cBhvr>
                                        <p:cTn id="156" dur="1" fill="hold">
                                          <p:stCondLst>
                                            <p:cond delay="0"/>
                                          </p:stCondLst>
                                        </p:cTn>
                                        <p:tgtEl>
                                          <p:spTgt spid="64"/>
                                        </p:tgtEl>
                                        <p:attrNameLst>
                                          <p:attrName>style.visibility</p:attrName>
                                        </p:attrNameLst>
                                      </p:cBhvr>
                                      <p:to>
                                        <p:strVal val="visible"/>
                                      </p:to>
                                    </p:set>
                                    <p:anim calcmode="lin" valueType="num">
                                      <p:cBhvr>
                                        <p:cTn id="157" dur="500" fill="hold"/>
                                        <p:tgtEl>
                                          <p:spTgt spid="64"/>
                                        </p:tgtEl>
                                        <p:attrNameLst>
                                          <p:attrName>ppt_w</p:attrName>
                                        </p:attrNameLst>
                                      </p:cBhvr>
                                      <p:tavLst>
                                        <p:tav tm="0">
                                          <p:val>
                                            <p:fltVal val="0"/>
                                          </p:val>
                                        </p:tav>
                                        <p:tav tm="100000">
                                          <p:val>
                                            <p:strVal val="#ppt_w"/>
                                          </p:val>
                                        </p:tav>
                                      </p:tavLst>
                                    </p:anim>
                                    <p:anim calcmode="lin" valueType="num">
                                      <p:cBhvr>
                                        <p:cTn id="158" dur="500" fill="hold"/>
                                        <p:tgtEl>
                                          <p:spTgt spid="64"/>
                                        </p:tgtEl>
                                        <p:attrNameLst>
                                          <p:attrName>ppt_h</p:attrName>
                                        </p:attrNameLst>
                                      </p:cBhvr>
                                      <p:tavLst>
                                        <p:tav tm="0">
                                          <p:val>
                                            <p:fltVal val="0"/>
                                          </p:val>
                                        </p:tav>
                                        <p:tav tm="100000">
                                          <p:val>
                                            <p:strVal val="#ppt_h"/>
                                          </p:val>
                                        </p:tav>
                                      </p:tavLst>
                                    </p:anim>
                                    <p:animEffect transition="in" filter="fade">
                                      <p:cBhvr>
                                        <p:cTn id="159" dur="500"/>
                                        <p:tgtEl>
                                          <p:spTgt spid="64"/>
                                        </p:tgtEl>
                                      </p:cBhvr>
                                    </p:animEffect>
                                  </p:childTnLst>
                                </p:cTn>
                              </p:par>
                              <p:par>
                                <p:cTn id="160" presetID="53" presetClass="entr" presetSubtype="16" fill="hold" grpId="0" nodeType="withEffect">
                                  <p:stCondLst>
                                    <p:cond delay="1100"/>
                                  </p:stCondLst>
                                  <p:childTnLst>
                                    <p:set>
                                      <p:cBhvr>
                                        <p:cTn id="161" dur="1" fill="hold">
                                          <p:stCondLst>
                                            <p:cond delay="0"/>
                                          </p:stCondLst>
                                        </p:cTn>
                                        <p:tgtEl>
                                          <p:spTgt spid="38"/>
                                        </p:tgtEl>
                                        <p:attrNameLst>
                                          <p:attrName>style.visibility</p:attrName>
                                        </p:attrNameLst>
                                      </p:cBhvr>
                                      <p:to>
                                        <p:strVal val="visible"/>
                                      </p:to>
                                    </p:set>
                                    <p:anim calcmode="lin" valueType="num">
                                      <p:cBhvr>
                                        <p:cTn id="162" dur="500" fill="hold"/>
                                        <p:tgtEl>
                                          <p:spTgt spid="38"/>
                                        </p:tgtEl>
                                        <p:attrNameLst>
                                          <p:attrName>ppt_w</p:attrName>
                                        </p:attrNameLst>
                                      </p:cBhvr>
                                      <p:tavLst>
                                        <p:tav tm="0">
                                          <p:val>
                                            <p:fltVal val="0"/>
                                          </p:val>
                                        </p:tav>
                                        <p:tav tm="100000">
                                          <p:val>
                                            <p:strVal val="#ppt_w"/>
                                          </p:val>
                                        </p:tav>
                                      </p:tavLst>
                                    </p:anim>
                                    <p:anim calcmode="lin" valueType="num">
                                      <p:cBhvr>
                                        <p:cTn id="163" dur="500" fill="hold"/>
                                        <p:tgtEl>
                                          <p:spTgt spid="38"/>
                                        </p:tgtEl>
                                        <p:attrNameLst>
                                          <p:attrName>ppt_h</p:attrName>
                                        </p:attrNameLst>
                                      </p:cBhvr>
                                      <p:tavLst>
                                        <p:tav tm="0">
                                          <p:val>
                                            <p:fltVal val="0"/>
                                          </p:val>
                                        </p:tav>
                                        <p:tav tm="100000">
                                          <p:val>
                                            <p:strVal val="#ppt_h"/>
                                          </p:val>
                                        </p:tav>
                                      </p:tavLst>
                                    </p:anim>
                                    <p:animEffect transition="in" filter="fade">
                                      <p:cBhvr>
                                        <p:cTn id="164" dur="500"/>
                                        <p:tgtEl>
                                          <p:spTgt spid="38"/>
                                        </p:tgtEl>
                                      </p:cBhvr>
                                    </p:animEffect>
                                  </p:childTnLst>
                                </p:cTn>
                              </p:par>
                              <p:par>
                                <p:cTn id="165" presetID="53" presetClass="entr" presetSubtype="16" fill="hold" grpId="0" nodeType="withEffect">
                                  <p:stCondLst>
                                    <p:cond delay="1200"/>
                                  </p:stCondLst>
                                  <p:childTnLst>
                                    <p:set>
                                      <p:cBhvr>
                                        <p:cTn id="166" dur="1" fill="hold">
                                          <p:stCondLst>
                                            <p:cond delay="0"/>
                                          </p:stCondLst>
                                        </p:cTn>
                                        <p:tgtEl>
                                          <p:spTgt spid="47"/>
                                        </p:tgtEl>
                                        <p:attrNameLst>
                                          <p:attrName>style.visibility</p:attrName>
                                        </p:attrNameLst>
                                      </p:cBhvr>
                                      <p:to>
                                        <p:strVal val="visible"/>
                                      </p:to>
                                    </p:set>
                                    <p:anim calcmode="lin" valueType="num">
                                      <p:cBhvr>
                                        <p:cTn id="167" dur="500" fill="hold"/>
                                        <p:tgtEl>
                                          <p:spTgt spid="47"/>
                                        </p:tgtEl>
                                        <p:attrNameLst>
                                          <p:attrName>ppt_w</p:attrName>
                                        </p:attrNameLst>
                                      </p:cBhvr>
                                      <p:tavLst>
                                        <p:tav tm="0">
                                          <p:val>
                                            <p:fltVal val="0"/>
                                          </p:val>
                                        </p:tav>
                                        <p:tav tm="100000">
                                          <p:val>
                                            <p:strVal val="#ppt_w"/>
                                          </p:val>
                                        </p:tav>
                                      </p:tavLst>
                                    </p:anim>
                                    <p:anim calcmode="lin" valueType="num">
                                      <p:cBhvr>
                                        <p:cTn id="168" dur="500" fill="hold"/>
                                        <p:tgtEl>
                                          <p:spTgt spid="47"/>
                                        </p:tgtEl>
                                        <p:attrNameLst>
                                          <p:attrName>ppt_h</p:attrName>
                                        </p:attrNameLst>
                                      </p:cBhvr>
                                      <p:tavLst>
                                        <p:tav tm="0">
                                          <p:val>
                                            <p:fltVal val="0"/>
                                          </p:val>
                                        </p:tav>
                                        <p:tav tm="100000">
                                          <p:val>
                                            <p:strVal val="#ppt_h"/>
                                          </p:val>
                                        </p:tav>
                                      </p:tavLst>
                                    </p:anim>
                                    <p:animEffect transition="in" filter="fade">
                                      <p:cBhvr>
                                        <p:cTn id="169" dur="500"/>
                                        <p:tgtEl>
                                          <p:spTgt spid="47"/>
                                        </p:tgtEl>
                                      </p:cBhvr>
                                    </p:animEffect>
                                  </p:childTnLst>
                                </p:cTn>
                              </p:par>
                              <p:par>
                                <p:cTn id="170" presetID="22" presetClass="entr" presetSubtype="2" fill="hold" nodeType="withEffect">
                                  <p:stCondLst>
                                    <p:cond delay="1200"/>
                                  </p:stCondLst>
                                  <p:childTnLst>
                                    <p:set>
                                      <p:cBhvr>
                                        <p:cTn id="171" dur="1" fill="hold">
                                          <p:stCondLst>
                                            <p:cond delay="0"/>
                                          </p:stCondLst>
                                        </p:cTn>
                                        <p:tgtEl>
                                          <p:spTgt spid="63"/>
                                        </p:tgtEl>
                                        <p:attrNameLst>
                                          <p:attrName>style.visibility</p:attrName>
                                        </p:attrNameLst>
                                      </p:cBhvr>
                                      <p:to>
                                        <p:strVal val="visible"/>
                                      </p:to>
                                    </p:set>
                                    <p:animEffect transition="in" filter="wipe(right)">
                                      <p:cBhvr>
                                        <p:cTn id="172" dur="500"/>
                                        <p:tgtEl>
                                          <p:spTgt spid="63"/>
                                        </p:tgtEl>
                                      </p:cBhvr>
                                    </p:animEffect>
                                  </p:childTnLst>
                                </p:cTn>
                              </p:par>
                              <p:par>
                                <p:cTn id="173" presetID="53" presetClass="entr" presetSubtype="16" fill="hold" grpId="0" nodeType="withEffect">
                                  <p:stCondLst>
                                    <p:cond delay="1300"/>
                                  </p:stCondLst>
                                  <p:childTnLst>
                                    <p:set>
                                      <p:cBhvr>
                                        <p:cTn id="174" dur="1" fill="hold">
                                          <p:stCondLst>
                                            <p:cond delay="0"/>
                                          </p:stCondLst>
                                        </p:cTn>
                                        <p:tgtEl>
                                          <p:spTgt spid="65"/>
                                        </p:tgtEl>
                                        <p:attrNameLst>
                                          <p:attrName>style.visibility</p:attrName>
                                        </p:attrNameLst>
                                      </p:cBhvr>
                                      <p:to>
                                        <p:strVal val="visible"/>
                                      </p:to>
                                    </p:set>
                                    <p:anim calcmode="lin" valueType="num">
                                      <p:cBhvr>
                                        <p:cTn id="175" dur="500" fill="hold"/>
                                        <p:tgtEl>
                                          <p:spTgt spid="65"/>
                                        </p:tgtEl>
                                        <p:attrNameLst>
                                          <p:attrName>ppt_w</p:attrName>
                                        </p:attrNameLst>
                                      </p:cBhvr>
                                      <p:tavLst>
                                        <p:tav tm="0">
                                          <p:val>
                                            <p:fltVal val="0"/>
                                          </p:val>
                                        </p:tav>
                                        <p:tav tm="100000">
                                          <p:val>
                                            <p:strVal val="#ppt_w"/>
                                          </p:val>
                                        </p:tav>
                                      </p:tavLst>
                                    </p:anim>
                                    <p:anim calcmode="lin" valueType="num">
                                      <p:cBhvr>
                                        <p:cTn id="176" dur="500" fill="hold"/>
                                        <p:tgtEl>
                                          <p:spTgt spid="65"/>
                                        </p:tgtEl>
                                        <p:attrNameLst>
                                          <p:attrName>ppt_h</p:attrName>
                                        </p:attrNameLst>
                                      </p:cBhvr>
                                      <p:tavLst>
                                        <p:tav tm="0">
                                          <p:val>
                                            <p:fltVal val="0"/>
                                          </p:val>
                                        </p:tav>
                                        <p:tav tm="100000">
                                          <p:val>
                                            <p:strVal val="#ppt_h"/>
                                          </p:val>
                                        </p:tav>
                                      </p:tavLst>
                                    </p:anim>
                                    <p:animEffect transition="in" filter="fade">
                                      <p:cBhvr>
                                        <p:cTn id="177" dur="500"/>
                                        <p:tgtEl>
                                          <p:spTgt spid="65"/>
                                        </p:tgtEl>
                                      </p:cBhvr>
                                    </p:animEffect>
                                  </p:childTnLst>
                                </p:cTn>
                              </p:par>
                              <p:par>
                                <p:cTn id="178" presetID="53" presetClass="entr" presetSubtype="16" fill="hold" grpId="0" nodeType="withEffect">
                                  <p:stCondLst>
                                    <p:cond delay="1400"/>
                                  </p:stCondLst>
                                  <p:childTnLst>
                                    <p:set>
                                      <p:cBhvr>
                                        <p:cTn id="179" dur="1" fill="hold">
                                          <p:stCondLst>
                                            <p:cond delay="0"/>
                                          </p:stCondLst>
                                        </p:cTn>
                                        <p:tgtEl>
                                          <p:spTgt spid="57"/>
                                        </p:tgtEl>
                                        <p:attrNameLst>
                                          <p:attrName>style.visibility</p:attrName>
                                        </p:attrNameLst>
                                      </p:cBhvr>
                                      <p:to>
                                        <p:strVal val="visible"/>
                                      </p:to>
                                    </p:set>
                                    <p:anim calcmode="lin" valueType="num">
                                      <p:cBhvr>
                                        <p:cTn id="180" dur="500" fill="hold"/>
                                        <p:tgtEl>
                                          <p:spTgt spid="57"/>
                                        </p:tgtEl>
                                        <p:attrNameLst>
                                          <p:attrName>ppt_w</p:attrName>
                                        </p:attrNameLst>
                                      </p:cBhvr>
                                      <p:tavLst>
                                        <p:tav tm="0">
                                          <p:val>
                                            <p:fltVal val="0"/>
                                          </p:val>
                                        </p:tav>
                                        <p:tav tm="100000">
                                          <p:val>
                                            <p:strVal val="#ppt_w"/>
                                          </p:val>
                                        </p:tav>
                                      </p:tavLst>
                                    </p:anim>
                                    <p:anim calcmode="lin" valueType="num">
                                      <p:cBhvr>
                                        <p:cTn id="181" dur="500" fill="hold"/>
                                        <p:tgtEl>
                                          <p:spTgt spid="57"/>
                                        </p:tgtEl>
                                        <p:attrNameLst>
                                          <p:attrName>ppt_h</p:attrName>
                                        </p:attrNameLst>
                                      </p:cBhvr>
                                      <p:tavLst>
                                        <p:tav tm="0">
                                          <p:val>
                                            <p:fltVal val="0"/>
                                          </p:val>
                                        </p:tav>
                                        <p:tav tm="100000">
                                          <p:val>
                                            <p:strVal val="#ppt_h"/>
                                          </p:val>
                                        </p:tav>
                                      </p:tavLst>
                                    </p:anim>
                                    <p:animEffect transition="in" filter="fade">
                                      <p:cBhvr>
                                        <p:cTn id="182" dur="500"/>
                                        <p:tgtEl>
                                          <p:spTgt spid="57"/>
                                        </p:tgtEl>
                                      </p:cBhvr>
                                    </p:animEffect>
                                  </p:childTnLst>
                                </p:cTn>
                              </p:par>
                              <p:par>
                                <p:cTn id="183" presetID="53" presetClass="entr" presetSubtype="16" fill="hold" grpId="0" nodeType="withEffect">
                                  <p:stCondLst>
                                    <p:cond delay="1500"/>
                                  </p:stCondLst>
                                  <p:childTnLst>
                                    <p:set>
                                      <p:cBhvr>
                                        <p:cTn id="184" dur="1" fill="hold">
                                          <p:stCondLst>
                                            <p:cond delay="0"/>
                                          </p:stCondLst>
                                        </p:cTn>
                                        <p:tgtEl>
                                          <p:spTgt spid="51"/>
                                        </p:tgtEl>
                                        <p:attrNameLst>
                                          <p:attrName>style.visibility</p:attrName>
                                        </p:attrNameLst>
                                      </p:cBhvr>
                                      <p:to>
                                        <p:strVal val="visible"/>
                                      </p:to>
                                    </p:set>
                                    <p:anim calcmode="lin" valueType="num">
                                      <p:cBhvr>
                                        <p:cTn id="185" dur="500" fill="hold"/>
                                        <p:tgtEl>
                                          <p:spTgt spid="51"/>
                                        </p:tgtEl>
                                        <p:attrNameLst>
                                          <p:attrName>ppt_w</p:attrName>
                                        </p:attrNameLst>
                                      </p:cBhvr>
                                      <p:tavLst>
                                        <p:tav tm="0">
                                          <p:val>
                                            <p:fltVal val="0"/>
                                          </p:val>
                                        </p:tav>
                                        <p:tav tm="100000">
                                          <p:val>
                                            <p:strVal val="#ppt_w"/>
                                          </p:val>
                                        </p:tav>
                                      </p:tavLst>
                                    </p:anim>
                                    <p:anim calcmode="lin" valueType="num">
                                      <p:cBhvr>
                                        <p:cTn id="186" dur="500" fill="hold"/>
                                        <p:tgtEl>
                                          <p:spTgt spid="51"/>
                                        </p:tgtEl>
                                        <p:attrNameLst>
                                          <p:attrName>ppt_h</p:attrName>
                                        </p:attrNameLst>
                                      </p:cBhvr>
                                      <p:tavLst>
                                        <p:tav tm="0">
                                          <p:val>
                                            <p:fltVal val="0"/>
                                          </p:val>
                                        </p:tav>
                                        <p:tav tm="100000">
                                          <p:val>
                                            <p:strVal val="#ppt_h"/>
                                          </p:val>
                                        </p:tav>
                                      </p:tavLst>
                                    </p:anim>
                                    <p:animEffect transition="in" filter="fade">
                                      <p:cBhvr>
                                        <p:cTn id="187" dur="500"/>
                                        <p:tgtEl>
                                          <p:spTgt spid="51"/>
                                        </p:tgtEl>
                                      </p:cBhvr>
                                    </p:animEffect>
                                  </p:childTnLst>
                                </p:cTn>
                              </p:par>
                              <p:par>
                                <p:cTn id="188" presetID="53" presetClass="entr" presetSubtype="16" fill="hold" grpId="0" nodeType="withEffect">
                                  <p:stCondLst>
                                    <p:cond delay="1600"/>
                                  </p:stCondLst>
                                  <p:childTnLst>
                                    <p:set>
                                      <p:cBhvr>
                                        <p:cTn id="189" dur="1" fill="hold">
                                          <p:stCondLst>
                                            <p:cond delay="0"/>
                                          </p:stCondLst>
                                        </p:cTn>
                                        <p:tgtEl>
                                          <p:spTgt spid="58"/>
                                        </p:tgtEl>
                                        <p:attrNameLst>
                                          <p:attrName>style.visibility</p:attrName>
                                        </p:attrNameLst>
                                      </p:cBhvr>
                                      <p:to>
                                        <p:strVal val="visible"/>
                                      </p:to>
                                    </p:set>
                                    <p:anim calcmode="lin" valueType="num">
                                      <p:cBhvr>
                                        <p:cTn id="190" dur="500" fill="hold"/>
                                        <p:tgtEl>
                                          <p:spTgt spid="58"/>
                                        </p:tgtEl>
                                        <p:attrNameLst>
                                          <p:attrName>ppt_w</p:attrName>
                                        </p:attrNameLst>
                                      </p:cBhvr>
                                      <p:tavLst>
                                        <p:tav tm="0">
                                          <p:val>
                                            <p:fltVal val="0"/>
                                          </p:val>
                                        </p:tav>
                                        <p:tav tm="100000">
                                          <p:val>
                                            <p:strVal val="#ppt_w"/>
                                          </p:val>
                                        </p:tav>
                                      </p:tavLst>
                                    </p:anim>
                                    <p:anim calcmode="lin" valueType="num">
                                      <p:cBhvr>
                                        <p:cTn id="191" dur="500" fill="hold"/>
                                        <p:tgtEl>
                                          <p:spTgt spid="58"/>
                                        </p:tgtEl>
                                        <p:attrNameLst>
                                          <p:attrName>ppt_h</p:attrName>
                                        </p:attrNameLst>
                                      </p:cBhvr>
                                      <p:tavLst>
                                        <p:tav tm="0">
                                          <p:val>
                                            <p:fltVal val="0"/>
                                          </p:val>
                                        </p:tav>
                                        <p:tav tm="100000">
                                          <p:val>
                                            <p:strVal val="#ppt_h"/>
                                          </p:val>
                                        </p:tav>
                                      </p:tavLst>
                                    </p:anim>
                                    <p:animEffect transition="in" filter="fade">
                                      <p:cBhvr>
                                        <p:cTn id="192" dur="500"/>
                                        <p:tgtEl>
                                          <p:spTgt spid="58"/>
                                        </p:tgtEl>
                                      </p:cBhvr>
                                    </p:animEffect>
                                  </p:childTnLst>
                                </p:cTn>
                              </p:par>
                              <p:par>
                                <p:cTn id="193" presetID="53" presetClass="entr" presetSubtype="16" fill="hold" grpId="0" nodeType="withEffect">
                                  <p:stCondLst>
                                    <p:cond delay="1700"/>
                                  </p:stCondLst>
                                  <p:childTnLst>
                                    <p:set>
                                      <p:cBhvr>
                                        <p:cTn id="194" dur="1" fill="hold">
                                          <p:stCondLst>
                                            <p:cond delay="0"/>
                                          </p:stCondLst>
                                        </p:cTn>
                                        <p:tgtEl>
                                          <p:spTgt spid="56"/>
                                        </p:tgtEl>
                                        <p:attrNameLst>
                                          <p:attrName>style.visibility</p:attrName>
                                        </p:attrNameLst>
                                      </p:cBhvr>
                                      <p:to>
                                        <p:strVal val="visible"/>
                                      </p:to>
                                    </p:set>
                                    <p:anim calcmode="lin" valueType="num">
                                      <p:cBhvr>
                                        <p:cTn id="195" dur="500" fill="hold"/>
                                        <p:tgtEl>
                                          <p:spTgt spid="56"/>
                                        </p:tgtEl>
                                        <p:attrNameLst>
                                          <p:attrName>ppt_w</p:attrName>
                                        </p:attrNameLst>
                                      </p:cBhvr>
                                      <p:tavLst>
                                        <p:tav tm="0">
                                          <p:val>
                                            <p:fltVal val="0"/>
                                          </p:val>
                                        </p:tav>
                                        <p:tav tm="100000">
                                          <p:val>
                                            <p:strVal val="#ppt_w"/>
                                          </p:val>
                                        </p:tav>
                                      </p:tavLst>
                                    </p:anim>
                                    <p:anim calcmode="lin" valueType="num">
                                      <p:cBhvr>
                                        <p:cTn id="196" dur="500" fill="hold"/>
                                        <p:tgtEl>
                                          <p:spTgt spid="56"/>
                                        </p:tgtEl>
                                        <p:attrNameLst>
                                          <p:attrName>ppt_h</p:attrName>
                                        </p:attrNameLst>
                                      </p:cBhvr>
                                      <p:tavLst>
                                        <p:tav tm="0">
                                          <p:val>
                                            <p:fltVal val="0"/>
                                          </p:val>
                                        </p:tav>
                                        <p:tav tm="100000">
                                          <p:val>
                                            <p:strVal val="#ppt_h"/>
                                          </p:val>
                                        </p:tav>
                                      </p:tavLst>
                                    </p:anim>
                                    <p:animEffect transition="in" filter="fade">
                                      <p:cBhvr>
                                        <p:cTn id="19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4" grpId="0" animBg="1"/>
      <p:bldP spid="65" grpId="0" animBg="1"/>
      <p:bldP spid="69" grpId="0" animBg="1"/>
      <p:bldP spid="70" grpId="0" animBg="1"/>
      <p:bldP spid="73"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30466" y="1092787"/>
            <a:ext cx="3459317" cy="3442938"/>
            <a:chOff x="3698330" y="1136378"/>
            <a:chExt cx="3832023" cy="3813880"/>
          </a:xfrm>
        </p:grpSpPr>
        <p:sp>
          <p:nvSpPr>
            <p:cNvPr id="4" name="Freeform 6"/>
            <p:cNvSpPr>
              <a:spLocks noChangeAspect="1" noEditPoints="1"/>
            </p:cNvSpPr>
            <p:nvPr/>
          </p:nvSpPr>
          <p:spPr bwMode="auto">
            <a:xfrm>
              <a:off x="4172293" y="1165569"/>
              <a:ext cx="3358060" cy="3536676"/>
            </a:xfrm>
            <a:custGeom>
              <a:avLst/>
              <a:gdLst>
                <a:gd name="T0" fmla="*/ 46 w 545"/>
                <a:gd name="T1" fmla="*/ 502 h 573"/>
                <a:gd name="T2" fmla="*/ 23 w 545"/>
                <a:gd name="T3" fmla="*/ 381 h 573"/>
                <a:gd name="T4" fmla="*/ 30 w 545"/>
                <a:gd name="T5" fmla="*/ 318 h 573"/>
                <a:gd name="T6" fmla="*/ 1 w 545"/>
                <a:gd name="T7" fmla="*/ 215 h 573"/>
                <a:gd name="T8" fmla="*/ 4 w 545"/>
                <a:gd name="T9" fmla="*/ 187 h 573"/>
                <a:gd name="T10" fmla="*/ 137 w 545"/>
                <a:gd name="T11" fmla="*/ 51 h 573"/>
                <a:gd name="T12" fmla="*/ 218 w 545"/>
                <a:gd name="T13" fmla="*/ 13 h 573"/>
                <a:gd name="T14" fmla="*/ 212 w 545"/>
                <a:gd name="T15" fmla="*/ 81 h 573"/>
                <a:gd name="T16" fmla="*/ 217 w 545"/>
                <a:gd name="T17" fmla="*/ 92 h 573"/>
                <a:gd name="T18" fmla="*/ 179 w 545"/>
                <a:gd name="T19" fmla="*/ 145 h 573"/>
                <a:gd name="T20" fmla="*/ 236 w 545"/>
                <a:gd name="T21" fmla="*/ 145 h 573"/>
                <a:gd name="T22" fmla="*/ 188 w 545"/>
                <a:gd name="T23" fmla="*/ 180 h 573"/>
                <a:gd name="T24" fmla="*/ 165 w 545"/>
                <a:gd name="T25" fmla="*/ 203 h 573"/>
                <a:gd name="T26" fmla="*/ 136 w 545"/>
                <a:gd name="T27" fmla="*/ 208 h 573"/>
                <a:gd name="T28" fmla="*/ 74 w 545"/>
                <a:gd name="T29" fmla="*/ 216 h 573"/>
                <a:gd name="T30" fmla="*/ 38 w 545"/>
                <a:gd name="T31" fmla="*/ 251 h 573"/>
                <a:gd name="T32" fmla="*/ 40 w 545"/>
                <a:gd name="T33" fmla="*/ 305 h 573"/>
                <a:gd name="T34" fmla="*/ 88 w 545"/>
                <a:gd name="T35" fmla="*/ 347 h 573"/>
                <a:gd name="T36" fmla="*/ 157 w 545"/>
                <a:gd name="T37" fmla="*/ 418 h 573"/>
                <a:gd name="T38" fmla="*/ 214 w 545"/>
                <a:gd name="T39" fmla="*/ 476 h 573"/>
                <a:gd name="T40" fmla="*/ 162 w 545"/>
                <a:gd name="T41" fmla="*/ 541 h 573"/>
                <a:gd name="T42" fmla="*/ 98 w 545"/>
                <a:gd name="T43" fmla="*/ 552 h 573"/>
                <a:gd name="T44" fmla="*/ 418 w 545"/>
                <a:gd name="T45" fmla="*/ 543 h 573"/>
                <a:gd name="T46" fmla="*/ 388 w 545"/>
                <a:gd name="T47" fmla="*/ 459 h 573"/>
                <a:gd name="T48" fmla="*/ 402 w 545"/>
                <a:gd name="T49" fmla="*/ 307 h 573"/>
                <a:gd name="T50" fmla="*/ 509 w 545"/>
                <a:gd name="T51" fmla="*/ 290 h 573"/>
                <a:gd name="T52" fmla="*/ 494 w 545"/>
                <a:gd name="T53" fmla="*/ 207 h 573"/>
                <a:gd name="T54" fmla="*/ 483 w 545"/>
                <a:gd name="T55" fmla="*/ 266 h 573"/>
                <a:gd name="T56" fmla="*/ 454 w 545"/>
                <a:gd name="T57" fmla="*/ 255 h 573"/>
                <a:gd name="T58" fmla="*/ 391 w 545"/>
                <a:gd name="T59" fmla="*/ 280 h 573"/>
                <a:gd name="T60" fmla="*/ 422 w 545"/>
                <a:gd name="T61" fmla="*/ 184 h 573"/>
                <a:gd name="T62" fmla="*/ 431 w 545"/>
                <a:gd name="T63" fmla="*/ 157 h 573"/>
                <a:gd name="T64" fmla="*/ 401 w 545"/>
                <a:gd name="T65" fmla="*/ 138 h 573"/>
                <a:gd name="T66" fmla="*/ 415 w 545"/>
                <a:gd name="T67" fmla="*/ 89 h 573"/>
                <a:gd name="T68" fmla="*/ 367 w 545"/>
                <a:gd name="T69" fmla="*/ 40 h 573"/>
                <a:gd name="T70" fmla="*/ 244 w 545"/>
                <a:gd name="T71" fmla="*/ 9 h 573"/>
                <a:gd name="T72" fmla="*/ 253 w 545"/>
                <a:gd name="T73" fmla="*/ 0 h 573"/>
                <a:gd name="T74" fmla="*/ 534 w 545"/>
                <a:gd name="T75" fmla="*/ 315 h 573"/>
                <a:gd name="T76" fmla="*/ 358 w 545"/>
                <a:gd name="T77" fmla="*/ 48 h 573"/>
                <a:gd name="T78" fmla="*/ 396 w 545"/>
                <a:gd name="T79" fmla="*/ 199 h 573"/>
                <a:gd name="T80" fmla="*/ 394 w 545"/>
                <a:gd name="T81" fmla="*/ 184 h 573"/>
                <a:gd name="T82" fmla="*/ 433 w 545"/>
                <a:gd name="T83" fmla="*/ 274 h 573"/>
                <a:gd name="T84" fmla="*/ 363 w 545"/>
                <a:gd name="T85" fmla="*/ 81 h 573"/>
                <a:gd name="T86" fmla="*/ 357 w 545"/>
                <a:gd name="T87" fmla="*/ 153 h 573"/>
                <a:gd name="T88" fmla="*/ 246 w 545"/>
                <a:gd name="T89" fmla="*/ 59 h 573"/>
                <a:gd name="T90" fmla="*/ 246 w 545"/>
                <a:gd name="T91" fmla="*/ 63 h 573"/>
                <a:gd name="T92" fmla="*/ 227 w 545"/>
                <a:gd name="T93" fmla="*/ 51 h 573"/>
                <a:gd name="T94" fmla="*/ 236 w 545"/>
                <a:gd name="T95" fmla="*/ 66 h 573"/>
                <a:gd name="T96" fmla="*/ 276 w 545"/>
                <a:gd name="T97" fmla="*/ 70 h 573"/>
                <a:gd name="T98" fmla="*/ 285 w 545"/>
                <a:gd name="T99" fmla="*/ 88 h 573"/>
                <a:gd name="T100" fmla="*/ 326 w 545"/>
                <a:gd name="T101" fmla="*/ 134 h 573"/>
                <a:gd name="T102" fmla="*/ 320 w 545"/>
                <a:gd name="T103" fmla="*/ 73 h 573"/>
                <a:gd name="T104" fmla="*/ 224 w 545"/>
                <a:gd name="T105" fmla="*/ 53 h 573"/>
                <a:gd name="T106" fmla="*/ 241 w 545"/>
                <a:gd name="T107" fmla="*/ 100 h 573"/>
                <a:gd name="T108" fmla="*/ 230 w 545"/>
                <a:gd name="T109" fmla="*/ 116 h 573"/>
                <a:gd name="T110" fmla="*/ 260 w 545"/>
                <a:gd name="T111" fmla="*/ 102 h 573"/>
                <a:gd name="T112" fmla="*/ 206 w 545"/>
                <a:gd name="T113" fmla="*/ 100 h 573"/>
                <a:gd name="T114" fmla="*/ 200 w 545"/>
                <a:gd name="T115" fmla="*/ 195 h 573"/>
                <a:gd name="T116" fmla="*/ 87 w 545"/>
                <a:gd name="T117" fmla="*/ 304 h 573"/>
                <a:gd name="T118" fmla="*/ 73 w 545"/>
                <a:gd name="T119" fmla="*/ 296 h 573"/>
                <a:gd name="T120" fmla="*/ 74 w 545"/>
                <a:gd name="T121" fmla="*/ 265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5" h="573">
                  <a:moveTo>
                    <a:pt x="371" y="41"/>
                  </a:moveTo>
                  <a:cubicBezTo>
                    <a:pt x="370" y="41"/>
                    <a:pt x="370" y="40"/>
                    <a:pt x="369" y="40"/>
                  </a:cubicBezTo>
                  <a:lnTo>
                    <a:pt x="371" y="41"/>
                  </a:lnTo>
                  <a:close/>
                  <a:moveTo>
                    <a:pt x="233" y="62"/>
                  </a:moveTo>
                  <a:cubicBezTo>
                    <a:pt x="235" y="61"/>
                    <a:pt x="237" y="61"/>
                    <a:pt x="237" y="61"/>
                  </a:cubicBezTo>
                  <a:cubicBezTo>
                    <a:pt x="236" y="60"/>
                    <a:pt x="235" y="59"/>
                    <a:pt x="234" y="60"/>
                  </a:cubicBezTo>
                  <a:cubicBezTo>
                    <a:pt x="234" y="61"/>
                    <a:pt x="233" y="62"/>
                    <a:pt x="233" y="62"/>
                  </a:cubicBezTo>
                  <a:moveTo>
                    <a:pt x="72" y="565"/>
                  </a:moveTo>
                  <a:cubicBezTo>
                    <a:pt x="70" y="564"/>
                    <a:pt x="70" y="564"/>
                    <a:pt x="70" y="564"/>
                  </a:cubicBezTo>
                  <a:cubicBezTo>
                    <a:pt x="70" y="564"/>
                    <a:pt x="68" y="562"/>
                    <a:pt x="66" y="562"/>
                  </a:cubicBezTo>
                  <a:cubicBezTo>
                    <a:pt x="65" y="561"/>
                    <a:pt x="64" y="560"/>
                    <a:pt x="63" y="558"/>
                  </a:cubicBezTo>
                  <a:cubicBezTo>
                    <a:pt x="61" y="557"/>
                    <a:pt x="60" y="557"/>
                    <a:pt x="59" y="556"/>
                  </a:cubicBezTo>
                  <a:cubicBezTo>
                    <a:pt x="58" y="556"/>
                    <a:pt x="56" y="554"/>
                    <a:pt x="55" y="552"/>
                  </a:cubicBezTo>
                  <a:cubicBezTo>
                    <a:pt x="54" y="549"/>
                    <a:pt x="54" y="550"/>
                    <a:pt x="52" y="548"/>
                  </a:cubicBezTo>
                  <a:cubicBezTo>
                    <a:pt x="51" y="546"/>
                    <a:pt x="50" y="544"/>
                    <a:pt x="50" y="540"/>
                  </a:cubicBezTo>
                  <a:cubicBezTo>
                    <a:pt x="47" y="539"/>
                    <a:pt x="45" y="537"/>
                    <a:pt x="45" y="536"/>
                  </a:cubicBezTo>
                  <a:cubicBezTo>
                    <a:pt x="45" y="536"/>
                    <a:pt x="43" y="533"/>
                    <a:pt x="43" y="532"/>
                  </a:cubicBezTo>
                  <a:cubicBezTo>
                    <a:pt x="43" y="530"/>
                    <a:pt x="43" y="529"/>
                    <a:pt x="41" y="527"/>
                  </a:cubicBezTo>
                  <a:cubicBezTo>
                    <a:pt x="42" y="526"/>
                    <a:pt x="44" y="523"/>
                    <a:pt x="46" y="521"/>
                  </a:cubicBezTo>
                  <a:cubicBezTo>
                    <a:pt x="46" y="521"/>
                    <a:pt x="45" y="514"/>
                    <a:pt x="45" y="511"/>
                  </a:cubicBezTo>
                  <a:cubicBezTo>
                    <a:pt x="44" y="508"/>
                    <a:pt x="45" y="503"/>
                    <a:pt x="46" y="502"/>
                  </a:cubicBezTo>
                  <a:cubicBezTo>
                    <a:pt x="47" y="501"/>
                    <a:pt x="47" y="497"/>
                    <a:pt x="48" y="495"/>
                  </a:cubicBezTo>
                  <a:cubicBezTo>
                    <a:pt x="48" y="492"/>
                    <a:pt x="47" y="490"/>
                    <a:pt x="49" y="489"/>
                  </a:cubicBezTo>
                  <a:cubicBezTo>
                    <a:pt x="51" y="487"/>
                    <a:pt x="50" y="485"/>
                    <a:pt x="50" y="482"/>
                  </a:cubicBezTo>
                  <a:cubicBezTo>
                    <a:pt x="51" y="479"/>
                    <a:pt x="50" y="477"/>
                    <a:pt x="50" y="476"/>
                  </a:cubicBezTo>
                  <a:cubicBezTo>
                    <a:pt x="50" y="473"/>
                    <a:pt x="48" y="472"/>
                    <a:pt x="48" y="471"/>
                  </a:cubicBezTo>
                  <a:cubicBezTo>
                    <a:pt x="48" y="469"/>
                    <a:pt x="46" y="466"/>
                    <a:pt x="45" y="465"/>
                  </a:cubicBezTo>
                  <a:cubicBezTo>
                    <a:pt x="43" y="464"/>
                    <a:pt x="42" y="462"/>
                    <a:pt x="41" y="460"/>
                  </a:cubicBezTo>
                  <a:cubicBezTo>
                    <a:pt x="40" y="458"/>
                    <a:pt x="39" y="457"/>
                    <a:pt x="38" y="456"/>
                  </a:cubicBezTo>
                  <a:cubicBezTo>
                    <a:pt x="36" y="455"/>
                    <a:pt x="36" y="454"/>
                    <a:pt x="34" y="451"/>
                  </a:cubicBezTo>
                  <a:cubicBezTo>
                    <a:pt x="33" y="448"/>
                    <a:pt x="31" y="447"/>
                    <a:pt x="30" y="445"/>
                  </a:cubicBezTo>
                  <a:cubicBezTo>
                    <a:pt x="29" y="443"/>
                    <a:pt x="28" y="440"/>
                    <a:pt x="28" y="439"/>
                  </a:cubicBezTo>
                  <a:cubicBezTo>
                    <a:pt x="29" y="438"/>
                    <a:pt x="28" y="435"/>
                    <a:pt x="27" y="433"/>
                  </a:cubicBezTo>
                  <a:cubicBezTo>
                    <a:pt x="26" y="431"/>
                    <a:pt x="25" y="429"/>
                    <a:pt x="26" y="427"/>
                  </a:cubicBezTo>
                  <a:cubicBezTo>
                    <a:pt x="27" y="425"/>
                    <a:pt x="26" y="423"/>
                    <a:pt x="25" y="421"/>
                  </a:cubicBezTo>
                  <a:cubicBezTo>
                    <a:pt x="24" y="418"/>
                    <a:pt x="23" y="417"/>
                    <a:pt x="24" y="415"/>
                  </a:cubicBezTo>
                  <a:cubicBezTo>
                    <a:pt x="24" y="413"/>
                    <a:pt x="24" y="413"/>
                    <a:pt x="23" y="408"/>
                  </a:cubicBezTo>
                  <a:cubicBezTo>
                    <a:pt x="22" y="405"/>
                    <a:pt x="19" y="398"/>
                    <a:pt x="17" y="396"/>
                  </a:cubicBezTo>
                  <a:cubicBezTo>
                    <a:pt x="16" y="393"/>
                    <a:pt x="18" y="392"/>
                    <a:pt x="18" y="390"/>
                  </a:cubicBezTo>
                  <a:cubicBezTo>
                    <a:pt x="17" y="388"/>
                    <a:pt x="18" y="387"/>
                    <a:pt x="20" y="388"/>
                  </a:cubicBezTo>
                  <a:cubicBezTo>
                    <a:pt x="22" y="388"/>
                    <a:pt x="23" y="387"/>
                    <a:pt x="23" y="386"/>
                  </a:cubicBezTo>
                  <a:cubicBezTo>
                    <a:pt x="24" y="384"/>
                    <a:pt x="24" y="384"/>
                    <a:pt x="23" y="381"/>
                  </a:cubicBezTo>
                  <a:cubicBezTo>
                    <a:pt x="23" y="381"/>
                    <a:pt x="24" y="377"/>
                    <a:pt x="24" y="375"/>
                  </a:cubicBezTo>
                  <a:cubicBezTo>
                    <a:pt x="24" y="373"/>
                    <a:pt x="26" y="374"/>
                    <a:pt x="27" y="372"/>
                  </a:cubicBezTo>
                  <a:cubicBezTo>
                    <a:pt x="28" y="370"/>
                    <a:pt x="29" y="369"/>
                    <a:pt x="31" y="370"/>
                  </a:cubicBezTo>
                  <a:cubicBezTo>
                    <a:pt x="33" y="370"/>
                    <a:pt x="35" y="370"/>
                    <a:pt x="37" y="368"/>
                  </a:cubicBezTo>
                  <a:cubicBezTo>
                    <a:pt x="38" y="365"/>
                    <a:pt x="40" y="365"/>
                    <a:pt x="41" y="367"/>
                  </a:cubicBezTo>
                  <a:cubicBezTo>
                    <a:pt x="43" y="369"/>
                    <a:pt x="43" y="368"/>
                    <a:pt x="47" y="365"/>
                  </a:cubicBezTo>
                  <a:cubicBezTo>
                    <a:pt x="47" y="365"/>
                    <a:pt x="46" y="365"/>
                    <a:pt x="45" y="362"/>
                  </a:cubicBezTo>
                  <a:cubicBezTo>
                    <a:pt x="44" y="360"/>
                    <a:pt x="47" y="355"/>
                    <a:pt x="48" y="352"/>
                  </a:cubicBezTo>
                  <a:cubicBezTo>
                    <a:pt x="49" y="350"/>
                    <a:pt x="49" y="351"/>
                    <a:pt x="49" y="346"/>
                  </a:cubicBezTo>
                  <a:cubicBezTo>
                    <a:pt x="48" y="343"/>
                    <a:pt x="48" y="341"/>
                    <a:pt x="49" y="341"/>
                  </a:cubicBezTo>
                  <a:cubicBezTo>
                    <a:pt x="50" y="341"/>
                    <a:pt x="50" y="341"/>
                    <a:pt x="50" y="339"/>
                  </a:cubicBezTo>
                  <a:cubicBezTo>
                    <a:pt x="49" y="337"/>
                    <a:pt x="47" y="334"/>
                    <a:pt x="47" y="334"/>
                  </a:cubicBezTo>
                  <a:cubicBezTo>
                    <a:pt x="45" y="334"/>
                    <a:pt x="43" y="334"/>
                    <a:pt x="42" y="335"/>
                  </a:cubicBezTo>
                  <a:cubicBezTo>
                    <a:pt x="41" y="335"/>
                    <a:pt x="41" y="335"/>
                    <a:pt x="41" y="335"/>
                  </a:cubicBezTo>
                  <a:cubicBezTo>
                    <a:pt x="42" y="336"/>
                    <a:pt x="41" y="338"/>
                    <a:pt x="41" y="339"/>
                  </a:cubicBezTo>
                  <a:cubicBezTo>
                    <a:pt x="41" y="339"/>
                    <a:pt x="39" y="339"/>
                    <a:pt x="39" y="339"/>
                  </a:cubicBezTo>
                  <a:cubicBezTo>
                    <a:pt x="38" y="336"/>
                    <a:pt x="37" y="336"/>
                    <a:pt x="37" y="335"/>
                  </a:cubicBezTo>
                  <a:cubicBezTo>
                    <a:pt x="37" y="335"/>
                    <a:pt x="37" y="333"/>
                    <a:pt x="37" y="333"/>
                  </a:cubicBezTo>
                  <a:cubicBezTo>
                    <a:pt x="37" y="332"/>
                    <a:pt x="36" y="331"/>
                    <a:pt x="35" y="330"/>
                  </a:cubicBezTo>
                  <a:cubicBezTo>
                    <a:pt x="34" y="329"/>
                    <a:pt x="32" y="327"/>
                    <a:pt x="32" y="326"/>
                  </a:cubicBezTo>
                  <a:cubicBezTo>
                    <a:pt x="32" y="324"/>
                    <a:pt x="30" y="319"/>
                    <a:pt x="30" y="318"/>
                  </a:cubicBezTo>
                  <a:cubicBezTo>
                    <a:pt x="31" y="316"/>
                    <a:pt x="29" y="313"/>
                    <a:pt x="29" y="313"/>
                  </a:cubicBezTo>
                  <a:cubicBezTo>
                    <a:pt x="28" y="315"/>
                    <a:pt x="28" y="316"/>
                    <a:pt x="28" y="315"/>
                  </a:cubicBezTo>
                  <a:cubicBezTo>
                    <a:pt x="27" y="314"/>
                    <a:pt x="26" y="313"/>
                    <a:pt x="26" y="311"/>
                  </a:cubicBezTo>
                  <a:cubicBezTo>
                    <a:pt x="27" y="310"/>
                    <a:pt x="28" y="307"/>
                    <a:pt x="28" y="307"/>
                  </a:cubicBezTo>
                  <a:cubicBezTo>
                    <a:pt x="28" y="303"/>
                    <a:pt x="27" y="290"/>
                    <a:pt x="27" y="290"/>
                  </a:cubicBezTo>
                  <a:cubicBezTo>
                    <a:pt x="25" y="290"/>
                    <a:pt x="24" y="290"/>
                    <a:pt x="24" y="289"/>
                  </a:cubicBezTo>
                  <a:cubicBezTo>
                    <a:pt x="24" y="287"/>
                    <a:pt x="22" y="283"/>
                    <a:pt x="20" y="282"/>
                  </a:cubicBezTo>
                  <a:cubicBezTo>
                    <a:pt x="19" y="280"/>
                    <a:pt x="19" y="277"/>
                    <a:pt x="18" y="276"/>
                  </a:cubicBezTo>
                  <a:cubicBezTo>
                    <a:pt x="17" y="274"/>
                    <a:pt x="17" y="271"/>
                    <a:pt x="17" y="269"/>
                  </a:cubicBezTo>
                  <a:cubicBezTo>
                    <a:pt x="17" y="268"/>
                    <a:pt x="16" y="263"/>
                    <a:pt x="16" y="263"/>
                  </a:cubicBezTo>
                  <a:cubicBezTo>
                    <a:pt x="15" y="261"/>
                    <a:pt x="13" y="257"/>
                    <a:pt x="13" y="257"/>
                  </a:cubicBezTo>
                  <a:cubicBezTo>
                    <a:pt x="9" y="257"/>
                    <a:pt x="9" y="257"/>
                    <a:pt x="9" y="255"/>
                  </a:cubicBezTo>
                  <a:cubicBezTo>
                    <a:pt x="8" y="254"/>
                    <a:pt x="6" y="251"/>
                    <a:pt x="6" y="250"/>
                  </a:cubicBezTo>
                  <a:cubicBezTo>
                    <a:pt x="6" y="249"/>
                    <a:pt x="6" y="247"/>
                    <a:pt x="6" y="246"/>
                  </a:cubicBezTo>
                  <a:cubicBezTo>
                    <a:pt x="6" y="244"/>
                    <a:pt x="5" y="243"/>
                    <a:pt x="4" y="241"/>
                  </a:cubicBezTo>
                  <a:cubicBezTo>
                    <a:pt x="4" y="239"/>
                    <a:pt x="4" y="235"/>
                    <a:pt x="3" y="233"/>
                  </a:cubicBezTo>
                  <a:cubicBezTo>
                    <a:pt x="2" y="231"/>
                    <a:pt x="2" y="228"/>
                    <a:pt x="2" y="227"/>
                  </a:cubicBezTo>
                  <a:cubicBezTo>
                    <a:pt x="1" y="226"/>
                    <a:pt x="1" y="225"/>
                    <a:pt x="1" y="223"/>
                  </a:cubicBezTo>
                  <a:cubicBezTo>
                    <a:pt x="1" y="221"/>
                    <a:pt x="2" y="220"/>
                    <a:pt x="1" y="219"/>
                  </a:cubicBezTo>
                  <a:cubicBezTo>
                    <a:pt x="0" y="218"/>
                    <a:pt x="1" y="216"/>
                    <a:pt x="1" y="216"/>
                  </a:cubicBezTo>
                  <a:cubicBezTo>
                    <a:pt x="1" y="216"/>
                    <a:pt x="2" y="217"/>
                    <a:pt x="1" y="215"/>
                  </a:cubicBezTo>
                  <a:cubicBezTo>
                    <a:pt x="1" y="214"/>
                    <a:pt x="1" y="213"/>
                    <a:pt x="2" y="212"/>
                  </a:cubicBezTo>
                  <a:cubicBezTo>
                    <a:pt x="3" y="210"/>
                    <a:pt x="9" y="200"/>
                    <a:pt x="9" y="200"/>
                  </a:cubicBezTo>
                  <a:cubicBezTo>
                    <a:pt x="10" y="194"/>
                    <a:pt x="11" y="192"/>
                    <a:pt x="11" y="191"/>
                  </a:cubicBezTo>
                  <a:cubicBezTo>
                    <a:pt x="12" y="191"/>
                    <a:pt x="12" y="190"/>
                    <a:pt x="12" y="189"/>
                  </a:cubicBezTo>
                  <a:cubicBezTo>
                    <a:pt x="12" y="187"/>
                    <a:pt x="12" y="186"/>
                    <a:pt x="13" y="185"/>
                  </a:cubicBezTo>
                  <a:cubicBezTo>
                    <a:pt x="13" y="184"/>
                    <a:pt x="14" y="181"/>
                    <a:pt x="14" y="181"/>
                  </a:cubicBezTo>
                  <a:cubicBezTo>
                    <a:pt x="14" y="180"/>
                    <a:pt x="14" y="179"/>
                    <a:pt x="14" y="179"/>
                  </a:cubicBezTo>
                  <a:cubicBezTo>
                    <a:pt x="16" y="177"/>
                    <a:pt x="17" y="176"/>
                    <a:pt x="17" y="176"/>
                  </a:cubicBezTo>
                  <a:cubicBezTo>
                    <a:pt x="17" y="174"/>
                    <a:pt x="17" y="174"/>
                    <a:pt x="18" y="172"/>
                  </a:cubicBezTo>
                  <a:cubicBezTo>
                    <a:pt x="20" y="168"/>
                    <a:pt x="20" y="168"/>
                    <a:pt x="20" y="168"/>
                  </a:cubicBezTo>
                  <a:cubicBezTo>
                    <a:pt x="20" y="168"/>
                    <a:pt x="22" y="162"/>
                    <a:pt x="22" y="161"/>
                  </a:cubicBezTo>
                  <a:cubicBezTo>
                    <a:pt x="22" y="159"/>
                    <a:pt x="26" y="152"/>
                    <a:pt x="28" y="151"/>
                  </a:cubicBezTo>
                  <a:cubicBezTo>
                    <a:pt x="30" y="149"/>
                    <a:pt x="32" y="143"/>
                    <a:pt x="32" y="140"/>
                  </a:cubicBezTo>
                  <a:cubicBezTo>
                    <a:pt x="32" y="140"/>
                    <a:pt x="24" y="149"/>
                    <a:pt x="23" y="150"/>
                  </a:cubicBezTo>
                  <a:cubicBezTo>
                    <a:pt x="23" y="150"/>
                    <a:pt x="21" y="155"/>
                    <a:pt x="20" y="156"/>
                  </a:cubicBezTo>
                  <a:cubicBezTo>
                    <a:pt x="19" y="157"/>
                    <a:pt x="19" y="159"/>
                    <a:pt x="18" y="161"/>
                  </a:cubicBezTo>
                  <a:cubicBezTo>
                    <a:pt x="16" y="165"/>
                    <a:pt x="16" y="165"/>
                    <a:pt x="16" y="165"/>
                  </a:cubicBezTo>
                  <a:cubicBezTo>
                    <a:pt x="16" y="165"/>
                    <a:pt x="14" y="170"/>
                    <a:pt x="12" y="171"/>
                  </a:cubicBezTo>
                  <a:cubicBezTo>
                    <a:pt x="10" y="173"/>
                    <a:pt x="8" y="179"/>
                    <a:pt x="8" y="181"/>
                  </a:cubicBezTo>
                  <a:cubicBezTo>
                    <a:pt x="7" y="184"/>
                    <a:pt x="7" y="186"/>
                    <a:pt x="7" y="186"/>
                  </a:cubicBezTo>
                  <a:cubicBezTo>
                    <a:pt x="7" y="186"/>
                    <a:pt x="5" y="188"/>
                    <a:pt x="4" y="187"/>
                  </a:cubicBezTo>
                  <a:cubicBezTo>
                    <a:pt x="4" y="186"/>
                    <a:pt x="5" y="182"/>
                    <a:pt x="6" y="179"/>
                  </a:cubicBezTo>
                  <a:cubicBezTo>
                    <a:pt x="6" y="179"/>
                    <a:pt x="7" y="177"/>
                    <a:pt x="7" y="175"/>
                  </a:cubicBezTo>
                  <a:cubicBezTo>
                    <a:pt x="6" y="174"/>
                    <a:pt x="12" y="167"/>
                    <a:pt x="14" y="163"/>
                  </a:cubicBezTo>
                  <a:cubicBezTo>
                    <a:pt x="15" y="156"/>
                    <a:pt x="15" y="156"/>
                    <a:pt x="15" y="156"/>
                  </a:cubicBezTo>
                  <a:cubicBezTo>
                    <a:pt x="19" y="155"/>
                    <a:pt x="19" y="155"/>
                    <a:pt x="19" y="155"/>
                  </a:cubicBezTo>
                  <a:cubicBezTo>
                    <a:pt x="19" y="155"/>
                    <a:pt x="21" y="149"/>
                    <a:pt x="22" y="146"/>
                  </a:cubicBezTo>
                  <a:cubicBezTo>
                    <a:pt x="24" y="144"/>
                    <a:pt x="27" y="140"/>
                    <a:pt x="28" y="138"/>
                  </a:cubicBezTo>
                  <a:cubicBezTo>
                    <a:pt x="29" y="136"/>
                    <a:pt x="33" y="131"/>
                    <a:pt x="37" y="124"/>
                  </a:cubicBezTo>
                  <a:cubicBezTo>
                    <a:pt x="37" y="124"/>
                    <a:pt x="38" y="120"/>
                    <a:pt x="38" y="118"/>
                  </a:cubicBezTo>
                  <a:cubicBezTo>
                    <a:pt x="39" y="116"/>
                    <a:pt x="42" y="114"/>
                    <a:pt x="43" y="112"/>
                  </a:cubicBezTo>
                  <a:cubicBezTo>
                    <a:pt x="44" y="110"/>
                    <a:pt x="49" y="107"/>
                    <a:pt x="53" y="104"/>
                  </a:cubicBezTo>
                  <a:cubicBezTo>
                    <a:pt x="52" y="102"/>
                    <a:pt x="52" y="102"/>
                    <a:pt x="52" y="102"/>
                  </a:cubicBezTo>
                  <a:cubicBezTo>
                    <a:pt x="52" y="102"/>
                    <a:pt x="53" y="102"/>
                    <a:pt x="56" y="100"/>
                  </a:cubicBezTo>
                  <a:cubicBezTo>
                    <a:pt x="57" y="97"/>
                    <a:pt x="58" y="97"/>
                    <a:pt x="61" y="95"/>
                  </a:cubicBezTo>
                  <a:cubicBezTo>
                    <a:pt x="62" y="93"/>
                    <a:pt x="67" y="91"/>
                    <a:pt x="67" y="91"/>
                  </a:cubicBezTo>
                  <a:cubicBezTo>
                    <a:pt x="69" y="91"/>
                    <a:pt x="82" y="83"/>
                    <a:pt x="85" y="83"/>
                  </a:cubicBezTo>
                  <a:cubicBezTo>
                    <a:pt x="87" y="82"/>
                    <a:pt x="94" y="77"/>
                    <a:pt x="97" y="74"/>
                  </a:cubicBezTo>
                  <a:cubicBezTo>
                    <a:pt x="100" y="70"/>
                    <a:pt x="99" y="74"/>
                    <a:pt x="98" y="78"/>
                  </a:cubicBezTo>
                  <a:cubicBezTo>
                    <a:pt x="98" y="78"/>
                    <a:pt x="104" y="73"/>
                    <a:pt x="106" y="72"/>
                  </a:cubicBezTo>
                  <a:cubicBezTo>
                    <a:pt x="109" y="71"/>
                    <a:pt x="112" y="65"/>
                    <a:pt x="113" y="63"/>
                  </a:cubicBezTo>
                  <a:cubicBezTo>
                    <a:pt x="114" y="61"/>
                    <a:pt x="134" y="52"/>
                    <a:pt x="137" y="51"/>
                  </a:cubicBezTo>
                  <a:cubicBezTo>
                    <a:pt x="140" y="50"/>
                    <a:pt x="139" y="49"/>
                    <a:pt x="137" y="48"/>
                  </a:cubicBezTo>
                  <a:cubicBezTo>
                    <a:pt x="137" y="48"/>
                    <a:pt x="139" y="48"/>
                    <a:pt x="142" y="47"/>
                  </a:cubicBezTo>
                  <a:cubicBezTo>
                    <a:pt x="144" y="46"/>
                    <a:pt x="151" y="42"/>
                    <a:pt x="155" y="42"/>
                  </a:cubicBezTo>
                  <a:cubicBezTo>
                    <a:pt x="159" y="41"/>
                    <a:pt x="157" y="40"/>
                    <a:pt x="155" y="40"/>
                  </a:cubicBezTo>
                  <a:cubicBezTo>
                    <a:pt x="153" y="39"/>
                    <a:pt x="148" y="41"/>
                    <a:pt x="150" y="40"/>
                  </a:cubicBezTo>
                  <a:cubicBezTo>
                    <a:pt x="152" y="39"/>
                    <a:pt x="157" y="35"/>
                    <a:pt x="159" y="35"/>
                  </a:cubicBezTo>
                  <a:cubicBezTo>
                    <a:pt x="161" y="35"/>
                    <a:pt x="163" y="32"/>
                    <a:pt x="164" y="30"/>
                  </a:cubicBezTo>
                  <a:cubicBezTo>
                    <a:pt x="165" y="28"/>
                    <a:pt x="173" y="26"/>
                    <a:pt x="175" y="25"/>
                  </a:cubicBezTo>
                  <a:cubicBezTo>
                    <a:pt x="175" y="25"/>
                    <a:pt x="173" y="24"/>
                    <a:pt x="171" y="24"/>
                  </a:cubicBezTo>
                  <a:cubicBezTo>
                    <a:pt x="170" y="24"/>
                    <a:pt x="169" y="23"/>
                    <a:pt x="169" y="21"/>
                  </a:cubicBezTo>
                  <a:cubicBezTo>
                    <a:pt x="170" y="19"/>
                    <a:pt x="168" y="19"/>
                    <a:pt x="164" y="15"/>
                  </a:cubicBezTo>
                  <a:cubicBezTo>
                    <a:pt x="164" y="15"/>
                    <a:pt x="164" y="14"/>
                    <a:pt x="166" y="14"/>
                  </a:cubicBezTo>
                  <a:cubicBezTo>
                    <a:pt x="168" y="14"/>
                    <a:pt x="171" y="14"/>
                    <a:pt x="173" y="16"/>
                  </a:cubicBezTo>
                  <a:cubicBezTo>
                    <a:pt x="174" y="17"/>
                    <a:pt x="180" y="14"/>
                    <a:pt x="181" y="12"/>
                  </a:cubicBezTo>
                  <a:cubicBezTo>
                    <a:pt x="183" y="10"/>
                    <a:pt x="191" y="9"/>
                    <a:pt x="194" y="10"/>
                  </a:cubicBezTo>
                  <a:cubicBezTo>
                    <a:pt x="198" y="11"/>
                    <a:pt x="196" y="10"/>
                    <a:pt x="200" y="9"/>
                  </a:cubicBezTo>
                  <a:cubicBezTo>
                    <a:pt x="200" y="9"/>
                    <a:pt x="200" y="12"/>
                    <a:pt x="201" y="13"/>
                  </a:cubicBezTo>
                  <a:cubicBezTo>
                    <a:pt x="202" y="15"/>
                    <a:pt x="206" y="14"/>
                    <a:pt x="208" y="13"/>
                  </a:cubicBezTo>
                  <a:cubicBezTo>
                    <a:pt x="210" y="12"/>
                    <a:pt x="211" y="11"/>
                    <a:pt x="212" y="11"/>
                  </a:cubicBezTo>
                  <a:cubicBezTo>
                    <a:pt x="214" y="10"/>
                    <a:pt x="220" y="10"/>
                    <a:pt x="220" y="10"/>
                  </a:cubicBezTo>
                  <a:cubicBezTo>
                    <a:pt x="219" y="11"/>
                    <a:pt x="220" y="13"/>
                    <a:pt x="218" y="13"/>
                  </a:cubicBezTo>
                  <a:cubicBezTo>
                    <a:pt x="217" y="14"/>
                    <a:pt x="212" y="16"/>
                    <a:pt x="212" y="16"/>
                  </a:cubicBezTo>
                  <a:cubicBezTo>
                    <a:pt x="218" y="16"/>
                    <a:pt x="218" y="16"/>
                    <a:pt x="218" y="16"/>
                  </a:cubicBezTo>
                  <a:cubicBezTo>
                    <a:pt x="221" y="14"/>
                    <a:pt x="222" y="15"/>
                    <a:pt x="224" y="15"/>
                  </a:cubicBezTo>
                  <a:cubicBezTo>
                    <a:pt x="225" y="15"/>
                    <a:pt x="228" y="16"/>
                    <a:pt x="228" y="15"/>
                  </a:cubicBezTo>
                  <a:cubicBezTo>
                    <a:pt x="232" y="18"/>
                    <a:pt x="232" y="18"/>
                    <a:pt x="232" y="20"/>
                  </a:cubicBezTo>
                  <a:cubicBezTo>
                    <a:pt x="232" y="21"/>
                    <a:pt x="231" y="23"/>
                    <a:pt x="229" y="23"/>
                  </a:cubicBezTo>
                  <a:cubicBezTo>
                    <a:pt x="227" y="22"/>
                    <a:pt x="224" y="23"/>
                    <a:pt x="224" y="24"/>
                  </a:cubicBezTo>
                  <a:cubicBezTo>
                    <a:pt x="223" y="24"/>
                    <a:pt x="218" y="28"/>
                    <a:pt x="216" y="29"/>
                  </a:cubicBezTo>
                  <a:cubicBezTo>
                    <a:pt x="213" y="31"/>
                    <a:pt x="211" y="32"/>
                    <a:pt x="210" y="33"/>
                  </a:cubicBezTo>
                  <a:cubicBezTo>
                    <a:pt x="209" y="35"/>
                    <a:pt x="205" y="37"/>
                    <a:pt x="205" y="37"/>
                  </a:cubicBezTo>
                  <a:cubicBezTo>
                    <a:pt x="206" y="37"/>
                    <a:pt x="206" y="37"/>
                    <a:pt x="206" y="37"/>
                  </a:cubicBezTo>
                  <a:cubicBezTo>
                    <a:pt x="208" y="37"/>
                    <a:pt x="208" y="37"/>
                    <a:pt x="210" y="38"/>
                  </a:cubicBezTo>
                  <a:cubicBezTo>
                    <a:pt x="211" y="40"/>
                    <a:pt x="214" y="42"/>
                    <a:pt x="214" y="42"/>
                  </a:cubicBezTo>
                  <a:cubicBezTo>
                    <a:pt x="212" y="47"/>
                    <a:pt x="208" y="52"/>
                    <a:pt x="207" y="55"/>
                  </a:cubicBezTo>
                  <a:cubicBezTo>
                    <a:pt x="207" y="57"/>
                    <a:pt x="205" y="58"/>
                    <a:pt x="205" y="58"/>
                  </a:cubicBezTo>
                  <a:cubicBezTo>
                    <a:pt x="202" y="57"/>
                    <a:pt x="201" y="57"/>
                    <a:pt x="201" y="59"/>
                  </a:cubicBezTo>
                  <a:cubicBezTo>
                    <a:pt x="202" y="61"/>
                    <a:pt x="202" y="61"/>
                    <a:pt x="202" y="61"/>
                  </a:cubicBezTo>
                  <a:cubicBezTo>
                    <a:pt x="205" y="63"/>
                    <a:pt x="212" y="66"/>
                    <a:pt x="212" y="66"/>
                  </a:cubicBezTo>
                  <a:cubicBezTo>
                    <a:pt x="209" y="67"/>
                    <a:pt x="209" y="68"/>
                    <a:pt x="209" y="69"/>
                  </a:cubicBezTo>
                  <a:cubicBezTo>
                    <a:pt x="208" y="69"/>
                    <a:pt x="208" y="72"/>
                    <a:pt x="208" y="72"/>
                  </a:cubicBezTo>
                  <a:cubicBezTo>
                    <a:pt x="211" y="73"/>
                    <a:pt x="215" y="77"/>
                    <a:pt x="212" y="81"/>
                  </a:cubicBezTo>
                  <a:cubicBezTo>
                    <a:pt x="216" y="80"/>
                    <a:pt x="221" y="81"/>
                    <a:pt x="222" y="80"/>
                  </a:cubicBezTo>
                  <a:cubicBezTo>
                    <a:pt x="222" y="79"/>
                    <a:pt x="224" y="78"/>
                    <a:pt x="224" y="78"/>
                  </a:cubicBezTo>
                  <a:cubicBezTo>
                    <a:pt x="224" y="76"/>
                    <a:pt x="224" y="74"/>
                    <a:pt x="224" y="74"/>
                  </a:cubicBezTo>
                  <a:cubicBezTo>
                    <a:pt x="228" y="74"/>
                    <a:pt x="229" y="74"/>
                    <a:pt x="230" y="73"/>
                  </a:cubicBezTo>
                  <a:cubicBezTo>
                    <a:pt x="233" y="72"/>
                    <a:pt x="233" y="74"/>
                    <a:pt x="235" y="73"/>
                  </a:cubicBezTo>
                  <a:cubicBezTo>
                    <a:pt x="236" y="71"/>
                    <a:pt x="239" y="71"/>
                    <a:pt x="240" y="70"/>
                  </a:cubicBezTo>
                  <a:cubicBezTo>
                    <a:pt x="242" y="69"/>
                    <a:pt x="243" y="67"/>
                    <a:pt x="245" y="69"/>
                  </a:cubicBezTo>
                  <a:cubicBezTo>
                    <a:pt x="246" y="71"/>
                    <a:pt x="247" y="74"/>
                    <a:pt x="245" y="73"/>
                  </a:cubicBezTo>
                  <a:cubicBezTo>
                    <a:pt x="244" y="72"/>
                    <a:pt x="240" y="73"/>
                    <a:pt x="239" y="73"/>
                  </a:cubicBezTo>
                  <a:cubicBezTo>
                    <a:pt x="238" y="74"/>
                    <a:pt x="234" y="73"/>
                    <a:pt x="234" y="74"/>
                  </a:cubicBezTo>
                  <a:cubicBezTo>
                    <a:pt x="233" y="75"/>
                    <a:pt x="231" y="80"/>
                    <a:pt x="229" y="79"/>
                  </a:cubicBezTo>
                  <a:cubicBezTo>
                    <a:pt x="228" y="79"/>
                    <a:pt x="226" y="81"/>
                    <a:pt x="226" y="81"/>
                  </a:cubicBezTo>
                  <a:cubicBezTo>
                    <a:pt x="223" y="85"/>
                    <a:pt x="223" y="85"/>
                    <a:pt x="223" y="85"/>
                  </a:cubicBezTo>
                  <a:cubicBezTo>
                    <a:pt x="227" y="84"/>
                    <a:pt x="226" y="84"/>
                    <a:pt x="228" y="85"/>
                  </a:cubicBezTo>
                  <a:cubicBezTo>
                    <a:pt x="230" y="87"/>
                    <a:pt x="233" y="87"/>
                    <a:pt x="235" y="86"/>
                  </a:cubicBezTo>
                  <a:cubicBezTo>
                    <a:pt x="236" y="85"/>
                    <a:pt x="236" y="88"/>
                    <a:pt x="236" y="88"/>
                  </a:cubicBezTo>
                  <a:cubicBezTo>
                    <a:pt x="236" y="88"/>
                    <a:pt x="236" y="89"/>
                    <a:pt x="236" y="91"/>
                  </a:cubicBezTo>
                  <a:cubicBezTo>
                    <a:pt x="235" y="93"/>
                    <a:pt x="233" y="96"/>
                    <a:pt x="231" y="96"/>
                  </a:cubicBezTo>
                  <a:cubicBezTo>
                    <a:pt x="230" y="96"/>
                    <a:pt x="228" y="96"/>
                    <a:pt x="226" y="97"/>
                  </a:cubicBezTo>
                  <a:cubicBezTo>
                    <a:pt x="224" y="98"/>
                    <a:pt x="222" y="97"/>
                    <a:pt x="222" y="96"/>
                  </a:cubicBezTo>
                  <a:cubicBezTo>
                    <a:pt x="222" y="94"/>
                    <a:pt x="218" y="91"/>
                    <a:pt x="217" y="92"/>
                  </a:cubicBezTo>
                  <a:cubicBezTo>
                    <a:pt x="215" y="93"/>
                    <a:pt x="211" y="93"/>
                    <a:pt x="211" y="93"/>
                  </a:cubicBezTo>
                  <a:cubicBezTo>
                    <a:pt x="211" y="93"/>
                    <a:pt x="212" y="90"/>
                    <a:pt x="211" y="93"/>
                  </a:cubicBezTo>
                  <a:cubicBezTo>
                    <a:pt x="210" y="96"/>
                    <a:pt x="207" y="97"/>
                    <a:pt x="207" y="97"/>
                  </a:cubicBezTo>
                  <a:cubicBezTo>
                    <a:pt x="205" y="95"/>
                    <a:pt x="204" y="95"/>
                    <a:pt x="202" y="95"/>
                  </a:cubicBezTo>
                  <a:cubicBezTo>
                    <a:pt x="201" y="96"/>
                    <a:pt x="198" y="95"/>
                    <a:pt x="198" y="95"/>
                  </a:cubicBezTo>
                  <a:cubicBezTo>
                    <a:pt x="198" y="95"/>
                    <a:pt x="194" y="95"/>
                    <a:pt x="192" y="96"/>
                  </a:cubicBezTo>
                  <a:cubicBezTo>
                    <a:pt x="188" y="96"/>
                    <a:pt x="186" y="95"/>
                    <a:pt x="186" y="95"/>
                  </a:cubicBezTo>
                  <a:cubicBezTo>
                    <a:pt x="183" y="97"/>
                    <a:pt x="181" y="100"/>
                    <a:pt x="179" y="99"/>
                  </a:cubicBezTo>
                  <a:cubicBezTo>
                    <a:pt x="178" y="99"/>
                    <a:pt x="174" y="104"/>
                    <a:pt x="174" y="104"/>
                  </a:cubicBezTo>
                  <a:cubicBezTo>
                    <a:pt x="176" y="104"/>
                    <a:pt x="175" y="105"/>
                    <a:pt x="174" y="106"/>
                  </a:cubicBezTo>
                  <a:cubicBezTo>
                    <a:pt x="173" y="107"/>
                    <a:pt x="168" y="110"/>
                    <a:pt x="168" y="110"/>
                  </a:cubicBezTo>
                  <a:cubicBezTo>
                    <a:pt x="172" y="110"/>
                    <a:pt x="173" y="111"/>
                    <a:pt x="173" y="114"/>
                  </a:cubicBezTo>
                  <a:cubicBezTo>
                    <a:pt x="173" y="116"/>
                    <a:pt x="175" y="121"/>
                    <a:pt x="174" y="123"/>
                  </a:cubicBezTo>
                  <a:cubicBezTo>
                    <a:pt x="174" y="125"/>
                    <a:pt x="174" y="127"/>
                    <a:pt x="175" y="128"/>
                  </a:cubicBezTo>
                  <a:cubicBezTo>
                    <a:pt x="177" y="129"/>
                    <a:pt x="180" y="133"/>
                    <a:pt x="180" y="133"/>
                  </a:cubicBezTo>
                  <a:cubicBezTo>
                    <a:pt x="174" y="134"/>
                    <a:pt x="174" y="138"/>
                    <a:pt x="173" y="139"/>
                  </a:cubicBezTo>
                  <a:cubicBezTo>
                    <a:pt x="173" y="140"/>
                    <a:pt x="170" y="143"/>
                    <a:pt x="170" y="144"/>
                  </a:cubicBezTo>
                  <a:cubicBezTo>
                    <a:pt x="171" y="146"/>
                    <a:pt x="169" y="149"/>
                    <a:pt x="171" y="151"/>
                  </a:cubicBezTo>
                  <a:cubicBezTo>
                    <a:pt x="173" y="152"/>
                    <a:pt x="173" y="152"/>
                    <a:pt x="173" y="152"/>
                  </a:cubicBezTo>
                  <a:cubicBezTo>
                    <a:pt x="174" y="152"/>
                    <a:pt x="177" y="149"/>
                    <a:pt x="179" y="150"/>
                  </a:cubicBezTo>
                  <a:cubicBezTo>
                    <a:pt x="178" y="148"/>
                    <a:pt x="178" y="148"/>
                    <a:pt x="179" y="145"/>
                  </a:cubicBezTo>
                  <a:cubicBezTo>
                    <a:pt x="181" y="143"/>
                    <a:pt x="181" y="140"/>
                    <a:pt x="183" y="140"/>
                  </a:cubicBezTo>
                  <a:cubicBezTo>
                    <a:pt x="185" y="140"/>
                    <a:pt x="187" y="139"/>
                    <a:pt x="187" y="139"/>
                  </a:cubicBezTo>
                  <a:cubicBezTo>
                    <a:pt x="191" y="140"/>
                    <a:pt x="195" y="139"/>
                    <a:pt x="195" y="139"/>
                  </a:cubicBezTo>
                  <a:cubicBezTo>
                    <a:pt x="197" y="139"/>
                    <a:pt x="197" y="139"/>
                    <a:pt x="197" y="139"/>
                  </a:cubicBezTo>
                  <a:cubicBezTo>
                    <a:pt x="199" y="134"/>
                    <a:pt x="199" y="135"/>
                    <a:pt x="200" y="132"/>
                  </a:cubicBezTo>
                  <a:cubicBezTo>
                    <a:pt x="201" y="129"/>
                    <a:pt x="202" y="130"/>
                    <a:pt x="201" y="128"/>
                  </a:cubicBezTo>
                  <a:cubicBezTo>
                    <a:pt x="201" y="126"/>
                    <a:pt x="200" y="125"/>
                    <a:pt x="200" y="125"/>
                  </a:cubicBezTo>
                  <a:cubicBezTo>
                    <a:pt x="203" y="126"/>
                    <a:pt x="204" y="126"/>
                    <a:pt x="206" y="126"/>
                  </a:cubicBezTo>
                  <a:cubicBezTo>
                    <a:pt x="207" y="126"/>
                    <a:pt x="208" y="123"/>
                    <a:pt x="208" y="123"/>
                  </a:cubicBezTo>
                  <a:cubicBezTo>
                    <a:pt x="209" y="121"/>
                    <a:pt x="210" y="120"/>
                    <a:pt x="212" y="119"/>
                  </a:cubicBezTo>
                  <a:cubicBezTo>
                    <a:pt x="213" y="118"/>
                    <a:pt x="218" y="115"/>
                    <a:pt x="218" y="115"/>
                  </a:cubicBezTo>
                  <a:cubicBezTo>
                    <a:pt x="218" y="117"/>
                    <a:pt x="220" y="120"/>
                    <a:pt x="222" y="120"/>
                  </a:cubicBezTo>
                  <a:cubicBezTo>
                    <a:pt x="224" y="120"/>
                    <a:pt x="225" y="120"/>
                    <a:pt x="224" y="122"/>
                  </a:cubicBezTo>
                  <a:cubicBezTo>
                    <a:pt x="224" y="123"/>
                    <a:pt x="223" y="126"/>
                    <a:pt x="224" y="128"/>
                  </a:cubicBezTo>
                  <a:cubicBezTo>
                    <a:pt x="225" y="129"/>
                    <a:pt x="227" y="130"/>
                    <a:pt x="227" y="130"/>
                  </a:cubicBezTo>
                  <a:cubicBezTo>
                    <a:pt x="225" y="134"/>
                    <a:pt x="224" y="137"/>
                    <a:pt x="223" y="137"/>
                  </a:cubicBezTo>
                  <a:cubicBezTo>
                    <a:pt x="222" y="137"/>
                    <a:pt x="219" y="138"/>
                    <a:pt x="219" y="138"/>
                  </a:cubicBezTo>
                  <a:cubicBezTo>
                    <a:pt x="223" y="142"/>
                    <a:pt x="223" y="141"/>
                    <a:pt x="225" y="142"/>
                  </a:cubicBezTo>
                  <a:cubicBezTo>
                    <a:pt x="228" y="142"/>
                    <a:pt x="232" y="142"/>
                    <a:pt x="232" y="142"/>
                  </a:cubicBezTo>
                  <a:cubicBezTo>
                    <a:pt x="232" y="142"/>
                    <a:pt x="235" y="140"/>
                    <a:pt x="236" y="139"/>
                  </a:cubicBezTo>
                  <a:cubicBezTo>
                    <a:pt x="238" y="141"/>
                    <a:pt x="237" y="144"/>
                    <a:pt x="236" y="145"/>
                  </a:cubicBezTo>
                  <a:cubicBezTo>
                    <a:pt x="235" y="146"/>
                    <a:pt x="234" y="147"/>
                    <a:pt x="234" y="147"/>
                  </a:cubicBezTo>
                  <a:cubicBezTo>
                    <a:pt x="236" y="149"/>
                    <a:pt x="236" y="149"/>
                    <a:pt x="236" y="149"/>
                  </a:cubicBezTo>
                  <a:cubicBezTo>
                    <a:pt x="234" y="151"/>
                    <a:pt x="233" y="153"/>
                    <a:pt x="234" y="154"/>
                  </a:cubicBezTo>
                  <a:cubicBezTo>
                    <a:pt x="235" y="156"/>
                    <a:pt x="231" y="159"/>
                    <a:pt x="231" y="159"/>
                  </a:cubicBezTo>
                  <a:cubicBezTo>
                    <a:pt x="235" y="162"/>
                    <a:pt x="236" y="165"/>
                    <a:pt x="237" y="168"/>
                  </a:cubicBezTo>
                  <a:cubicBezTo>
                    <a:pt x="239" y="170"/>
                    <a:pt x="241" y="172"/>
                    <a:pt x="241" y="172"/>
                  </a:cubicBezTo>
                  <a:cubicBezTo>
                    <a:pt x="236" y="170"/>
                    <a:pt x="235" y="170"/>
                    <a:pt x="233" y="171"/>
                  </a:cubicBezTo>
                  <a:cubicBezTo>
                    <a:pt x="231" y="171"/>
                    <a:pt x="227" y="170"/>
                    <a:pt x="227" y="170"/>
                  </a:cubicBezTo>
                  <a:cubicBezTo>
                    <a:pt x="227" y="172"/>
                    <a:pt x="229" y="173"/>
                    <a:pt x="231" y="173"/>
                  </a:cubicBezTo>
                  <a:cubicBezTo>
                    <a:pt x="232" y="173"/>
                    <a:pt x="234" y="172"/>
                    <a:pt x="237" y="173"/>
                  </a:cubicBezTo>
                  <a:cubicBezTo>
                    <a:pt x="239" y="173"/>
                    <a:pt x="239" y="174"/>
                    <a:pt x="240" y="176"/>
                  </a:cubicBezTo>
                  <a:cubicBezTo>
                    <a:pt x="241" y="177"/>
                    <a:pt x="241" y="180"/>
                    <a:pt x="240" y="181"/>
                  </a:cubicBezTo>
                  <a:cubicBezTo>
                    <a:pt x="239" y="183"/>
                    <a:pt x="237" y="187"/>
                    <a:pt x="235" y="186"/>
                  </a:cubicBezTo>
                  <a:cubicBezTo>
                    <a:pt x="233" y="184"/>
                    <a:pt x="231" y="183"/>
                    <a:pt x="229" y="184"/>
                  </a:cubicBezTo>
                  <a:cubicBezTo>
                    <a:pt x="227" y="186"/>
                    <a:pt x="223" y="186"/>
                    <a:pt x="222" y="186"/>
                  </a:cubicBezTo>
                  <a:cubicBezTo>
                    <a:pt x="221" y="186"/>
                    <a:pt x="214" y="183"/>
                    <a:pt x="214" y="183"/>
                  </a:cubicBezTo>
                  <a:cubicBezTo>
                    <a:pt x="214" y="183"/>
                    <a:pt x="211" y="179"/>
                    <a:pt x="208" y="179"/>
                  </a:cubicBezTo>
                  <a:cubicBezTo>
                    <a:pt x="205" y="179"/>
                    <a:pt x="203" y="177"/>
                    <a:pt x="203" y="177"/>
                  </a:cubicBezTo>
                  <a:cubicBezTo>
                    <a:pt x="201" y="176"/>
                    <a:pt x="201" y="176"/>
                    <a:pt x="200" y="178"/>
                  </a:cubicBezTo>
                  <a:cubicBezTo>
                    <a:pt x="198" y="180"/>
                    <a:pt x="194" y="180"/>
                    <a:pt x="193" y="179"/>
                  </a:cubicBezTo>
                  <a:cubicBezTo>
                    <a:pt x="192" y="179"/>
                    <a:pt x="188" y="180"/>
                    <a:pt x="188" y="180"/>
                  </a:cubicBezTo>
                  <a:cubicBezTo>
                    <a:pt x="194" y="182"/>
                    <a:pt x="193" y="183"/>
                    <a:pt x="196" y="182"/>
                  </a:cubicBezTo>
                  <a:cubicBezTo>
                    <a:pt x="200" y="182"/>
                    <a:pt x="204" y="182"/>
                    <a:pt x="204" y="184"/>
                  </a:cubicBezTo>
                  <a:cubicBezTo>
                    <a:pt x="204" y="185"/>
                    <a:pt x="202" y="188"/>
                    <a:pt x="201" y="187"/>
                  </a:cubicBezTo>
                  <a:cubicBezTo>
                    <a:pt x="199" y="186"/>
                    <a:pt x="196" y="186"/>
                    <a:pt x="196" y="186"/>
                  </a:cubicBezTo>
                  <a:cubicBezTo>
                    <a:pt x="199" y="188"/>
                    <a:pt x="200" y="190"/>
                    <a:pt x="198" y="191"/>
                  </a:cubicBezTo>
                  <a:cubicBezTo>
                    <a:pt x="197" y="192"/>
                    <a:pt x="196" y="196"/>
                    <a:pt x="196" y="196"/>
                  </a:cubicBezTo>
                  <a:cubicBezTo>
                    <a:pt x="196" y="196"/>
                    <a:pt x="196" y="200"/>
                    <a:pt x="198" y="200"/>
                  </a:cubicBezTo>
                  <a:cubicBezTo>
                    <a:pt x="199" y="200"/>
                    <a:pt x="203" y="204"/>
                    <a:pt x="204" y="204"/>
                  </a:cubicBezTo>
                  <a:cubicBezTo>
                    <a:pt x="205" y="204"/>
                    <a:pt x="205" y="207"/>
                    <a:pt x="206" y="207"/>
                  </a:cubicBezTo>
                  <a:cubicBezTo>
                    <a:pt x="206" y="208"/>
                    <a:pt x="208" y="208"/>
                    <a:pt x="202" y="207"/>
                  </a:cubicBezTo>
                  <a:cubicBezTo>
                    <a:pt x="197" y="206"/>
                    <a:pt x="194" y="204"/>
                    <a:pt x="191" y="206"/>
                  </a:cubicBezTo>
                  <a:cubicBezTo>
                    <a:pt x="189" y="208"/>
                    <a:pt x="186" y="210"/>
                    <a:pt x="186" y="208"/>
                  </a:cubicBezTo>
                  <a:cubicBezTo>
                    <a:pt x="186" y="206"/>
                    <a:pt x="186" y="203"/>
                    <a:pt x="188" y="203"/>
                  </a:cubicBezTo>
                  <a:cubicBezTo>
                    <a:pt x="190" y="203"/>
                    <a:pt x="196" y="203"/>
                    <a:pt x="196" y="203"/>
                  </a:cubicBezTo>
                  <a:cubicBezTo>
                    <a:pt x="194" y="200"/>
                    <a:pt x="190" y="198"/>
                    <a:pt x="187" y="198"/>
                  </a:cubicBezTo>
                  <a:cubicBezTo>
                    <a:pt x="186" y="198"/>
                    <a:pt x="184" y="198"/>
                    <a:pt x="184" y="200"/>
                  </a:cubicBezTo>
                  <a:cubicBezTo>
                    <a:pt x="184" y="200"/>
                    <a:pt x="181" y="200"/>
                    <a:pt x="180" y="200"/>
                  </a:cubicBezTo>
                  <a:cubicBezTo>
                    <a:pt x="179" y="199"/>
                    <a:pt x="177" y="199"/>
                    <a:pt x="176" y="199"/>
                  </a:cubicBezTo>
                  <a:cubicBezTo>
                    <a:pt x="175" y="199"/>
                    <a:pt x="173" y="199"/>
                    <a:pt x="171" y="198"/>
                  </a:cubicBezTo>
                  <a:cubicBezTo>
                    <a:pt x="170" y="198"/>
                    <a:pt x="169" y="199"/>
                    <a:pt x="168" y="200"/>
                  </a:cubicBezTo>
                  <a:cubicBezTo>
                    <a:pt x="168" y="201"/>
                    <a:pt x="167" y="202"/>
                    <a:pt x="165" y="203"/>
                  </a:cubicBezTo>
                  <a:cubicBezTo>
                    <a:pt x="165" y="203"/>
                    <a:pt x="165" y="204"/>
                    <a:pt x="165" y="205"/>
                  </a:cubicBezTo>
                  <a:cubicBezTo>
                    <a:pt x="166" y="207"/>
                    <a:pt x="166" y="208"/>
                    <a:pt x="168" y="207"/>
                  </a:cubicBezTo>
                  <a:cubicBezTo>
                    <a:pt x="167" y="208"/>
                    <a:pt x="166" y="208"/>
                    <a:pt x="165" y="207"/>
                  </a:cubicBezTo>
                  <a:cubicBezTo>
                    <a:pt x="163" y="206"/>
                    <a:pt x="161" y="205"/>
                    <a:pt x="160" y="205"/>
                  </a:cubicBezTo>
                  <a:cubicBezTo>
                    <a:pt x="159" y="206"/>
                    <a:pt x="159" y="205"/>
                    <a:pt x="157" y="204"/>
                  </a:cubicBezTo>
                  <a:cubicBezTo>
                    <a:pt x="156" y="203"/>
                    <a:pt x="156" y="204"/>
                    <a:pt x="155" y="203"/>
                  </a:cubicBezTo>
                  <a:cubicBezTo>
                    <a:pt x="155" y="203"/>
                    <a:pt x="151" y="203"/>
                    <a:pt x="150" y="204"/>
                  </a:cubicBezTo>
                  <a:cubicBezTo>
                    <a:pt x="150" y="204"/>
                    <a:pt x="149" y="206"/>
                    <a:pt x="149" y="206"/>
                  </a:cubicBezTo>
                  <a:cubicBezTo>
                    <a:pt x="149" y="207"/>
                    <a:pt x="147" y="208"/>
                    <a:pt x="146" y="208"/>
                  </a:cubicBezTo>
                  <a:cubicBezTo>
                    <a:pt x="145" y="208"/>
                    <a:pt x="144" y="209"/>
                    <a:pt x="142" y="210"/>
                  </a:cubicBezTo>
                  <a:cubicBezTo>
                    <a:pt x="142" y="210"/>
                    <a:pt x="143" y="207"/>
                    <a:pt x="142" y="206"/>
                  </a:cubicBezTo>
                  <a:cubicBezTo>
                    <a:pt x="142" y="206"/>
                    <a:pt x="141" y="208"/>
                    <a:pt x="141" y="209"/>
                  </a:cubicBezTo>
                  <a:cubicBezTo>
                    <a:pt x="141" y="210"/>
                    <a:pt x="140" y="211"/>
                    <a:pt x="140" y="212"/>
                  </a:cubicBezTo>
                  <a:cubicBezTo>
                    <a:pt x="139" y="213"/>
                    <a:pt x="138" y="212"/>
                    <a:pt x="137" y="214"/>
                  </a:cubicBezTo>
                  <a:cubicBezTo>
                    <a:pt x="135" y="215"/>
                    <a:pt x="135" y="214"/>
                    <a:pt x="134" y="213"/>
                  </a:cubicBezTo>
                  <a:cubicBezTo>
                    <a:pt x="133" y="212"/>
                    <a:pt x="135" y="212"/>
                    <a:pt x="135" y="211"/>
                  </a:cubicBezTo>
                  <a:cubicBezTo>
                    <a:pt x="136" y="210"/>
                    <a:pt x="137" y="208"/>
                    <a:pt x="137" y="208"/>
                  </a:cubicBezTo>
                  <a:cubicBezTo>
                    <a:pt x="137" y="208"/>
                    <a:pt x="138" y="207"/>
                    <a:pt x="140" y="206"/>
                  </a:cubicBezTo>
                  <a:cubicBezTo>
                    <a:pt x="141" y="205"/>
                    <a:pt x="141" y="205"/>
                    <a:pt x="139" y="205"/>
                  </a:cubicBezTo>
                  <a:cubicBezTo>
                    <a:pt x="138" y="205"/>
                    <a:pt x="138" y="205"/>
                    <a:pt x="137" y="206"/>
                  </a:cubicBezTo>
                  <a:cubicBezTo>
                    <a:pt x="137" y="207"/>
                    <a:pt x="137" y="207"/>
                    <a:pt x="136" y="208"/>
                  </a:cubicBezTo>
                  <a:cubicBezTo>
                    <a:pt x="135" y="209"/>
                    <a:pt x="135" y="210"/>
                    <a:pt x="135" y="209"/>
                  </a:cubicBezTo>
                  <a:cubicBezTo>
                    <a:pt x="135" y="209"/>
                    <a:pt x="134" y="208"/>
                    <a:pt x="133" y="206"/>
                  </a:cubicBezTo>
                  <a:cubicBezTo>
                    <a:pt x="133" y="206"/>
                    <a:pt x="134" y="210"/>
                    <a:pt x="134" y="211"/>
                  </a:cubicBezTo>
                  <a:cubicBezTo>
                    <a:pt x="134" y="212"/>
                    <a:pt x="132" y="213"/>
                    <a:pt x="130" y="215"/>
                  </a:cubicBezTo>
                  <a:cubicBezTo>
                    <a:pt x="130" y="215"/>
                    <a:pt x="131" y="215"/>
                    <a:pt x="132" y="216"/>
                  </a:cubicBezTo>
                  <a:cubicBezTo>
                    <a:pt x="132" y="218"/>
                    <a:pt x="131" y="218"/>
                    <a:pt x="129" y="222"/>
                  </a:cubicBezTo>
                  <a:cubicBezTo>
                    <a:pt x="129" y="222"/>
                    <a:pt x="124" y="224"/>
                    <a:pt x="123" y="224"/>
                  </a:cubicBezTo>
                  <a:cubicBezTo>
                    <a:pt x="121" y="225"/>
                    <a:pt x="116" y="225"/>
                    <a:pt x="112" y="225"/>
                  </a:cubicBezTo>
                  <a:cubicBezTo>
                    <a:pt x="108" y="225"/>
                    <a:pt x="104" y="223"/>
                    <a:pt x="101" y="226"/>
                  </a:cubicBezTo>
                  <a:cubicBezTo>
                    <a:pt x="99" y="228"/>
                    <a:pt x="101" y="226"/>
                    <a:pt x="101" y="226"/>
                  </a:cubicBezTo>
                  <a:cubicBezTo>
                    <a:pt x="101" y="226"/>
                    <a:pt x="98" y="228"/>
                    <a:pt x="95" y="230"/>
                  </a:cubicBezTo>
                  <a:cubicBezTo>
                    <a:pt x="95" y="230"/>
                    <a:pt x="94" y="232"/>
                    <a:pt x="93" y="234"/>
                  </a:cubicBezTo>
                  <a:cubicBezTo>
                    <a:pt x="93" y="235"/>
                    <a:pt x="90" y="244"/>
                    <a:pt x="88" y="249"/>
                  </a:cubicBezTo>
                  <a:cubicBezTo>
                    <a:pt x="87" y="254"/>
                    <a:pt x="86" y="251"/>
                    <a:pt x="85" y="254"/>
                  </a:cubicBezTo>
                  <a:cubicBezTo>
                    <a:pt x="84" y="256"/>
                    <a:pt x="83" y="257"/>
                    <a:pt x="81" y="257"/>
                  </a:cubicBezTo>
                  <a:cubicBezTo>
                    <a:pt x="78" y="257"/>
                    <a:pt x="77" y="254"/>
                    <a:pt x="80" y="250"/>
                  </a:cubicBezTo>
                  <a:cubicBezTo>
                    <a:pt x="80" y="250"/>
                    <a:pt x="82" y="240"/>
                    <a:pt x="82" y="240"/>
                  </a:cubicBezTo>
                  <a:cubicBezTo>
                    <a:pt x="82" y="239"/>
                    <a:pt x="85" y="236"/>
                    <a:pt x="86" y="234"/>
                  </a:cubicBezTo>
                  <a:cubicBezTo>
                    <a:pt x="86" y="233"/>
                    <a:pt x="86" y="228"/>
                    <a:pt x="85" y="227"/>
                  </a:cubicBezTo>
                  <a:cubicBezTo>
                    <a:pt x="84" y="226"/>
                    <a:pt x="80" y="224"/>
                    <a:pt x="80" y="219"/>
                  </a:cubicBezTo>
                  <a:cubicBezTo>
                    <a:pt x="79" y="214"/>
                    <a:pt x="78" y="218"/>
                    <a:pt x="74" y="216"/>
                  </a:cubicBezTo>
                  <a:cubicBezTo>
                    <a:pt x="71" y="214"/>
                    <a:pt x="72" y="217"/>
                    <a:pt x="70" y="213"/>
                  </a:cubicBezTo>
                  <a:cubicBezTo>
                    <a:pt x="68" y="210"/>
                    <a:pt x="67" y="215"/>
                    <a:pt x="67" y="215"/>
                  </a:cubicBezTo>
                  <a:cubicBezTo>
                    <a:pt x="67" y="215"/>
                    <a:pt x="63" y="211"/>
                    <a:pt x="62" y="208"/>
                  </a:cubicBezTo>
                  <a:cubicBezTo>
                    <a:pt x="62" y="204"/>
                    <a:pt x="60" y="206"/>
                    <a:pt x="60" y="206"/>
                  </a:cubicBezTo>
                  <a:cubicBezTo>
                    <a:pt x="60" y="206"/>
                    <a:pt x="53" y="200"/>
                    <a:pt x="54" y="202"/>
                  </a:cubicBezTo>
                  <a:cubicBezTo>
                    <a:pt x="56" y="203"/>
                    <a:pt x="49" y="203"/>
                    <a:pt x="46" y="201"/>
                  </a:cubicBezTo>
                  <a:cubicBezTo>
                    <a:pt x="43" y="200"/>
                    <a:pt x="43" y="202"/>
                    <a:pt x="41" y="204"/>
                  </a:cubicBezTo>
                  <a:cubicBezTo>
                    <a:pt x="40" y="206"/>
                    <a:pt x="39" y="208"/>
                    <a:pt x="37" y="210"/>
                  </a:cubicBezTo>
                  <a:cubicBezTo>
                    <a:pt x="37" y="210"/>
                    <a:pt x="33" y="213"/>
                    <a:pt x="32" y="213"/>
                  </a:cubicBezTo>
                  <a:cubicBezTo>
                    <a:pt x="30" y="214"/>
                    <a:pt x="30" y="214"/>
                    <a:pt x="30" y="216"/>
                  </a:cubicBezTo>
                  <a:cubicBezTo>
                    <a:pt x="30" y="216"/>
                    <a:pt x="27" y="218"/>
                    <a:pt x="27" y="220"/>
                  </a:cubicBezTo>
                  <a:cubicBezTo>
                    <a:pt x="27" y="222"/>
                    <a:pt x="26" y="223"/>
                    <a:pt x="23" y="226"/>
                  </a:cubicBezTo>
                  <a:cubicBezTo>
                    <a:pt x="23" y="226"/>
                    <a:pt x="22" y="229"/>
                    <a:pt x="22" y="232"/>
                  </a:cubicBezTo>
                  <a:cubicBezTo>
                    <a:pt x="21" y="235"/>
                    <a:pt x="22" y="235"/>
                    <a:pt x="19" y="238"/>
                  </a:cubicBezTo>
                  <a:cubicBezTo>
                    <a:pt x="19" y="240"/>
                    <a:pt x="19" y="241"/>
                    <a:pt x="19" y="243"/>
                  </a:cubicBezTo>
                  <a:cubicBezTo>
                    <a:pt x="19" y="246"/>
                    <a:pt x="20" y="246"/>
                    <a:pt x="20" y="250"/>
                  </a:cubicBezTo>
                  <a:cubicBezTo>
                    <a:pt x="20" y="250"/>
                    <a:pt x="23" y="252"/>
                    <a:pt x="26" y="253"/>
                  </a:cubicBezTo>
                  <a:cubicBezTo>
                    <a:pt x="29" y="253"/>
                    <a:pt x="29" y="254"/>
                    <a:pt x="29" y="257"/>
                  </a:cubicBezTo>
                  <a:cubicBezTo>
                    <a:pt x="29" y="260"/>
                    <a:pt x="29" y="257"/>
                    <a:pt x="29" y="257"/>
                  </a:cubicBezTo>
                  <a:cubicBezTo>
                    <a:pt x="29" y="257"/>
                    <a:pt x="32" y="258"/>
                    <a:pt x="34" y="254"/>
                  </a:cubicBezTo>
                  <a:cubicBezTo>
                    <a:pt x="34" y="254"/>
                    <a:pt x="37" y="252"/>
                    <a:pt x="38" y="251"/>
                  </a:cubicBezTo>
                  <a:cubicBezTo>
                    <a:pt x="39" y="249"/>
                    <a:pt x="39" y="249"/>
                    <a:pt x="41" y="250"/>
                  </a:cubicBezTo>
                  <a:cubicBezTo>
                    <a:pt x="44" y="250"/>
                    <a:pt x="43" y="251"/>
                    <a:pt x="46" y="252"/>
                  </a:cubicBezTo>
                  <a:cubicBezTo>
                    <a:pt x="49" y="253"/>
                    <a:pt x="48" y="254"/>
                    <a:pt x="49" y="256"/>
                  </a:cubicBezTo>
                  <a:cubicBezTo>
                    <a:pt x="50" y="258"/>
                    <a:pt x="50" y="258"/>
                    <a:pt x="48" y="259"/>
                  </a:cubicBezTo>
                  <a:cubicBezTo>
                    <a:pt x="47" y="261"/>
                    <a:pt x="46" y="260"/>
                    <a:pt x="44" y="262"/>
                  </a:cubicBezTo>
                  <a:cubicBezTo>
                    <a:pt x="43" y="262"/>
                    <a:pt x="41" y="265"/>
                    <a:pt x="41" y="266"/>
                  </a:cubicBezTo>
                  <a:cubicBezTo>
                    <a:pt x="40" y="267"/>
                    <a:pt x="40" y="269"/>
                    <a:pt x="39" y="269"/>
                  </a:cubicBezTo>
                  <a:cubicBezTo>
                    <a:pt x="39" y="269"/>
                    <a:pt x="38" y="267"/>
                    <a:pt x="38" y="266"/>
                  </a:cubicBezTo>
                  <a:cubicBezTo>
                    <a:pt x="38" y="266"/>
                    <a:pt x="37" y="268"/>
                    <a:pt x="36" y="269"/>
                  </a:cubicBezTo>
                  <a:cubicBezTo>
                    <a:pt x="35" y="270"/>
                    <a:pt x="35" y="271"/>
                    <a:pt x="34" y="273"/>
                  </a:cubicBezTo>
                  <a:cubicBezTo>
                    <a:pt x="34" y="273"/>
                    <a:pt x="34" y="273"/>
                    <a:pt x="34" y="273"/>
                  </a:cubicBezTo>
                  <a:cubicBezTo>
                    <a:pt x="33" y="274"/>
                    <a:pt x="33" y="275"/>
                    <a:pt x="30" y="276"/>
                  </a:cubicBezTo>
                  <a:cubicBezTo>
                    <a:pt x="30" y="276"/>
                    <a:pt x="31" y="277"/>
                    <a:pt x="31" y="278"/>
                  </a:cubicBezTo>
                  <a:cubicBezTo>
                    <a:pt x="31" y="279"/>
                    <a:pt x="33" y="280"/>
                    <a:pt x="36" y="282"/>
                  </a:cubicBezTo>
                  <a:cubicBezTo>
                    <a:pt x="38" y="283"/>
                    <a:pt x="38" y="283"/>
                    <a:pt x="38" y="284"/>
                  </a:cubicBezTo>
                  <a:cubicBezTo>
                    <a:pt x="38" y="285"/>
                    <a:pt x="40" y="285"/>
                    <a:pt x="41" y="286"/>
                  </a:cubicBezTo>
                  <a:cubicBezTo>
                    <a:pt x="43" y="287"/>
                    <a:pt x="44" y="289"/>
                    <a:pt x="44" y="290"/>
                  </a:cubicBezTo>
                  <a:cubicBezTo>
                    <a:pt x="43" y="292"/>
                    <a:pt x="44" y="293"/>
                    <a:pt x="45" y="294"/>
                  </a:cubicBezTo>
                  <a:cubicBezTo>
                    <a:pt x="46" y="295"/>
                    <a:pt x="46" y="295"/>
                    <a:pt x="45" y="297"/>
                  </a:cubicBezTo>
                  <a:cubicBezTo>
                    <a:pt x="44" y="297"/>
                    <a:pt x="45" y="298"/>
                    <a:pt x="43" y="300"/>
                  </a:cubicBezTo>
                  <a:cubicBezTo>
                    <a:pt x="43" y="300"/>
                    <a:pt x="42" y="303"/>
                    <a:pt x="40" y="305"/>
                  </a:cubicBezTo>
                  <a:cubicBezTo>
                    <a:pt x="39" y="306"/>
                    <a:pt x="38" y="308"/>
                    <a:pt x="37" y="309"/>
                  </a:cubicBezTo>
                  <a:cubicBezTo>
                    <a:pt x="36" y="311"/>
                    <a:pt x="37" y="311"/>
                    <a:pt x="35" y="313"/>
                  </a:cubicBezTo>
                  <a:cubicBezTo>
                    <a:pt x="35" y="313"/>
                    <a:pt x="35" y="315"/>
                    <a:pt x="35" y="317"/>
                  </a:cubicBezTo>
                  <a:cubicBezTo>
                    <a:pt x="35" y="318"/>
                    <a:pt x="35" y="318"/>
                    <a:pt x="36" y="320"/>
                  </a:cubicBezTo>
                  <a:cubicBezTo>
                    <a:pt x="37" y="322"/>
                    <a:pt x="37" y="324"/>
                    <a:pt x="38" y="326"/>
                  </a:cubicBezTo>
                  <a:cubicBezTo>
                    <a:pt x="39" y="328"/>
                    <a:pt x="38" y="329"/>
                    <a:pt x="39" y="329"/>
                  </a:cubicBezTo>
                  <a:cubicBezTo>
                    <a:pt x="40" y="329"/>
                    <a:pt x="43" y="331"/>
                    <a:pt x="46" y="331"/>
                  </a:cubicBezTo>
                  <a:cubicBezTo>
                    <a:pt x="50" y="332"/>
                    <a:pt x="49" y="332"/>
                    <a:pt x="50" y="334"/>
                  </a:cubicBezTo>
                  <a:cubicBezTo>
                    <a:pt x="50" y="336"/>
                    <a:pt x="50" y="338"/>
                    <a:pt x="53" y="341"/>
                  </a:cubicBezTo>
                  <a:cubicBezTo>
                    <a:pt x="55" y="342"/>
                    <a:pt x="59" y="343"/>
                    <a:pt x="59" y="342"/>
                  </a:cubicBezTo>
                  <a:cubicBezTo>
                    <a:pt x="60" y="342"/>
                    <a:pt x="63" y="341"/>
                    <a:pt x="63" y="341"/>
                  </a:cubicBezTo>
                  <a:cubicBezTo>
                    <a:pt x="64" y="337"/>
                    <a:pt x="63" y="337"/>
                    <a:pt x="65" y="338"/>
                  </a:cubicBezTo>
                  <a:cubicBezTo>
                    <a:pt x="68" y="338"/>
                    <a:pt x="72" y="341"/>
                    <a:pt x="75" y="339"/>
                  </a:cubicBezTo>
                  <a:cubicBezTo>
                    <a:pt x="78" y="338"/>
                    <a:pt x="81" y="340"/>
                    <a:pt x="84" y="339"/>
                  </a:cubicBezTo>
                  <a:cubicBezTo>
                    <a:pt x="86" y="338"/>
                    <a:pt x="86" y="339"/>
                    <a:pt x="86" y="339"/>
                  </a:cubicBezTo>
                  <a:cubicBezTo>
                    <a:pt x="87" y="340"/>
                    <a:pt x="86" y="339"/>
                    <a:pt x="85" y="340"/>
                  </a:cubicBezTo>
                  <a:cubicBezTo>
                    <a:pt x="84" y="341"/>
                    <a:pt x="79" y="346"/>
                    <a:pt x="79" y="347"/>
                  </a:cubicBezTo>
                  <a:cubicBezTo>
                    <a:pt x="79" y="347"/>
                    <a:pt x="79" y="349"/>
                    <a:pt x="79" y="350"/>
                  </a:cubicBezTo>
                  <a:cubicBezTo>
                    <a:pt x="82" y="351"/>
                    <a:pt x="83" y="351"/>
                    <a:pt x="84" y="351"/>
                  </a:cubicBezTo>
                  <a:cubicBezTo>
                    <a:pt x="85" y="350"/>
                    <a:pt x="85" y="350"/>
                    <a:pt x="86" y="350"/>
                  </a:cubicBezTo>
                  <a:cubicBezTo>
                    <a:pt x="87" y="349"/>
                    <a:pt x="88" y="349"/>
                    <a:pt x="88" y="347"/>
                  </a:cubicBezTo>
                  <a:cubicBezTo>
                    <a:pt x="89" y="347"/>
                    <a:pt x="90" y="349"/>
                    <a:pt x="90" y="349"/>
                  </a:cubicBezTo>
                  <a:cubicBezTo>
                    <a:pt x="91" y="350"/>
                    <a:pt x="92" y="353"/>
                    <a:pt x="93" y="354"/>
                  </a:cubicBezTo>
                  <a:cubicBezTo>
                    <a:pt x="94" y="355"/>
                    <a:pt x="94" y="356"/>
                    <a:pt x="95" y="357"/>
                  </a:cubicBezTo>
                  <a:cubicBezTo>
                    <a:pt x="98" y="358"/>
                    <a:pt x="99" y="358"/>
                    <a:pt x="100" y="359"/>
                  </a:cubicBezTo>
                  <a:cubicBezTo>
                    <a:pt x="102" y="361"/>
                    <a:pt x="103" y="360"/>
                    <a:pt x="104" y="361"/>
                  </a:cubicBezTo>
                  <a:cubicBezTo>
                    <a:pt x="105" y="362"/>
                    <a:pt x="107" y="365"/>
                    <a:pt x="107" y="366"/>
                  </a:cubicBezTo>
                  <a:cubicBezTo>
                    <a:pt x="109" y="366"/>
                    <a:pt x="111" y="367"/>
                    <a:pt x="113" y="368"/>
                  </a:cubicBezTo>
                  <a:cubicBezTo>
                    <a:pt x="115" y="369"/>
                    <a:pt x="115" y="370"/>
                    <a:pt x="117" y="370"/>
                  </a:cubicBezTo>
                  <a:cubicBezTo>
                    <a:pt x="118" y="371"/>
                    <a:pt x="119" y="370"/>
                    <a:pt x="119" y="371"/>
                  </a:cubicBezTo>
                  <a:cubicBezTo>
                    <a:pt x="119" y="372"/>
                    <a:pt x="119" y="374"/>
                    <a:pt x="120" y="374"/>
                  </a:cubicBezTo>
                  <a:cubicBezTo>
                    <a:pt x="121" y="374"/>
                    <a:pt x="125" y="379"/>
                    <a:pt x="125" y="379"/>
                  </a:cubicBezTo>
                  <a:cubicBezTo>
                    <a:pt x="123" y="380"/>
                    <a:pt x="123" y="382"/>
                    <a:pt x="123" y="383"/>
                  </a:cubicBezTo>
                  <a:cubicBezTo>
                    <a:pt x="123" y="384"/>
                    <a:pt x="125" y="384"/>
                    <a:pt x="126" y="385"/>
                  </a:cubicBezTo>
                  <a:cubicBezTo>
                    <a:pt x="126" y="385"/>
                    <a:pt x="128" y="386"/>
                    <a:pt x="129" y="387"/>
                  </a:cubicBezTo>
                  <a:cubicBezTo>
                    <a:pt x="129" y="389"/>
                    <a:pt x="130" y="390"/>
                    <a:pt x="131" y="392"/>
                  </a:cubicBezTo>
                  <a:cubicBezTo>
                    <a:pt x="132" y="393"/>
                    <a:pt x="134" y="395"/>
                    <a:pt x="133" y="398"/>
                  </a:cubicBezTo>
                  <a:cubicBezTo>
                    <a:pt x="132" y="400"/>
                    <a:pt x="136" y="404"/>
                    <a:pt x="136" y="404"/>
                  </a:cubicBezTo>
                  <a:cubicBezTo>
                    <a:pt x="137" y="404"/>
                    <a:pt x="139" y="404"/>
                    <a:pt x="141" y="405"/>
                  </a:cubicBezTo>
                  <a:cubicBezTo>
                    <a:pt x="143" y="406"/>
                    <a:pt x="145" y="407"/>
                    <a:pt x="147" y="407"/>
                  </a:cubicBezTo>
                  <a:cubicBezTo>
                    <a:pt x="148" y="408"/>
                    <a:pt x="150" y="408"/>
                    <a:pt x="151" y="411"/>
                  </a:cubicBezTo>
                  <a:cubicBezTo>
                    <a:pt x="156" y="414"/>
                    <a:pt x="157" y="416"/>
                    <a:pt x="157" y="418"/>
                  </a:cubicBezTo>
                  <a:cubicBezTo>
                    <a:pt x="160" y="421"/>
                    <a:pt x="160" y="421"/>
                    <a:pt x="161" y="422"/>
                  </a:cubicBezTo>
                  <a:cubicBezTo>
                    <a:pt x="162" y="423"/>
                    <a:pt x="165" y="425"/>
                    <a:pt x="165" y="427"/>
                  </a:cubicBezTo>
                  <a:cubicBezTo>
                    <a:pt x="165" y="430"/>
                    <a:pt x="165" y="431"/>
                    <a:pt x="165" y="433"/>
                  </a:cubicBezTo>
                  <a:cubicBezTo>
                    <a:pt x="166" y="435"/>
                    <a:pt x="169" y="436"/>
                    <a:pt x="166" y="437"/>
                  </a:cubicBezTo>
                  <a:cubicBezTo>
                    <a:pt x="164" y="438"/>
                    <a:pt x="159" y="441"/>
                    <a:pt x="159" y="441"/>
                  </a:cubicBezTo>
                  <a:cubicBezTo>
                    <a:pt x="154" y="443"/>
                    <a:pt x="157" y="444"/>
                    <a:pt x="157" y="445"/>
                  </a:cubicBezTo>
                  <a:cubicBezTo>
                    <a:pt x="157" y="446"/>
                    <a:pt x="156" y="446"/>
                    <a:pt x="157" y="448"/>
                  </a:cubicBezTo>
                  <a:cubicBezTo>
                    <a:pt x="159" y="446"/>
                    <a:pt x="158" y="449"/>
                    <a:pt x="160" y="445"/>
                  </a:cubicBezTo>
                  <a:cubicBezTo>
                    <a:pt x="162" y="441"/>
                    <a:pt x="164" y="444"/>
                    <a:pt x="165" y="445"/>
                  </a:cubicBezTo>
                  <a:cubicBezTo>
                    <a:pt x="166" y="446"/>
                    <a:pt x="170" y="449"/>
                    <a:pt x="171" y="449"/>
                  </a:cubicBezTo>
                  <a:cubicBezTo>
                    <a:pt x="171" y="449"/>
                    <a:pt x="166" y="453"/>
                    <a:pt x="164" y="452"/>
                  </a:cubicBezTo>
                  <a:cubicBezTo>
                    <a:pt x="161" y="452"/>
                    <a:pt x="159" y="451"/>
                    <a:pt x="159" y="451"/>
                  </a:cubicBezTo>
                  <a:cubicBezTo>
                    <a:pt x="159" y="453"/>
                    <a:pt x="160" y="454"/>
                    <a:pt x="162" y="454"/>
                  </a:cubicBezTo>
                  <a:cubicBezTo>
                    <a:pt x="163" y="455"/>
                    <a:pt x="164" y="455"/>
                    <a:pt x="166" y="454"/>
                  </a:cubicBezTo>
                  <a:cubicBezTo>
                    <a:pt x="168" y="453"/>
                    <a:pt x="170" y="451"/>
                    <a:pt x="173" y="451"/>
                  </a:cubicBezTo>
                  <a:cubicBezTo>
                    <a:pt x="175" y="452"/>
                    <a:pt x="177" y="452"/>
                    <a:pt x="180" y="455"/>
                  </a:cubicBezTo>
                  <a:cubicBezTo>
                    <a:pt x="183" y="457"/>
                    <a:pt x="188" y="461"/>
                    <a:pt x="190" y="463"/>
                  </a:cubicBezTo>
                  <a:cubicBezTo>
                    <a:pt x="192" y="465"/>
                    <a:pt x="192" y="466"/>
                    <a:pt x="196" y="467"/>
                  </a:cubicBezTo>
                  <a:cubicBezTo>
                    <a:pt x="199" y="468"/>
                    <a:pt x="202" y="469"/>
                    <a:pt x="204" y="471"/>
                  </a:cubicBezTo>
                  <a:cubicBezTo>
                    <a:pt x="206" y="473"/>
                    <a:pt x="207" y="473"/>
                    <a:pt x="209" y="473"/>
                  </a:cubicBezTo>
                  <a:cubicBezTo>
                    <a:pt x="211" y="473"/>
                    <a:pt x="212" y="475"/>
                    <a:pt x="214" y="476"/>
                  </a:cubicBezTo>
                  <a:cubicBezTo>
                    <a:pt x="216" y="478"/>
                    <a:pt x="220" y="483"/>
                    <a:pt x="221" y="485"/>
                  </a:cubicBezTo>
                  <a:cubicBezTo>
                    <a:pt x="223" y="486"/>
                    <a:pt x="223" y="487"/>
                    <a:pt x="225" y="487"/>
                  </a:cubicBezTo>
                  <a:cubicBezTo>
                    <a:pt x="227" y="487"/>
                    <a:pt x="230" y="489"/>
                    <a:pt x="231" y="489"/>
                  </a:cubicBezTo>
                  <a:cubicBezTo>
                    <a:pt x="231" y="489"/>
                    <a:pt x="233" y="493"/>
                    <a:pt x="231" y="497"/>
                  </a:cubicBezTo>
                  <a:cubicBezTo>
                    <a:pt x="228" y="502"/>
                    <a:pt x="226" y="505"/>
                    <a:pt x="226" y="505"/>
                  </a:cubicBezTo>
                  <a:cubicBezTo>
                    <a:pt x="226" y="506"/>
                    <a:pt x="220" y="509"/>
                    <a:pt x="218" y="509"/>
                  </a:cubicBezTo>
                  <a:cubicBezTo>
                    <a:pt x="215" y="509"/>
                    <a:pt x="214" y="510"/>
                    <a:pt x="212" y="511"/>
                  </a:cubicBezTo>
                  <a:cubicBezTo>
                    <a:pt x="210" y="512"/>
                    <a:pt x="209" y="512"/>
                    <a:pt x="209" y="513"/>
                  </a:cubicBezTo>
                  <a:cubicBezTo>
                    <a:pt x="208" y="514"/>
                    <a:pt x="204" y="516"/>
                    <a:pt x="201" y="517"/>
                  </a:cubicBezTo>
                  <a:cubicBezTo>
                    <a:pt x="201" y="517"/>
                    <a:pt x="200" y="519"/>
                    <a:pt x="199" y="520"/>
                  </a:cubicBezTo>
                  <a:cubicBezTo>
                    <a:pt x="199" y="521"/>
                    <a:pt x="199" y="521"/>
                    <a:pt x="198" y="522"/>
                  </a:cubicBezTo>
                  <a:cubicBezTo>
                    <a:pt x="198" y="524"/>
                    <a:pt x="198" y="524"/>
                    <a:pt x="197" y="526"/>
                  </a:cubicBezTo>
                  <a:cubicBezTo>
                    <a:pt x="196" y="527"/>
                    <a:pt x="194" y="529"/>
                    <a:pt x="194" y="531"/>
                  </a:cubicBezTo>
                  <a:cubicBezTo>
                    <a:pt x="194" y="531"/>
                    <a:pt x="193" y="532"/>
                    <a:pt x="191" y="534"/>
                  </a:cubicBezTo>
                  <a:cubicBezTo>
                    <a:pt x="189" y="534"/>
                    <a:pt x="187" y="537"/>
                    <a:pt x="185" y="538"/>
                  </a:cubicBezTo>
                  <a:cubicBezTo>
                    <a:pt x="184" y="539"/>
                    <a:pt x="184" y="539"/>
                    <a:pt x="183" y="541"/>
                  </a:cubicBezTo>
                  <a:cubicBezTo>
                    <a:pt x="181" y="541"/>
                    <a:pt x="181" y="541"/>
                    <a:pt x="180" y="543"/>
                  </a:cubicBezTo>
                  <a:cubicBezTo>
                    <a:pt x="178" y="543"/>
                    <a:pt x="175" y="543"/>
                    <a:pt x="174" y="544"/>
                  </a:cubicBezTo>
                  <a:cubicBezTo>
                    <a:pt x="174" y="544"/>
                    <a:pt x="171" y="544"/>
                    <a:pt x="170" y="543"/>
                  </a:cubicBezTo>
                  <a:cubicBezTo>
                    <a:pt x="170" y="542"/>
                    <a:pt x="168" y="542"/>
                    <a:pt x="167" y="542"/>
                  </a:cubicBezTo>
                  <a:cubicBezTo>
                    <a:pt x="165" y="542"/>
                    <a:pt x="164" y="542"/>
                    <a:pt x="162" y="541"/>
                  </a:cubicBezTo>
                  <a:cubicBezTo>
                    <a:pt x="162" y="541"/>
                    <a:pt x="159" y="541"/>
                    <a:pt x="159" y="541"/>
                  </a:cubicBezTo>
                  <a:cubicBezTo>
                    <a:pt x="158" y="541"/>
                    <a:pt x="155" y="541"/>
                    <a:pt x="155" y="541"/>
                  </a:cubicBezTo>
                  <a:cubicBezTo>
                    <a:pt x="154" y="541"/>
                    <a:pt x="152" y="541"/>
                    <a:pt x="151" y="542"/>
                  </a:cubicBezTo>
                  <a:cubicBezTo>
                    <a:pt x="149" y="542"/>
                    <a:pt x="148" y="542"/>
                    <a:pt x="145" y="542"/>
                  </a:cubicBezTo>
                  <a:cubicBezTo>
                    <a:pt x="145" y="543"/>
                    <a:pt x="144" y="543"/>
                    <a:pt x="143" y="543"/>
                  </a:cubicBezTo>
                  <a:cubicBezTo>
                    <a:pt x="142" y="543"/>
                    <a:pt x="141" y="543"/>
                    <a:pt x="141" y="544"/>
                  </a:cubicBezTo>
                  <a:cubicBezTo>
                    <a:pt x="140" y="545"/>
                    <a:pt x="140" y="547"/>
                    <a:pt x="140" y="548"/>
                  </a:cubicBezTo>
                  <a:cubicBezTo>
                    <a:pt x="140" y="549"/>
                    <a:pt x="140" y="548"/>
                    <a:pt x="139" y="550"/>
                  </a:cubicBezTo>
                  <a:cubicBezTo>
                    <a:pt x="135" y="551"/>
                    <a:pt x="135" y="551"/>
                    <a:pt x="135" y="551"/>
                  </a:cubicBezTo>
                  <a:cubicBezTo>
                    <a:pt x="134" y="551"/>
                    <a:pt x="132" y="551"/>
                    <a:pt x="131" y="552"/>
                  </a:cubicBezTo>
                  <a:cubicBezTo>
                    <a:pt x="130" y="553"/>
                    <a:pt x="128" y="553"/>
                    <a:pt x="127" y="553"/>
                  </a:cubicBezTo>
                  <a:cubicBezTo>
                    <a:pt x="126" y="553"/>
                    <a:pt x="125" y="553"/>
                    <a:pt x="124" y="554"/>
                  </a:cubicBezTo>
                  <a:cubicBezTo>
                    <a:pt x="123" y="554"/>
                    <a:pt x="122" y="555"/>
                    <a:pt x="121" y="555"/>
                  </a:cubicBezTo>
                  <a:cubicBezTo>
                    <a:pt x="121" y="555"/>
                    <a:pt x="119" y="556"/>
                    <a:pt x="118" y="556"/>
                  </a:cubicBezTo>
                  <a:cubicBezTo>
                    <a:pt x="116" y="556"/>
                    <a:pt x="113" y="556"/>
                    <a:pt x="111" y="557"/>
                  </a:cubicBezTo>
                  <a:cubicBezTo>
                    <a:pt x="109" y="557"/>
                    <a:pt x="106" y="555"/>
                    <a:pt x="105" y="554"/>
                  </a:cubicBezTo>
                  <a:cubicBezTo>
                    <a:pt x="105" y="554"/>
                    <a:pt x="102" y="552"/>
                    <a:pt x="102" y="552"/>
                  </a:cubicBezTo>
                  <a:cubicBezTo>
                    <a:pt x="101" y="552"/>
                    <a:pt x="99" y="551"/>
                    <a:pt x="99" y="550"/>
                  </a:cubicBezTo>
                  <a:cubicBezTo>
                    <a:pt x="99" y="549"/>
                    <a:pt x="98" y="549"/>
                    <a:pt x="97" y="549"/>
                  </a:cubicBezTo>
                  <a:cubicBezTo>
                    <a:pt x="96" y="548"/>
                    <a:pt x="96" y="547"/>
                    <a:pt x="96" y="548"/>
                  </a:cubicBezTo>
                  <a:cubicBezTo>
                    <a:pt x="96" y="550"/>
                    <a:pt x="98" y="551"/>
                    <a:pt x="98" y="552"/>
                  </a:cubicBezTo>
                  <a:cubicBezTo>
                    <a:pt x="98" y="553"/>
                    <a:pt x="99" y="555"/>
                    <a:pt x="100" y="556"/>
                  </a:cubicBezTo>
                  <a:cubicBezTo>
                    <a:pt x="102" y="557"/>
                    <a:pt x="102" y="558"/>
                    <a:pt x="102" y="559"/>
                  </a:cubicBezTo>
                  <a:cubicBezTo>
                    <a:pt x="101" y="559"/>
                    <a:pt x="97" y="559"/>
                    <a:pt x="97" y="559"/>
                  </a:cubicBezTo>
                  <a:cubicBezTo>
                    <a:pt x="97" y="559"/>
                    <a:pt x="98" y="559"/>
                    <a:pt x="97" y="559"/>
                  </a:cubicBezTo>
                  <a:cubicBezTo>
                    <a:pt x="96" y="559"/>
                    <a:pt x="94" y="557"/>
                    <a:pt x="92" y="557"/>
                  </a:cubicBezTo>
                  <a:cubicBezTo>
                    <a:pt x="91" y="558"/>
                    <a:pt x="88" y="555"/>
                    <a:pt x="87" y="555"/>
                  </a:cubicBezTo>
                  <a:cubicBezTo>
                    <a:pt x="86" y="554"/>
                    <a:pt x="86" y="554"/>
                    <a:pt x="85" y="554"/>
                  </a:cubicBezTo>
                  <a:cubicBezTo>
                    <a:pt x="83" y="554"/>
                    <a:pt x="83" y="553"/>
                    <a:pt x="81" y="552"/>
                  </a:cubicBezTo>
                  <a:cubicBezTo>
                    <a:pt x="81" y="552"/>
                    <a:pt x="81" y="553"/>
                    <a:pt x="81" y="554"/>
                  </a:cubicBezTo>
                  <a:cubicBezTo>
                    <a:pt x="81" y="555"/>
                    <a:pt x="81" y="556"/>
                    <a:pt x="82" y="557"/>
                  </a:cubicBezTo>
                  <a:cubicBezTo>
                    <a:pt x="82" y="557"/>
                    <a:pt x="81" y="558"/>
                    <a:pt x="80" y="558"/>
                  </a:cubicBezTo>
                  <a:cubicBezTo>
                    <a:pt x="80" y="557"/>
                    <a:pt x="78" y="557"/>
                    <a:pt x="78" y="557"/>
                  </a:cubicBezTo>
                  <a:cubicBezTo>
                    <a:pt x="77" y="557"/>
                    <a:pt x="76" y="558"/>
                    <a:pt x="76" y="557"/>
                  </a:cubicBezTo>
                  <a:cubicBezTo>
                    <a:pt x="75" y="557"/>
                    <a:pt x="74" y="558"/>
                    <a:pt x="74" y="559"/>
                  </a:cubicBezTo>
                  <a:cubicBezTo>
                    <a:pt x="74" y="559"/>
                    <a:pt x="75" y="562"/>
                    <a:pt x="76" y="564"/>
                  </a:cubicBezTo>
                  <a:cubicBezTo>
                    <a:pt x="76" y="566"/>
                    <a:pt x="74" y="565"/>
                    <a:pt x="72" y="565"/>
                  </a:cubicBezTo>
                  <a:moveTo>
                    <a:pt x="390" y="573"/>
                  </a:moveTo>
                  <a:cubicBezTo>
                    <a:pt x="392" y="571"/>
                    <a:pt x="398" y="566"/>
                    <a:pt x="400" y="565"/>
                  </a:cubicBezTo>
                  <a:cubicBezTo>
                    <a:pt x="402" y="563"/>
                    <a:pt x="407" y="560"/>
                    <a:pt x="407" y="558"/>
                  </a:cubicBezTo>
                  <a:cubicBezTo>
                    <a:pt x="410" y="555"/>
                    <a:pt x="413" y="554"/>
                    <a:pt x="414" y="550"/>
                  </a:cubicBezTo>
                  <a:cubicBezTo>
                    <a:pt x="415" y="546"/>
                    <a:pt x="418" y="543"/>
                    <a:pt x="418" y="543"/>
                  </a:cubicBezTo>
                  <a:cubicBezTo>
                    <a:pt x="418" y="537"/>
                    <a:pt x="419" y="537"/>
                    <a:pt x="421" y="534"/>
                  </a:cubicBezTo>
                  <a:cubicBezTo>
                    <a:pt x="423" y="531"/>
                    <a:pt x="425" y="528"/>
                    <a:pt x="428" y="526"/>
                  </a:cubicBezTo>
                  <a:cubicBezTo>
                    <a:pt x="431" y="524"/>
                    <a:pt x="434" y="522"/>
                    <a:pt x="435" y="520"/>
                  </a:cubicBezTo>
                  <a:cubicBezTo>
                    <a:pt x="435" y="518"/>
                    <a:pt x="438" y="513"/>
                    <a:pt x="439" y="513"/>
                  </a:cubicBezTo>
                  <a:cubicBezTo>
                    <a:pt x="441" y="512"/>
                    <a:pt x="443" y="509"/>
                    <a:pt x="443" y="509"/>
                  </a:cubicBezTo>
                  <a:cubicBezTo>
                    <a:pt x="442" y="504"/>
                    <a:pt x="443" y="504"/>
                    <a:pt x="444" y="502"/>
                  </a:cubicBezTo>
                  <a:cubicBezTo>
                    <a:pt x="446" y="501"/>
                    <a:pt x="446" y="498"/>
                    <a:pt x="446" y="496"/>
                  </a:cubicBezTo>
                  <a:cubicBezTo>
                    <a:pt x="446" y="495"/>
                    <a:pt x="450" y="488"/>
                    <a:pt x="450" y="488"/>
                  </a:cubicBezTo>
                  <a:cubicBezTo>
                    <a:pt x="448" y="487"/>
                    <a:pt x="448" y="485"/>
                    <a:pt x="447" y="482"/>
                  </a:cubicBezTo>
                  <a:cubicBezTo>
                    <a:pt x="446" y="479"/>
                    <a:pt x="444" y="472"/>
                    <a:pt x="444" y="472"/>
                  </a:cubicBezTo>
                  <a:cubicBezTo>
                    <a:pt x="448" y="468"/>
                    <a:pt x="449" y="464"/>
                    <a:pt x="449" y="464"/>
                  </a:cubicBezTo>
                  <a:cubicBezTo>
                    <a:pt x="449" y="464"/>
                    <a:pt x="451" y="458"/>
                    <a:pt x="451" y="458"/>
                  </a:cubicBezTo>
                  <a:cubicBezTo>
                    <a:pt x="453" y="450"/>
                    <a:pt x="453" y="450"/>
                    <a:pt x="453" y="450"/>
                  </a:cubicBezTo>
                  <a:cubicBezTo>
                    <a:pt x="450" y="448"/>
                    <a:pt x="448" y="448"/>
                    <a:pt x="446" y="450"/>
                  </a:cubicBezTo>
                  <a:cubicBezTo>
                    <a:pt x="445" y="451"/>
                    <a:pt x="441" y="453"/>
                    <a:pt x="441" y="453"/>
                  </a:cubicBezTo>
                  <a:cubicBezTo>
                    <a:pt x="439" y="448"/>
                    <a:pt x="436" y="444"/>
                    <a:pt x="436" y="444"/>
                  </a:cubicBezTo>
                  <a:cubicBezTo>
                    <a:pt x="430" y="446"/>
                    <a:pt x="426" y="446"/>
                    <a:pt x="423" y="448"/>
                  </a:cubicBezTo>
                  <a:cubicBezTo>
                    <a:pt x="420" y="450"/>
                    <a:pt x="410" y="456"/>
                    <a:pt x="408" y="457"/>
                  </a:cubicBezTo>
                  <a:cubicBezTo>
                    <a:pt x="405" y="454"/>
                    <a:pt x="403" y="455"/>
                    <a:pt x="401" y="456"/>
                  </a:cubicBezTo>
                  <a:cubicBezTo>
                    <a:pt x="396" y="458"/>
                    <a:pt x="395" y="458"/>
                    <a:pt x="393" y="458"/>
                  </a:cubicBezTo>
                  <a:cubicBezTo>
                    <a:pt x="392" y="457"/>
                    <a:pt x="389" y="458"/>
                    <a:pt x="388" y="459"/>
                  </a:cubicBezTo>
                  <a:cubicBezTo>
                    <a:pt x="386" y="461"/>
                    <a:pt x="385" y="461"/>
                    <a:pt x="383" y="460"/>
                  </a:cubicBezTo>
                  <a:cubicBezTo>
                    <a:pt x="381" y="459"/>
                    <a:pt x="375" y="458"/>
                    <a:pt x="374" y="455"/>
                  </a:cubicBezTo>
                  <a:cubicBezTo>
                    <a:pt x="373" y="452"/>
                    <a:pt x="369" y="449"/>
                    <a:pt x="368" y="449"/>
                  </a:cubicBezTo>
                  <a:cubicBezTo>
                    <a:pt x="367" y="447"/>
                    <a:pt x="362" y="444"/>
                    <a:pt x="362" y="444"/>
                  </a:cubicBezTo>
                  <a:cubicBezTo>
                    <a:pt x="362" y="440"/>
                    <a:pt x="363" y="439"/>
                    <a:pt x="361" y="437"/>
                  </a:cubicBezTo>
                  <a:cubicBezTo>
                    <a:pt x="359" y="434"/>
                    <a:pt x="356" y="431"/>
                    <a:pt x="355" y="429"/>
                  </a:cubicBezTo>
                  <a:cubicBezTo>
                    <a:pt x="355" y="427"/>
                    <a:pt x="350" y="422"/>
                    <a:pt x="349" y="421"/>
                  </a:cubicBezTo>
                  <a:cubicBezTo>
                    <a:pt x="348" y="420"/>
                    <a:pt x="349" y="419"/>
                    <a:pt x="349" y="418"/>
                  </a:cubicBezTo>
                  <a:cubicBezTo>
                    <a:pt x="350" y="417"/>
                    <a:pt x="351" y="415"/>
                    <a:pt x="351" y="415"/>
                  </a:cubicBezTo>
                  <a:cubicBezTo>
                    <a:pt x="349" y="413"/>
                    <a:pt x="349" y="411"/>
                    <a:pt x="347" y="409"/>
                  </a:cubicBezTo>
                  <a:cubicBezTo>
                    <a:pt x="350" y="406"/>
                    <a:pt x="351" y="405"/>
                    <a:pt x="353" y="404"/>
                  </a:cubicBezTo>
                  <a:cubicBezTo>
                    <a:pt x="354" y="400"/>
                    <a:pt x="356" y="395"/>
                    <a:pt x="358" y="391"/>
                  </a:cubicBezTo>
                  <a:cubicBezTo>
                    <a:pt x="357" y="384"/>
                    <a:pt x="357" y="379"/>
                    <a:pt x="355" y="377"/>
                  </a:cubicBezTo>
                  <a:cubicBezTo>
                    <a:pt x="362" y="365"/>
                    <a:pt x="361" y="365"/>
                    <a:pt x="363" y="363"/>
                  </a:cubicBezTo>
                  <a:cubicBezTo>
                    <a:pt x="366" y="361"/>
                    <a:pt x="368" y="354"/>
                    <a:pt x="370" y="351"/>
                  </a:cubicBezTo>
                  <a:cubicBezTo>
                    <a:pt x="371" y="349"/>
                    <a:pt x="374" y="346"/>
                    <a:pt x="376" y="344"/>
                  </a:cubicBezTo>
                  <a:cubicBezTo>
                    <a:pt x="378" y="342"/>
                    <a:pt x="384" y="338"/>
                    <a:pt x="384" y="338"/>
                  </a:cubicBezTo>
                  <a:cubicBezTo>
                    <a:pt x="390" y="333"/>
                    <a:pt x="390" y="333"/>
                    <a:pt x="390" y="333"/>
                  </a:cubicBezTo>
                  <a:cubicBezTo>
                    <a:pt x="389" y="326"/>
                    <a:pt x="393" y="320"/>
                    <a:pt x="393" y="318"/>
                  </a:cubicBezTo>
                  <a:cubicBezTo>
                    <a:pt x="393" y="317"/>
                    <a:pt x="394" y="315"/>
                    <a:pt x="396" y="314"/>
                  </a:cubicBezTo>
                  <a:cubicBezTo>
                    <a:pt x="398" y="313"/>
                    <a:pt x="401" y="311"/>
                    <a:pt x="402" y="307"/>
                  </a:cubicBezTo>
                  <a:cubicBezTo>
                    <a:pt x="403" y="302"/>
                    <a:pt x="405" y="298"/>
                    <a:pt x="408" y="300"/>
                  </a:cubicBezTo>
                  <a:cubicBezTo>
                    <a:pt x="410" y="302"/>
                    <a:pt x="413" y="302"/>
                    <a:pt x="416" y="301"/>
                  </a:cubicBezTo>
                  <a:cubicBezTo>
                    <a:pt x="419" y="301"/>
                    <a:pt x="421" y="300"/>
                    <a:pt x="423" y="297"/>
                  </a:cubicBezTo>
                  <a:cubicBezTo>
                    <a:pt x="425" y="295"/>
                    <a:pt x="427" y="293"/>
                    <a:pt x="433" y="291"/>
                  </a:cubicBezTo>
                  <a:cubicBezTo>
                    <a:pt x="439" y="289"/>
                    <a:pt x="445" y="285"/>
                    <a:pt x="447" y="286"/>
                  </a:cubicBezTo>
                  <a:cubicBezTo>
                    <a:pt x="449" y="286"/>
                    <a:pt x="452" y="284"/>
                    <a:pt x="453" y="283"/>
                  </a:cubicBezTo>
                  <a:cubicBezTo>
                    <a:pt x="455" y="282"/>
                    <a:pt x="454" y="281"/>
                    <a:pt x="454" y="281"/>
                  </a:cubicBezTo>
                  <a:cubicBezTo>
                    <a:pt x="456" y="283"/>
                    <a:pt x="457" y="283"/>
                    <a:pt x="459" y="282"/>
                  </a:cubicBezTo>
                  <a:cubicBezTo>
                    <a:pt x="457" y="288"/>
                    <a:pt x="458" y="286"/>
                    <a:pt x="459" y="289"/>
                  </a:cubicBezTo>
                  <a:cubicBezTo>
                    <a:pt x="461" y="291"/>
                    <a:pt x="461" y="292"/>
                    <a:pt x="460" y="293"/>
                  </a:cubicBezTo>
                  <a:cubicBezTo>
                    <a:pt x="460" y="295"/>
                    <a:pt x="459" y="299"/>
                    <a:pt x="459" y="299"/>
                  </a:cubicBezTo>
                  <a:cubicBezTo>
                    <a:pt x="461" y="302"/>
                    <a:pt x="464" y="302"/>
                    <a:pt x="465" y="302"/>
                  </a:cubicBezTo>
                  <a:cubicBezTo>
                    <a:pt x="467" y="302"/>
                    <a:pt x="474" y="301"/>
                    <a:pt x="475" y="302"/>
                  </a:cubicBezTo>
                  <a:cubicBezTo>
                    <a:pt x="476" y="303"/>
                    <a:pt x="478" y="306"/>
                    <a:pt x="478" y="306"/>
                  </a:cubicBezTo>
                  <a:cubicBezTo>
                    <a:pt x="481" y="307"/>
                    <a:pt x="487" y="308"/>
                    <a:pt x="487" y="308"/>
                  </a:cubicBezTo>
                  <a:cubicBezTo>
                    <a:pt x="489" y="307"/>
                    <a:pt x="490" y="306"/>
                    <a:pt x="489" y="305"/>
                  </a:cubicBezTo>
                  <a:cubicBezTo>
                    <a:pt x="488" y="303"/>
                    <a:pt x="487" y="299"/>
                    <a:pt x="488" y="297"/>
                  </a:cubicBezTo>
                  <a:cubicBezTo>
                    <a:pt x="488" y="296"/>
                    <a:pt x="489" y="293"/>
                    <a:pt x="489" y="293"/>
                  </a:cubicBezTo>
                  <a:cubicBezTo>
                    <a:pt x="491" y="291"/>
                    <a:pt x="493" y="290"/>
                    <a:pt x="494" y="291"/>
                  </a:cubicBezTo>
                  <a:cubicBezTo>
                    <a:pt x="496" y="291"/>
                    <a:pt x="501" y="292"/>
                    <a:pt x="502" y="291"/>
                  </a:cubicBezTo>
                  <a:cubicBezTo>
                    <a:pt x="503" y="291"/>
                    <a:pt x="509" y="290"/>
                    <a:pt x="509" y="290"/>
                  </a:cubicBezTo>
                  <a:cubicBezTo>
                    <a:pt x="510" y="286"/>
                    <a:pt x="511" y="282"/>
                    <a:pt x="513" y="281"/>
                  </a:cubicBezTo>
                  <a:cubicBezTo>
                    <a:pt x="515" y="280"/>
                    <a:pt x="517" y="278"/>
                    <a:pt x="517" y="278"/>
                  </a:cubicBezTo>
                  <a:cubicBezTo>
                    <a:pt x="517" y="271"/>
                    <a:pt x="516" y="266"/>
                    <a:pt x="516" y="265"/>
                  </a:cubicBezTo>
                  <a:cubicBezTo>
                    <a:pt x="516" y="263"/>
                    <a:pt x="515" y="256"/>
                    <a:pt x="514" y="254"/>
                  </a:cubicBezTo>
                  <a:cubicBezTo>
                    <a:pt x="513" y="253"/>
                    <a:pt x="513" y="253"/>
                    <a:pt x="513" y="253"/>
                  </a:cubicBezTo>
                  <a:cubicBezTo>
                    <a:pt x="509" y="256"/>
                    <a:pt x="504" y="262"/>
                    <a:pt x="503" y="261"/>
                  </a:cubicBezTo>
                  <a:cubicBezTo>
                    <a:pt x="502" y="260"/>
                    <a:pt x="500" y="260"/>
                    <a:pt x="499" y="261"/>
                  </a:cubicBezTo>
                  <a:cubicBezTo>
                    <a:pt x="498" y="263"/>
                    <a:pt x="498" y="263"/>
                    <a:pt x="498" y="263"/>
                  </a:cubicBezTo>
                  <a:cubicBezTo>
                    <a:pt x="495" y="259"/>
                    <a:pt x="494" y="259"/>
                    <a:pt x="493" y="256"/>
                  </a:cubicBezTo>
                  <a:cubicBezTo>
                    <a:pt x="493" y="254"/>
                    <a:pt x="492" y="251"/>
                    <a:pt x="491" y="249"/>
                  </a:cubicBezTo>
                  <a:cubicBezTo>
                    <a:pt x="490" y="248"/>
                    <a:pt x="490" y="248"/>
                    <a:pt x="490" y="248"/>
                  </a:cubicBezTo>
                  <a:cubicBezTo>
                    <a:pt x="493" y="245"/>
                    <a:pt x="495" y="239"/>
                    <a:pt x="495" y="239"/>
                  </a:cubicBezTo>
                  <a:cubicBezTo>
                    <a:pt x="493" y="238"/>
                    <a:pt x="492" y="238"/>
                    <a:pt x="494" y="237"/>
                  </a:cubicBezTo>
                  <a:cubicBezTo>
                    <a:pt x="496" y="236"/>
                    <a:pt x="497" y="235"/>
                    <a:pt x="497" y="233"/>
                  </a:cubicBezTo>
                  <a:cubicBezTo>
                    <a:pt x="497" y="230"/>
                    <a:pt x="498" y="227"/>
                    <a:pt x="498" y="227"/>
                  </a:cubicBezTo>
                  <a:cubicBezTo>
                    <a:pt x="500" y="224"/>
                    <a:pt x="500" y="224"/>
                    <a:pt x="500" y="224"/>
                  </a:cubicBezTo>
                  <a:cubicBezTo>
                    <a:pt x="502" y="226"/>
                    <a:pt x="503" y="226"/>
                    <a:pt x="503" y="226"/>
                  </a:cubicBezTo>
                  <a:cubicBezTo>
                    <a:pt x="503" y="226"/>
                    <a:pt x="506" y="224"/>
                    <a:pt x="506" y="224"/>
                  </a:cubicBezTo>
                  <a:cubicBezTo>
                    <a:pt x="506" y="220"/>
                    <a:pt x="507" y="216"/>
                    <a:pt x="507" y="215"/>
                  </a:cubicBezTo>
                  <a:cubicBezTo>
                    <a:pt x="505" y="211"/>
                    <a:pt x="507" y="211"/>
                    <a:pt x="503" y="210"/>
                  </a:cubicBezTo>
                  <a:cubicBezTo>
                    <a:pt x="500" y="209"/>
                    <a:pt x="494" y="207"/>
                    <a:pt x="494" y="207"/>
                  </a:cubicBezTo>
                  <a:cubicBezTo>
                    <a:pt x="494" y="200"/>
                    <a:pt x="491" y="194"/>
                    <a:pt x="491" y="194"/>
                  </a:cubicBezTo>
                  <a:cubicBezTo>
                    <a:pt x="490" y="198"/>
                    <a:pt x="488" y="202"/>
                    <a:pt x="489" y="204"/>
                  </a:cubicBezTo>
                  <a:cubicBezTo>
                    <a:pt x="490" y="206"/>
                    <a:pt x="489" y="208"/>
                    <a:pt x="490" y="209"/>
                  </a:cubicBezTo>
                  <a:cubicBezTo>
                    <a:pt x="492" y="209"/>
                    <a:pt x="492" y="210"/>
                    <a:pt x="492" y="211"/>
                  </a:cubicBezTo>
                  <a:cubicBezTo>
                    <a:pt x="492" y="213"/>
                    <a:pt x="494" y="216"/>
                    <a:pt x="491" y="214"/>
                  </a:cubicBezTo>
                  <a:cubicBezTo>
                    <a:pt x="488" y="213"/>
                    <a:pt x="488" y="211"/>
                    <a:pt x="488" y="209"/>
                  </a:cubicBezTo>
                  <a:cubicBezTo>
                    <a:pt x="486" y="210"/>
                    <a:pt x="485" y="209"/>
                    <a:pt x="484" y="207"/>
                  </a:cubicBezTo>
                  <a:cubicBezTo>
                    <a:pt x="483" y="212"/>
                    <a:pt x="482" y="213"/>
                    <a:pt x="484" y="215"/>
                  </a:cubicBezTo>
                  <a:cubicBezTo>
                    <a:pt x="485" y="216"/>
                    <a:pt x="486" y="221"/>
                    <a:pt x="486" y="223"/>
                  </a:cubicBezTo>
                  <a:cubicBezTo>
                    <a:pt x="486" y="225"/>
                    <a:pt x="489" y="235"/>
                    <a:pt x="489" y="236"/>
                  </a:cubicBezTo>
                  <a:cubicBezTo>
                    <a:pt x="490" y="237"/>
                    <a:pt x="494" y="237"/>
                    <a:pt x="493" y="239"/>
                  </a:cubicBezTo>
                  <a:cubicBezTo>
                    <a:pt x="492" y="241"/>
                    <a:pt x="492" y="247"/>
                    <a:pt x="490" y="246"/>
                  </a:cubicBezTo>
                  <a:cubicBezTo>
                    <a:pt x="489" y="245"/>
                    <a:pt x="485" y="245"/>
                    <a:pt x="485" y="248"/>
                  </a:cubicBezTo>
                  <a:cubicBezTo>
                    <a:pt x="485" y="250"/>
                    <a:pt x="487" y="255"/>
                    <a:pt x="486" y="256"/>
                  </a:cubicBezTo>
                  <a:cubicBezTo>
                    <a:pt x="484" y="258"/>
                    <a:pt x="484" y="258"/>
                    <a:pt x="484" y="258"/>
                  </a:cubicBezTo>
                  <a:cubicBezTo>
                    <a:pt x="487" y="259"/>
                    <a:pt x="488" y="258"/>
                    <a:pt x="489" y="260"/>
                  </a:cubicBezTo>
                  <a:cubicBezTo>
                    <a:pt x="490" y="262"/>
                    <a:pt x="489" y="263"/>
                    <a:pt x="488" y="262"/>
                  </a:cubicBezTo>
                  <a:cubicBezTo>
                    <a:pt x="487" y="262"/>
                    <a:pt x="484" y="263"/>
                    <a:pt x="486" y="264"/>
                  </a:cubicBezTo>
                  <a:cubicBezTo>
                    <a:pt x="488" y="265"/>
                    <a:pt x="489" y="264"/>
                    <a:pt x="489" y="267"/>
                  </a:cubicBezTo>
                  <a:cubicBezTo>
                    <a:pt x="489" y="271"/>
                    <a:pt x="489" y="272"/>
                    <a:pt x="488" y="271"/>
                  </a:cubicBezTo>
                  <a:cubicBezTo>
                    <a:pt x="488" y="270"/>
                    <a:pt x="484" y="267"/>
                    <a:pt x="483" y="266"/>
                  </a:cubicBezTo>
                  <a:cubicBezTo>
                    <a:pt x="484" y="264"/>
                    <a:pt x="484" y="263"/>
                    <a:pt x="484" y="263"/>
                  </a:cubicBezTo>
                  <a:cubicBezTo>
                    <a:pt x="482" y="264"/>
                    <a:pt x="482" y="263"/>
                    <a:pt x="481" y="262"/>
                  </a:cubicBezTo>
                  <a:cubicBezTo>
                    <a:pt x="480" y="260"/>
                    <a:pt x="478" y="258"/>
                    <a:pt x="476" y="256"/>
                  </a:cubicBezTo>
                  <a:cubicBezTo>
                    <a:pt x="475" y="255"/>
                    <a:pt x="474" y="253"/>
                    <a:pt x="474" y="252"/>
                  </a:cubicBezTo>
                  <a:cubicBezTo>
                    <a:pt x="473" y="250"/>
                    <a:pt x="473" y="248"/>
                    <a:pt x="473" y="248"/>
                  </a:cubicBezTo>
                  <a:cubicBezTo>
                    <a:pt x="466" y="245"/>
                    <a:pt x="458" y="240"/>
                    <a:pt x="457" y="239"/>
                  </a:cubicBezTo>
                  <a:cubicBezTo>
                    <a:pt x="455" y="237"/>
                    <a:pt x="453" y="236"/>
                    <a:pt x="453" y="236"/>
                  </a:cubicBezTo>
                  <a:cubicBezTo>
                    <a:pt x="450" y="237"/>
                    <a:pt x="450" y="238"/>
                    <a:pt x="451" y="241"/>
                  </a:cubicBezTo>
                  <a:cubicBezTo>
                    <a:pt x="451" y="243"/>
                    <a:pt x="456" y="246"/>
                    <a:pt x="456" y="246"/>
                  </a:cubicBezTo>
                  <a:cubicBezTo>
                    <a:pt x="456" y="246"/>
                    <a:pt x="467" y="256"/>
                    <a:pt x="471" y="257"/>
                  </a:cubicBezTo>
                  <a:cubicBezTo>
                    <a:pt x="475" y="257"/>
                    <a:pt x="474" y="258"/>
                    <a:pt x="474" y="258"/>
                  </a:cubicBezTo>
                  <a:cubicBezTo>
                    <a:pt x="474" y="259"/>
                    <a:pt x="474" y="259"/>
                    <a:pt x="474" y="259"/>
                  </a:cubicBezTo>
                  <a:cubicBezTo>
                    <a:pt x="471" y="258"/>
                    <a:pt x="468" y="256"/>
                    <a:pt x="469" y="259"/>
                  </a:cubicBezTo>
                  <a:cubicBezTo>
                    <a:pt x="470" y="261"/>
                    <a:pt x="473" y="264"/>
                    <a:pt x="472" y="265"/>
                  </a:cubicBezTo>
                  <a:cubicBezTo>
                    <a:pt x="471" y="266"/>
                    <a:pt x="471" y="272"/>
                    <a:pt x="471" y="272"/>
                  </a:cubicBezTo>
                  <a:cubicBezTo>
                    <a:pt x="471" y="272"/>
                    <a:pt x="469" y="270"/>
                    <a:pt x="469" y="268"/>
                  </a:cubicBezTo>
                  <a:cubicBezTo>
                    <a:pt x="470" y="265"/>
                    <a:pt x="467" y="262"/>
                    <a:pt x="467" y="261"/>
                  </a:cubicBezTo>
                  <a:cubicBezTo>
                    <a:pt x="463" y="260"/>
                    <a:pt x="463" y="260"/>
                    <a:pt x="463" y="260"/>
                  </a:cubicBezTo>
                  <a:cubicBezTo>
                    <a:pt x="463" y="260"/>
                    <a:pt x="462" y="258"/>
                    <a:pt x="460" y="258"/>
                  </a:cubicBezTo>
                  <a:cubicBezTo>
                    <a:pt x="458" y="257"/>
                    <a:pt x="457" y="256"/>
                    <a:pt x="457" y="256"/>
                  </a:cubicBezTo>
                  <a:cubicBezTo>
                    <a:pt x="454" y="255"/>
                    <a:pt x="454" y="255"/>
                    <a:pt x="454" y="255"/>
                  </a:cubicBezTo>
                  <a:cubicBezTo>
                    <a:pt x="454" y="255"/>
                    <a:pt x="452" y="254"/>
                    <a:pt x="451" y="253"/>
                  </a:cubicBezTo>
                  <a:cubicBezTo>
                    <a:pt x="451" y="251"/>
                    <a:pt x="448" y="248"/>
                    <a:pt x="447" y="247"/>
                  </a:cubicBezTo>
                  <a:cubicBezTo>
                    <a:pt x="446" y="245"/>
                    <a:pt x="444" y="245"/>
                    <a:pt x="443" y="246"/>
                  </a:cubicBezTo>
                  <a:cubicBezTo>
                    <a:pt x="443" y="246"/>
                    <a:pt x="439" y="250"/>
                    <a:pt x="439" y="252"/>
                  </a:cubicBezTo>
                  <a:cubicBezTo>
                    <a:pt x="438" y="254"/>
                    <a:pt x="436" y="254"/>
                    <a:pt x="434" y="253"/>
                  </a:cubicBezTo>
                  <a:cubicBezTo>
                    <a:pt x="434" y="253"/>
                    <a:pt x="432" y="255"/>
                    <a:pt x="429" y="255"/>
                  </a:cubicBezTo>
                  <a:cubicBezTo>
                    <a:pt x="430" y="256"/>
                    <a:pt x="430" y="259"/>
                    <a:pt x="430" y="263"/>
                  </a:cubicBezTo>
                  <a:cubicBezTo>
                    <a:pt x="430" y="263"/>
                    <a:pt x="426" y="267"/>
                    <a:pt x="425" y="268"/>
                  </a:cubicBezTo>
                  <a:cubicBezTo>
                    <a:pt x="423" y="270"/>
                    <a:pt x="424" y="271"/>
                    <a:pt x="423" y="274"/>
                  </a:cubicBezTo>
                  <a:cubicBezTo>
                    <a:pt x="422" y="276"/>
                    <a:pt x="423" y="279"/>
                    <a:pt x="423" y="279"/>
                  </a:cubicBezTo>
                  <a:cubicBezTo>
                    <a:pt x="424" y="280"/>
                    <a:pt x="424" y="280"/>
                    <a:pt x="424" y="280"/>
                  </a:cubicBezTo>
                  <a:cubicBezTo>
                    <a:pt x="424" y="280"/>
                    <a:pt x="423" y="283"/>
                    <a:pt x="423" y="284"/>
                  </a:cubicBezTo>
                  <a:cubicBezTo>
                    <a:pt x="423" y="286"/>
                    <a:pt x="420" y="291"/>
                    <a:pt x="418" y="292"/>
                  </a:cubicBezTo>
                  <a:cubicBezTo>
                    <a:pt x="418" y="292"/>
                    <a:pt x="416" y="293"/>
                    <a:pt x="412" y="293"/>
                  </a:cubicBezTo>
                  <a:cubicBezTo>
                    <a:pt x="409" y="293"/>
                    <a:pt x="409" y="295"/>
                    <a:pt x="409" y="295"/>
                  </a:cubicBezTo>
                  <a:cubicBezTo>
                    <a:pt x="409" y="295"/>
                    <a:pt x="408" y="297"/>
                    <a:pt x="407" y="297"/>
                  </a:cubicBezTo>
                  <a:cubicBezTo>
                    <a:pt x="407" y="297"/>
                    <a:pt x="403" y="294"/>
                    <a:pt x="402" y="292"/>
                  </a:cubicBezTo>
                  <a:cubicBezTo>
                    <a:pt x="401" y="290"/>
                    <a:pt x="396" y="292"/>
                    <a:pt x="394" y="292"/>
                  </a:cubicBezTo>
                  <a:cubicBezTo>
                    <a:pt x="394" y="292"/>
                    <a:pt x="394" y="288"/>
                    <a:pt x="394" y="286"/>
                  </a:cubicBezTo>
                  <a:cubicBezTo>
                    <a:pt x="394" y="285"/>
                    <a:pt x="393" y="284"/>
                    <a:pt x="392" y="283"/>
                  </a:cubicBezTo>
                  <a:cubicBezTo>
                    <a:pt x="390" y="283"/>
                    <a:pt x="391" y="281"/>
                    <a:pt x="391" y="280"/>
                  </a:cubicBezTo>
                  <a:cubicBezTo>
                    <a:pt x="392" y="279"/>
                    <a:pt x="392" y="270"/>
                    <a:pt x="392" y="268"/>
                  </a:cubicBezTo>
                  <a:cubicBezTo>
                    <a:pt x="392" y="267"/>
                    <a:pt x="392" y="264"/>
                    <a:pt x="390" y="263"/>
                  </a:cubicBezTo>
                  <a:cubicBezTo>
                    <a:pt x="389" y="261"/>
                    <a:pt x="393" y="257"/>
                    <a:pt x="393" y="257"/>
                  </a:cubicBezTo>
                  <a:cubicBezTo>
                    <a:pt x="393" y="257"/>
                    <a:pt x="394" y="257"/>
                    <a:pt x="395" y="257"/>
                  </a:cubicBezTo>
                  <a:cubicBezTo>
                    <a:pt x="397" y="257"/>
                    <a:pt x="400" y="256"/>
                    <a:pt x="402" y="257"/>
                  </a:cubicBezTo>
                  <a:cubicBezTo>
                    <a:pt x="408" y="257"/>
                    <a:pt x="412" y="256"/>
                    <a:pt x="414" y="257"/>
                  </a:cubicBezTo>
                  <a:cubicBezTo>
                    <a:pt x="413" y="253"/>
                    <a:pt x="413" y="242"/>
                    <a:pt x="413" y="241"/>
                  </a:cubicBezTo>
                  <a:cubicBezTo>
                    <a:pt x="411" y="240"/>
                    <a:pt x="408" y="240"/>
                    <a:pt x="410" y="237"/>
                  </a:cubicBezTo>
                  <a:cubicBezTo>
                    <a:pt x="406" y="236"/>
                    <a:pt x="404" y="235"/>
                    <a:pt x="403" y="235"/>
                  </a:cubicBezTo>
                  <a:cubicBezTo>
                    <a:pt x="400" y="233"/>
                    <a:pt x="400" y="232"/>
                    <a:pt x="401" y="231"/>
                  </a:cubicBezTo>
                  <a:cubicBezTo>
                    <a:pt x="403" y="229"/>
                    <a:pt x="409" y="230"/>
                    <a:pt x="409" y="230"/>
                  </a:cubicBezTo>
                  <a:cubicBezTo>
                    <a:pt x="407" y="226"/>
                    <a:pt x="406" y="224"/>
                    <a:pt x="406" y="224"/>
                  </a:cubicBezTo>
                  <a:cubicBezTo>
                    <a:pt x="406" y="224"/>
                    <a:pt x="410" y="224"/>
                    <a:pt x="411" y="224"/>
                  </a:cubicBezTo>
                  <a:cubicBezTo>
                    <a:pt x="413" y="225"/>
                    <a:pt x="414" y="222"/>
                    <a:pt x="414" y="220"/>
                  </a:cubicBezTo>
                  <a:cubicBezTo>
                    <a:pt x="414" y="218"/>
                    <a:pt x="413" y="218"/>
                    <a:pt x="415" y="216"/>
                  </a:cubicBezTo>
                  <a:cubicBezTo>
                    <a:pt x="418" y="214"/>
                    <a:pt x="419" y="209"/>
                    <a:pt x="419" y="206"/>
                  </a:cubicBezTo>
                  <a:cubicBezTo>
                    <a:pt x="419" y="203"/>
                    <a:pt x="421" y="202"/>
                    <a:pt x="423" y="202"/>
                  </a:cubicBezTo>
                  <a:cubicBezTo>
                    <a:pt x="423" y="202"/>
                    <a:pt x="423" y="195"/>
                    <a:pt x="423" y="193"/>
                  </a:cubicBezTo>
                  <a:cubicBezTo>
                    <a:pt x="423" y="191"/>
                    <a:pt x="420" y="186"/>
                    <a:pt x="419" y="185"/>
                  </a:cubicBezTo>
                  <a:cubicBezTo>
                    <a:pt x="417" y="183"/>
                    <a:pt x="418" y="181"/>
                    <a:pt x="420" y="178"/>
                  </a:cubicBezTo>
                  <a:cubicBezTo>
                    <a:pt x="422" y="184"/>
                    <a:pt x="422" y="184"/>
                    <a:pt x="422" y="184"/>
                  </a:cubicBezTo>
                  <a:cubicBezTo>
                    <a:pt x="423" y="184"/>
                    <a:pt x="423" y="184"/>
                    <a:pt x="423" y="184"/>
                  </a:cubicBezTo>
                  <a:cubicBezTo>
                    <a:pt x="425" y="185"/>
                    <a:pt x="424" y="185"/>
                    <a:pt x="423" y="187"/>
                  </a:cubicBezTo>
                  <a:cubicBezTo>
                    <a:pt x="423" y="189"/>
                    <a:pt x="424" y="191"/>
                    <a:pt x="425" y="192"/>
                  </a:cubicBezTo>
                  <a:cubicBezTo>
                    <a:pt x="425" y="192"/>
                    <a:pt x="428" y="193"/>
                    <a:pt x="430" y="192"/>
                  </a:cubicBezTo>
                  <a:cubicBezTo>
                    <a:pt x="432" y="191"/>
                    <a:pt x="435" y="193"/>
                    <a:pt x="437" y="195"/>
                  </a:cubicBezTo>
                  <a:cubicBezTo>
                    <a:pt x="437" y="195"/>
                    <a:pt x="439" y="189"/>
                    <a:pt x="440" y="188"/>
                  </a:cubicBezTo>
                  <a:cubicBezTo>
                    <a:pt x="440" y="187"/>
                    <a:pt x="443" y="187"/>
                    <a:pt x="444" y="188"/>
                  </a:cubicBezTo>
                  <a:cubicBezTo>
                    <a:pt x="444" y="188"/>
                    <a:pt x="445" y="183"/>
                    <a:pt x="445" y="183"/>
                  </a:cubicBezTo>
                  <a:cubicBezTo>
                    <a:pt x="446" y="182"/>
                    <a:pt x="444" y="179"/>
                    <a:pt x="444" y="178"/>
                  </a:cubicBezTo>
                  <a:cubicBezTo>
                    <a:pt x="444" y="176"/>
                    <a:pt x="443" y="175"/>
                    <a:pt x="442" y="174"/>
                  </a:cubicBezTo>
                  <a:cubicBezTo>
                    <a:pt x="441" y="173"/>
                    <a:pt x="440" y="171"/>
                    <a:pt x="440" y="170"/>
                  </a:cubicBezTo>
                  <a:cubicBezTo>
                    <a:pt x="439" y="169"/>
                    <a:pt x="442" y="169"/>
                    <a:pt x="443" y="170"/>
                  </a:cubicBezTo>
                  <a:cubicBezTo>
                    <a:pt x="446" y="171"/>
                    <a:pt x="445" y="170"/>
                    <a:pt x="444" y="169"/>
                  </a:cubicBezTo>
                  <a:cubicBezTo>
                    <a:pt x="443" y="168"/>
                    <a:pt x="441" y="166"/>
                    <a:pt x="440" y="165"/>
                  </a:cubicBezTo>
                  <a:cubicBezTo>
                    <a:pt x="439" y="164"/>
                    <a:pt x="438" y="163"/>
                    <a:pt x="437" y="161"/>
                  </a:cubicBezTo>
                  <a:cubicBezTo>
                    <a:pt x="436" y="159"/>
                    <a:pt x="441" y="156"/>
                    <a:pt x="442" y="156"/>
                  </a:cubicBezTo>
                  <a:cubicBezTo>
                    <a:pt x="443" y="157"/>
                    <a:pt x="443" y="154"/>
                    <a:pt x="443" y="151"/>
                  </a:cubicBezTo>
                  <a:cubicBezTo>
                    <a:pt x="443" y="149"/>
                    <a:pt x="440" y="150"/>
                    <a:pt x="439" y="150"/>
                  </a:cubicBezTo>
                  <a:cubicBezTo>
                    <a:pt x="439" y="150"/>
                    <a:pt x="438" y="151"/>
                    <a:pt x="437" y="153"/>
                  </a:cubicBezTo>
                  <a:cubicBezTo>
                    <a:pt x="436" y="155"/>
                    <a:pt x="436" y="155"/>
                    <a:pt x="435" y="159"/>
                  </a:cubicBezTo>
                  <a:cubicBezTo>
                    <a:pt x="435" y="159"/>
                    <a:pt x="433" y="159"/>
                    <a:pt x="431" y="157"/>
                  </a:cubicBezTo>
                  <a:cubicBezTo>
                    <a:pt x="428" y="156"/>
                    <a:pt x="428" y="155"/>
                    <a:pt x="426" y="151"/>
                  </a:cubicBezTo>
                  <a:cubicBezTo>
                    <a:pt x="423" y="147"/>
                    <a:pt x="422" y="144"/>
                    <a:pt x="421" y="139"/>
                  </a:cubicBezTo>
                  <a:cubicBezTo>
                    <a:pt x="420" y="133"/>
                    <a:pt x="419" y="134"/>
                    <a:pt x="416" y="132"/>
                  </a:cubicBezTo>
                  <a:cubicBezTo>
                    <a:pt x="412" y="135"/>
                    <a:pt x="416" y="139"/>
                    <a:pt x="418" y="141"/>
                  </a:cubicBezTo>
                  <a:cubicBezTo>
                    <a:pt x="420" y="143"/>
                    <a:pt x="419" y="145"/>
                    <a:pt x="419" y="149"/>
                  </a:cubicBezTo>
                  <a:cubicBezTo>
                    <a:pt x="419" y="149"/>
                    <a:pt x="423" y="157"/>
                    <a:pt x="424" y="160"/>
                  </a:cubicBezTo>
                  <a:cubicBezTo>
                    <a:pt x="424" y="160"/>
                    <a:pt x="427" y="161"/>
                    <a:pt x="429" y="163"/>
                  </a:cubicBezTo>
                  <a:cubicBezTo>
                    <a:pt x="432" y="165"/>
                    <a:pt x="428" y="169"/>
                    <a:pt x="428" y="170"/>
                  </a:cubicBezTo>
                  <a:cubicBezTo>
                    <a:pt x="427" y="171"/>
                    <a:pt x="432" y="178"/>
                    <a:pt x="433" y="180"/>
                  </a:cubicBezTo>
                  <a:cubicBezTo>
                    <a:pt x="434" y="182"/>
                    <a:pt x="434" y="183"/>
                    <a:pt x="431" y="183"/>
                  </a:cubicBezTo>
                  <a:cubicBezTo>
                    <a:pt x="432" y="184"/>
                    <a:pt x="432" y="187"/>
                    <a:pt x="430" y="188"/>
                  </a:cubicBezTo>
                  <a:cubicBezTo>
                    <a:pt x="428" y="188"/>
                    <a:pt x="430" y="190"/>
                    <a:pt x="429" y="190"/>
                  </a:cubicBezTo>
                  <a:cubicBezTo>
                    <a:pt x="429" y="190"/>
                    <a:pt x="426" y="185"/>
                    <a:pt x="426" y="183"/>
                  </a:cubicBezTo>
                  <a:cubicBezTo>
                    <a:pt x="426" y="180"/>
                    <a:pt x="421" y="175"/>
                    <a:pt x="420" y="174"/>
                  </a:cubicBezTo>
                  <a:cubicBezTo>
                    <a:pt x="419" y="172"/>
                    <a:pt x="419" y="170"/>
                    <a:pt x="416" y="169"/>
                  </a:cubicBezTo>
                  <a:cubicBezTo>
                    <a:pt x="415" y="168"/>
                    <a:pt x="414" y="168"/>
                    <a:pt x="414" y="171"/>
                  </a:cubicBezTo>
                  <a:cubicBezTo>
                    <a:pt x="415" y="173"/>
                    <a:pt x="413" y="173"/>
                    <a:pt x="414" y="176"/>
                  </a:cubicBezTo>
                  <a:cubicBezTo>
                    <a:pt x="414" y="180"/>
                    <a:pt x="412" y="179"/>
                    <a:pt x="408" y="176"/>
                  </a:cubicBezTo>
                  <a:cubicBezTo>
                    <a:pt x="408" y="176"/>
                    <a:pt x="406" y="171"/>
                    <a:pt x="403" y="168"/>
                  </a:cubicBezTo>
                  <a:cubicBezTo>
                    <a:pt x="401" y="164"/>
                    <a:pt x="402" y="150"/>
                    <a:pt x="402" y="148"/>
                  </a:cubicBezTo>
                  <a:cubicBezTo>
                    <a:pt x="403" y="145"/>
                    <a:pt x="403" y="142"/>
                    <a:pt x="401" y="138"/>
                  </a:cubicBezTo>
                  <a:cubicBezTo>
                    <a:pt x="399" y="135"/>
                    <a:pt x="398" y="126"/>
                    <a:pt x="398" y="123"/>
                  </a:cubicBezTo>
                  <a:cubicBezTo>
                    <a:pt x="399" y="121"/>
                    <a:pt x="397" y="122"/>
                    <a:pt x="399" y="120"/>
                  </a:cubicBezTo>
                  <a:cubicBezTo>
                    <a:pt x="400" y="118"/>
                    <a:pt x="402" y="112"/>
                    <a:pt x="401" y="110"/>
                  </a:cubicBezTo>
                  <a:cubicBezTo>
                    <a:pt x="401" y="108"/>
                    <a:pt x="403" y="108"/>
                    <a:pt x="405" y="110"/>
                  </a:cubicBezTo>
                  <a:cubicBezTo>
                    <a:pt x="407" y="113"/>
                    <a:pt x="407" y="113"/>
                    <a:pt x="409" y="111"/>
                  </a:cubicBezTo>
                  <a:cubicBezTo>
                    <a:pt x="409" y="111"/>
                    <a:pt x="416" y="112"/>
                    <a:pt x="419" y="112"/>
                  </a:cubicBezTo>
                  <a:cubicBezTo>
                    <a:pt x="422" y="112"/>
                    <a:pt x="424" y="113"/>
                    <a:pt x="424" y="115"/>
                  </a:cubicBezTo>
                  <a:cubicBezTo>
                    <a:pt x="425" y="118"/>
                    <a:pt x="426" y="118"/>
                    <a:pt x="426" y="120"/>
                  </a:cubicBezTo>
                  <a:cubicBezTo>
                    <a:pt x="426" y="122"/>
                    <a:pt x="422" y="121"/>
                    <a:pt x="419" y="122"/>
                  </a:cubicBezTo>
                  <a:cubicBezTo>
                    <a:pt x="421" y="123"/>
                    <a:pt x="428" y="127"/>
                    <a:pt x="431" y="129"/>
                  </a:cubicBezTo>
                  <a:cubicBezTo>
                    <a:pt x="435" y="129"/>
                    <a:pt x="435" y="129"/>
                    <a:pt x="435" y="129"/>
                  </a:cubicBezTo>
                  <a:cubicBezTo>
                    <a:pt x="435" y="129"/>
                    <a:pt x="434" y="126"/>
                    <a:pt x="433" y="126"/>
                  </a:cubicBezTo>
                  <a:cubicBezTo>
                    <a:pt x="432" y="125"/>
                    <a:pt x="429" y="119"/>
                    <a:pt x="428" y="118"/>
                  </a:cubicBezTo>
                  <a:cubicBezTo>
                    <a:pt x="427" y="117"/>
                    <a:pt x="427" y="115"/>
                    <a:pt x="429" y="115"/>
                  </a:cubicBezTo>
                  <a:cubicBezTo>
                    <a:pt x="430" y="116"/>
                    <a:pt x="428" y="112"/>
                    <a:pt x="427" y="112"/>
                  </a:cubicBezTo>
                  <a:cubicBezTo>
                    <a:pt x="426" y="112"/>
                    <a:pt x="422" y="108"/>
                    <a:pt x="420" y="108"/>
                  </a:cubicBezTo>
                  <a:cubicBezTo>
                    <a:pt x="418" y="108"/>
                    <a:pt x="419" y="106"/>
                    <a:pt x="422" y="105"/>
                  </a:cubicBezTo>
                  <a:cubicBezTo>
                    <a:pt x="424" y="104"/>
                    <a:pt x="425" y="107"/>
                    <a:pt x="427" y="109"/>
                  </a:cubicBezTo>
                  <a:cubicBezTo>
                    <a:pt x="429" y="110"/>
                    <a:pt x="428" y="106"/>
                    <a:pt x="425" y="105"/>
                  </a:cubicBezTo>
                  <a:cubicBezTo>
                    <a:pt x="423" y="105"/>
                    <a:pt x="423" y="101"/>
                    <a:pt x="422" y="99"/>
                  </a:cubicBezTo>
                  <a:cubicBezTo>
                    <a:pt x="421" y="98"/>
                    <a:pt x="416" y="91"/>
                    <a:pt x="415" y="89"/>
                  </a:cubicBezTo>
                  <a:cubicBezTo>
                    <a:pt x="415" y="89"/>
                    <a:pt x="411" y="85"/>
                    <a:pt x="411" y="83"/>
                  </a:cubicBezTo>
                  <a:cubicBezTo>
                    <a:pt x="411" y="81"/>
                    <a:pt x="404" y="75"/>
                    <a:pt x="402" y="74"/>
                  </a:cubicBezTo>
                  <a:cubicBezTo>
                    <a:pt x="399" y="73"/>
                    <a:pt x="397" y="71"/>
                    <a:pt x="398" y="69"/>
                  </a:cubicBezTo>
                  <a:cubicBezTo>
                    <a:pt x="402" y="73"/>
                    <a:pt x="402" y="73"/>
                    <a:pt x="402" y="73"/>
                  </a:cubicBezTo>
                  <a:cubicBezTo>
                    <a:pt x="402" y="73"/>
                    <a:pt x="410" y="74"/>
                    <a:pt x="412" y="77"/>
                  </a:cubicBezTo>
                  <a:cubicBezTo>
                    <a:pt x="414" y="79"/>
                    <a:pt x="419" y="80"/>
                    <a:pt x="422" y="82"/>
                  </a:cubicBezTo>
                  <a:cubicBezTo>
                    <a:pt x="425" y="84"/>
                    <a:pt x="425" y="81"/>
                    <a:pt x="422" y="79"/>
                  </a:cubicBezTo>
                  <a:cubicBezTo>
                    <a:pt x="420" y="77"/>
                    <a:pt x="418" y="73"/>
                    <a:pt x="415" y="71"/>
                  </a:cubicBezTo>
                  <a:cubicBezTo>
                    <a:pt x="412" y="69"/>
                    <a:pt x="411" y="70"/>
                    <a:pt x="412" y="73"/>
                  </a:cubicBezTo>
                  <a:cubicBezTo>
                    <a:pt x="413" y="75"/>
                    <a:pt x="412" y="74"/>
                    <a:pt x="406" y="72"/>
                  </a:cubicBezTo>
                  <a:cubicBezTo>
                    <a:pt x="399" y="70"/>
                    <a:pt x="402" y="70"/>
                    <a:pt x="402" y="69"/>
                  </a:cubicBezTo>
                  <a:cubicBezTo>
                    <a:pt x="402" y="68"/>
                    <a:pt x="402" y="67"/>
                    <a:pt x="398" y="65"/>
                  </a:cubicBezTo>
                  <a:cubicBezTo>
                    <a:pt x="394" y="64"/>
                    <a:pt x="396" y="62"/>
                    <a:pt x="396" y="61"/>
                  </a:cubicBezTo>
                  <a:cubicBezTo>
                    <a:pt x="396" y="61"/>
                    <a:pt x="392" y="62"/>
                    <a:pt x="390" y="61"/>
                  </a:cubicBezTo>
                  <a:cubicBezTo>
                    <a:pt x="388" y="59"/>
                    <a:pt x="385" y="56"/>
                    <a:pt x="382" y="56"/>
                  </a:cubicBezTo>
                  <a:cubicBezTo>
                    <a:pt x="379" y="55"/>
                    <a:pt x="378" y="53"/>
                    <a:pt x="375" y="52"/>
                  </a:cubicBezTo>
                  <a:cubicBezTo>
                    <a:pt x="373" y="50"/>
                    <a:pt x="367" y="47"/>
                    <a:pt x="365" y="46"/>
                  </a:cubicBezTo>
                  <a:cubicBezTo>
                    <a:pt x="364" y="44"/>
                    <a:pt x="359" y="42"/>
                    <a:pt x="357" y="42"/>
                  </a:cubicBezTo>
                  <a:cubicBezTo>
                    <a:pt x="355" y="43"/>
                    <a:pt x="355" y="40"/>
                    <a:pt x="354" y="38"/>
                  </a:cubicBezTo>
                  <a:cubicBezTo>
                    <a:pt x="352" y="36"/>
                    <a:pt x="355" y="37"/>
                    <a:pt x="358" y="37"/>
                  </a:cubicBezTo>
                  <a:cubicBezTo>
                    <a:pt x="360" y="38"/>
                    <a:pt x="360" y="38"/>
                    <a:pt x="367" y="40"/>
                  </a:cubicBezTo>
                  <a:cubicBezTo>
                    <a:pt x="369" y="41"/>
                    <a:pt x="370" y="41"/>
                    <a:pt x="370" y="41"/>
                  </a:cubicBezTo>
                  <a:cubicBezTo>
                    <a:pt x="371" y="41"/>
                    <a:pt x="371" y="41"/>
                    <a:pt x="371" y="41"/>
                  </a:cubicBezTo>
                  <a:cubicBezTo>
                    <a:pt x="371" y="41"/>
                    <a:pt x="370" y="40"/>
                    <a:pt x="369" y="40"/>
                  </a:cubicBezTo>
                  <a:cubicBezTo>
                    <a:pt x="368" y="39"/>
                    <a:pt x="366" y="38"/>
                    <a:pt x="364" y="38"/>
                  </a:cubicBezTo>
                  <a:cubicBezTo>
                    <a:pt x="361" y="38"/>
                    <a:pt x="356" y="34"/>
                    <a:pt x="352" y="32"/>
                  </a:cubicBezTo>
                  <a:cubicBezTo>
                    <a:pt x="347" y="31"/>
                    <a:pt x="342" y="28"/>
                    <a:pt x="342" y="28"/>
                  </a:cubicBezTo>
                  <a:cubicBezTo>
                    <a:pt x="342" y="28"/>
                    <a:pt x="337" y="24"/>
                    <a:pt x="335" y="21"/>
                  </a:cubicBezTo>
                  <a:cubicBezTo>
                    <a:pt x="333" y="22"/>
                    <a:pt x="321" y="18"/>
                    <a:pt x="318" y="18"/>
                  </a:cubicBezTo>
                  <a:cubicBezTo>
                    <a:pt x="315" y="18"/>
                    <a:pt x="308" y="14"/>
                    <a:pt x="307" y="14"/>
                  </a:cubicBezTo>
                  <a:cubicBezTo>
                    <a:pt x="305" y="15"/>
                    <a:pt x="299" y="13"/>
                    <a:pt x="296" y="12"/>
                  </a:cubicBezTo>
                  <a:cubicBezTo>
                    <a:pt x="293" y="11"/>
                    <a:pt x="291" y="12"/>
                    <a:pt x="290" y="12"/>
                  </a:cubicBezTo>
                  <a:cubicBezTo>
                    <a:pt x="289" y="11"/>
                    <a:pt x="285" y="12"/>
                    <a:pt x="284" y="10"/>
                  </a:cubicBezTo>
                  <a:cubicBezTo>
                    <a:pt x="282" y="9"/>
                    <a:pt x="282" y="9"/>
                    <a:pt x="278" y="9"/>
                  </a:cubicBezTo>
                  <a:cubicBezTo>
                    <a:pt x="277" y="9"/>
                    <a:pt x="274" y="8"/>
                    <a:pt x="273" y="9"/>
                  </a:cubicBezTo>
                  <a:cubicBezTo>
                    <a:pt x="272" y="9"/>
                    <a:pt x="270" y="8"/>
                    <a:pt x="269" y="9"/>
                  </a:cubicBezTo>
                  <a:cubicBezTo>
                    <a:pt x="268" y="9"/>
                    <a:pt x="266" y="9"/>
                    <a:pt x="265" y="9"/>
                  </a:cubicBezTo>
                  <a:cubicBezTo>
                    <a:pt x="264" y="9"/>
                    <a:pt x="263" y="8"/>
                    <a:pt x="261" y="9"/>
                  </a:cubicBezTo>
                  <a:cubicBezTo>
                    <a:pt x="260" y="10"/>
                    <a:pt x="257" y="9"/>
                    <a:pt x="257" y="9"/>
                  </a:cubicBezTo>
                  <a:cubicBezTo>
                    <a:pt x="257" y="9"/>
                    <a:pt x="253" y="8"/>
                    <a:pt x="253" y="9"/>
                  </a:cubicBezTo>
                  <a:cubicBezTo>
                    <a:pt x="252" y="10"/>
                    <a:pt x="250" y="10"/>
                    <a:pt x="249" y="9"/>
                  </a:cubicBezTo>
                  <a:cubicBezTo>
                    <a:pt x="247" y="9"/>
                    <a:pt x="244" y="9"/>
                    <a:pt x="244" y="9"/>
                  </a:cubicBezTo>
                  <a:cubicBezTo>
                    <a:pt x="243" y="10"/>
                    <a:pt x="241" y="10"/>
                    <a:pt x="241" y="10"/>
                  </a:cubicBezTo>
                  <a:cubicBezTo>
                    <a:pt x="240" y="10"/>
                    <a:pt x="235" y="10"/>
                    <a:pt x="235" y="10"/>
                  </a:cubicBezTo>
                  <a:cubicBezTo>
                    <a:pt x="235" y="10"/>
                    <a:pt x="232" y="10"/>
                    <a:pt x="231" y="10"/>
                  </a:cubicBezTo>
                  <a:cubicBezTo>
                    <a:pt x="231" y="11"/>
                    <a:pt x="229" y="10"/>
                    <a:pt x="228" y="9"/>
                  </a:cubicBezTo>
                  <a:cubicBezTo>
                    <a:pt x="227" y="9"/>
                    <a:pt x="225" y="9"/>
                    <a:pt x="224" y="10"/>
                  </a:cubicBezTo>
                  <a:cubicBezTo>
                    <a:pt x="224" y="9"/>
                    <a:pt x="224" y="8"/>
                    <a:pt x="223" y="8"/>
                  </a:cubicBezTo>
                  <a:cubicBezTo>
                    <a:pt x="222" y="8"/>
                    <a:pt x="222" y="7"/>
                    <a:pt x="222" y="7"/>
                  </a:cubicBezTo>
                  <a:cubicBezTo>
                    <a:pt x="223" y="7"/>
                    <a:pt x="223" y="7"/>
                    <a:pt x="223" y="7"/>
                  </a:cubicBezTo>
                  <a:cubicBezTo>
                    <a:pt x="224" y="7"/>
                    <a:pt x="225" y="7"/>
                    <a:pt x="226" y="7"/>
                  </a:cubicBezTo>
                  <a:cubicBezTo>
                    <a:pt x="226" y="7"/>
                    <a:pt x="228" y="7"/>
                    <a:pt x="229" y="7"/>
                  </a:cubicBezTo>
                  <a:cubicBezTo>
                    <a:pt x="230" y="7"/>
                    <a:pt x="233" y="7"/>
                    <a:pt x="234" y="7"/>
                  </a:cubicBezTo>
                  <a:cubicBezTo>
                    <a:pt x="240" y="8"/>
                    <a:pt x="241" y="6"/>
                    <a:pt x="238" y="6"/>
                  </a:cubicBezTo>
                  <a:cubicBezTo>
                    <a:pt x="237" y="5"/>
                    <a:pt x="235" y="5"/>
                    <a:pt x="235" y="5"/>
                  </a:cubicBezTo>
                  <a:cubicBezTo>
                    <a:pt x="235" y="4"/>
                    <a:pt x="234" y="4"/>
                    <a:pt x="233" y="3"/>
                  </a:cubicBezTo>
                  <a:cubicBezTo>
                    <a:pt x="232" y="3"/>
                    <a:pt x="232" y="4"/>
                    <a:pt x="232" y="3"/>
                  </a:cubicBezTo>
                  <a:cubicBezTo>
                    <a:pt x="232" y="3"/>
                    <a:pt x="233" y="2"/>
                    <a:pt x="235" y="2"/>
                  </a:cubicBezTo>
                  <a:cubicBezTo>
                    <a:pt x="236" y="2"/>
                    <a:pt x="237" y="2"/>
                    <a:pt x="238" y="2"/>
                  </a:cubicBezTo>
                  <a:cubicBezTo>
                    <a:pt x="238" y="1"/>
                    <a:pt x="240" y="0"/>
                    <a:pt x="241" y="0"/>
                  </a:cubicBezTo>
                  <a:cubicBezTo>
                    <a:pt x="242" y="0"/>
                    <a:pt x="244" y="1"/>
                    <a:pt x="245" y="0"/>
                  </a:cubicBezTo>
                  <a:cubicBezTo>
                    <a:pt x="246" y="0"/>
                    <a:pt x="249" y="0"/>
                    <a:pt x="250" y="0"/>
                  </a:cubicBezTo>
                  <a:cubicBezTo>
                    <a:pt x="251" y="0"/>
                    <a:pt x="253" y="0"/>
                    <a:pt x="253" y="0"/>
                  </a:cubicBezTo>
                  <a:cubicBezTo>
                    <a:pt x="253" y="0"/>
                    <a:pt x="252" y="0"/>
                    <a:pt x="254" y="0"/>
                  </a:cubicBezTo>
                  <a:cubicBezTo>
                    <a:pt x="257" y="0"/>
                    <a:pt x="264" y="1"/>
                    <a:pt x="266" y="1"/>
                  </a:cubicBezTo>
                  <a:cubicBezTo>
                    <a:pt x="267" y="1"/>
                    <a:pt x="271" y="2"/>
                    <a:pt x="272" y="2"/>
                  </a:cubicBezTo>
                  <a:cubicBezTo>
                    <a:pt x="273" y="1"/>
                    <a:pt x="279" y="2"/>
                    <a:pt x="279" y="2"/>
                  </a:cubicBezTo>
                  <a:cubicBezTo>
                    <a:pt x="296" y="5"/>
                    <a:pt x="313" y="8"/>
                    <a:pt x="330" y="14"/>
                  </a:cubicBezTo>
                  <a:cubicBezTo>
                    <a:pt x="441" y="49"/>
                    <a:pt x="518" y="142"/>
                    <a:pt x="539" y="248"/>
                  </a:cubicBezTo>
                  <a:cubicBezTo>
                    <a:pt x="539" y="250"/>
                    <a:pt x="540" y="259"/>
                    <a:pt x="537" y="254"/>
                  </a:cubicBezTo>
                  <a:cubicBezTo>
                    <a:pt x="534" y="250"/>
                    <a:pt x="533" y="251"/>
                    <a:pt x="533" y="253"/>
                  </a:cubicBezTo>
                  <a:cubicBezTo>
                    <a:pt x="534" y="256"/>
                    <a:pt x="534" y="260"/>
                    <a:pt x="535" y="261"/>
                  </a:cubicBezTo>
                  <a:cubicBezTo>
                    <a:pt x="536" y="262"/>
                    <a:pt x="538" y="265"/>
                    <a:pt x="538" y="267"/>
                  </a:cubicBezTo>
                  <a:cubicBezTo>
                    <a:pt x="538" y="270"/>
                    <a:pt x="541" y="274"/>
                    <a:pt x="540" y="268"/>
                  </a:cubicBezTo>
                  <a:cubicBezTo>
                    <a:pt x="539" y="263"/>
                    <a:pt x="540" y="259"/>
                    <a:pt x="540" y="258"/>
                  </a:cubicBezTo>
                  <a:cubicBezTo>
                    <a:pt x="541" y="257"/>
                    <a:pt x="541" y="257"/>
                    <a:pt x="541" y="257"/>
                  </a:cubicBezTo>
                  <a:cubicBezTo>
                    <a:pt x="544" y="278"/>
                    <a:pt x="545" y="299"/>
                    <a:pt x="544" y="320"/>
                  </a:cubicBezTo>
                  <a:cubicBezTo>
                    <a:pt x="544" y="320"/>
                    <a:pt x="544" y="325"/>
                    <a:pt x="543" y="327"/>
                  </a:cubicBezTo>
                  <a:cubicBezTo>
                    <a:pt x="543" y="329"/>
                    <a:pt x="541" y="335"/>
                    <a:pt x="541" y="338"/>
                  </a:cubicBezTo>
                  <a:cubicBezTo>
                    <a:pt x="541" y="344"/>
                    <a:pt x="540" y="345"/>
                    <a:pt x="540" y="345"/>
                  </a:cubicBezTo>
                  <a:cubicBezTo>
                    <a:pt x="540" y="345"/>
                    <a:pt x="540" y="341"/>
                    <a:pt x="540" y="339"/>
                  </a:cubicBezTo>
                  <a:cubicBezTo>
                    <a:pt x="540" y="336"/>
                    <a:pt x="540" y="333"/>
                    <a:pt x="539" y="331"/>
                  </a:cubicBezTo>
                  <a:cubicBezTo>
                    <a:pt x="538" y="329"/>
                    <a:pt x="536" y="323"/>
                    <a:pt x="536" y="321"/>
                  </a:cubicBezTo>
                  <a:cubicBezTo>
                    <a:pt x="536" y="320"/>
                    <a:pt x="535" y="316"/>
                    <a:pt x="534" y="315"/>
                  </a:cubicBezTo>
                  <a:cubicBezTo>
                    <a:pt x="532" y="313"/>
                    <a:pt x="532" y="308"/>
                    <a:pt x="532" y="307"/>
                  </a:cubicBezTo>
                  <a:cubicBezTo>
                    <a:pt x="532" y="306"/>
                    <a:pt x="532" y="304"/>
                    <a:pt x="529" y="301"/>
                  </a:cubicBezTo>
                  <a:cubicBezTo>
                    <a:pt x="526" y="298"/>
                    <a:pt x="525" y="297"/>
                    <a:pt x="522" y="293"/>
                  </a:cubicBezTo>
                  <a:cubicBezTo>
                    <a:pt x="522" y="294"/>
                    <a:pt x="521" y="295"/>
                    <a:pt x="517" y="288"/>
                  </a:cubicBezTo>
                  <a:cubicBezTo>
                    <a:pt x="518" y="290"/>
                    <a:pt x="521" y="298"/>
                    <a:pt x="522" y="301"/>
                  </a:cubicBezTo>
                  <a:cubicBezTo>
                    <a:pt x="523" y="304"/>
                    <a:pt x="526" y="308"/>
                    <a:pt x="526" y="311"/>
                  </a:cubicBezTo>
                  <a:cubicBezTo>
                    <a:pt x="527" y="314"/>
                    <a:pt x="528" y="317"/>
                    <a:pt x="530" y="318"/>
                  </a:cubicBezTo>
                  <a:cubicBezTo>
                    <a:pt x="532" y="318"/>
                    <a:pt x="533" y="325"/>
                    <a:pt x="532" y="327"/>
                  </a:cubicBezTo>
                  <a:cubicBezTo>
                    <a:pt x="532" y="329"/>
                    <a:pt x="533" y="333"/>
                    <a:pt x="534" y="335"/>
                  </a:cubicBezTo>
                  <a:cubicBezTo>
                    <a:pt x="535" y="337"/>
                    <a:pt x="536" y="340"/>
                    <a:pt x="537" y="343"/>
                  </a:cubicBezTo>
                  <a:cubicBezTo>
                    <a:pt x="539" y="347"/>
                    <a:pt x="538" y="349"/>
                    <a:pt x="540" y="354"/>
                  </a:cubicBezTo>
                  <a:cubicBezTo>
                    <a:pt x="540" y="352"/>
                    <a:pt x="542" y="346"/>
                    <a:pt x="542" y="343"/>
                  </a:cubicBezTo>
                  <a:cubicBezTo>
                    <a:pt x="540" y="362"/>
                    <a:pt x="536" y="382"/>
                    <a:pt x="530" y="401"/>
                  </a:cubicBezTo>
                  <a:cubicBezTo>
                    <a:pt x="505" y="476"/>
                    <a:pt x="454" y="536"/>
                    <a:pt x="390" y="573"/>
                  </a:cubicBezTo>
                  <a:moveTo>
                    <a:pt x="353" y="47"/>
                  </a:moveTo>
                  <a:cubicBezTo>
                    <a:pt x="353" y="47"/>
                    <a:pt x="353" y="47"/>
                    <a:pt x="352" y="48"/>
                  </a:cubicBezTo>
                  <a:cubicBezTo>
                    <a:pt x="350" y="48"/>
                    <a:pt x="353" y="49"/>
                    <a:pt x="355" y="49"/>
                  </a:cubicBezTo>
                  <a:cubicBezTo>
                    <a:pt x="358" y="50"/>
                    <a:pt x="355" y="48"/>
                    <a:pt x="353" y="47"/>
                  </a:cubicBezTo>
                  <a:moveTo>
                    <a:pt x="357" y="46"/>
                  </a:moveTo>
                  <a:cubicBezTo>
                    <a:pt x="355" y="45"/>
                    <a:pt x="354" y="44"/>
                    <a:pt x="354" y="46"/>
                  </a:cubicBezTo>
                  <a:cubicBezTo>
                    <a:pt x="354" y="47"/>
                    <a:pt x="356" y="48"/>
                    <a:pt x="358" y="48"/>
                  </a:cubicBezTo>
                  <a:cubicBezTo>
                    <a:pt x="359" y="48"/>
                    <a:pt x="358" y="47"/>
                    <a:pt x="357" y="46"/>
                  </a:cubicBezTo>
                  <a:moveTo>
                    <a:pt x="355" y="45"/>
                  </a:moveTo>
                  <a:cubicBezTo>
                    <a:pt x="357" y="45"/>
                    <a:pt x="358" y="46"/>
                    <a:pt x="356" y="44"/>
                  </a:cubicBezTo>
                  <a:cubicBezTo>
                    <a:pt x="354" y="43"/>
                    <a:pt x="353" y="41"/>
                    <a:pt x="353" y="42"/>
                  </a:cubicBezTo>
                  <a:cubicBezTo>
                    <a:pt x="353" y="43"/>
                    <a:pt x="354" y="45"/>
                    <a:pt x="355" y="45"/>
                  </a:cubicBezTo>
                  <a:moveTo>
                    <a:pt x="408" y="89"/>
                  </a:moveTo>
                  <a:cubicBezTo>
                    <a:pt x="411" y="91"/>
                    <a:pt x="413" y="91"/>
                    <a:pt x="412" y="89"/>
                  </a:cubicBezTo>
                  <a:cubicBezTo>
                    <a:pt x="410" y="86"/>
                    <a:pt x="409" y="85"/>
                    <a:pt x="407" y="85"/>
                  </a:cubicBezTo>
                  <a:cubicBezTo>
                    <a:pt x="404" y="85"/>
                    <a:pt x="400" y="81"/>
                    <a:pt x="398" y="79"/>
                  </a:cubicBezTo>
                  <a:cubicBezTo>
                    <a:pt x="395" y="78"/>
                    <a:pt x="387" y="71"/>
                    <a:pt x="386" y="69"/>
                  </a:cubicBezTo>
                  <a:cubicBezTo>
                    <a:pt x="385" y="68"/>
                    <a:pt x="383" y="66"/>
                    <a:pt x="384" y="68"/>
                  </a:cubicBezTo>
                  <a:cubicBezTo>
                    <a:pt x="385" y="71"/>
                    <a:pt x="394" y="79"/>
                    <a:pt x="396" y="81"/>
                  </a:cubicBezTo>
                  <a:cubicBezTo>
                    <a:pt x="398" y="84"/>
                    <a:pt x="398" y="85"/>
                    <a:pt x="400" y="84"/>
                  </a:cubicBezTo>
                  <a:cubicBezTo>
                    <a:pt x="400" y="84"/>
                    <a:pt x="403" y="87"/>
                    <a:pt x="404" y="89"/>
                  </a:cubicBezTo>
                  <a:cubicBezTo>
                    <a:pt x="406" y="91"/>
                    <a:pt x="406" y="90"/>
                    <a:pt x="408" y="89"/>
                  </a:cubicBezTo>
                  <a:moveTo>
                    <a:pt x="390" y="181"/>
                  </a:moveTo>
                  <a:cubicBezTo>
                    <a:pt x="385" y="182"/>
                    <a:pt x="385" y="182"/>
                    <a:pt x="385" y="182"/>
                  </a:cubicBezTo>
                  <a:cubicBezTo>
                    <a:pt x="385" y="182"/>
                    <a:pt x="386" y="186"/>
                    <a:pt x="386" y="188"/>
                  </a:cubicBezTo>
                  <a:cubicBezTo>
                    <a:pt x="386" y="190"/>
                    <a:pt x="388" y="194"/>
                    <a:pt x="388" y="195"/>
                  </a:cubicBezTo>
                  <a:cubicBezTo>
                    <a:pt x="388" y="197"/>
                    <a:pt x="389" y="197"/>
                    <a:pt x="390" y="197"/>
                  </a:cubicBezTo>
                  <a:cubicBezTo>
                    <a:pt x="392" y="197"/>
                    <a:pt x="394" y="197"/>
                    <a:pt x="396" y="199"/>
                  </a:cubicBezTo>
                  <a:cubicBezTo>
                    <a:pt x="396" y="199"/>
                    <a:pt x="395" y="200"/>
                    <a:pt x="396" y="201"/>
                  </a:cubicBezTo>
                  <a:cubicBezTo>
                    <a:pt x="396" y="202"/>
                    <a:pt x="397" y="204"/>
                    <a:pt x="398" y="205"/>
                  </a:cubicBezTo>
                  <a:cubicBezTo>
                    <a:pt x="398" y="207"/>
                    <a:pt x="399" y="207"/>
                    <a:pt x="398" y="208"/>
                  </a:cubicBezTo>
                  <a:cubicBezTo>
                    <a:pt x="398" y="209"/>
                    <a:pt x="397" y="211"/>
                    <a:pt x="395" y="212"/>
                  </a:cubicBezTo>
                  <a:cubicBezTo>
                    <a:pt x="394" y="212"/>
                    <a:pt x="394" y="214"/>
                    <a:pt x="395" y="215"/>
                  </a:cubicBezTo>
                  <a:cubicBezTo>
                    <a:pt x="395" y="215"/>
                    <a:pt x="397" y="214"/>
                    <a:pt x="397" y="214"/>
                  </a:cubicBezTo>
                  <a:cubicBezTo>
                    <a:pt x="398" y="213"/>
                    <a:pt x="398" y="215"/>
                    <a:pt x="399" y="216"/>
                  </a:cubicBezTo>
                  <a:cubicBezTo>
                    <a:pt x="400" y="217"/>
                    <a:pt x="399" y="217"/>
                    <a:pt x="398" y="219"/>
                  </a:cubicBezTo>
                  <a:cubicBezTo>
                    <a:pt x="398" y="221"/>
                    <a:pt x="398" y="221"/>
                    <a:pt x="396" y="222"/>
                  </a:cubicBezTo>
                  <a:cubicBezTo>
                    <a:pt x="397" y="223"/>
                    <a:pt x="399" y="222"/>
                    <a:pt x="400" y="222"/>
                  </a:cubicBezTo>
                  <a:cubicBezTo>
                    <a:pt x="401" y="222"/>
                    <a:pt x="403" y="222"/>
                    <a:pt x="404" y="220"/>
                  </a:cubicBezTo>
                  <a:cubicBezTo>
                    <a:pt x="404" y="219"/>
                    <a:pt x="407" y="218"/>
                    <a:pt x="408" y="218"/>
                  </a:cubicBezTo>
                  <a:cubicBezTo>
                    <a:pt x="410" y="218"/>
                    <a:pt x="412" y="217"/>
                    <a:pt x="412" y="217"/>
                  </a:cubicBezTo>
                  <a:cubicBezTo>
                    <a:pt x="412" y="214"/>
                    <a:pt x="412" y="210"/>
                    <a:pt x="412" y="209"/>
                  </a:cubicBezTo>
                  <a:cubicBezTo>
                    <a:pt x="409" y="209"/>
                    <a:pt x="407" y="208"/>
                    <a:pt x="407" y="208"/>
                  </a:cubicBezTo>
                  <a:cubicBezTo>
                    <a:pt x="407" y="205"/>
                    <a:pt x="407" y="204"/>
                    <a:pt x="406" y="203"/>
                  </a:cubicBezTo>
                  <a:cubicBezTo>
                    <a:pt x="404" y="202"/>
                    <a:pt x="403" y="201"/>
                    <a:pt x="403" y="200"/>
                  </a:cubicBezTo>
                  <a:cubicBezTo>
                    <a:pt x="402" y="198"/>
                    <a:pt x="401" y="198"/>
                    <a:pt x="400" y="196"/>
                  </a:cubicBezTo>
                  <a:cubicBezTo>
                    <a:pt x="399" y="195"/>
                    <a:pt x="396" y="194"/>
                    <a:pt x="396" y="194"/>
                  </a:cubicBezTo>
                  <a:cubicBezTo>
                    <a:pt x="394" y="193"/>
                    <a:pt x="394" y="193"/>
                    <a:pt x="394" y="193"/>
                  </a:cubicBezTo>
                  <a:cubicBezTo>
                    <a:pt x="395" y="190"/>
                    <a:pt x="395" y="185"/>
                    <a:pt x="394" y="184"/>
                  </a:cubicBezTo>
                  <a:cubicBezTo>
                    <a:pt x="392" y="184"/>
                    <a:pt x="390" y="185"/>
                    <a:pt x="389" y="184"/>
                  </a:cubicBezTo>
                  <a:lnTo>
                    <a:pt x="390" y="181"/>
                  </a:lnTo>
                  <a:close/>
                  <a:moveTo>
                    <a:pt x="389" y="204"/>
                  </a:moveTo>
                  <a:cubicBezTo>
                    <a:pt x="389" y="204"/>
                    <a:pt x="388" y="202"/>
                    <a:pt x="390" y="201"/>
                  </a:cubicBezTo>
                  <a:cubicBezTo>
                    <a:pt x="390" y="201"/>
                    <a:pt x="388" y="197"/>
                    <a:pt x="387" y="197"/>
                  </a:cubicBezTo>
                  <a:cubicBezTo>
                    <a:pt x="386" y="197"/>
                    <a:pt x="384" y="197"/>
                    <a:pt x="384" y="199"/>
                  </a:cubicBezTo>
                  <a:cubicBezTo>
                    <a:pt x="384" y="199"/>
                    <a:pt x="384" y="199"/>
                    <a:pt x="383" y="198"/>
                  </a:cubicBezTo>
                  <a:cubicBezTo>
                    <a:pt x="382" y="196"/>
                    <a:pt x="383" y="201"/>
                    <a:pt x="383" y="203"/>
                  </a:cubicBezTo>
                  <a:cubicBezTo>
                    <a:pt x="383" y="203"/>
                    <a:pt x="382" y="203"/>
                    <a:pt x="380" y="203"/>
                  </a:cubicBezTo>
                  <a:cubicBezTo>
                    <a:pt x="378" y="204"/>
                    <a:pt x="379" y="205"/>
                    <a:pt x="380" y="207"/>
                  </a:cubicBezTo>
                  <a:cubicBezTo>
                    <a:pt x="380" y="208"/>
                    <a:pt x="380" y="208"/>
                    <a:pt x="383" y="208"/>
                  </a:cubicBezTo>
                  <a:cubicBezTo>
                    <a:pt x="383" y="208"/>
                    <a:pt x="381" y="212"/>
                    <a:pt x="380" y="213"/>
                  </a:cubicBezTo>
                  <a:cubicBezTo>
                    <a:pt x="379" y="214"/>
                    <a:pt x="379" y="214"/>
                    <a:pt x="381" y="216"/>
                  </a:cubicBezTo>
                  <a:cubicBezTo>
                    <a:pt x="381" y="216"/>
                    <a:pt x="384" y="216"/>
                    <a:pt x="385" y="215"/>
                  </a:cubicBezTo>
                  <a:cubicBezTo>
                    <a:pt x="386" y="214"/>
                    <a:pt x="388" y="213"/>
                    <a:pt x="390" y="213"/>
                  </a:cubicBezTo>
                  <a:cubicBezTo>
                    <a:pt x="391" y="213"/>
                    <a:pt x="390" y="210"/>
                    <a:pt x="390" y="209"/>
                  </a:cubicBezTo>
                  <a:cubicBezTo>
                    <a:pt x="389" y="208"/>
                    <a:pt x="389" y="205"/>
                    <a:pt x="389" y="204"/>
                  </a:cubicBezTo>
                  <a:moveTo>
                    <a:pt x="433" y="274"/>
                  </a:moveTo>
                  <a:cubicBezTo>
                    <a:pt x="433" y="272"/>
                    <a:pt x="432" y="273"/>
                    <a:pt x="431" y="274"/>
                  </a:cubicBezTo>
                  <a:cubicBezTo>
                    <a:pt x="430" y="275"/>
                    <a:pt x="432" y="275"/>
                    <a:pt x="432" y="276"/>
                  </a:cubicBezTo>
                  <a:cubicBezTo>
                    <a:pt x="433" y="276"/>
                    <a:pt x="433" y="274"/>
                    <a:pt x="433" y="274"/>
                  </a:cubicBezTo>
                  <a:moveTo>
                    <a:pt x="468" y="271"/>
                  </a:moveTo>
                  <a:cubicBezTo>
                    <a:pt x="468" y="271"/>
                    <a:pt x="466" y="272"/>
                    <a:pt x="465" y="273"/>
                  </a:cubicBezTo>
                  <a:cubicBezTo>
                    <a:pt x="464" y="274"/>
                    <a:pt x="463" y="274"/>
                    <a:pt x="463" y="275"/>
                  </a:cubicBezTo>
                  <a:cubicBezTo>
                    <a:pt x="462" y="275"/>
                    <a:pt x="462" y="277"/>
                    <a:pt x="464" y="277"/>
                  </a:cubicBezTo>
                  <a:cubicBezTo>
                    <a:pt x="465" y="276"/>
                    <a:pt x="467" y="278"/>
                    <a:pt x="469" y="278"/>
                  </a:cubicBezTo>
                  <a:cubicBezTo>
                    <a:pt x="470" y="278"/>
                    <a:pt x="471" y="276"/>
                    <a:pt x="470" y="275"/>
                  </a:cubicBezTo>
                  <a:cubicBezTo>
                    <a:pt x="470" y="274"/>
                    <a:pt x="468" y="272"/>
                    <a:pt x="468" y="271"/>
                  </a:cubicBezTo>
                  <a:moveTo>
                    <a:pt x="447" y="255"/>
                  </a:moveTo>
                  <a:cubicBezTo>
                    <a:pt x="447" y="254"/>
                    <a:pt x="446" y="251"/>
                    <a:pt x="446" y="253"/>
                  </a:cubicBezTo>
                  <a:cubicBezTo>
                    <a:pt x="446" y="254"/>
                    <a:pt x="444" y="255"/>
                    <a:pt x="445" y="256"/>
                  </a:cubicBezTo>
                  <a:cubicBezTo>
                    <a:pt x="446" y="257"/>
                    <a:pt x="447" y="260"/>
                    <a:pt x="447" y="260"/>
                  </a:cubicBezTo>
                  <a:cubicBezTo>
                    <a:pt x="447" y="260"/>
                    <a:pt x="447" y="262"/>
                    <a:pt x="447" y="263"/>
                  </a:cubicBezTo>
                  <a:cubicBezTo>
                    <a:pt x="446" y="264"/>
                    <a:pt x="446" y="264"/>
                    <a:pt x="447" y="265"/>
                  </a:cubicBezTo>
                  <a:cubicBezTo>
                    <a:pt x="448" y="266"/>
                    <a:pt x="449" y="269"/>
                    <a:pt x="449" y="270"/>
                  </a:cubicBezTo>
                  <a:cubicBezTo>
                    <a:pt x="449" y="271"/>
                    <a:pt x="449" y="276"/>
                    <a:pt x="450" y="274"/>
                  </a:cubicBezTo>
                  <a:cubicBezTo>
                    <a:pt x="452" y="272"/>
                    <a:pt x="453" y="272"/>
                    <a:pt x="452" y="271"/>
                  </a:cubicBezTo>
                  <a:cubicBezTo>
                    <a:pt x="451" y="269"/>
                    <a:pt x="450" y="268"/>
                    <a:pt x="450" y="266"/>
                  </a:cubicBezTo>
                  <a:cubicBezTo>
                    <a:pt x="450" y="265"/>
                    <a:pt x="449" y="264"/>
                    <a:pt x="449" y="263"/>
                  </a:cubicBezTo>
                  <a:cubicBezTo>
                    <a:pt x="448" y="262"/>
                    <a:pt x="447" y="260"/>
                    <a:pt x="448" y="258"/>
                  </a:cubicBezTo>
                  <a:cubicBezTo>
                    <a:pt x="448" y="257"/>
                    <a:pt x="447" y="255"/>
                    <a:pt x="447" y="255"/>
                  </a:cubicBezTo>
                  <a:moveTo>
                    <a:pt x="363" y="81"/>
                  </a:moveTo>
                  <a:cubicBezTo>
                    <a:pt x="363" y="81"/>
                    <a:pt x="363" y="82"/>
                    <a:pt x="363" y="81"/>
                  </a:cubicBezTo>
                  <a:cubicBezTo>
                    <a:pt x="363" y="79"/>
                    <a:pt x="362" y="80"/>
                    <a:pt x="359" y="80"/>
                  </a:cubicBezTo>
                  <a:cubicBezTo>
                    <a:pt x="357" y="81"/>
                    <a:pt x="356" y="83"/>
                    <a:pt x="358" y="83"/>
                  </a:cubicBezTo>
                  <a:cubicBezTo>
                    <a:pt x="361" y="83"/>
                    <a:pt x="364" y="84"/>
                    <a:pt x="365" y="84"/>
                  </a:cubicBezTo>
                  <a:lnTo>
                    <a:pt x="363" y="81"/>
                  </a:lnTo>
                  <a:close/>
                  <a:moveTo>
                    <a:pt x="371" y="89"/>
                  </a:moveTo>
                  <a:cubicBezTo>
                    <a:pt x="369" y="87"/>
                    <a:pt x="368" y="87"/>
                    <a:pt x="370" y="89"/>
                  </a:cubicBezTo>
                  <a:cubicBezTo>
                    <a:pt x="371" y="90"/>
                    <a:pt x="372" y="91"/>
                    <a:pt x="372" y="91"/>
                  </a:cubicBezTo>
                  <a:cubicBezTo>
                    <a:pt x="372" y="91"/>
                    <a:pt x="373" y="89"/>
                    <a:pt x="371" y="89"/>
                  </a:cubicBezTo>
                  <a:moveTo>
                    <a:pt x="366" y="91"/>
                  </a:moveTo>
                  <a:cubicBezTo>
                    <a:pt x="366" y="93"/>
                    <a:pt x="364" y="92"/>
                    <a:pt x="366" y="93"/>
                  </a:cubicBezTo>
                  <a:cubicBezTo>
                    <a:pt x="368" y="94"/>
                    <a:pt x="371" y="95"/>
                    <a:pt x="369" y="93"/>
                  </a:cubicBezTo>
                  <a:cubicBezTo>
                    <a:pt x="367" y="90"/>
                    <a:pt x="365" y="86"/>
                    <a:pt x="365" y="86"/>
                  </a:cubicBezTo>
                  <a:cubicBezTo>
                    <a:pt x="365" y="86"/>
                    <a:pt x="358" y="84"/>
                    <a:pt x="357" y="85"/>
                  </a:cubicBezTo>
                  <a:cubicBezTo>
                    <a:pt x="357" y="86"/>
                    <a:pt x="357" y="88"/>
                    <a:pt x="359" y="89"/>
                  </a:cubicBezTo>
                  <a:cubicBezTo>
                    <a:pt x="361" y="90"/>
                    <a:pt x="364" y="91"/>
                    <a:pt x="366" y="91"/>
                  </a:cubicBezTo>
                  <a:moveTo>
                    <a:pt x="341" y="151"/>
                  </a:moveTo>
                  <a:cubicBezTo>
                    <a:pt x="341" y="151"/>
                    <a:pt x="338" y="155"/>
                    <a:pt x="341" y="155"/>
                  </a:cubicBezTo>
                  <a:cubicBezTo>
                    <a:pt x="344" y="156"/>
                    <a:pt x="345" y="156"/>
                    <a:pt x="348" y="156"/>
                  </a:cubicBezTo>
                  <a:cubicBezTo>
                    <a:pt x="350" y="156"/>
                    <a:pt x="352" y="154"/>
                    <a:pt x="354" y="155"/>
                  </a:cubicBezTo>
                  <a:cubicBezTo>
                    <a:pt x="356" y="155"/>
                    <a:pt x="357" y="154"/>
                    <a:pt x="357" y="153"/>
                  </a:cubicBezTo>
                  <a:cubicBezTo>
                    <a:pt x="358" y="151"/>
                    <a:pt x="360" y="151"/>
                    <a:pt x="357" y="147"/>
                  </a:cubicBezTo>
                  <a:cubicBezTo>
                    <a:pt x="354" y="144"/>
                    <a:pt x="352" y="142"/>
                    <a:pt x="351" y="145"/>
                  </a:cubicBezTo>
                  <a:cubicBezTo>
                    <a:pt x="344" y="144"/>
                    <a:pt x="343" y="147"/>
                    <a:pt x="341" y="145"/>
                  </a:cubicBezTo>
                  <a:cubicBezTo>
                    <a:pt x="339" y="143"/>
                    <a:pt x="338" y="141"/>
                    <a:pt x="336" y="144"/>
                  </a:cubicBezTo>
                  <a:cubicBezTo>
                    <a:pt x="335" y="147"/>
                    <a:pt x="335" y="147"/>
                    <a:pt x="335" y="147"/>
                  </a:cubicBezTo>
                  <a:cubicBezTo>
                    <a:pt x="338" y="148"/>
                    <a:pt x="338" y="151"/>
                    <a:pt x="341" y="151"/>
                  </a:cubicBezTo>
                  <a:moveTo>
                    <a:pt x="267" y="66"/>
                  </a:moveTo>
                  <a:cubicBezTo>
                    <a:pt x="268" y="66"/>
                    <a:pt x="273" y="67"/>
                    <a:pt x="273" y="67"/>
                  </a:cubicBezTo>
                  <a:cubicBezTo>
                    <a:pt x="274" y="67"/>
                    <a:pt x="275" y="67"/>
                    <a:pt x="275" y="67"/>
                  </a:cubicBezTo>
                  <a:cubicBezTo>
                    <a:pt x="275" y="67"/>
                    <a:pt x="275" y="69"/>
                    <a:pt x="275" y="67"/>
                  </a:cubicBezTo>
                  <a:cubicBezTo>
                    <a:pt x="275" y="66"/>
                    <a:pt x="276" y="65"/>
                    <a:pt x="276" y="65"/>
                  </a:cubicBezTo>
                  <a:cubicBezTo>
                    <a:pt x="277" y="64"/>
                    <a:pt x="279" y="61"/>
                    <a:pt x="279" y="61"/>
                  </a:cubicBezTo>
                  <a:cubicBezTo>
                    <a:pt x="276" y="60"/>
                    <a:pt x="275" y="60"/>
                    <a:pt x="274" y="60"/>
                  </a:cubicBezTo>
                  <a:cubicBezTo>
                    <a:pt x="273" y="61"/>
                    <a:pt x="271" y="61"/>
                    <a:pt x="270" y="61"/>
                  </a:cubicBezTo>
                  <a:cubicBezTo>
                    <a:pt x="269" y="61"/>
                    <a:pt x="268" y="63"/>
                    <a:pt x="268" y="64"/>
                  </a:cubicBezTo>
                  <a:cubicBezTo>
                    <a:pt x="267" y="65"/>
                    <a:pt x="263" y="66"/>
                    <a:pt x="267" y="66"/>
                  </a:cubicBezTo>
                  <a:moveTo>
                    <a:pt x="247" y="52"/>
                  </a:moveTo>
                  <a:cubicBezTo>
                    <a:pt x="247" y="53"/>
                    <a:pt x="249" y="55"/>
                    <a:pt x="249" y="55"/>
                  </a:cubicBezTo>
                  <a:cubicBezTo>
                    <a:pt x="249" y="55"/>
                    <a:pt x="251" y="55"/>
                    <a:pt x="250" y="56"/>
                  </a:cubicBezTo>
                  <a:cubicBezTo>
                    <a:pt x="249" y="57"/>
                    <a:pt x="248" y="58"/>
                    <a:pt x="248" y="58"/>
                  </a:cubicBezTo>
                  <a:cubicBezTo>
                    <a:pt x="247" y="59"/>
                    <a:pt x="246" y="59"/>
                    <a:pt x="246" y="59"/>
                  </a:cubicBezTo>
                  <a:cubicBezTo>
                    <a:pt x="245" y="58"/>
                    <a:pt x="243" y="59"/>
                    <a:pt x="243" y="59"/>
                  </a:cubicBezTo>
                  <a:cubicBezTo>
                    <a:pt x="243" y="59"/>
                    <a:pt x="244" y="61"/>
                    <a:pt x="243" y="59"/>
                  </a:cubicBezTo>
                  <a:cubicBezTo>
                    <a:pt x="242" y="57"/>
                    <a:pt x="241" y="56"/>
                    <a:pt x="240" y="56"/>
                  </a:cubicBezTo>
                  <a:cubicBezTo>
                    <a:pt x="239" y="56"/>
                    <a:pt x="239" y="55"/>
                    <a:pt x="238" y="54"/>
                  </a:cubicBezTo>
                  <a:cubicBezTo>
                    <a:pt x="238" y="54"/>
                    <a:pt x="236" y="53"/>
                    <a:pt x="238" y="52"/>
                  </a:cubicBezTo>
                  <a:cubicBezTo>
                    <a:pt x="240" y="52"/>
                    <a:pt x="240" y="51"/>
                    <a:pt x="241" y="51"/>
                  </a:cubicBezTo>
                  <a:cubicBezTo>
                    <a:pt x="242" y="51"/>
                    <a:pt x="243" y="51"/>
                    <a:pt x="244" y="50"/>
                  </a:cubicBezTo>
                  <a:cubicBezTo>
                    <a:pt x="245" y="50"/>
                    <a:pt x="246" y="51"/>
                    <a:pt x="247" y="52"/>
                  </a:cubicBezTo>
                  <a:moveTo>
                    <a:pt x="250" y="50"/>
                  </a:moveTo>
                  <a:cubicBezTo>
                    <a:pt x="251" y="50"/>
                    <a:pt x="252" y="50"/>
                    <a:pt x="251" y="49"/>
                  </a:cubicBezTo>
                  <a:cubicBezTo>
                    <a:pt x="250" y="49"/>
                    <a:pt x="250" y="48"/>
                    <a:pt x="249" y="48"/>
                  </a:cubicBezTo>
                  <a:cubicBezTo>
                    <a:pt x="246" y="47"/>
                    <a:pt x="245" y="46"/>
                    <a:pt x="245" y="46"/>
                  </a:cubicBezTo>
                  <a:cubicBezTo>
                    <a:pt x="245" y="46"/>
                    <a:pt x="244" y="46"/>
                    <a:pt x="244" y="47"/>
                  </a:cubicBezTo>
                  <a:cubicBezTo>
                    <a:pt x="243" y="47"/>
                    <a:pt x="242" y="48"/>
                    <a:pt x="244" y="48"/>
                  </a:cubicBezTo>
                  <a:cubicBezTo>
                    <a:pt x="245" y="48"/>
                    <a:pt x="246" y="49"/>
                    <a:pt x="247" y="49"/>
                  </a:cubicBezTo>
                  <a:cubicBezTo>
                    <a:pt x="247" y="49"/>
                    <a:pt x="250" y="50"/>
                    <a:pt x="250" y="50"/>
                  </a:cubicBezTo>
                  <a:moveTo>
                    <a:pt x="252" y="64"/>
                  </a:moveTo>
                  <a:cubicBezTo>
                    <a:pt x="253" y="64"/>
                    <a:pt x="255" y="63"/>
                    <a:pt x="254" y="62"/>
                  </a:cubicBezTo>
                  <a:cubicBezTo>
                    <a:pt x="252" y="61"/>
                    <a:pt x="252" y="61"/>
                    <a:pt x="251" y="61"/>
                  </a:cubicBezTo>
                  <a:cubicBezTo>
                    <a:pt x="249" y="61"/>
                    <a:pt x="247" y="61"/>
                    <a:pt x="247" y="61"/>
                  </a:cubicBezTo>
                  <a:cubicBezTo>
                    <a:pt x="246" y="62"/>
                    <a:pt x="245" y="63"/>
                    <a:pt x="246" y="63"/>
                  </a:cubicBezTo>
                  <a:cubicBezTo>
                    <a:pt x="247" y="64"/>
                    <a:pt x="248" y="65"/>
                    <a:pt x="248" y="65"/>
                  </a:cubicBezTo>
                  <a:cubicBezTo>
                    <a:pt x="249" y="64"/>
                    <a:pt x="252" y="64"/>
                    <a:pt x="252" y="64"/>
                  </a:cubicBezTo>
                  <a:moveTo>
                    <a:pt x="261" y="59"/>
                  </a:moveTo>
                  <a:cubicBezTo>
                    <a:pt x="259" y="60"/>
                    <a:pt x="259" y="61"/>
                    <a:pt x="260" y="61"/>
                  </a:cubicBezTo>
                  <a:cubicBezTo>
                    <a:pt x="261" y="60"/>
                    <a:pt x="262" y="60"/>
                    <a:pt x="263" y="60"/>
                  </a:cubicBezTo>
                  <a:cubicBezTo>
                    <a:pt x="264" y="60"/>
                    <a:pt x="264" y="59"/>
                    <a:pt x="264" y="58"/>
                  </a:cubicBezTo>
                  <a:cubicBezTo>
                    <a:pt x="265" y="56"/>
                    <a:pt x="265" y="57"/>
                    <a:pt x="264" y="56"/>
                  </a:cubicBezTo>
                  <a:cubicBezTo>
                    <a:pt x="264" y="56"/>
                    <a:pt x="262" y="56"/>
                    <a:pt x="260" y="56"/>
                  </a:cubicBezTo>
                  <a:cubicBezTo>
                    <a:pt x="258" y="56"/>
                    <a:pt x="262" y="59"/>
                    <a:pt x="261" y="59"/>
                  </a:cubicBezTo>
                  <a:moveTo>
                    <a:pt x="257" y="54"/>
                  </a:moveTo>
                  <a:cubicBezTo>
                    <a:pt x="256" y="52"/>
                    <a:pt x="257" y="52"/>
                    <a:pt x="255" y="52"/>
                  </a:cubicBezTo>
                  <a:cubicBezTo>
                    <a:pt x="253" y="53"/>
                    <a:pt x="252" y="53"/>
                    <a:pt x="253" y="53"/>
                  </a:cubicBezTo>
                  <a:cubicBezTo>
                    <a:pt x="255" y="53"/>
                    <a:pt x="257" y="54"/>
                    <a:pt x="257" y="54"/>
                  </a:cubicBezTo>
                  <a:moveTo>
                    <a:pt x="248" y="68"/>
                  </a:moveTo>
                  <a:cubicBezTo>
                    <a:pt x="252" y="67"/>
                    <a:pt x="252" y="67"/>
                    <a:pt x="252" y="67"/>
                  </a:cubicBezTo>
                  <a:cubicBezTo>
                    <a:pt x="252" y="67"/>
                    <a:pt x="251" y="66"/>
                    <a:pt x="250" y="66"/>
                  </a:cubicBezTo>
                  <a:cubicBezTo>
                    <a:pt x="250" y="65"/>
                    <a:pt x="248" y="67"/>
                    <a:pt x="248" y="68"/>
                  </a:cubicBezTo>
                  <a:moveTo>
                    <a:pt x="218" y="47"/>
                  </a:moveTo>
                  <a:cubicBezTo>
                    <a:pt x="220" y="47"/>
                    <a:pt x="221" y="48"/>
                    <a:pt x="221" y="48"/>
                  </a:cubicBezTo>
                  <a:cubicBezTo>
                    <a:pt x="222" y="49"/>
                    <a:pt x="224" y="50"/>
                    <a:pt x="224" y="50"/>
                  </a:cubicBezTo>
                  <a:cubicBezTo>
                    <a:pt x="226" y="50"/>
                    <a:pt x="226" y="50"/>
                    <a:pt x="227" y="51"/>
                  </a:cubicBezTo>
                  <a:cubicBezTo>
                    <a:pt x="227" y="51"/>
                    <a:pt x="229" y="52"/>
                    <a:pt x="229" y="52"/>
                  </a:cubicBezTo>
                  <a:cubicBezTo>
                    <a:pt x="230" y="52"/>
                    <a:pt x="231" y="53"/>
                    <a:pt x="231" y="53"/>
                  </a:cubicBezTo>
                  <a:cubicBezTo>
                    <a:pt x="232" y="51"/>
                    <a:pt x="232" y="51"/>
                    <a:pt x="233" y="50"/>
                  </a:cubicBezTo>
                  <a:cubicBezTo>
                    <a:pt x="235" y="50"/>
                    <a:pt x="236" y="47"/>
                    <a:pt x="236" y="47"/>
                  </a:cubicBezTo>
                  <a:cubicBezTo>
                    <a:pt x="236" y="46"/>
                    <a:pt x="236" y="44"/>
                    <a:pt x="234" y="45"/>
                  </a:cubicBezTo>
                  <a:cubicBezTo>
                    <a:pt x="233" y="46"/>
                    <a:pt x="231" y="45"/>
                    <a:pt x="231" y="45"/>
                  </a:cubicBezTo>
                  <a:cubicBezTo>
                    <a:pt x="231" y="45"/>
                    <a:pt x="229" y="44"/>
                    <a:pt x="227" y="45"/>
                  </a:cubicBezTo>
                  <a:cubicBezTo>
                    <a:pt x="226" y="45"/>
                    <a:pt x="224" y="45"/>
                    <a:pt x="224" y="44"/>
                  </a:cubicBezTo>
                  <a:cubicBezTo>
                    <a:pt x="223" y="44"/>
                    <a:pt x="222" y="44"/>
                    <a:pt x="221" y="45"/>
                  </a:cubicBezTo>
                  <a:cubicBezTo>
                    <a:pt x="219" y="45"/>
                    <a:pt x="217" y="47"/>
                    <a:pt x="217" y="47"/>
                  </a:cubicBezTo>
                  <a:lnTo>
                    <a:pt x="218" y="47"/>
                  </a:lnTo>
                  <a:close/>
                  <a:moveTo>
                    <a:pt x="263" y="63"/>
                  </a:moveTo>
                  <a:cubicBezTo>
                    <a:pt x="264" y="62"/>
                    <a:pt x="265" y="61"/>
                    <a:pt x="266" y="61"/>
                  </a:cubicBezTo>
                  <a:cubicBezTo>
                    <a:pt x="262" y="61"/>
                    <a:pt x="261" y="62"/>
                    <a:pt x="261" y="62"/>
                  </a:cubicBezTo>
                  <a:lnTo>
                    <a:pt x="263" y="63"/>
                  </a:lnTo>
                  <a:close/>
                  <a:moveTo>
                    <a:pt x="233" y="72"/>
                  </a:moveTo>
                  <a:cubicBezTo>
                    <a:pt x="234" y="71"/>
                    <a:pt x="234" y="69"/>
                    <a:pt x="236" y="69"/>
                  </a:cubicBezTo>
                  <a:cubicBezTo>
                    <a:pt x="238" y="69"/>
                    <a:pt x="242" y="67"/>
                    <a:pt x="242" y="67"/>
                  </a:cubicBezTo>
                  <a:cubicBezTo>
                    <a:pt x="240" y="66"/>
                    <a:pt x="240" y="66"/>
                    <a:pt x="240" y="65"/>
                  </a:cubicBezTo>
                  <a:cubicBezTo>
                    <a:pt x="240" y="64"/>
                    <a:pt x="239" y="63"/>
                    <a:pt x="239" y="63"/>
                  </a:cubicBezTo>
                  <a:cubicBezTo>
                    <a:pt x="238" y="65"/>
                    <a:pt x="237" y="66"/>
                    <a:pt x="236" y="66"/>
                  </a:cubicBezTo>
                  <a:cubicBezTo>
                    <a:pt x="235" y="65"/>
                    <a:pt x="233" y="66"/>
                    <a:pt x="232" y="67"/>
                  </a:cubicBezTo>
                  <a:cubicBezTo>
                    <a:pt x="231" y="68"/>
                    <a:pt x="226" y="70"/>
                    <a:pt x="228" y="71"/>
                  </a:cubicBezTo>
                  <a:cubicBezTo>
                    <a:pt x="230" y="72"/>
                    <a:pt x="233" y="72"/>
                    <a:pt x="233" y="72"/>
                  </a:cubicBezTo>
                  <a:moveTo>
                    <a:pt x="262" y="78"/>
                  </a:moveTo>
                  <a:cubicBezTo>
                    <a:pt x="264" y="78"/>
                    <a:pt x="264" y="78"/>
                    <a:pt x="264" y="78"/>
                  </a:cubicBezTo>
                  <a:cubicBezTo>
                    <a:pt x="264" y="78"/>
                    <a:pt x="261" y="76"/>
                    <a:pt x="261" y="76"/>
                  </a:cubicBezTo>
                  <a:cubicBezTo>
                    <a:pt x="261" y="75"/>
                    <a:pt x="259" y="74"/>
                    <a:pt x="258" y="74"/>
                  </a:cubicBezTo>
                  <a:cubicBezTo>
                    <a:pt x="256" y="74"/>
                    <a:pt x="256" y="73"/>
                    <a:pt x="256" y="72"/>
                  </a:cubicBezTo>
                  <a:cubicBezTo>
                    <a:pt x="255" y="70"/>
                    <a:pt x="256" y="70"/>
                    <a:pt x="259" y="70"/>
                  </a:cubicBezTo>
                  <a:cubicBezTo>
                    <a:pt x="259" y="65"/>
                    <a:pt x="259" y="65"/>
                    <a:pt x="259" y="65"/>
                  </a:cubicBezTo>
                  <a:cubicBezTo>
                    <a:pt x="257" y="63"/>
                    <a:pt x="257" y="63"/>
                    <a:pt x="257" y="63"/>
                  </a:cubicBezTo>
                  <a:cubicBezTo>
                    <a:pt x="257" y="63"/>
                    <a:pt x="255" y="64"/>
                    <a:pt x="255" y="65"/>
                  </a:cubicBezTo>
                  <a:cubicBezTo>
                    <a:pt x="255" y="66"/>
                    <a:pt x="253" y="66"/>
                    <a:pt x="253" y="67"/>
                  </a:cubicBezTo>
                  <a:cubicBezTo>
                    <a:pt x="253" y="68"/>
                    <a:pt x="252" y="69"/>
                    <a:pt x="250" y="70"/>
                  </a:cubicBezTo>
                  <a:cubicBezTo>
                    <a:pt x="249" y="72"/>
                    <a:pt x="252" y="73"/>
                    <a:pt x="253" y="73"/>
                  </a:cubicBezTo>
                  <a:cubicBezTo>
                    <a:pt x="254" y="73"/>
                    <a:pt x="258" y="78"/>
                    <a:pt x="259" y="79"/>
                  </a:cubicBezTo>
                  <a:cubicBezTo>
                    <a:pt x="260" y="80"/>
                    <a:pt x="261" y="79"/>
                    <a:pt x="262" y="78"/>
                  </a:cubicBezTo>
                  <a:moveTo>
                    <a:pt x="282" y="61"/>
                  </a:moveTo>
                  <a:cubicBezTo>
                    <a:pt x="280" y="63"/>
                    <a:pt x="278" y="65"/>
                    <a:pt x="277" y="65"/>
                  </a:cubicBezTo>
                  <a:cubicBezTo>
                    <a:pt x="276" y="65"/>
                    <a:pt x="276" y="66"/>
                    <a:pt x="276" y="67"/>
                  </a:cubicBezTo>
                  <a:cubicBezTo>
                    <a:pt x="277" y="68"/>
                    <a:pt x="276" y="70"/>
                    <a:pt x="276" y="70"/>
                  </a:cubicBezTo>
                  <a:cubicBezTo>
                    <a:pt x="271" y="70"/>
                    <a:pt x="265" y="71"/>
                    <a:pt x="264" y="70"/>
                  </a:cubicBezTo>
                  <a:cubicBezTo>
                    <a:pt x="263" y="70"/>
                    <a:pt x="260" y="70"/>
                    <a:pt x="261" y="72"/>
                  </a:cubicBezTo>
                  <a:cubicBezTo>
                    <a:pt x="262" y="74"/>
                    <a:pt x="265" y="76"/>
                    <a:pt x="265" y="76"/>
                  </a:cubicBezTo>
                  <a:cubicBezTo>
                    <a:pt x="265" y="75"/>
                    <a:pt x="268" y="75"/>
                    <a:pt x="268" y="74"/>
                  </a:cubicBezTo>
                  <a:cubicBezTo>
                    <a:pt x="268" y="73"/>
                    <a:pt x="270" y="72"/>
                    <a:pt x="270" y="72"/>
                  </a:cubicBezTo>
                  <a:cubicBezTo>
                    <a:pt x="270" y="72"/>
                    <a:pt x="271" y="76"/>
                    <a:pt x="273" y="75"/>
                  </a:cubicBezTo>
                  <a:cubicBezTo>
                    <a:pt x="275" y="74"/>
                    <a:pt x="278" y="75"/>
                    <a:pt x="279" y="74"/>
                  </a:cubicBezTo>
                  <a:cubicBezTo>
                    <a:pt x="280" y="74"/>
                    <a:pt x="287" y="72"/>
                    <a:pt x="289" y="72"/>
                  </a:cubicBezTo>
                  <a:cubicBezTo>
                    <a:pt x="290" y="73"/>
                    <a:pt x="300" y="70"/>
                    <a:pt x="300" y="70"/>
                  </a:cubicBezTo>
                  <a:cubicBezTo>
                    <a:pt x="296" y="67"/>
                    <a:pt x="295" y="67"/>
                    <a:pt x="295" y="66"/>
                  </a:cubicBezTo>
                  <a:cubicBezTo>
                    <a:pt x="295" y="64"/>
                    <a:pt x="291" y="63"/>
                    <a:pt x="291" y="63"/>
                  </a:cubicBezTo>
                  <a:cubicBezTo>
                    <a:pt x="289" y="63"/>
                    <a:pt x="285" y="62"/>
                    <a:pt x="284" y="61"/>
                  </a:cubicBezTo>
                  <a:cubicBezTo>
                    <a:pt x="284" y="60"/>
                    <a:pt x="282" y="61"/>
                    <a:pt x="282" y="61"/>
                  </a:cubicBezTo>
                  <a:moveTo>
                    <a:pt x="304" y="73"/>
                  </a:moveTo>
                  <a:cubicBezTo>
                    <a:pt x="304" y="73"/>
                    <a:pt x="294" y="73"/>
                    <a:pt x="292" y="73"/>
                  </a:cubicBezTo>
                  <a:cubicBezTo>
                    <a:pt x="290" y="74"/>
                    <a:pt x="290" y="74"/>
                    <a:pt x="293" y="76"/>
                  </a:cubicBezTo>
                  <a:cubicBezTo>
                    <a:pt x="293" y="76"/>
                    <a:pt x="290" y="76"/>
                    <a:pt x="288" y="77"/>
                  </a:cubicBezTo>
                  <a:cubicBezTo>
                    <a:pt x="288" y="77"/>
                    <a:pt x="286" y="78"/>
                    <a:pt x="282" y="76"/>
                  </a:cubicBezTo>
                  <a:cubicBezTo>
                    <a:pt x="278" y="75"/>
                    <a:pt x="278" y="78"/>
                    <a:pt x="277" y="80"/>
                  </a:cubicBezTo>
                  <a:cubicBezTo>
                    <a:pt x="276" y="82"/>
                    <a:pt x="277" y="83"/>
                    <a:pt x="278" y="85"/>
                  </a:cubicBezTo>
                  <a:cubicBezTo>
                    <a:pt x="278" y="85"/>
                    <a:pt x="283" y="87"/>
                    <a:pt x="285" y="88"/>
                  </a:cubicBezTo>
                  <a:cubicBezTo>
                    <a:pt x="286" y="90"/>
                    <a:pt x="287" y="91"/>
                    <a:pt x="287" y="94"/>
                  </a:cubicBezTo>
                  <a:cubicBezTo>
                    <a:pt x="287" y="97"/>
                    <a:pt x="286" y="98"/>
                    <a:pt x="286" y="102"/>
                  </a:cubicBezTo>
                  <a:cubicBezTo>
                    <a:pt x="286" y="102"/>
                    <a:pt x="284" y="104"/>
                    <a:pt x="283" y="106"/>
                  </a:cubicBezTo>
                  <a:cubicBezTo>
                    <a:pt x="282" y="108"/>
                    <a:pt x="283" y="108"/>
                    <a:pt x="288" y="109"/>
                  </a:cubicBezTo>
                  <a:cubicBezTo>
                    <a:pt x="287" y="111"/>
                    <a:pt x="288" y="115"/>
                    <a:pt x="286" y="119"/>
                  </a:cubicBezTo>
                  <a:cubicBezTo>
                    <a:pt x="286" y="119"/>
                    <a:pt x="281" y="120"/>
                    <a:pt x="280" y="120"/>
                  </a:cubicBezTo>
                  <a:cubicBezTo>
                    <a:pt x="278" y="120"/>
                    <a:pt x="277" y="122"/>
                    <a:pt x="276" y="124"/>
                  </a:cubicBezTo>
                  <a:cubicBezTo>
                    <a:pt x="275" y="126"/>
                    <a:pt x="274" y="128"/>
                    <a:pt x="275" y="128"/>
                  </a:cubicBezTo>
                  <a:cubicBezTo>
                    <a:pt x="275" y="128"/>
                    <a:pt x="275" y="132"/>
                    <a:pt x="274" y="134"/>
                  </a:cubicBezTo>
                  <a:cubicBezTo>
                    <a:pt x="273" y="136"/>
                    <a:pt x="273" y="138"/>
                    <a:pt x="274" y="141"/>
                  </a:cubicBezTo>
                  <a:cubicBezTo>
                    <a:pt x="276" y="145"/>
                    <a:pt x="275" y="146"/>
                    <a:pt x="275" y="148"/>
                  </a:cubicBezTo>
                  <a:cubicBezTo>
                    <a:pt x="275" y="150"/>
                    <a:pt x="277" y="152"/>
                    <a:pt x="278" y="153"/>
                  </a:cubicBezTo>
                  <a:cubicBezTo>
                    <a:pt x="278" y="154"/>
                    <a:pt x="282" y="158"/>
                    <a:pt x="284" y="161"/>
                  </a:cubicBezTo>
                  <a:cubicBezTo>
                    <a:pt x="284" y="161"/>
                    <a:pt x="288" y="160"/>
                    <a:pt x="290" y="159"/>
                  </a:cubicBezTo>
                  <a:cubicBezTo>
                    <a:pt x="291" y="159"/>
                    <a:pt x="292" y="158"/>
                    <a:pt x="293" y="155"/>
                  </a:cubicBezTo>
                  <a:cubicBezTo>
                    <a:pt x="292" y="152"/>
                    <a:pt x="292" y="150"/>
                    <a:pt x="294" y="149"/>
                  </a:cubicBezTo>
                  <a:cubicBezTo>
                    <a:pt x="295" y="149"/>
                    <a:pt x="300" y="147"/>
                    <a:pt x="302" y="145"/>
                  </a:cubicBezTo>
                  <a:cubicBezTo>
                    <a:pt x="303" y="143"/>
                    <a:pt x="305" y="142"/>
                    <a:pt x="307" y="142"/>
                  </a:cubicBezTo>
                  <a:cubicBezTo>
                    <a:pt x="309" y="142"/>
                    <a:pt x="312" y="140"/>
                    <a:pt x="314" y="139"/>
                  </a:cubicBezTo>
                  <a:cubicBezTo>
                    <a:pt x="315" y="138"/>
                    <a:pt x="319" y="136"/>
                    <a:pt x="320" y="136"/>
                  </a:cubicBezTo>
                  <a:cubicBezTo>
                    <a:pt x="322" y="135"/>
                    <a:pt x="326" y="134"/>
                    <a:pt x="326" y="134"/>
                  </a:cubicBezTo>
                  <a:cubicBezTo>
                    <a:pt x="326" y="134"/>
                    <a:pt x="333" y="129"/>
                    <a:pt x="335" y="128"/>
                  </a:cubicBezTo>
                  <a:cubicBezTo>
                    <a:pt x="336" y="127"/>
                    <a:pt x="336" y="126"/>
                    <a:pt x="333" y="126"/>
                  </a:cubicBezTo>
                  <a:cubicBezTo>
                    <a:pt x="331" y="126"/>
                    <a:pt x="327" y="127"/>
                    <a:pt x="327" y="124"/>
                  </a:cubicBezTo>
                  <a:cubicBezTo>
                    <a:pt x="327" y="122"/>
                    <a:pt x="327" y="119"/>
                    <a:pt x="327" y="118"/>
                  </a:cubicBezTo>
                  <a:cubicBezTo>
                    <a:pt x="329" y="119"/>
                    <a:pt x="330" y="119"/>
                    <a:pt x="330" y="120"/>
                  </a:cubicBezTo>
                  <a:cubicBezTo>
                    <a:pt x="330" y="122"/>
                    <a:pt x="333" y="123"/>
                    <a:pt x="334" y="123"/>
                  </a:cubicBezTo>
                  <a:cubicBezTo>
                    <a:pt x="336" y="123"/>
                    <a:pt x="338" y="126"/>
                    <a:pt x="337" y="124"/>
                  </a:cubicBezTo>
                  <a:cubicBezTo>
                    <a:pt x="336" y="122"/>
                    <a:pt x="337" y="121"/>
                    <a:pt x="336" y="120"/>
                  </a:cubicBezTo>
                  <a:cubicBezTo>
                    <a:pt x="334" y="119"/>
                    <a:pt x="332" y="117"/>
                    <a:pt x="332" y="116"/>
                  </a:cubicBezTo>
                  <a:cubicBezTo>
                    <a:pt x="331" y="114"/>
                    <a:pt x="330" y="114"/>
                    <a:pt x="333" y="113"/>
                  </a:cubicBezTo>
                  <a:cubicBezTo>
                    <a:pt x="335" y="113"/>
                    <a:pt x="337" y="113"/>
                    <a:pt x="337" y="113"/>
                  </a:cubicBezTo>
                  <a:cubicBezTo>
                    <a:pt x="336" y="109"/>
                    <a:pt x="336" y="107"/>
                    <a:pt x="337" y="105"/>
                  </a:cubicBezTo>
                  <a:cubicBezTo>
                    <a:pt x="337" y="103"/>
                    <a:pt x="336" y="102"/>
                    <a:pt x="334" y="100"/>
                  </a:cubicBezTo>
                  <a:cubicBezTo>
                    <a:pt x="332" y="99"/>
                    <a:pt x="331" y="96"/>
                    <a:pt x="331" y="96"/>
                  </a:cubicBezTo>
                  <a:cubicBezTo>
                    <a:pt x="333" y="90"/>
                    <a:pt x="333" y="88"/>
                    <a:pt x="333" y="86"/>
                  </a:cubicBezTo>
                  <a:cubicBezTo>
                    <a:pt x="333" y="85"/>
                    <a:pt x="334" y="81"/>
                    <a:pt x="334" y="81"/>
                  </a:cubicBezTo>
                  <a:cubicBezTo>
                    <a:pt x="335" y="79"/>
                    <a:pt x="326" y="80"/>
                    <a:pt x="323" y="81"/>
                  </a:cubicBezTo>
                  <a:cubicBezTo>
                    <a:pt x="323" y="81"/>
                    <a:pt x="322" y="80"/>
                    <a:pt x="320" y="79"/>
                  </a:cubicBezTo>
                  <a:cubicBezTo>
                    <a:pt x="319" y="78"/>
                    <a:pt x="321" y="78"/>
                    <a:pt x="326" y="78"/>
                  </a:cubicBezTo>
                  <a:cubicBezTo>
                    <a:pt x="326" y="78"/>
                    <a:pt x="325" y="77"/>
                    <a:pt x="323" y="76"/>
                  </a:cubicBezTo>
                  <a:cubicBezTo>
                    <a:pt x="322" y="75"/>
                    <a:pt x="322" y="73"/>
                    <a:pt x="320" y="73"/>
                  </a:cubicBezTo>
                  <a:cubicBezTo>
                    <a:pt x="317" y="73"/>
                    <a:pt x="311" y="72"/>
                    <a:pt x="311" y="72"/>
                  </a:cubicBezTo>
                  <a:cubicBezTo>
                    <a:pt x="311" y="72"/>
                    <a:pt x="311" y="75"/>
                    <a:pt x="310" y="77"/>
                  </a:cubicBezTo>
                  <a:cubicBezTo>
                    <a:pt x="309" y="79"/>
                    <a:pt x="308" y="77"/>
                    <a:pt x="308" y="77"/>
                  </a:cubicBezTo>
                  <a:cubicBezTo>
                    <a:pt x="308" y="77"/>
                    <a:pt x="304" y="74"/>
                    <a:pt x="304" y="73"/>
                  </a:cubicBezTo>
                  <a:moveTo>
                    <a:pt x="222" y="74"/>
                  </a:moveTo>
                  <a:cubicBezTo>
                    <a:pt x="223" y="73"/>
                    <a:pt x="221" y="73"/>
                    <a:pt x="221" y="73"/>
                  </a:cubicBezTo>
                  <a:cubicBezTo>
                    <a:pt x="220" y="74"/>
                    <a:pt x="219" y="74"/>
                    <a:pt x="217" y="73"/>
                  </a:cubicBezTo>
                  <a:cubicBezTo>
                    <a:pt x="216" y="73"/>
                    <a:pt x="215" y="74"/>
                    <a:pt x="216" y="74"/>
                  </a:cubicBezTo>
                  <a:cubicBezTo>
                    <a:pt x="217" y="75"/>
                    <a:pt x="217" y="76"/>
                    <a:pt x="217" y="76"/>
                  </a:cubicBezTo>
                  <a:cubicBezTo>
                    <a:pt x="217" y="77"/>
                    <a:pt x="218" y="77"/>
                    <a:pt x="219" y="78"/>
                  </a:cubicBezTo>
                  <a:cubicBezTo>
                    <a:pt x="221" y="79"/>
                    <a:pt x="220" y="76"/>
                    <a:pt x="220" y="76"/>
                  </a:cubicBezTo>
                  <a:cubicBezTo>
                    <a:pt x="220" y="76"/>
                    <a:pt x="221" y="75"/>
                    <a:pt x="222" y="74"/>
                  </a:cubicBezTo>
                  <a:moveTo>
                    <a:pt x="214" y="65"/>
                  </a:moveTo>
                  <a:cubicBezTo>
                    <a:pt x="214" y="65"/>
                    <a:pt x="214" y="64"/>
                    <a:pt x="213" y="64"/>
                  </a:cubicBezTo>
                  <a:cubicBezTo>
                    <a:pt x="212" y="64"/>
                    <a:pt x="211" y="63"/>
                    <a:pt x="210" y="62"/>
                  </a:cubicBezTo>
                  <a:cubicBezTo>
                    <a:pt x="209" y="61"/>
                    <a:pt x="210" y="61"/>
                    <a:pt x="206" y="60"/>
                  </a:cubicBezTo>
                  <a:cubicBezTo>
                    <a:pt x="206" y="60"/>
                    <a:pt x="208" y="58"/>
                    <a:pt x="208" y="57"/>
                  </a:cubicBezTo>
                  <a:cubicBezTo>
                    <a:pt x="209" y="56"/>
                    <a:pt x="210" y="55"/>
                    <a:pt x="211" y="55"/>
                  </a:cubicBezTo>
                  <a:cubicBezTo>
                    <a:pt x="211" y="55"/>
                    <a:pt x="214" y="54"/>
                    <a:pt x="215" y="53"/>
                  </a:cubicBezTo>
                  <a:cubicBezTo>
                    <a:pt x="215" y="52"/>
                    <a:pt x="216" y="52"/>
                    <a:pt x="219" y="51"/>
                  </a:cubicBezTo>
                  <a:cubicBezTo>
                    <a:pt x="219" y="51"/>
                    <a:pt x="224" y="52"/>
                    <a:pt x="224" y="53"/>
                  </a:cubicBezTo>
                  <a:cubicBezTo>
                    <a:pt x="225" y="54"/>
                    <a:pt x="227" y="54"/>
                    <a:pt x="230" y="55"/>
                  </a:cubicBezTo>
                  <a:cubicBezTo>
                    <a:pt x="232" y="55"/>
                    <a:pt x="231" y="57"/>
                    <a:pt x="231" y="57"/>
                  </a:cubicBezTo>
                  <a:cubicBezTo>
                    <a:pt x="231" y="57"/>
                    <a:pt x="233" y="59"/>
                    <a:pt x="234" y="60"/>
                  </a:cubicBezTo>
                  <a:cubicBezTo>
                    <a:pt x="230" y="62"/>
                    <a:pt x="230" y="62"/>
                    <a:pt x="230" y="62"/>
                  </a:cubicBezTo>
                  <a:cubicBezTo>
                    <a:pt x="230" y="62"/>
                    <a:pt x="227" y="63"/>
                    <a:pt x="226" y="63"/>
                  </a:cubicBezTo>
                  <a:cubicBezTo>
                    <a:pt x="225" y="63"/>
                    <a:pt x="223" y="64"/>
                    <a:pt x="224" y="65"/>
                  </a:cubicBezTo>
                  <a:cubicBezTo>
                    <a:pt x="224" y="65"/>
                    <a:pt x="222" y="67"/>
                    <a:pt x="221" y="68"/>
                  </a:cubicBezTo>
                  <a:cubicBezTo>
                    <a:pt x="220" y="68"/>
                    <a:pt x="219" y="69"/>
                    <a:pt x="219" y="70"/>
                  </a:cubicBezTo>
                  <a:cubicBezTo>
                    <a:pt x="219" y="70"/>
                    <a:pt x="217" y="70"/>
                    <a:pt x="216" y="69"/>
                  </a:cubicBezTo>
                  <a:cubicBezTo>
                    <a:pt x="215" y="68"/>
                    <a:pt x="214" y="67"/>
                    <a:pt x="213" y="67"/>
                  </a:cubicBezTo>
                  <a:cubicBezTo>
                    <a:pt x="212" y="68"/>
                    <a:pt x="213" y="66"/>
                    <a:pt x="214" y="65"/>
                  </a:cubicBezTo>
                  <a:moveTo>
                    <a:pt x="254" y="85"/>
                  </a:moveTo>
                  <a:cubicBezTo>
                    <a:pt x="255" y="86"/>
                    <a:pt x="255" y="85"/>
                    <a:pt x="256" y="86"/>
                  </a:cubicBezTo>
                  <a:cubicBezTo>
                    <a:pt x="256" y="87"/>
                    <a:pt x="257" y="87"/>
                    <a:pt x="258" y="87"/>
                  </a:cubicBezTo>
                  <a:cubicBezTo>
                    <a:pt x="258" y="86"/>
                    <a:pt x="257" y="86"/>
                    <a:pt x="257" y="85"/>
                  </a:cubicBezTo>
                  <a:cubicBezTo>
                    <a:pt x="257" y="84"/>
                    <a:pt x="257" y="83"/>
                    <a:pt x="257" y="83"/>
                  </a:cubicBezTo>
                  <a:cubicBezTo>
                    <a:pt x="257" y="83"/>
                    <a:pt x="256" y="81"/>
                    <a:pt x="255" y="81"/>
                  </a:cubicBezTo>
                  <a:cubicBezTo>
                    <a:pt x="254" y="82"/>
                    <a:pt x="252" y="84"/>
                    <a:pt x="254" y="85"/>
                  </a:cubicBezTo>
                  <a:moveTo>
                    <a:pt x="239" y="103"/>
                  </a:moveTo>
                  <a:cubicBezTo>
                    <a:pt x="242" y="101"/>
                    <a:pt x="242" y="101"/>
                    <a:pt x="242" y="101"/>
                  </a:cubicBezTo>
                  <a:cubicBezTo>
                    <a:pt x="241" y="100"/>
                    <a:pt x="241" y="100"/>
                    <a:pt x="241" y="100"/>
                  </a:cubicBezTo>
                  <a:cubicBezTo>
                    <a:pt x="241" y="100"/>
                    <a:pt x="239" y="100"/>
                    <a:pt x="238" y="101"/>
                  </a:cubicBezTo>
                  <a:cubicBezTo>
                    <a:pt x="238" y="101"/>
                    <a:pt x="237" y="101"/>
                    <a:pt x="237" y="101"/>
                  </a:cubicBezTo>
                  <a:cubicBezTo>
                    <a:pt x="236" y="101"/>
                    <a:pt x="235" y="102"/>
                    <a:pt x="236" y="102"/>
                  </a:cubicBezTo>
                  <a:cubicBezTo>
                    <a:pt x="237" y="102"/>
                    <a:pt x="239" y="102"/>
                    <a:pt x="239" y="103"/>
                  </a:cubicBezTo>
                  <a:moveTo>
                    <a:pt x="235" y="83"/>
                  </a:moveTo>
                  <a:cubicBezTo>
                    <a:pt x="234" y="85"/>
                    <a:pt x="235" y="85"/>
                    <a:pt x="236" y="86"/>
                  </a:cubicBezTo>
                  <a:cubicBezTo>
                    <a:pt x="238" y="86"/>
                    <a:pt x="239" y="87"/>
                    <a:pt x="239" y="88"/>
                  </a:cubicBezTo>
                  <a:cubicBezTo>
                    <a:pt x="239" y="88"/>
                    <a:pt x="242" y="90"/>
                    <a:pt x="244" y="90"/>
                  </a:cubicBezTo>
                  <a:cubicBezTo>
                    <a:pt x="245" y="91"/>
                    <a:pt x="245" y="91"/>
                    <a:pt x="246" y="93"/>
                  </a:cubicBezTo>
                  <a:cubicBezTo>
                    <a:pt x="244" y="99"/>
                    <a:pt x="244" y="99"/>
                    <a:pt x="244" y="99"/>
                  </a:cubicBezTo>
                  <a:cubicBezTo>
                    <a:pt x="244" y="99"/>
                    <a:pt x="244" y="101"/>
                    <a:pt x="243" y="106"/>
                  </a:cubicBezTo>
                  <a:cubicBezTo>
                    <a:pt x="240" y="107"/>
                    <a:pt x="240" y="107"/>
                    <a:pt x="240" y="107"/>
                  </a:cubicBezTo>
                  <a:cubicBezTo>
                    <a:pt x="240" y="107"/>
                    <a:pt x="237" y="108"/>
                    <a:pt x="236" y="108"/>
                  </a:cubicBezTo>
                  <a:cubicBezTo>
                    <a:pt x="235" y="108"/>
                    <a:pt x="235" y="109"/>
                    <a:pt x="235" y="111"/>
                  </a:cubicBezTo>
                  <a:cubicBezTo>
                    <a:pt x="235" y="111"/>
                    <a:pt x="234" y="110"/>
                    <a:pt x="233" y="110"/>
                  </a:cubicBezTo>
                  <a:cubicBezTo>
                    <a:pt x="232" y="110"/>
                    <a:pt x="229" y="107"/>
                    <a:pt x="228" y="107"/>
                  </a:cubicBezTo>
                  <a:cubicBezTo>
                    <a:pt x="227" y="106"/>
                    <a:pt x="227" y="106"/>
                    <a:pt x="227" y="107"/>
                  </a:cubicBezTo>
                  <a:cubicBezTo>
                    <a:pt x="226" y="107"/>
                    <a:pt x="225" y="108"/>
                    <a:pt x="224" y="107"/>
                  </a:cubicBezTo>
                  <a:cubicBezTo>
                    <a:pt x="224" y="109"/>
                    <a:pt x="224" y="109"/>
                    <a:pt x="224" y="109"/>
                  </a:cubicBezTo>
                  <a:cubicBezTo>
                    <a:pt x="224" y="109"/>
                    <a:pt x="225" y="112"/>
                    <a:pt x="225" y="112"/>
                  </a:cubicBezTo>
                  <a:cubicBezTo>
                    <a:pt x="226" y="112"/>
                    <a:pt x="229" y="115"/>
                    <a:pt x="230" y="116"/>
                  </a:cubicBezTo>
                  <a:cubicBezTo>
                    <a:pt x="231" y="116"/>
                    <a:pt x="231" y="119"/>
                    <a:pt x="231" y="120"/>
                  </a:cubicBezTo>
                  <a:cubicBezTo>
                    <a:pt x="231" y="121"/>
                    <a:pt x="231" y="122"/>
                    <a:pt x="232" y="123"/>
                  </a:cubicBezTo>
                  <a:cubicBezTo>
                    <a:pt x="232" y="124"/>
                    <a:pt x="233" y="126"/>
                    <a:pt x="234" y="127"/>
                  </a:cubicBezTo>
                  <a:cubicBezTo>
                    <a:pt x="235" y="127"/>
                    <a:pt x="235" y="128"/>
                    <a:pt x="237" y="131"/>
                  </a:cubicBezTo>
                  <a:cubicBezTo>
                    <a:pt x="237" y="131"/>
                    <a:pt x="240" y="132"/>
                    <a:pt x="242" y="131"/>
                  </a:cubicBezTo>
                  <a:cubicBezTo>
                    <a:pt x="242" y="131"/>
                    <a:pt x="244" y="129"/>
                    <a:pt x="244" y="128"/>
                  </a:cubicBezTo>
                  <a:cubicBezTo>
                    <a:pt x="244" y="127"/>
                    <a:pt x="247" y="125"/>
                    <a:pt x="248" y="123"/>
                  </a:cubicBezTo>
                  <a:cubicBezTo>
                    <a:pt x="248" y="123"/>
                    <a:pt x="246" y="121"/>
                    <a:pt x="245" y="120"/>
                  </a:cubicBezTo>
                  <a:cubicBezTo>
                    <a:pt x="245" y="120"/>
                    <a:pt x="245" y="119"/>
                    <a:pt x="246" y="119"/>
                  </a:cubicBezTo>
                  <a:cubicBezTo>
                    <a:pt x="246" y="119"/>
                    <a:pt x="247" y="115"/>
                    <a:pt x="247" y="114"/>
                  </a:cubicBezTo>
                  <a:cubicBezTo>
                    <a:pt x="248" y="112"/>
                    <a:pt x="247" y="114"/>
                    <a:pt x="247" y="114"/>
                  </a:cubicBezTo>
                  <a:cubicBezTo>
                    <a:pt x="247" y="114"/>
                    <a:pt x="248" y="114"/>
                    <a:pt x="250" y="115"/>
                  </a:cubicBezTo>
                  <a:cubicBezTo>
                    <a:pt x="250" y="118"/>
                    <a:pt x="250" y="118"/>
                    <a:pt x="250" y="118"/>
                  </a:cubicBezTo>
                  <a:cubicBezTo>
                    <a:pt x="250" y="118"/>
                    <a:pt x="251" y="121"/>
                    <a:pt x="251" y="122"/>
                  </a:cubicBezTo>
                  <a:cubicBezTo>
                    <a:pt x="251" y="123"/>
                    <a:pt x="251" y="123"/>
                    <a:pt x="253" y="123"/>
                  </a:cubicBezTo>
                  <a:cubicBezTo>
                    <a:pt x="254" y="122"/>
                    <a:pt x="256" y="121"/>
                    <a:pt x="257" y="121"/>
                  </a:cubicBezTo>
                  <a:cubicBezTo>
                    <a:pt x="258" y="121"/>
                    <a:pt x="259" y="121"/>
                    <a:pt x="260" y="119"/>
                  </a:cubicBezTo>
                  <a:cubicBezTo>
                    <a:pt x="260" y="119"/>
                    <a:pt x="259" y="117"/>
                    <a:pt x="258" y="116"/>
                  </a:cubicBezTo>
                  <a:cubicBezTo>
                    <a:pt x="257" y="115"/>
                    <a:pt x="257" y="113"/>
                    <a:pt x="257" y="113"/>
                  </a:cubicBezTo>
                  <a:cubicBezTo>
                    <a:pt x="257" y="113"/>
                    <a:pt x="259" y="106"/>
                    <a:pt x="259" y="105"/>
                  </a:cubicBezTo>
                  <a:cubicBezTo>
                    <a:pt x="260" y="103"/>
                    <a:pt x="260" y="102"/>
                    <a:pt x="260" y="102"/>
                  </a:cubicBezTo>
                  <a:cubicBezTo>
                    <a:pt x="260" y="101"/>
                    <a:pt x="259" y="97"/>
                    <a:pt x="259" y="96"/>
                  </a:cubicBezTo>
                  <a:cubicBezTo>
                    <a:pt x="259" y="94"/>
                    <a:pt x="256" y="91"/>
                    <a:pt x="256" y="90"/>
                  </a:cubicBezTo>
                  <a:cubicBezTo>
                    <a:pt x="255" y="90"/>
                    <a:pt x="254" y="89"/>
                    <a:pt x="254" y="89"/>
                  </a:cubicBezTo>
                  <a:cubicBezTo>
                    <a:pt x="254" y="88"/>
                    <a:pt x="253" y="86"/>
                    <a:pt x="252" y="85"/>
                  </a:cubicBezTo>
                  <a:cubicBezTo>
                    <a:pt x="252" y="83"/>
                    <a:pt x="255" y="81"/>
                    <a:pt x="255" y="81"/>
                  </a:cubicBezTo>
                  <a:cubicBezTo>
                    <a:pt x="255" y="81"/>
                    <a:pt x="253" y="79"/>
                    <a:pt x="251" y="78"/>
                  </a:cubicBezTo>
                  <a:cubicBezTo>
                    <a:pt x="251" y="78"/>
                    <a:pt x="251" y="77"/>
                    <a:pt x="250" y="77"/>
                  </a:cubicBezTo>
                  <a:cubicBezTo>
                    <a:pt x="249" y="77"/>
                    <a:pt x="246" y="77"/>
                    <a:pt x="245" y="76"/>
                  </a:cubicBezTo>
                  <a:cubicBezTo>
                    <a:pt x="245" y="76"/>
                    <a:pt x="242" y="76"/>
                    <a:pt x="241" y="77"/>
                  </a:cubicBezTo>
                  <a:cubicBezTo>
                    <a:pt x="241" y="77"/>
                    <a:pt x="240" y="77"/>
                    <a:pt x="239" y="77"/>
                  </a:cubicBezTo>
                  <a:cubicBezTo>
                    <a:pt x="238" y="77"/>
                    <a:pt x="237" y="78"/>
                    <a:pt x="237" y="78"/>
                  </a:cubicBezTo>
                  <a:cubicBezTo>
                    <a:pt x="237" y="78"/>
                    <a:pt x="235" y="80"/>
                    <a:pt x="234" y="81"/>
                  </a:cubicBezTo>
                  <a:cubicBezTo>
                    <a:pt x="233" y="81"/>
                    <a:pt x="235" y="82"/>
                    <a:pt x="235" y="83"/>
                  </a:cubicBezTo>
                  <a:moveTo>
                    <a:pt x="213" y="104"/>
                  </a:moveTo>
                  <a:cubicBezTo>
                    <a:pt x="213" y="106"/>
                    <a:pt x="216" y="111"/>
                    <a:pt x="218" y="109"/>
                  </a:cubicBezTo>
                  <a:cubicBezTo>
                    <a:pt x="219" y="108"/>
                    <a:pt x="218" y="105"/>
                    <a:pt x="218" y="103"/>
                  </a:cubicBezTo>
                  <a:cubicBezTo>
                    <a:pt x="217" y="102"/>
                    <a:pt x="217" y="100"/>
                    <a:pt x="217" y="99"/>
                  </a:cubicBezTo>
                  <a:cubicBezTo>
                    <a:pt x="217" y="96"/>
                    <a:pt x="217" y="96"/>
                    <a:pt x="217" y="96"/>
                  </a:cubicBezTo>
                  <a:cubicBezTo>
                    <a:pt x="215" y="95"/>
                    <a:pt x="215" y="95"/>
                    <a:pt x="214" y="96"/>
                  </a:cubicBezTo>
                  <a:cubicBezTo>
                    <a:pt x="214" y="98"/>
                    <a:pt x="212" y="98"/>
                    <a:pt x="211" y="98"/>
                  </a:cubicBezTo>
                  <a:cubicBezTo>
                    <a:pt x="211" y="98"/>
                    <a:pt x="206" y="100"/>
                    <a:pt x="206" y="100"/>
                  </a:cubicBezTo>
                  <a:cubicBezTo>
                    <a:pt x="207" y="101"/>
                    <a:pt x="207" y="100"/>
                    <a:pt x="208" y="100"/>
                  </a:cubicBezTo>
                  <a:cubicBezTo>
                    <a:pt x="209" y="101"/>
                    <a:pt x="210" y="101"/>
                    <a:pt x="210" y="101"/>
                  </a:cubicBezTo>
                  <a:cubicBezTo>
                    <a:pt x="209" y="102"/>
                    <a:pt x="208" y="102"/>
                    <a:pt x="208" y="103"/>
                  </a:cubicBezTo>
                  <a:cubicBezTo>
                    <a:pt x="208" y="104"/>
                    <a:pt x="208" y="105"/>
                    <a:pt x="208" y="105"/>
                  </a:cubicBezTo>
                  <a:cubicBezTo>
                    <a:pt x="210" y="104"/>
                    <a:pt x="213" y="103"/>
                    <a:pt x="213" y="104"/>
                  </a:cubicBezTo>
                  <a:moveTo>
                    <a:pt x="238" y="187"/>
                  </a:moveTo>
                  <a:cubicBezTo>
                    <a:pt x="238" y="187"/>
                    <a:pt x="232" y="188"/>
                    <a:pt x="230" y="188"/>
                  </a:cubicBezTo>
                  <a:cubicBezTo>
                    <a:pt x="228" y="189"/>
                    <a:pt x="227" y="190"/>
                    <a:pt x="227" y="192"/>
                  </a:cubicBezTo>
                  <a:cubicBezTo>
                    <a:pt x="226" y="194"/>
                    <a:pt x="224" y="195"/>
                    <a:pt x="224" y="195"/>
                  </a:cubicBezTo>
                  <a:cubicBezTo>
                    <a:pt x="224" y="195"/>
                    <a:pt x="223" y="196"/>
                    <a:pt x="221" y="195"/>
                  </a:cubicBezTo>
                  <a:cubicBezTo>
                    <a:pt x="220" y="195"/>
                    <a:pt x="218" y="197"/>
                    <a:pt x="217" y="200"/>
                  </a:cubicBezTo>
                  <a:cubicBezTo>
                    <a:pt x="220" y="200"/>
                    <a:pt x="223" y="202"/>
                    <a:pt x="223" y="203"/>
                  </a:cubicBezTo>
                  <a:cubicBezTo>
                    <a:pt x="224" y="205"/>
                    <a:pt x="234" y="212"/>
                    <a:pt x="234" y="212"/>
                  </a:cubicBezTo>
                  <a:cubicBezTo>
                    <a:pt x="235" y="209"/>
                    <a:pt x="237" y="209"/>
                    <a:pt x="239" y="208"/>
                  </a:cubicBezTo>
                  <a:cubicBezTo>
                    <a:pt x="240" y="207"/>
                    <a:pt x="239" y="205"/>
                    <a:pt x="239" y="203"/>
                  </a:cubicBezTo>
                  <a:cubicBezTo>
                    <a:pt x="239" y="202"/>
                    <a:pt x="239" y="200"/>
                    <a:pt x="239" y="200"/>
                  </a:cubicBezTo>
                  <a:cubicBezTo>
                    <a:pt x="236" y="196"/>
                    <a:pt x="236" y="196"/>
                    <a:pt x="236" y="196"/>
                  </a:cubicBezTo>
                  <a:cubicBezTo>
                    <a:pt x="235" y="195"/>
                    <a:pt x="234" y="194"/>
                    <a:pt x="230" y="194"/>
                  </a:cubicBezTo>
                  <a:cubicBezTo>
                    <a:pt x="230" y="194"/>
                    <a:pt x="232" y="193"/>
                    <a:pt x="233" y="191"/>
                  </a:cubicBezTo>
                  <a:cubicBezTo>
                    <a:pt x="234" y="190"/>
                    <a:pt x="235" y="188"/>
                    <a:pt x="238" y="187"/>
                  </a:cubicBezTo>
                  <a:moveTo>
                    <a:pt x="200" y="195"/>
                  </a:moveTo>
                  <a:cubicBezTo>
                    <a:pt x="199" y="197"/>
                    <a:pt x="200" y="198"/>
                    <a:pt x="200" y="199"/>
                  </a:cubicBezTo>
                  <a:cubicBezTo>
                    <a:pt x="201" y="200"/>
                    <a:pt x="203" y="201"/>
                    <a:pt x="205" y="201"/>
                  </a:cubicBezTo>
                  <a:cubicBezTo>
                    <a:pt x="207" y="200"/>
                    <a:pt x="207" y="199"/>
                    <a:pt x="207" y="199"/>
                  </a:cubicBezTo>
                  <a:cubicBezTo>
                    <a:pt x="205" y="201"/>
                    <a:pt x="203" y="200"/>
                    <a:pt x="203" y="198"/>
                  </a:cubicBezTo>
                  <a:cubicBezTo>
                    <a:pt x="203" y="197"/>
                    <a:pt x="202" y="193"/>
                    <a:pt x="202" y="193"/>
                  </a:cubicBezTo>
                  <a:lnTo>
                    <a:pt x="200" y="195"/>
                  </a:lnTo>
                  <a:close/>
                  <a:moveTo>
                    <a:pt x="206" y="206"/>
                  </a:moveTo>
                  <a:cubicBezTo>
                    <a:pt x="208" y="206"/>
                    <a:pt x="211" y="207"/>
                    <a:pt x="211" y="206"/>
                  </a:cubicBezTo>
                  <a:cubicBezTo>
                    <a:pt x="212" y="206"/>
                    <a:pt x="211" y="202"/>
                    <a:pt x="211" y="200"/>
                  </a:cubicBezTo>
                  <a:cubicBezTo>
                    <a:pt x="207" y="203"/>
                    <a:pt x="205" y="203"/>
                    <a:pt x="206" y="206"/>
                  </a:cubicBezTo>
                  <a:moveTo>
                    <a:pt x="118" y="323"/>
                  </a:moveTo>
                  <a:cubicBezTo>
                    <a:pt x="117" y="322"/>
                    <a:pt x="116" y="322"/>
                    <a:pt x="116" y="322"/>
                  </a:cubicBezTo>
                  <a:cubicBezTo>
                    <a:pt x="115" y="322"/>
                    <a:pt x="115" y="322"/>
                    <a:pt x="115" y="322"/>
                  </a:cubicBezTo>
                  <a:cubicBezTo>
                    <a:pt x="115" y="323"/>
                    <a:pt x="114" y="324"/>
                    <a:pt x="116" y="324"/>
                  </a:cubicBezTo>
                  <a:cubicBezTo>
                    <a:pt x="117" y="324"/>
                    <a:pt x="117" y="325"/>
                    <a:pt x="118" y="326"/>
                  </a:cubicBezTo>
                  <a:cubicBezTo>
                    <a:pt x="119" y="326"/>
                    <a:pt x="121" y="325"/>
                    <a:pt x="121" y="325"/>
                  </a:cubicBezTo>
                  <a:lnTo>
                    <a:pt x="118" y="323"/>
                  </a:lnTo>
                  <a:close/>
                  <a:moveTo>
                    <a:pt x="92" y="307"/>
                  </a:moveTo>
                  <a:cubicBezTo>
                    <a:pt x="92" y="307"/>
                    <a:pt x="90" y="306"/>
                    <a:pt x="90" y="306"/>
                  </a:cubicBezTo>
                  <a:cubicBezTo>
                    <a:pt x="89" y="305"/>
                    <a:pt x="89" y="306"/>
                    <a:pt x="89" y="305"/>
                  </a:cubicBezTo>
                  <a:cubicBezTo>
                    <a:pt x="89" y="304"/>
                    <a:pt x="87" y="304"/>
                    <a:pt x="87" y="304"/>
                  </a:cubicBezTo>
                  <a:cubicBezTo>
                    <a:pt x="87" y="304"/>
                    <a:pt x="87" y="306"/>
                    <a:pt x="87" y="307"/>
                  </a:cubicBezTo>
                  <a:cubicBezTo>
                    <a:pt x="88" y="308"/>
                    <a:pt x="88" y="308"/>
                    <a:pt x="89" y="308"/>
                  </a:cubicBezTo>
                  <a:cubicBezTo>
                    <a:pt x="90" y="308"/>
                    <a:pt x="91" y="309"/>
                    <a:pt x="91" y="310"/>
                  </a:cubicBezTo>
                  <a:cubicBezTo>
                    <a:pt x="92" y="310"/>
                    <a:pt x="93" y="310"/>
                    <a:pt x="95" y="312"/>
                  </a:cubicBezTo>
                  <a:cubicBezTo>
                    <a:pt x="95" y="312"/>
                    <a:pt x="95" y="313"/>
                    <a:pt x="96" y="315"/>
                  </a:cubicBezTo>
                  <a:cubicBezTo>
                    <a:pt x="96" y="316"/>
                    <a:pt x="97" y="316"/>
                    <a:pt x="99" y="315"/>
                  </a:cubicBezTo>
                  <a:cubicBezTo>
                    <a:pt x="100" y="315"/>
                    <a:pt x="101" y="315"/>
                    <a:pt x="104" y="317"/>
                  </a:cubicBezTo>
                  <a:cubicBezTo>
                    <a:pt x="105" y="316"/>
                    <a:pt x="108" y="318"/>
                    <a:pt x="109" y="318"/>
                  </a:cubicBezTo>
                  <a:cubicBezTo>
                    <a:pt x="110" y="319"/>
                    <a:pt x="110" y="318"/>
                    <a:pt x="111" y="317"/>
                  </a:cubicBezTo>
                  <a:cubicBezTo>
                    <a:pt x="111" y="316"/>
                    <a:pt x="109" y="314"/>
                    <a:pt x="108" y="314"/>
                  </a:cubicBezTo>
                  <a:cubicBezTo>
                    <a:pt x="107" y="313"/>
                    <a:pt x="108" y="312"/>
                    <a:pt x="107" y="310"/>
                  </a:cubicBezTo>
                  <a:cubicBezTo>
                    <a:pt x="107" y="309"/>
                    <a:pt x="107" y="308"/>
                    <a:pt x="105" y="308"/>
                  </a:cubicBezTo>
                  <a:cubicBezTo>
                    <a:pt x="104" y="307"/>
                    <a:pt x="102" y="306"/>
                    <a:pt x="102" y="305"/>
                  </a:cubicBezTo>
                  <a:cubicBezTo>
                    <a:pt x="101" y="304"/>
                    <a:pt x="100" y="304"/>
                    <a:pt x="98" y="303"/>
                  </a:cubicBezTo>
                  <a:cubicBezTo>
                    <a:pt x="97" y="303"/>
                    <a:pt x="97" y="302"/>
                    <a:pt x="96" y="301"/>
                  </a:cubicBezTo>
                  <a:cubicBezTo>
                    <a:pt x="94" y="300"/>
                    <a:pt x="94" y="300"/>
                    <a:pt x="93" y="300"/>
                  </a:cubicBezTo>
                  <a:cubicBezTo>
                    <a:pt x="93" y="300"/>
                    <a:pt x="93" y="302"/>
                    <a:pt x="93" y="303"/>
                  </a:cubicBezTo>
                  <a:cubicBezTo>
                    <a:pt x="94" y="304"/>
                    <a:pt x="93" y="305"/>
                    <a:pt x="94" y="306"/>
                  </a:cubicBezTo>
                  <a:cubicBezTo>
                    <a:pt x="94" y="308"/>
                    <a:pt x="93" y="308"/>
                    <a:pt x="92" y="307"/>
                  </a:cubicBezTo>
                  <a:moveTo>
                    <a:pt x="71" y="295"/>
                  </a:moveTo>
                  <a:cubicBezTo>
                    <a:pt x="72" y="296"/>
                    <a:pt x="73" y="296"/>
                    <a:pt x="73" y="296"/>
                  </a:cubicBezTo>
                  <a:cubicBezTo>
                    <a:pt x="73" y="297"/>
                    <a:pt x="73" y="299"/>
                    <a:pt x="74" y="299"/>
                  </a:cubicBezTo>
                  <a:cubicBezTo>
                    <a:pt x="74" y="300"/>
                    <a:pt x="76" y="301"/>
                    <a:pt x="77" y="301"/>
                  </a:cubicBezTo>
                  <a:cubicBezTo>
                    <a:pt x="78" y="301"/>
                    <a:pt x="77" y="301"/>
                    <a:pt x="77" y="300"/>
                  </a:cubicBezTo>
                  <a:cubicBezTo>
                    <a:pt x="77" y="298"/>
                    <a:pt x="76" y="297"/>
                    <a:pt x="76" y="297"/>
                  </a:cubicBezTo>
                  <a:cubicBezTo>
                    <a:pt x="76" y="296"/>
                    <a:pt x="73" y="295"/>
                    <a:pt x="73" y="295"/>
                  </a:cubicBezTo>
                  <a:cubicBezTo>
                    <a:pt x="73" y="295"/>
                    <a:pt x="70" y="293"/>
                    <a:pt x="71" y="295"/>
                  </a:cubicBezTo>
                  <a:moveTo>
                    <a:pt x="58" y="261"/>
                  </a:moveTo>
                  <a:cubicBezTo>
                    <a:pt x="58" y="261"/>
                    <a:pt x="60" y="262"/>
                    <a:pt x="61" y="262"/>
                  </a:cubicBezTo>
                  <a:cubicBezTo>
                    <a:pt x="62" y="262"/>
                    <a:pt x="64" y="262"/>
                    <a:pt x="65" y="264"/>
                  </a:cubicBezTo>
                  <a:cubicBezTo>
                    <a:pt x="66" y="266"/>
                    <a:pt x="68" y="267"/>
                    <a:pt x="69" y="268"/>
                  </a:cubicBezTo>
                  <a:cubicBezTo>
                    <a:pt x="71" y="270"/>
                    <a:pt x="73" y="270"/>
                    <a:pt x="72" y="272"/>
                  </a:cubicBezTo>
                  <a:cubicBezTo>
                    <a:pt x="72" y="274"/>
                    <a:pt x="76" y="277"/>
                    <a:pt x="78" y="278"/>
                  </a:cubicBezTo>
                  <a:cubicBezTo>
                    <a:pt x="79" y="280"/>
                    <a:pt x="78" y="280"/>
                    <a:pt x="78" y="282"/>
                  </a:cubicBezTo>
                  <a:cubicBezTo>
                    <a:pt x="78" y="284"/>
                    <a:pt x="81" y="287"/>
                    <a:pt x="82" y="288"/>
                  </a:cubicBezTo>
                  <a:cubicBezTo>
                    <a:pt x="82" y="288"/>
                    <a:pt x="80" y="288"/>
                    <a:pt x="77" y="289"/>
                  </a:cubicBezTo>
                  <a:cubicBezTo>
                    <a:pt x="74" y="290"/>
                    <a:pt x="79" y="291"/>
                    <a:pt x="82" y="291"/>
                  </a:cubicBezTo>
                  <a:cubicBezTo>
                    <a:pt x="85" y="291"/>
                    <a:pt x="88" y="294"/>
                    <a:pt x="91" y="296"/>
                  </a:cubicBezTo>
                  <a:cubicBezTo>
                    <a:pt x="91" y="296"/>
                    <a:pt x="91" y="294"/>
                    <a:pt x="88" y="290"/>
                  </a:cubicBezTo>
                  <a:cubicBezTo>
                    <a:pt x="88" y="289"/>
                    <a:pt x="86" y="286"/>
                    <a:pt x="86" y="286"/>
                  </a:cubicBezTo>
                  <a:cubicBezTo>
                    <a:pt x="86" y="286"/>
                    <a:pt x="83" y="279"/>
                    <a:pt x="81" y="277"/>
                  </a:cubicBezTo>
                  <a:cubicBezTo>
                    <a:pt x="80" y="276"/>
                    <a:pt x="75" y="267"/>
                    <a:pt x="74" y="265"/>
                  </a:cubicBezTo>
                  <a:cubicBezTo>
                    <a:pt x="72" y="263"/>
                    <a:pt x="70" y="261"/>
                    <a:pt x="68" y="261"/>
                  </a:cubicBezTo>
                  <a:cubicBezTo>
                    <a:pt x="66" y="261"/>
                    <a:pt x="65" y="260"/>
                    <a:pt x="64" y="259"/>
                  </a:cubicBezTo>
                  <a:cubicBezTo>
                    <a:pt x="63" y="259"/>
                    <a:pt x="60" y="260"/>
                    <a:pt x="58" y="261"/>
                  </a:cubicBezTo>
                </a:path>
              </a:pathLst>
            </a:custGeom>
            <a:solidFill>
              <a:srgbClr val="FFFFFF">
                <a:lumMod val="85000"/>
                <a:alpha val="54902"/>
              </a:srgbClr>
            </a:solidFill>
            <a:ln>
              <a:noFill/>
            </a:ln>
            <a:extLst/>
          </p:spPr>
          <p:txBody>
            <a:bodyPr vert="horz" wrap="square" lIns="68580" tIns="34290" rIns="68580" bIns="3429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endParaRPr>
            </a:p>
          </p:txBody>
        </p:sp>
        <p:sp>
          <p:nvSpPr>
            <p:cNvPr id="5" name="Oval 4"/>
            <p:cNvSpPr>
              <a:spLocks noChangeAspect="1"/>
            </p:cNvSpPr>
            <p:nvPr/>
          </p:nvSpPr>
          <p:spPr bwMode="auto">
            <a:xfrm>
              <a:off x="3698330" y="1136378"/>
              <a:ext cx="3817412" cy="3813880"/>
            </a:xfrm>
            <a:prstGeom prst="ellipse">
              <a:avLst/>
            </a:prstGeom>
            <a:noFill/>
            <a:ln w="19050" cap="flat" cmpd="sng" algn="ctr">
              <a:solidFill>
                <a:srgbClr val="FFFFFF">
                  <a:lumMod val="85000"/>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err="1">
                <a:ln>
                  <a:noFill/>
                </a:ln>
                <a:solidFill>
                  <a:srgbClr val="000000"/>
                </a:solidFill>
                <a:effectLst/>
                <a:uLnTx/>
                <a:uFillTx/>
                <a:latin typeface="Franklin Gothic Book"/>
                <a:ea typeface="新細明體" charset="0"/>
                <a:cs typeface="新細明體" charset="0"/>
              </a:endParaRPr>
            </a:p>
          </p:txBody>
        </p:sp>
      </p:grpSp>
      <p:sp>
        <p:nvSpPr>
          <p:cNvPr id="6" name="Oval 5"/>
          <p:cNvSpPr>
            <a:spLocks noChangeAspect="1"/>
          </p:cNvSpPr>
          <p:nvPr/>
        </p:nvSpPr>
        <p:spPr bwMode="auto">
          <a:xfrm rot="20778646" flipH="1">
            <a:off x="6829738" y="1560665"/>
            <a:ext cx="653251" cy="935465"/>
          </a:xfrm>
          <a:prstGeom prst="ellipse">
            <a:avLst/>
          </a:prstGeom>
          <a:solidFill>
            <a:srgbClr val="7F7F7F">
              <a:alpha val="55000"/>
            </a:srgbClr>
          </a:solidFill>
          <a:ln w="76200" cap="flat" cmpd="sng" algn="ctr">
            <a:solidFill>
              <a:srgbClr val="5E81D3">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a:endParaRPr>
          </a:p>
        </p:txBody>
      </p:sp>
      <p:sp>
        <p:nvSpPr>
          <p:cNvPr id="7" name="TextBox 6"/>
          <p:cNvSpPr txBox="1"/>
          <p:nvPr/>
        </p:nvSpPr>
        <p:spPr>
          <a:xfrm>
            <a:off x="6109401" y="1745956"/>
            <a:ext cx="603106" cy="576985"/>
          </a:xfrm>
          <a:prstGeom prst="rect">
            <a:avLst/>
          </a:prstGeom>
        </p:spPr>
        <p:txBody>
          <a:bodyPr wrap="square" lIns="0" tIns="0" rIns="0" bIns="0" rtlCol="0">
            <a:noAutofit/>
          </a:bodyPr>
          <a:lstStyle/>
          <a:p>
            <a:pPr algn="r">
              <a:lnSpc>
                <a:spcPct val="90000"/>
              </a:lnSpc>
              <a:spcAft>
                <a:spcPts val="0"/>
              </a:spcAft>
            </a:pPr>
            <a:r>
              <a:rPr lang="ja-JP" altLang="en-US" sz="1000" dirty="0" smtClean="0">
                <a:solidFill>
                  <a:srgbClr val="000000"/>
                </a:solidFill>
                <a:latin typeface="ヒラギノ角ゴ Pro W3"/>
                <a:ea typeface="ヒラギノ角ゴ Pro W3"/>
                <a:cs typeface="ヒラギノ角ゴ Pro W3"/>
              </a:rPr>
              <a:t>企業</a:t>
            </a:r>
            <a:r>
              <a:rPr lang="en-US" sz="1000" dirty="0" smtClean="0">
                <a:solidFill>
                  <a:srgbClr val="000000"/>
                </a:solidFill>
                <a:latin typeface="Franklin Gothic Medium"/>
                <a:cs typeface="Franklin Gothic Medium"/>
              </a:rPr>
              <a:t>A</a:t>
            </a:r>
          </a:p>
          <a:p>
            <a:pPr algn="r">
              <a:lnSpc>
                <a:spcPct val="90000"/>
              </a:lnSpc>
            </a:pPr>
            <a:r>
              <a:rPr lang="en-US" sz="700" dirty="0">
                <a:solidFill>
                  <a:srgbClr val="5E81D3"/>
                </a:solidFill>
                <a:latin typeface="Franklin Gothic Book"/>
                <a:cs typeface="Trade Gothic LT Std"/>
              </a:rPr>
              <a:t>Internal </a:t>
            </a:r>
            <a:r>
              <a:rPr lang="en-US" sz="700" dirty="0" err="1">
                <a:solidFill>
                  <a:srgbClr val="5E81D3"/>
                </a:solidFill>
                <a:latin typeface="Franklin Gothic Book"/>
                <a:cs typeface="Trade Gothic LT Std"/>
              </a:rPr>
              <a:t>InfoBlox</a:t>
            </a:r>
            <a:r>
              <a:rPr lang="en-US" sz="700" dirty="0">
                <a:solidFill>
                  <a:srgbClr val="5E81D3"/>
                </a:solidFill>
                <a:latin typeface="Franklin Gothic Book"/>
                <a:cs typeface="Trade Gothic LT Std"/>
              </a:rPr>
              <a:t> Appliance</a:t>
            </a:r>
          </a:p>
        </p:txBody>
      </p:sp>
      <p:pic>
        <p:nvPicPr>
          <p:cNvPr id="8" name="Picture 7" descr="Icon_Corporate-Building White.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92415" y="1817495"/>
            <a:ext cx="326998" cy="365130"/>
          </a:xfrm>
          <a:prstGeom prst="rect">
            <a:avLst/>
          </a:prstGeom>
        </p:spPr>
      </p:pic>
      <p:sp>
        <p:nvSpPr>
          <p:cNvPr id="9" name="Oval 8"/>
          <p:cNvSpPr>
            <a:spLocks noChangeAspect="1"/>
          </p:cNvSpPr>
          <p:nvPr/>
        </p:nvSpPr>
        <p:spPr bwMode="auto">
          <a:xfrm rot="821354">
            <a:off x="6857635" y="3139394"/>
            <a:ext cx="653251" cy="935465"/>
          </a:xfrm>
          <a:prstGeom prst="ellipse">
            <a:avLst/>
          </a:prstGeom>
          <a:solidFill>
            <a:srgbClr val="7F7F7F">
              <a:alpha val="55000"/>
            </a:srgbClr>
          </a:solidFill>
          <a:ln w="76200" cap="flat" cmpd="sng" algn="ctr">
            <a:solidFill>
              <a:srgbClr val="5E81D3">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a:endParaRPr>
          </a:p>
        </p:txBody>
      </p:sp>
      <p:sp>
        <p:nvSpPr>
          <p:cNvPr id="10" name="TextBox 9"/>
          <p:cNvSpPr txBox="1"/>
          <p:nvPr/>
        </p:nvSpPr>
        <p:spPr>
          <a:xfrm>
            <a:off x="6109408" y="3364012"/>
            <a:ext cx="645067" cy="476962"/>
          </a:xfrm>
          <a:prstGeom prst="rect">
            <a:avLst/>
          </a:prstGeom>
        </p:spPr>
        <p:txBody>
          <a:bodyPr wrap="square" lIns="0" tIns="0" rIns="0" bIns="0" rtlCol="0">
            <a:noAutofit/>
          </a:bodyPr>
          <a:lstStyle/>
          <a:p>
            <a:pPr algn="r">
              <a:lnSpc>
                <a:spcPct val="90000"/>
              </a:lnSpc>
              <a:spcAft>
                <a:spcPts val="0"/>
              </a:spcAft>
            </a:pPr>
            <a:r>
              <a:rPr lang="ja-JP" altLang="en-US" sz="1000" dirty="0" smtClean="0">
                <a:solidFill>
                  <a:srgbClr val="000000"/>
                </a:solidFill>
                <a:latin typeface="ヒラギノ角ゴ Pro W3"/>
                <a:ea typeface="ヒラギノ角ゴ Pro W3"/>
                <a:cs typeface="ヒラギノ角ゴ Pro W3"/>
              </a:rPr>
              <a:t>企業</a:t>
            </a:r>
            <a:r>
              <a:rPr lang="en-US" sz="1000" dirty="0" smtClean="0">
                <a:solidFill>
                  <a:srgbClr val="000000"/>
                </a:solidFill>
                <a:latin typeface="Franklin Gothic Medium"/>
                <a:cs typeface="Franklin Gothic Medium"/>
              </a:rPr>
              <a:t>C</a:t>
            </a:r>
          </a:p>
          <a:p>
            <a:pPr algn="r">
              <a:lnSpc>
                <a:spcPct val="90000"/>
              </a:lnSpc>
            </a:pPr>
            <a:r>
              <a:rPr lang="en-US" sz="700" dirty="0">
                <a:solidFill>
                  <a:srgbClr val="5E81D3"/>
                </a:solidFill>
                <a:latin typeface="Franklin Gothic Book"/>
                <a:cs typeface="Trade Gothic LT Std"/>
              </a:rPr>
              <a:t>Internal</a:t>
            </a:r>
          </a:p>
          <a:p>
            <a:pPr algn="r">
              <a:lnSpc>
                <a:spcPct val="90000"/>
              </a:lnSpc>
            </a:pPr>
            <a:r>
              <a:rPr lang="en-US" sz="700" dirty="0">
                <a:solidFill>
                  <a:srgbClr val="5E81D3"/>
                </a:solidFill>
                <a:latin typeface="Franklin Gothic Book"/>
                <a:cs typeface="Trade Gothic LT Std"/>
              </a:rPr>
              <a:t>BIND Server</a:t>
            </a:r>
          </a:p>
        </p:txBody>
      </p:sp>
      <p:pic>
        <p:nvPicPr>
          <p:cNvPr id="11" name="Picture 10" descr="Icon_Office White.pdf"/>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035823" y="3476617"/>
            <a:ext cx="254988" cy="254752"/>
          </a:xfrm>
          <a:prstGeom prst="rect">
            <a:avLst/>
          </a:prstGeom>
        </p:spPr>
      </p:pic>
      <p:sp>
        <p:nvSpPr>
          <p:cNvPr id="12" name="Oval 11"/>
          <p:cNvSpPr>
            <a:spLocks noChangeAspect="1"/>
          </p:cNvSpPr>
          <p:nvPr/>
        </p:nvSpPr>
        <p:spPr bwMode="auto">
          <a:xfrm>
            <a:off x="7104482" y="2341447"/>
            <a:ext cx="653251" cy="935465"/>
          </a:xfrm>
          <a:prstGeom prst="ellipse">
            <a:avLst/>
          </a:prstGeom>
          <a:solidFill>
            <a:srgbClr val="7F7F7F">
              <a:alpha val="55000"/>
            </a:srgbClr>
          </a:solidFill>
          <a:ln w="76200" cap="flat" cmpd="sng" algn="ctr">
            <a:solidFill>
              <a:srgbClr val="5E81D3">
                <a:alpha val="5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a:endParaRPr>
          </a:p>
        </p:txBody>
      </p:sp>
      <p:sp>
        <p:nvSpPr>
          <p:cNvPr id="13" name="TextBox 12"/>
          <p:cNvSpPr txBox="1"/>
          <p:nvPr/>
        </p:nvSpPr>
        <p:spPr>
          <a:xfrm>
            <a:off x="6404613" y="2528293"/>
            <a:ext cx="621056" cy="576985"/>
          </a:xfrm>
          <a:prstGeom prst="rect">
            <a:avLst/>
          </a:prstGeom>
        </p:spPr>
        <p:txBody>
          <a:bodyPr wrap="none" lIns="0" tIns="0" rIns="0" bIns="0" rtlCol="0">
            <a:noAutofit/>
          </a:bodyPr>
          <a:lstStyle/>
          <a:p>
            <a:pPr marL="0" marR="0" lvl="0" indent="0" algn="r" defTabSz="914400" eaLnBrk="1" fontAlgn="auto" latinLnBrk="0" hangingPunct="1">
              <a:lnSpc>
                <a:spcPct val="90000"/>
              </a:lnSpc>
              <a:spcBef>
                <a:spcPts val="0"/>
              </a:spcBef>
              <a:spcAft>
                <a:spcPts val="0"/>
              </a:spcAft>
              <a:buClrTx/>
              <a:buSzTx/>
              <a:buFontTx/>
              <a:buNone/>
              <a:tabLst/>
              <a:defRPr/>
            </a:pPr>
            <a:r>
              <a:rPr kumimoji="0" lang="ja-JP" altLang="en-US" sz="10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企業</a:t>
            </a:r>
            <a:r>
              <a:rPr kumimoji="0" lang="en-US" sz="1000" b="0" i="0" u="none" strike="noStrike" kern="0" cap="none" spc="0" normalizeH="0" baseline="0" noProof="0" dirty="0" smtClean="0">
                <a:ln>
                  <a:noFill/>
                </a:ln>
                <a:solidFill>
                  <a:srgbClr val="000000"/>
                </a:solidFill>
                <a:effectLst/>
                <a:uLnTx/>
                <a:uFillTx/>
                <a:latin typeface="Franklin Gothic Medium"/>
                <a:cs typeface="Trade Gothic LT Std"/>
              </a:rPr>
              <a:t>B</a:t>
            </a:r>
          </a:p>
          <a:p>
            <a:pPr marL="0" marR="0" lvl="0" indent="0" algn="r" defTabSz="914400" eaLnBrk="1" fontAlgn="auto" latinLnBrk="0" hangingPunct="1">
              <a:lnSpc>
                <a:spcPct val="9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5E81D3"/>
                </a:solidFill>
                <a:effectLst/>
                <a:uLnTx/>
                <a:uFillTx/>
                <a:latin typeface="Franklin Gothic Book"/>
                <a:cs typeface="Trade Gothic LT Std"/>
              </a:rPr>
              <a:t>Internal Windows</a:t>
            </a:r>
          </a:p>
          <a:p>
            <a:pPr marL="0" marR="0" lvl="0" indent="0" algn="r" defTabSz="914400" eaLnBrk="1" fontAlgn="auto" latinLnBrk="0" hangingPunct="1">
              <a:lnSpc>
                <a:spcPct val="9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5E81D3"/>
                </a:solidFill>
                <a:effectLst/>
                <a:uLnTx/>
                <a:uFillTx/>
                <a:latin typeface="Franklin Gothic Book"/>
                <a:cs typeface="Trade Gothic LT Std"/>
              </a:rPr>
              <a:t>DNS Server  </a:t>
            </a:r>
          </a:p>
        </p:txBody>
      </p:sp>
      <p:pic>
        <p:nvPicPr>
          <p:cNvPr id="14" name="Picture 13" descr="Icon_Office White.pdf"/>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07500" y="2692904"/>
            <a:ext cx="254988" cy="254752"/>
          </a:xfrm>
          <a:prstGeom prst="rect">
            <a:avLst/>
          </a:prstGeom>
        </p:spPr>
      </p:pic>
      <p:grpSp>
        <p:nvGrpSpPr>
          <p:cNvPr id="15" name="Group 14"/>
          <p:cNvGrpSpPr/>
          <p:nvPr/>
        </p:nvGrpSpPr>
        <p:grpSpPr>
          <a:xfrm>
            <a:off x="5459745" y="1465379"/>
            <a:ext cx="463510" cy="448457"/>
            <a:chOff x="3905101" y="3113630"/>
            <a:chExt cx="513449" cy="496774"/>
          </a:xfrm>
        </p:grpSpPr>
        <p:sp>
          <p:nvSpPr>
            <p:cNvPr id="16" name="TextBox 15"/>
            <p:cNvSpPr txBox="1"/>
            <p:nvPr/>
          </p:nvSpPr>
          <p:spPr>
            <a:xfrm>
              <a:off x="3905101" y="3469898"/>
              <a:ext cx="513449" cy="140506"/>
            </a:xfrm>
            <a:prstGeom prst="rect">
              <a:avLst/>
            </a:prstGeom>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在宅勤務</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grpSp>
          <p:nvGrpSpPr>
            <p:cNvPr id="17" name="Group 5"/>
            <p:cNvGrpSpPr>
              <a:grpSpLocks noChangeAspect="1"/>
            </p:cNvGrpSpPr>
            <p:nvPr/>
          </p:nvGrpSpPr>
          <p:grpSpPr bwMode="auto">
            <a:xfrm>
              <a:off x="3945899" y="3113630"/>
              <a:ext cx="372253" cy="328623"/>
              <a:chOff x="2669" y="1436"/>
              <a:chExt cx="421" cy="372"/>
            </a:xfrm>
            <a:solidFill>
              <a:srgbClr val="FFFFFF"/>
            </a:solidFill>
          </p:grpSpPr>
          <p:sp>
            <p:nvSpPr>
              <p:cNvPr id="18" name="Freeform 6"/>
              <p:cNvSpPr>
                <a:spLocks/>
              </p:cNvSpPr>
              <p:nvPr/>
            </p:nvSpPr>
            <p:spPr bwMode="auto">
              <a:xfrm>
                <a:off x="2669" y="1436"/>
                <a:ext cx="421" cy="206"/>
              </a:xfrm>
              <a:custGeom>
                <a:avLst/>
                <a:gdLst>
                  <a:gd name="T0" fmla="*/ 340 w 421"/>
                  <a:gd name="T1" fmla="*/ 114 h 206"/>
                  <a:gd name="T2" fmla="*/ 340 w 421"/>
                  <a:gd name="T3" fmla="*/ 45 h 206"/>
                  <a:gd name="T4" fmla="*/ 303 w 421"/>
                  <a:gd name="T5" fmla="*/ 45 h 206"/>
                  <a:gd name="T6" fmla="*/ 303 w 421"/>
                  <a:gd name="T7" fmla="*/ 81 h 206"/>
                  <a:gd name="T8" fmla="*/ 213 w 421"/>
                  <a:gd name="T9" fmla="*/ 0 h 206"/>
                  <a:gd name="T10" fmla="*/ 0 w 421"/>
                  <a:gd name="T11" fmla="*/ 185 h 206"/>
                  <a:gd name="T12" fmla="*/ 19 w 421"/>
                  <a:gd name="T13" fmla="*/ 206 h 206"/>
                  <a:gd name="T14" fmla="*/ 213 w 421"/>
                  <a:gd name="T15" fmla="*/ 38 h 206"/>
                  <a:gd name="T16" fmla="*/ 303 w 421"/>
                  <a:gd name="T17" fmla="*/ 118 h 206"/>
                  <a:gd name="T18" fmla="*/ 303 w 421"/>
                  <a:gd name="T19" fmla="*/ 118 h 206"/>
                  <a:gd name="T20" fmla="*/ 305 w 421"/>
                  <a:gd name="T21" fmla="*/ 118 h 206"/>
                  <a:gd name="T22" fmla="*/ 402 w 421"/>
                  <a:gd name="T23" fmla="*/ 206 h 206"/>
                  <a:gd name="T24" fmla="*/ 421 w 421"/>
                  <a:gd name="T25" fmla="*/ 185 h 206"/>
                  <a:gd name="T26" fmla="*/ 340 w 421"/>
                  <a:gd name="T27" fmla="*/ 11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1" h="206">
                    <a:moveTo>
                      <a:pt x="340" y="114"/>
                    </a:moveTo>
                    <a:lnTo>
                      <a:pt x="340" y="45"/>
                    </a:lnTo>
                    <a:lnTo>
                      <a:pt x="303" y="45"/>
                    </a:lnTo>
                    <a:lnTo>
                      <a:pt x="303" y="81"/>
                    </a:lnTo>
                    <a:lnTo>
                      <a:pt x="213" y="0"/>
                    </a:lnTo>
                    <a:lnTo>
                      <a:pt x="0" y="185"/>
                    </a:lnTo>
                    <a:lnTo>
                      <a:pt x="19" y="206"/>
                    </a:lnTo>
                    <a:lnTo>
                      <a:pt x="213" y="38"/>
                    </a:lnTo>
                    <a:lnTo>
                      <a:pt x="303" y="118"/>
                    </a:lnTo>
                    <a:lnTo>
                      <a:pt x="303" y="118"/>
                    </a:lnTo>
                    <a:lnTo>
                      <a:pt x="305" y="118"/>
                    </a:lnTo>
                    <a:lnTo>
                      <a:pt x="402" y="206"/>
                    </a:lnTo>
                    <a:lnTo>
                      <a:pt x="421" y="185"/>
                    </a:lnTo>
                    <a:lnTo>
                      <a:pt x="340" y="114"/>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sp>
            <p:nvSpPr>
              <p:cNvPr id="19" name="Freeform 7"/>
              <p:cNvSpPr>
                <a:spLocks/>
              </p:cNvSpPr>
              <p:nvPr/>
            </p:nvSpPr>
            <p:spPr bwMode="auto">
              <a:xfrm>
                <a:off x="2731" y="1500"/>
                <a:ext cx="297" cy="308"/>
              </a:xfrm>
              <a:custGeom>
                <a:avLst/>
                <a:gdLst>
                  <a:gd name="T0" fmla="*/ 0 w 297"/>
                  <a:gd name="T1" fmla="*/ 128 h 308"/>
                  <a:gd name="T2" fmla="*/ 0 w 297"/>
                  <a:gd name="T3" fmla="*/ 308 h 308"/>
                  <a:gd name="T4" fmla="*/ 120 w 297"/>
                  <a:gd name="T5" fmla="*/ 308 h 308"/>
                  <a:gd name="T6" fmla="*/ 120 w 297"/>
                  <a:gd name="T7" fmla="*/ 220 h 308"/>
                  <a:gd name="T8" fmla="*/ 177 w 297"/>
                  <a:gd name="T9" fmla="*/ 220 h 308"/>
                  <a:gd name="T10" fmla="*/ 177 w 297"/>
                  <a:gd name="T11" fmla="*/ 308 h 308"/>
                  <a:gd name="T12" fmla="*/ 297 w 297"/>
                  <a:gd name="T13" fmla="*/ 308 h 308"/>
                  <a:gd name="T14" fmla="*/ 297 w 297"/>
                  <a:gd name="T15" fmla="*/ 128 h 308"/>
                  <a:gd name="T16" fmla="*/ 151 w 297"/>
                  <a:gd name="T17" fmla="*/ 0 h 308"/>
                  <a:gd name="T18" fmla="*/ 0 w 297"/>
                  <a:gd name="T19" fmla="*/ 12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7" h="308">
                    <a:moveTo>
                      <a:pt x="0" y="128"/>
                    </a:moveTo>
                    <a:lnTo>
                      <a:pt x="0" y="308"/>
                    </a:lnTo>
                    <a:lnTo>
                      <a:pt x="120" y="308"/>
                    </a:lnTo>
                    <a:lnTo>
                      <a:pt x="120" y="220"/>
                    </a:lnTo>
                    <a:lnTo>
                      <a:pt x="177" y="220"/>
                    </a:lnTo>
                    <a:lnTo>
                      <a:pt x="177" y="308"/>
                    </a:lnTo>
                    <a:lnTo>
                      <a:pt x="297" y="308"/>
                    </a:lnTo>
                    <a:lnTo>
                      <a:pt x="297" y="128"/>
                    </a:lnTo>
                    <a:lnTo>
                      <a:pt x="151" y="0"/>
                    </a:lnTo>
                    <a:lnTo>
                      <a:pt x="0" y="12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grpSp>
      </p:grpSp>
      <p:grpSp>
        <p:nvGrpSpPr>
          <p:cNvPr id="20" name="Group 19"/>
          <p:cNvGrpSpPr/>
          <p:nvPr/>
        </p:nvGrpSpPr>
        <p:grpSpPr>
          <a:xfrm>
            <a:off x="4993397" y="3000384"/>
            <a:ext cx="1039194" cy="254414"/>
            <a:chOff x="4122554" y="2560280"/>
            <a:chExt cx="1151156" cy="281825"/>
          </a:xfrm>
        </p:grpSpPr>
        <p:sp>
          <p:nvSpPr>
            <p:cNvPr id="21" name="TextBox 20"/>
            <p:cNvSpPr txBox="1"/>
            <p:nvPr/>
          </p:nvSpPr>
          <p:spPr>
            <a:xfrm>
              <a:off x="4583259" y="2619153"/>
              <a:ext cx="690451" cy="140506"/>
            </a:xfrm>
            <a:prstGeom prst="rect">
              <a:avLst/>
            </a:prstGeom>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ローミング</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grpSp>
          <p:nvGrpSpPr>
            <p:cNvPr id="22" name="Group 5"/>
            <p:cNvGrpSpPr>
              <a:grpSpLocks noChangeAspect="1"/>
            </p:cNvGrpSpPr>
            <p:nvPr/>
          </p:nvGrpSpPr>
          <p:grpSpPr bwMode="auto">
            <a:xfrm>
              <a:off x="4122554" y="2560280"/>
              <a:ext cx="394522" cy="281825"/>
              <a:chOff x="4329" y="226"/>
              <a:chExt cx="1186" cy="848"/>
            </a:xfrm>
            <a:solidFill>
              <a:srgbClr val="FFFFFF"/>
            </a:solidFill>
          </p:grpSpPr>
          <p:sp>
            <p:nvSpPr>
              <p:cNvPr id="23" name="Freeform 6"/>
              <p:cNvSpPr>
                <a:spLocks/>
              </p:cNvSpPr>
              <p:nvPr/>
            </p:nvSpPr>
            <p:spPr bwMode="auto">
              <a:xfrm>
                <a:off x="4379" y="226"/>
                <a:ext cx="1090" cy="664"/>
              </a:xfrm>
              <a:custGeom>
                <a:avLst/>
                <a:gdLst>
                  <a:gd name="T0" fmla="*/ 21 w 284"/>
                  <a:gd name="T1" fmla="*/ 22 h 173"/>
                  <a:gd name="T2" fmla="*/ 262 w 284"/>
                  <a:gd name="T3" fmla="*/ 22 h 173"/>
                  <a:gd name="T4" fmla="*/ 262 w 284"/>
                  <a:gd name="T5" fmla="*/ 173 h 173"/>
                  <a:gd name="T6" fmla="*/ 284 w 284"/>
                  <a:gd name="T7" fmla="*/ 173 h 173"/>
                  <a:gd name="T8" fmla="*/ 284 w 284"/>
                  <a:gd name="T9" fmla="*/ 11 h 173"/>
                  <a:gd name="T10" fmla="*/ 273 w 284"/>
                  <a:gd name="T11" fmla="*/ 0 h 173"/>
                  <a:gd name="T12" fmla="*/ 10 w 284"/>
                  <a:gd name="T13" fmla="*/ 0 h 173"/>
                  <a:gd name="T14" fmla="*/ 0 w 284"/>
                  <a:gd name="T15" fmla="*/ 11 h 173"/>
                  <a:gd name="T16" fmla="*/ 0 w 284"/>
                  <a:gd name="T17" fmla="*/ 173 h 173"/>
                  <a:gd name="T18" fmla="*/ 21 w 284"/>
                  <a:gd name="T19" fmla="*/ 173 h 173"/>
                  <a:gd name="T20" fmla="*/ 21 w 284"/>
                  <a:gd name="T21" fmla="*/ 2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173">
                    <a:moveTo>
                      <a:pt x="21" y="22"/>
                    </a:moveTo>
                    <a:cubicBezTo>
                      <a:pt x="262" y="22"/>
                      <a:pt x="262" y="22"/>
                      <a:pt x="262" y="22"/>
                    </a:cubicBezTo>
                    <a:cubicBezTo>
                      <a:pt x="262" y="173"/>
                      <a:pt x="262" y="173"/>
                      <a:pt x="262" y="173"/>
                    </a:cubicBezTo>
                    <a:cubicBezTo>
                      <a:pt x="284" y="173"/>
                      <a:pt x="284" y="173"/>
                      <a:pt x="284" y="173"/>
                    </a:cubicBezTo>
                    <a:cubicBezTo>
                      <a:pt x="284" y="11"/>
                      <a:pt x="284" y="11"/>
                      <a:pt x="284" y="11"/>
                    </a:cubicBezTo>
                    <a:cubicBezTo>
                      <a:pt x="284" y="5"/>
                      <a:pt x="279" y="0"/>
                      <a:pt x="273" y="0"/>
                    </a:cubicBezTo>
                    <a:cubicBezTo>
                      <a:pt x="10" y="0"/>
                      <a:pt x="10" y="0"/>
                      <a:pt x="10" y="0"/>
                    </a:cubicBezTo>
                    <a:cubicBezTo>
                      <a:pt x="4" y="0"/>
                      <a:pt x="0" y="5"/>
                      <a:pt x="0" y="11"/>
                    </a:cubicBezTo>
                    <a:cubicBezTo>
                      <a:pt x="0" y="173"/>
                      <a:pt x="0" y="173"/>
                      <a:pt x="0" y="173"/>
                    </a:cubicBezTo>
                    <a:cubicBezTo>
                      <a:pt x="21" y="173"/>
                      <a:pt x="21" y="173"/>
                      <a:pt x="21" y="173"/>
                    </a:cubicBezTo>
                    <a:lnTo>
                      <a:pt x="21" y="22"/>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sp>
            <p:nvSpPr>
              <p:cNvPr id="24" name="Freeform 7"/>
              <p:cNvSpPr>
                <a:spLocks/>
              </p:cNvSpPr>
              <p:nvPr/>
            </p:nvSpPr>
            <p:spPr bwMode="auto">
              <a:xfrm>
                <a:off x="4329" y="959"/>
                <a:ext cx="1186" cy="115"/>
              </a:xfrm>
              <a:custGeom>
                <a:avLst/>
                <a:gdLst>
                  <a:gd name="T0" fmla="*/ 171 w 309"/>
                  <a:gd name="T1" fmla="*/ 0 h 30"/>
                  <a:gd name="T2" fmla="*/ 171 w 309"/>
                  <a:gd name="T3" fmla="*/ 4 h 30"/>
                  <a:gd name="T4" fmla="*/ 165 w 309"/>
                  <a:gd name="T5" fmla="*/ 10 h 30"/>
                  <a:gd name="T6" fmla="*/ 144 w 309"/>
                  <a:gd name="T7" fmla="*/ 10 h 30"/>
                  <a:gd name="T8" fmla="*/ 138 w 309"/>
                  <a:gd name="T9" fmla="*/ 4 h 30"/>
                  <a:gd name="T10" fmla="*/ 138 w 309"/>
                  <a:gd name="T11" fmla="*/ 0 h 30"/>
                  <a:gd name="T12" fmla="*/ 0 w 309"/>
                  <a:gd name="T13" fmla="*/ 0 h 30"/>
                  <a:gd name="T14" fmla="*/ 0 w 309"/>
                  <a:gd name="T15" fmla="*/ 19 h 30"/>
                  <a:gd name="T16" fmla="*/ 11 w 309"/>
                  <a:gd name="T17" fmla="*/ 30 h 30"/>
                  <a:gd name="T18" fmla="*/ 298 w 309"/>
                  <a:gd name="T19" fmla="*/ 30 h 30"/>
                  <a:gd name="T20" fmla="*/ 309 w 309"/>
                  <a:gd name="T21" fmla="*/ 19 h 30"/>
                  <a:gd name="T22" fmla="*/ 309 w 309"/>
                  <a:gd name="T23" fmla="*/ 0 h 30"/>
                  <a:gd name="T24" fmla="*/ 171 w 309"/>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30">
                    <a:moveTo>
                      <a:pt x="171" y="0"/>
                    </a:moveTo>
                    <a:cubicBezTo>
                      <a:pt x="171" y="4"/>
                      <a:pt x="171" y="4"/>
                      <a:pt x="171" y="4"/>
                    </a:cubicBezTo>
                    <a:cubicBezTo>
                      <a:pt x="171" y="7"/>
                      <a:pt x="169" y="10"/>
                      <a:pt x="165" y="10"/>
                    </a:cubicBezTo>
                    <a:cubicBezTo>
                      <a:pt x="144" y="10"/>
                      <a:pt x="144" y="10"/>
                      <a:pt x="144" y="10"/>
                    </a:cubicBezTo>
                    <a:cubicBezTo>
                      <a:pt x="141" y="10"/>
                      <a:pt x="138" y="7"/>
                      <a:pt x="138" y="4"/>
                    </a:cubicBezTo>
                    <a:cubicBezTo>
                      <a:pt x="138" y="0"/>
                      <a:pt x="138" y="0"/>
                      <a:pt x="138" y="0"/>
                    </a:cubicBezTo>
                    <a:cubicBezTo>
                      <a:pt x="0" y="0"/>
                      <a:pt x="0" y="0"/>
                      <a:pt x="0" y="0"/>
                    </a:cubicBezTo>
                    <a:cubicBezTo>
                      <a:pt x="0" y="19"/>
                      <a:pt x="0" y="19"/>
                      <a:pt x="0" y="19"/>
                    </a:cubicBezTo>
                    <a:cubicBezTo>
                      <a:pt x="0" y="25"/>
                      <a:pt x="5" y="30"/>
                      <a:pt x="11" y="30"/>
                    </a:cubicBezTo>
                    <a:cubicBezTo>
                      <a:pt x="298" y="30"/>
                      <a:pt x="298" y="30"/>
                      <a:pt x="298" y="30"/>
                    </a:cubicBezTo>
                    <a:cubicBezTo>
                      <a:pt x="304" y="30"/>
                      <a:pt x="309" y="25"/>
                      <a:pt x="309" y="19"/>
                    </a:cubicBezTo>
                    <a:cubicBezTo>
                      <a:pt x="309" y="0"/>
                      <a:pt x="309" y="0"/>
                      <a:pt x="309" y="0"/>
                    </a:cubicBezTo>
                    <a:lnTo>
                      <a:pt x="171" y="0"/>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grpSp>
      </p:grpSp>
      <p:grpSp>
        <p:nvGrpSpPr>
          <p:cNvPr id="25" name="Group 24"/>
          <p:cNvGrpSpPr/>
          <p:nvPr/>
        </p:nvGrpSpPr>
        <p:grpSpPr>
          <a:xfrm>
            <a:off x="5012579" y="2242093"/>
            <a:ext cx="741702" cy="334418"/>
            <a:chOff x="4287357" y="1880236"/>
            <a:chExt cx="821611" cy="370448"/>
          </a:xfrm>
        </p:grpSpPr>
        <p:sp>
          <p:nvSpPr>
            <p:cNvPr id="26" name="TextBox 25"/>
            <p:cNvSpPr txBox="1"/>
            <p:nvPr/>
          </p:nvSpPr>
          <p:spPr>
            <a:xfrm>
              <a:off x="4560579" y="1993767"/>
              <a:ext cx="548389" cy="140506"/>
            </a:xfrm>
            <a:prstGeom prst="rect">
              <a:avLst/>
            </a:prstGeom>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モバイル</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sp>
          <p:nvSpPr>
            <p:cNvPr id="27" name="Freeform 6"/>
            <p:cNvSpPr>
              <a:spLocks noEditPoints="1"/>
            </p:cNvSpPr>
            <p:nvPr/>
          </p:nvSpPr>
          <p:spPr bwMode="auto">
            <a:xfrm>
              <a:off x="4287357" y="1880236"/>
              <a:ext cx="208464" cy="370448"/>
            </a:xfrm>
            <a:custGeom>
              <a:avLst/>
              <a:gdLst>
                <a:gd name="T0" fmla="*/ 87 w 103"/>
                <a:gd name="T1" fmla="*/ 0 h 184"/>
                <a:gd name="T2" fmla="*/ 16 w 103"/>
                <a:gd name="T3" fmla="*/ 0 h 184"/>
                <a:gd name="T4" fmla="*/ 0 w 103"/>
                <a:gd name="T5" fmla="*/ 17 h 184"/>
                <a:gd name="T6" fmla="*/ 0 w 103"/>
                <a:gd name="T7" fmla="*/ 168 h 184"/>
                <a:gd name="T8" fmla="*/ 16 w 103"/>
                <a:gd name="T9" fmla="*/ 184 h 184"/>
                <a:gd name="T10" fmla="*/ 87 w 103"/>
                <a:gd name="T11" fmla="*/ 184 h 184"/>
                <a:gd name="T12" fmla="*/ 103 w 103"/>
                <a:gd name="T13" fmla="*/ 168 h 184"/>
                <a:gd name="T14" fmla="*/ 103 w 103"/>
                <a:gd name="T15" fmla="*/ 17 h 184"/>
                <a:gd name="T16" fmla="*/ 87 w 103"/>
                <a:gd name="T17" fmla="*/ 0 h 184"/>
                <a:gd name="T18" fmla="*/ 51 w 103"/>
                <a:gd name="T19" fmla="*/ 175 h 184"/>
                <a:gd name="T20" fmla="*/ 42 w 103"/>
                <a:gd name="T21" fmla="*/ 165 h 184"/>
                <a:gd name="T22" fmla="*/ 51 w 103"/>
                <a:gd name="T23" fmla="*/ 155 h 184"/>
                <a:gd name="T24" fmla="*/ 61 w 103"/>
                <a:gd name="T25" fmla="*/ 165 h 184"/>
                <a:gd name="T26" fmla="*/ 51 w 103"/>
                <a:gd name="T27" fmla="*/ 175 h 184"/>
                <a:gd name="T28" fmla="*/ 92 w 103"/>
                <a:gd name="T29" fmla="*/ 147 h 184"/>
                <a:gd name="T30" fmla="*/ 11 w 103"/>
                <a:gd name="T31" fmla="*/ 147 h 184"/>
                <a:gd name="T32" fmla="*/ 11 w 103"/>
                <a:gd name="T33" fmla="*/ 27 h 184"/>
                <a:gd name="T34" fmla="*/ 92 w 103"/>
                <a:gd name="T35" fmla="*/ 27 h 184"/>
                <a:gd name="T36" fmla="*/ 92 w 103"/>
                <a:gd name="T37" fmla="*/ 14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3" h="184">
                  <a:moveTo>
                    <a:pt x="87" y="0"/>
                  </a:moveTo>
                  <a:cubicBezTo>
                    <a:pt x="16" y="0"/>
                    <a:pt x="16" y="0"/>
                    <a:pt x="16" y="0"/>
                  </a:cubicBezTo>
                  <a:cubicBezTo>
                    <a:pt x="7" y="0"/>
                    <a:pt x="0" y="8"/>
                    <a:pt x="0" y="17"/>
                  </a:cubicBezTo>
                  <a:cubicBezTo>
                    <a:pt x="0" y="168"/>
                    <a:pt x="0" y="168"/>
                    <a:pt x="0" y="168"/>
                  </a:cubicBezTo>
                  <a:cubicBezTo>
                    <a:pt x="0" y="177"/>
                    <a:pt x="7" y="184"/>
                    <a:pt x="16" y="184"/>
                  </a:cubicBezTo>
                  <a:cubicBezTo>
                    <a:pt x="87" y="184"/>
                    <a:pt x="87" y="184"/>
                    <a:pt x="87" y="184"/>
                  </a:cubicBezTo>
                  <a:cubicBezTo>
                    <a:pt x="96" y="184"/>
                    <a:pt x="103" y="177"/>
                    <a:pt x="103" y="168"/>
                  </a:cubicBezTo>
                  <a:cubicBezTo>
                    <a:pt x="103" y="17"/>
                    <a:pt x="103" y="17"/>
                    <a:pt x="103" y="17"/>
                  </a:cubicBezTo>
                  <a:cubicBezTo>
                    <a:pt x="103" y="8"/>
                    <a:pt x="96" y="0"/>
                    <a:pt x="87" y="0"/>
                  </a:cubicBezTo>
                  <a:moveTo>
                    <a:pt x="51" y="175"/>
                  </a:moveTo>
                  <a:cubicBezTo>
                    <a:pt x="46" y="175"/>
                    <a:pt x="42" y="171"/>
                    <a:pt x="42" y="165"/>
                  </a:cubicBezTo>
                  <a:cubicBezTo>
                    <a:pt x="42" y="160"/>
                    <a:pt x="46" y="155"/>
                    <a:pt x="51" y="155"/>
                  </a:cubicBezTo>
                  <a:cubicBezTo>
                    <a:pt x="57" y="155"/>
                    <a:pt x="61" y="160"/>
                    <a:pt x="61" y="165"/>
                  </a:cubicBezTo>
                  <a:cubicBezTo>
                    <a:pt x="61" y="171"/>
                    <a:pt x="57" y="175"/>
                    <a:pt x="51" y="175"/>
                  </a:cubicBezTo>
                  <a:moveTo>
                    <a:pt x="92" y="147"/>
                  </a:moveTo>
                  <a:cubicBezTo>
                    <a:pt x="11" y="147"/>
                    <a:pt x="11" y="147"/>
                    <a:pt x="11" y="147"/>
                  </a:cubicBezTo>
                  <a:cubicBezTo>
                    <a:pt x="11" y="27"/>
                    <a:pt x="11" y="27"/>
                    <a:pt x="11" y="27"/>
                  </a:cubicBezTo>
                  <a:cubicBezTo>
                    <a:pt x="92" y="27"/>
                    <a:pt x="92" y="27"/>
                    <a:pt x="92" y="27"/>
                  </a:cubicBezTo>
                  <a:lnTo>
                    <a:pt x="92" y="147"/>
                  </a:lnTo>
                  <a:close/>
                </a:path>
              </a:pathLst>
            </a:custGeom>
            <a:solidFill>
              <a:srgbClr val="7F7F7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solidFill>
                  <a:srgbClr val="000000"/>
                </a:solidFill>
                <a:effectLst/>
                <a:uLnTx/>
                <a:uFillTx/>
                <a:cs typeface="新細明體"/>
              </a:endParaRPr>
            </a:p>
          </p:txBody>
        </p:sp>
      </p:grpSp>
      <p:grpSp>
        <p:nvGrpSpPr>
          <p:cNvPr id="28" name="Group 27"/>
          <p:cNvGrpSpPr/>
          <p:nvPr/>
        </p:nvGrpSpPr>
        <p:grpSpPr>
          <a:xfrm>
            <a:off x="5476355" y="3499351"/>
            <a:ext cx="437800" cy="480077"/>
            <a:chOff x="4842026" y="3268106"/>
            <a:chExt cx="484969" cy="531801"/>
          </a:xfrm>
        </p:grpSpPr>
        <p:sp>
          <p:nvSpPr>
            <p:cNvPr id="29" name="TextBox 28"/>
            <p:cNvSpPr txBox="1"/>
            <p:nvPr/>
          </p:nvSpPr>
          <p:spPr>
            <a:xfrm>
              <a:off x="4842026" y="3659401"/>
              <a:ext cx="484969" cy="140506"/>
            </a:xfrm>
            <a:prstGeom prst="rect">
              <a:avLst/>
            </a:prstGeom>
          </p:spPr>
          <p:txBody>
            <a:bodyPr wrap="square" lIns="0" tIns="0" rIns="0" bIns="0" rtlCol="0">
              <a:spAutoFit/>
            </a:bodyPr>
            <a:lstStyle/>
            <a:p>
              <a:pPr algn="ctr">
                <a:lnSpc>
                  <a:spcPct val="90000"/>
                </a:lnSpc>
                <a:spcAft>
                  <a:spcPts val="0"/>
                </a:spcAft>
              </a:pPr>
              <a:r>
                <a:rPr lang="ja-JP" altLang="en-US" sz="900" dirty="0" smtClean="0">
                  <a:solidFill>
                    <a:srgbClr val="000000"/>
                  </a:solidFill>
                  <a:latin typeface="ヒラギノ角ゴ Pro W3"/>
                  <a:ea typeface="ヒラギノ角ゴ Pro W3"/>
                  <a:cs typeface="ヒラギノ角ゴ Pro W3"/>
                </a:rPr>
                <a:t>工場</a:t>
              </a:r>
              <a:endParaRPr lang="en-US" sz="900" dirty="0" smtClean="0">
                <a:solidFill>
                  <a:srgbClr val="000000"/>
                </a:solidFill>
                <a:latin typeface="ヒラギノ角ゴ Pro W3"/>
                <a:ea typeface="ヒラギノ角ゴ Pro W3"/>
                <a:cs typeface="ヒラギノ角ゴ Pro W3"/>
              </a:endParaRPr>
            </a:p>
          </p:txBody>
        </p:sp>
        <p:pic>
          <p:nvPicPr>
            <p:cNvPr id="30" name="Picture 29" descr="Icon_Factory2 Gray.pdf"/>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896090" y="3268106"/>
              <a:ext cx="364846" cy="364508"/>
            </a:xfrm>
            <a:prstGeom prst="rect">
              <a:avLst/>
            </a:prstGeom>
          </p:spPr>
        </p:pic>
      </p:grpSp>
      <p:sp>
        <p:nvSpPr>
          <p:cNvPr id="31" name="Oval 30"/>
          <p:cNvSpPr/>
          <p:nvPr/>
        </p:nvSpPr>
        <p:spPr bwMode="auto">
          <a:xfrm>
            <a:off x="8315371" y="1615936"/>
            <a:ext cx="431711" cy="431312"/>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1</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2" name="Oval 31"/>
          <p:cNvSpPr/>
          <p:nvPr/>
        </p:nvSpPr>
        <p:spPr bwMode="auto">
          <a:xfrm>
            <a:off x="3923902" y="1963017"/>
            <a:ext cx="482244" cy="481798"/>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Franklin Gothic Medium"/>
                <a:cs typeface="新細明體"/>
              </a:rPr>
              <a:t>m</a:t>
            </a:r>
            <a:r>
              <a:rPr kumimoji="0" lang="en-US" sz="600" b="1" i="0" u="none" strike="noStrike" kern="0" cap="none" spc="0" normalizeH="0" baseline="0" noProof="0" dirty="0" smtClean="0">
                <a:ln>
                  <a:noFill/>
                </a:ln>
                <a:solidFill>
                  <a:srgbClr val="FFFFFF"/>
                </a:solidFill>
                <a:effectLst/>
                <a:uLnTx/>
                <a:uFillTx/>
                <a:latin typeface="Franklin Gothic Medium"/>
                <a:cs typeface="新細明體"/>
              </a:rPr>
              <a:t>obile</a:t>
            </a:r>
            <a:r>
              <a:rPr kumimoji="0" lang="en-US" sz="600" b="1" i="0" u="none" strike="noStrike" kern="0" cap="none" spc="0" normalizeH="0" baseline="0" noProof="0" dirty="0">
                <a:ln>
                  <a:noFill/>
                </a:ln>
                <a:solidFill>
                  <a:srgbClr val="FFFFFF"/>
                </a:solidFill>
                <a:effectLst/>
                <a:uLnTx/>
                <a:uFillTx/>
                <a:latin typeface="Franklin Gothic Medium"/>
                <a:cs typeface="新細明體"/>
              </a:rPr>
              <a:t/>
            </a:r>
            <a:br>
              <a:rPr kumimoji="0" lang="en-US" sz="600" b="1" i="0" u="none" strike="noStrike" kern="0" cap="none" spc="0" normalizeH="0" baseline="0" noProof="0" dirty="0">
                <a:ln>
                  <a:noFill/>
                </a:ln>
                <a:solidFill>
                  <a:srgbClr val="FFFFFF"/>
                </a:solidFill>
                <a:effectLst/>
                <a:uLnTx/>
                <a:uFillTx/>
                <a:latin typeface="Franklin Gothic Medium"/>
                <a:cs typeface="新細明體"/>
              </a:rPr>
            </a:br>
            <a:r>
              <a:rPr kumimoji="0" lang="en-US" sz="600" b="1" i="0" u="none" strike="noStrike" kern="0" cap="none" spc="0" normalizeH="0" baseline="0" noProof="0" dirty="0">
                <a:ln>
                  <a:noFill/>
                </a:ln>
                <a:solidFill>
                  <a:srgbClr val="FFFFFF"/>
                </a:solidFill>
                <a:effectLst/>
                <a:uLnTx/>
                <a:uFillTx/>
                <a:latin typeface="Franklin Gothic Medium"/>
                <a:cs typeface="新細明體"/>
              </a:rPr>
              <a:t>carrier</a:t>
            </a:r>
          </a:p>
        </p:txBody>
      </p:sp>
      <p:sp>
        <p:nvSpPr>
          <p:cNvPr id="33" name="Oval 32"/>
          <p:cNvSpPr/>
          <p:nvPr/>
        </p:nvSpPr>
        <p:spPr bwMode="auto">
          <a:xfrm>
            <a:off x="8525528" y="2521885"/>
            <a:ext cx="431711" cy="431312"/>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Franklin Gothic Medium"/>
                <a:cs typeface="新細明體"/>
              </a:rPr>
              <a:t>ISP </a:t>
            </a: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2</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4" name="Oval 33"/>
          <p:cNvSpPr/>
          <p:nvPr/>
        </p:nvSpPr>
        <p:spPr bwMode="auto">
          <a:xfrm>
            <a:off x="8207500" y="3549026"/>
            <a:ext cx="431711" cy="431312"/>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FFFFFF"/>
                </a:solidFill>
                <a:effectLst/>
                <a:uLnTx/>
                <a:uFillTx/>
                <a:latin typeface="Franklin Gothic Medium"/>
                <a:cs typeface="新細明體"/>
              </a:rPr>
              <a:t>ISP </a:t>
            </a: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3</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5" name="Oval 34"/>
          <p:cNvSpPr/>
          <p:nvPr/>
        </p:nvSpPr>
        <p:spPr bwMode="auto">
          <a:xfrm>
            <a:off x="4343422" y="1307417"/>
            <a:ext cx="353297" cy="352970"/>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6" name="Oval 35"/>
          <p:cNvSpPr/>
          <p:nvPr/>
        </p:nvSpPr>
        <p:spPr bwMode="auto">
          <a:xfrm>
            <a:off x="4102685" y="2544118"/>
            <a:ext cx="256483" cy="256246"/>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7" name="Oval 36"/>
          <p:cNvSpPr/>
          <p:nvPr/>
        </p:nvSpPr>
        <p:spPr bwMode="auto">
          <a:xfrm>
            <a:off x="4135645" y="3078054"/>
            <a:ext cx="353297" cy="352970"/>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8" name="Oval 37"/>
          <p:cNvSpPr/>
          <p:nvPr/>
        </p:nvSpPr>
        <p:spPr bwMode="auto">
          <a:xfrm>
            <a:off x="3827066" y="3378566"/>
            <a:ext cx="292153" cy="291883"/>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39" name="Oval 38"/>
          <p:cNvSpPr/>
          <p:nvPr/>
        </p:nvSpPr>
        <p:spPr bwMode="auto">
          <a:xfrm>
            <a:off x="8423888" y="2153453"/>
            <a:ext cx="256483" cy="256246"/>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0" name="Oval 39"/>
          <p:cNvSpPr/>
          <p:nvPr/>
        </p:nvSpPr>
        <p:spPr bwMode="auto">
          <a:xfrm>
            <a:off x="8309855" y="3124947"/>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1" name="Oval 40"/>
          <p:cNvSpPr/>
          <p:nvPr/>
        </p:nvSpPr>
        <p:spPr bwMode="auto">
          <a:xfrm>
            <a:off x="7916852" y="4031434"/>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2" name="Oval 41"/>
          <p:cNvSpPr/>
          <p:nvPr/>
        </p:nvSpPr>
        <p:spPr bwMode="auto">
          <a:xfrm>
            <a:off x="4008473" y="2885486"/>
            <a:ext cx="157960" cy="157814"/>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3" name="Oval 42"/>
          <p:cNvSpPr/>
          <p:nvPr/>
        </p:nvSpPr>
        <p:spPr bwMode="auto">
          <a:xfrm>
            <a:off x="8837197" y="2263353"/>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4" name="Oval 43"/>
          <p:cNvSpPr/>
          <p:nvPr/>
        </p:nvSpPr>
        <p:spPr bwMode="auto">
          <a:xfrm>
            <a:off x="8685163" y="3468310"/>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5" name="Oval 44"/>
          <p:cNvSpPr/>
          <p:nvPr/>
        </p:nvSpPr>
        <p:spPr bwMode="auto">
          <a:xfrm>
            <a:off x="8480433" y="1382309"/>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6" name="Oval 45"/>
          <p:cNvSpPr/>
          <p:nvPr/>
        </p:nvSpPr>
        <p:spPr bwMode="auto">
          <a:xfrm>
            <a:off x="8041911" y="1388341"/>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7" name="Oval 46"/>
          <p:cNvSpPr/>
          <p:nvPr/>
        </p:nvSpPr>
        <p:spPr bwMode="auto">
          <a:xfrm>
            <a:off x="4097926" y="3701947"/>
            <a:ext cx="482244" cy="481798"/>
          </a:xfrm>
          <a:prstGeom prst="ellipse">
            <a:avLst/>
          </a:prstGeom>
          <a:solidFill>
            <a:srgbClr val="000000"/>
          </a:solidFill>
          <a:ln w="114300" cap="flat" cmpd="sng" algn="ctr">
            <a:solidFill>
              <a:srgbClr val="7CBA2B">
                <a:alpha val="55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8" name="Oval 47"/>
          <p:cNvSpPr/>
          <p:nvPr/>
        </p:nvSpPr>
        <p:spPr bwMode="auto">
          <a:xfrm>
            <a:off x="4320109" y="1777086"/>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49" name="Oval 48"/>
          <p:cNvSpPr/>
          <p:nvPr/>
        </p:nvSpPr>
        <p:spPr bwMode="auto">
          <a:xfrm>
            <a:off x="3788204" y="1881185"/>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0" name="Oval 49"/>
          <p:cNvSpPr/>
          <p:nvPr/>
        </p:nvSpPr>
        <p:spPr bwMode="auto">
          <a:xfrm>
            <a:off x="4759860" y="114105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1" name="Oval 50"/>
          <p:cNvSpPr/>
          <p:nvPr/>
        </p:nvSpPr>
        <p:spPr bwMode="auto">
          <a:xfrm>
            <a:off x="4605147" y="4149287"/>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2" name="Oval 51"/>
          <p:cNvSpPr/>
          <p:nvPr/>
        </p:nvSpPr>
        <p:spPr bwMode="auto">
          <a:xfrm>
            <a:off x="8214087" y="4129361"/>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3" name="Oval 52"/>
          <p:cNvSpPr/>
          <p:nvPr/>
        </p:nvSpPr>
        <p:spPr bwMode="auto">
          <a:xfrm>
            <a:off x="7882810" y="4360769"/>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4" name="Oval 53"/>
          <p:cNvSpPr/>
          <p:nvPr/>
        </p:nvSpPr>
        <p:spPr bwMode="auto">
          <a:xfrm>
            <a:off x="8224465" y="1091288"/>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5" name="Oval 54"/>
          <p:cNvSpPr/>
          <p:nvPr/>
        </p:nvSpPr>
        <p:spPr bwMode="auto">
          <a:xfrm>
            <a:off x="3758531" y="2440141"/>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6" name="Oval 55"/>
          <p:cNvSpPr/>
          <p:nvPr/>
        </p:nvSpPr>
        <p:spPr bwMode="auto">
          <a:xfrm>
            <a:off x="4178170" y="4298560"/>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7" name="Oval 56"/>
          <p:cNvSpPr/>
          <p:nvPr/>
        </p:nvSpPr>
        <p:spPr bwMode="auto">
          <a:xfrm>
            <a:off x="4442809" y="352498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8" name="Oval 57"/>
          <p:cNvSpPr/>
          <p:nvPr/>
        </p:nvSpPr>
        <p:spPr bwMode="auto">
          <a:xfrm>
            <a:off x="3895808" y="379475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59" name="Oval 58"/>
          <p:cNvSpPr/>
          <p:nvPr/>
        </p:nvSpPr>
        <p:spPr bwMode="auto">
          <a:xfrm>
            <a:off x="8316769" y="251334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cxnSp>
        <p:nvCxnSpPr>
          <p:cNvPr id="60" name="Straight Connector 59"/>
          <p:cNvCxnSpPr>
            <a:stCxn id="35" idx="6"/>
          </p:cNvCxnSpPr>
          <p:nvPr/>
        </p:nvCxnSpPr>
        <p:spPr bwMode="auto">
          <a:xfrm>
            <a:off x="4696693" y="1483903"/>
            <a:ext cx="816764" cy="179187"/>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a:stCxn id="32" idx="6"/>
          </p:cNvCxnSpPr>
          <p:nvPr/>
        </p:nvCxnSpPr>
        <p:spPr bwMode="auto">
          <a:xfrm>
            <a:off x="4406146" y="2203917"/>
            <a:ext cx="560310" cy="193535"/>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2" name="Straight Connector 61"/>
          <p:cNvCxnSpPr>
            <a:stCxn id="37" idx="6"/>
          </p:cNvCxnSpPr>
          <p:nvPr/>
        </p:nvCxnSpPr>
        <p:spPr bwMode="auto">
          <a:xfrm flipV="1">
            <a:off x="4488916" y="3124333"/>
            <a:ext cx="470048" cy="130207"/>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3" name="Straight Connector 62"/>
          <p:cNvCxnSpPr>
            <a:stCxn id="47" idx="6"/>
          </p:cNvCxnSpPr>
          <p:nvPr/>
        </p:nvCxnSpPr>
        <p:spPr bwMode="auto">
          <a:xfrm flipV="1">
            <a:off x="4580170" y="3701342"/>
            <a:ext cx="903314" cy="241504"/>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4" name="Oval 63"/>
          <p:cNvSpPr/>
          <p:nvPr/>
        </p:nvSpPr>
        <p:spPr bwMode="auto">
          <a:xfrm>
            <a:off x="3708783" y="2787540"/>
            <a:ext cx="190243" cy="190067"/>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65" name="Oval 64"/>
          <p:cNvSpPr/>
          <p:nvPr/>
        </p:nvSpPr>
        <p:spPr bwMode="auto">
          <a:xfrm>
            <a:off x="3846057" y="3130511"/>
            <a:ext cx="108236" cy="108135"/>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cxnSp>
        <p:nvCxnSpPr>
          <p:cNvPr id="66" name="Straight Connector 65"/>
          <p:cNvCxnSpPr>
            <a:endCxn id="34" idx="2"/>
          </p:cNvCxnSpPr>
          <p:nvPr/>
        </p:nvCxnSpPr>
        <p:spPr bwMode="auto">
          <a:xfrm>
            <a:off x="7349280" y="3648888"/>
            <a:ext cx="858194" cy="115782"/>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7" name="Straight Connector 66"/>
          <p:cNvCxnSpPr>
            <a:endCxn id="33" idx="2"/>
          </p:cNvCxnSpPr>
          <p:nvPr/>
        </p:nvCxnSpPr>
        <p:spPr bwMode="auto">
          <a:xfrm flipV="1">
            <a:off x="7641531" y="2737542"/>
            <a:ext cx="883989" cy="64579"/>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8" name="Straight Connector 67"/>
          <p:cNvCxnSpPr>
            <a:endCxn id="31" idx="2"/>
          </p:cNvCxnSpPr>
          <p:nvPr/>
        </p:nvCxnSpPr>
        <p:spPr bwMode="auto">
          <a:xfrm flipV="1">
            <a:off x="7341800" y="1831580"/>
            <a:ext cx="973559" cy="168710"/>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69" name="Oval 68"/>
          <p:cNvSpPr/>
          <p:nvPr/>
        </p:nvSpPr>
        <p:spPr bwMode="auto">
          <a:xfrm>
            <a:off x="8696962" y="3017314"/>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70" name="Oval 69"/>
          <p:cNvSpPr/>
          <p:nvPr/>
        </p:nvSpPr>
        <p:spPr bwMode="auto">
          <a:xfrm>
            <a:off x="3919887" y="1452669"/>
            <a:ext cx="353297" cy="352970"/>
          </a:xfrm>
          <a:prstGeom prst="ellipse">
            <a:avLst/>
          </a:prstGeom>
          <a:solidFill>
            <a:srgbClr val="FFFFFF">
              <a:lumMod val="85000"/>
              <a:alpha val="32941"/>
            </a:srgbClr>
          </a:solidFill>
          <a:ln w="38100" cap="flat" cmpd="sng" algn="ctr">
            <a:solidFill>
              <a:srgbClr val="7CBA2B">
                <a:alpha val="33000"/>
              </a:srgbClr>
            </a:solid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Franklin Gothic Medium"/>
              <a:cs typeface="新細明體"/>
            </a:endParaRPr>
          </a:p>
        </p:txBody>
      </p:sp>
      <p:cxnSp>
        <p:nvCxnSpPr>
          <p:cNvPr id="71" name="Straight Connector 70"/>
          <p:cNvCxnSpPr>
            <a:endCxn id="33" idx="1"/>
          </p:cNvCxnSpPr>
          <p:nvPr/>
        </p:nvCxnSpPr>
        <p:spPr bwMode="auto">
          <a:xfrm>
            <a:off x="7364266" y="2097707"/>
            <a:ext cx="1224458" cy="487329"/>
          </a:xfrm>
          <a:prstGeom prst="line">
            <a:avLst/>
          </a:prstGeom>
          <a:solidFill>
            <a:srgbClr val="F37821"/>
          </a:solidFill>
          <a:ln w="19050" cap="rnd"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2" name="Round Same Side Corner Rectangle 71"/>
          <p:cNvSpPr/>
          <p:nvPr/>
        </p:nvSpPr>
        <p:spPr bwMode="auto">
          <a:xfrm rot="5400000">
            <a:off x="-339976" y="1594615"/>
            <a:ext cx="3026911" cy="2346959"/>
          </a:xfrm>
          <a:prstGeom prst="round2SameRect">
            <a:avLst>
              <a:gd name="adj1" fmla="val 3706"/>
              <a:gd name="adj2" fmla="val 0"/>
            </a:avLst>
          </a:prstGeom>
          <a:solidFill>
            <a:srgbClr val="4E4E6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grpSp>
        <p:nvGrpSpPr>
          <p:cNvPr id="74" name="Group 73"/>
          <p:cNvGrpSpPr/>
          <p:nvPr/>
        </p:nvGrpSpPr>
        <p:grpSpPr>
          <a:xfrm>
            <a:off x="441960" y="2442234"/>
            <a:ext cx="1888232" cy="1151078"/>
            <a:chOff x="489200" y="2444496"/>
            <a:chExt cx="1840992" cy="1152144"/>
          </a:xfrm>
        </p:grpSpPr>
        <p:cxnSp>
          <p:nvCxnSpPr>
            <p:cNvPr id="75" name="Straight Connector 74"/>
            <p:cNvCxnSpPr/>
            <p:nvPr/>
          </p:nvCxnSpPr>
          <p:spPr bwMode="auto">
            <a:xfrm flipH="1">
              <a:off x="489200" y="2444496"/>
              <a:ext cx="1840992" cy="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6" name="Straight Connector 75"/>
            <p:cNvCxnSpPr/>
            <p:nvPr/>
          </p:nvCxnSpPr>
          <p:spPr bwMode="auto">
            <a:xfrm flipH="1">
              <a:off x="489200" y="3023616"/>
              <a:ext cx="1840992" cy="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7" name="Straight Connector 76"/>
            <p:cNvCxnSpPr/>
            <p:nvPr/>
          </p:nvCxnSpPr>
          <p:spPr bwMode="auto">
            <a:xfrm flipH="1">
              <a:off x="489200" y="3596640"/>
              <a:ext cx="1840992" cy="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79" name="Rounded Rectangle 78"/>
          <p:cNvSpPr/>
          <p:nvPr/>
        </p:nvSpPr>
        <p:spPr bwMode="auto">
          <a:xfrm>
            <a:off x="5459744" y="4394465"/>
            <a:ext cx="1814877" cy="617536"/>
          </a:xfrm>
          <a:prstGeom prst="roundRect">
            <a:avLst>
              <a:gd name="adj" fmla="val 8396"/>
            </a:avLst>
          </a:prstGeom>
          <a:solidFill>
            <a:srgbClr val="FFFFFF"/>
          </a:solidFill>
          <a:ln w="3175" cap="rnd" cmpd="sng" algn="ctr">
            <a:solidFill>
              <a:srgbClr val="0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0" name="Oval 79"/>
          <p:cNvSpPr>
            <a:spLocks noChangeAspect="1"/>
          </p:cNvSpPr>
          <p:nvPr/>
        </p:nvSpPr>
        <p:spPr bwMode="auto">
          <a:xfrm>
            <a:off x="6061449" y="4747075"/>
            <a:ext cx="176944" cy="176944"/>
          </a:xfrm>
          <a:prstGeom prst="ellipse">
            <a:avLst/>
          </a:prstGeom>
          <a:solidFill>
            <a:srgbClr val="7CBA2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4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1" name="TextBox 80"/>
          <p:cNvSpPr txBox="1"/>
          <p:nvPr/>
        </p:nvSpPr>
        <p:spPr>
          <a:xfrm>
            <a:off x="6336786" y="4447926"/>
            <a:ext cx="934311" cy="243790"/>
          </a:xfrm>
          <a:prstGeom prst="rect">
            <a:avLst/>
          </a:prstGeom>
        </p:spPr>
        <p:txBody>
          <a:bodyPr wrap="square" lIns="0" tIns="0" rIns="0" bIns="0"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5E81D3"/>
                </a:solidFill>
                <a:effectLst/>
                <a:uLnTx/>
                <a:uFillTx/>
                <a:latin typeface="Franklin Gothic Book"/>
                <a:cs typeface="Trade Gothic LT Std"/>
              </a:rPr>
              <a:t>Authoritative DNS for Intranet Domains </a:t>
            </a:r>
            <a:endParaRPr kumimoji="0" lang="en-US" sz="800" b="0" i="0" u="none" strike="noStrike" kern="0" cap="none" spc="0" normalizeH="0" baseline="0" noProof="0" dirty="0">
              <a:ln>
                <a:noFill/>
              </a:ln>
              <a:solidFill>
                <a:srgbClr val="5E81D3"/>
              </a:solidFill>
              <a:effectLst/>
              <a:uLnTx/>
              <a:uFillTx/>
              <a:latin typeface="Franklin Gothic Book"/>
              <a:cs typeface="Trade Gothic LT Std"/>
            </a:endParaRPr>
          </a:p>
        </p:txBody>
      </p:sp>
      <p:sp>
        <p:nvSpPr>
          <p:cNvPr id="82" name="TextBox 81"/>
          <p:cNvSpPr txBox="1"/>
          <p:nvPr/>
        </p:nvSpPr>
        <p:spPr>
          <a:xfrm>
            <a:off x="6336770" y="4709757"/>
            <a:ext cx="959332" cy="266729"/>
          </a:xfrm>
          <a:prstGeom prst="rect">
            <a:avLst/>
          </a:prstGeom>
        </p:spPr>
        <p:txBody>
          <a:bodyPr wrap="square" lIns="0" tIns="0" rIns="0" bIns="0"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CBA2B"/>
                </a:solidFill>
                <a:effectLst/>
                <a:uLnTx/>
                <a:uFillTx/>
                <a:latin typeface="Franklin Gothic Book"/>
                <a:cs typeface="Trade Gothic LT Std"/>
              </a:rPr>
              <a:t>Recursive DNS for Internet Domains </a:t>
            </a:r>
            <a:endParaRPr kumimoji="0" lang="en-US" sz="800" b="0" i="0" u="none" strike="noStrike" kern="0" cap="none" spc="0" normalizeH="0" baseline="0" noProof="0" dirty="0">
              <a:ln>
                <a:noFill/>
              </a:ln>
              <a:solidFill>
                <a:srgbClr val="7CBA2B"/>
              </a:solidFill>
              <a:effectLst/>
              <a:uLnTx/>
              <a:uFillTx/>
              <a:latin typeface="Franklin Gothic Book"/>
              <a:cs typeface="Trade Gothic LT Std"/>
            </a:endParaRPr>
          </a:p>
        </p:txBody>
      </p:sp>
      <p:sp>
        <p:nvSpPr>
          <p:cNvPr id="83" name="Oval 82"/>
          <p:cNvSpPr>
            <a:spLocks noChangeAspect="1"/>
          </p:cNvSpPr>
          <p:nvPr/>
        </p:nvSpPr>
        <p:spPr bwMode="auto">
          <a:xfrm>
            <a:off x="5548659" y="4457464"/>
            <a:ext cx="689734" cy="177317"/>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4" name="Oval 83"/>
          <p:cNvSpPr>
            <a:spLocks noChangeAspect="1"/>
          </p:cNvSpPr>
          <p:nvPr/>
        </p:nvSpPr>
        <p:spPr bwMode="auto">
          <a:xfrm>
            <a:off x="5547609" y="4747075"/>
            <a:ext cx="176944" cy="176944"/>
          </a:xfrm>
          <a:prstGeom prst="ellipse">
            <a:avLst/>
          </a:prstGeom>
          <a:solidFill>
            <a:srgbClr val="7CBA2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4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5" name="Oval 84"/>
          <p:cNvSpPr>
            <a:spLocks noChangeAspect="1"/>
          </p:cNvSpPr>
          <p:nvPr/>
        </p:nvSpPr>
        <p:spPr bwMode="auto">
          <a:xfrm>
            <a:off x="5813166" y="4747075"/>
            <a:ext cx="176944" cy="176944"/>
          </a:xfrm>
          <a:prstGeom prst="ellipse">
            <a:avLst/>
          </a:prstGeom>
          <a:solidFill>
            <a:srgbClr val="7CBA2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4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6" name="Round Same Side Corner Rectangle 85"/>
          <p:cNvSpPr/>
          <p:nvPr/>
        </p:nvSpPr>
        <p:spPr bwMode="auto">
          <a:xfrm rot="5400000">
            <a:off x="-173352" y="1422538"/>
            <a:ext cx="2693664" cy="2346959"/>
          </a:xfrm>
          <a:prstGeom prst="round2SameRect">
            <a:avLst>
              <a:gd name="adj1" fmla="val 3706"/>
              <a:gd name="adj2" fmla="val 0"/>
            </a:avLst>
          </a:prstGeom>
          <a:solidFill>
            <a:srgbClr val="4E4E6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7" name="TextBox 86"/>
          <p:cNvSpPr txBox="1"/>
          <p:nvPr/>
        </p:nvSpPr>
        <p:spPr>
          <a:xfrm>
            <a:off x="1" y="1521230"/>
            <a:ext cx="2330192" cy="2529525"/>
          </a:xfrm>
          <a:prstGeom prst="rect">
            <a:avLst/>
          </a:prstGeom>
        </p:spPr>
        <p:txBody>
          <a:bodyPr wrap="square" rtlCol="0">
            <a:noAutofit/>
          </a:bodyPr>
          <a:lstStyle/>
          <a:p>
            <a:pPr>
              <a:lnSpc>
                <a:spcPct val="90000"/>
              </a:lnSpc>
              <a:spcAft>
                <a:spcPts val="1200"/>
              </a:spcAft>
            </a:pPr>
            <a:r>
              <a:rPr lang="en-US" dirty="0" smtClean="0">
                <a:solidFill>
                  <a:srgbClr val="F37821"/>
                </a:solidFill>
                <a:latin typeface="Franklin Gothic Medium"/>
                <a:cs typeface="新細明體"/>
              </a:rPr>
              <a:t>BENEFITS</a:t>
            </a:r>
            <a:endParaRPr lang="en-US" sz="1400" dirty="0" smtClean="0">
              <a:solidFill>
                <a:srgbClr val="F37821"/>
              </a:solidFill>
              <a:latin typeface="Franklin Gothic Medium"/>
              <a:cs typeface="新細明體"/>
            </a:endParaRPr>
          </a:p>
          <a:p>
            <a:pPr>
              <a:lnSpc>
                <a:spcPct val="90000"/>
              </a:lnSpc>
              <a:spcAft>
                <a:spcPts val="1500"/>
              </a:spcAft>
              <a:buClr>
                <a:srgbClr val="5E81D3">
                  <a:lumMod val="60000"/>
                  <a:lumOff val="40000"/>
                </a:srgbClr>
              </a:buClr>
            </a:pPr>
            <a:r>
              <a:rPr lang="ja-JP" altLang="en-US" sz="1400" dirty="0">
                <a:solidFill>
                  <a:srgbClr val="FFFFFF"/>
                </a:solidFill>
                <a:latin typeface="ヒラギノ角ゴ Pro W3"/>
                <a:ea typeface="ヒラギノ角ゴ Pro W3"/>
                <a:cs typeface="ヒラギノ角ゴ Pro W3"/>
              </a:rPr>
              <a:t>グローバルインターネット接続の</a:t>
            </a:r>
            <a:r>
              <a:rPr lang="ja-JP" altLang="en-US" sz="1400" dirty="0" smtClean="0">
                <a:solidFill>
                  <a:srgbClr val="FFFFFF"/>
                </a:solidFill>
                <a:latin typeface="ヒラギノ角ゴ Pro W3"/>
                <a:ea typeface="ヒラギノ角ゴ Pro W3"/>
                <a:cs typeface="ヒラギノ角ゴ Pro W3"/>
              </a:rPr>
              <a:t>可視性</a:t>
            </a:r>
            <a:r>
              <a:rPr lang="en-US" altLang="ja-JP" sz="1400" dirty="0" smtClean="0">
                <a:solidFill>
                  <a:srgbClr val="FFFFFF"/>
                </a:solidFill>
                <a:latin typeface="ヒラギノ角ゴ Pro W3"/>
                <a:ea typeface="ヒラギノ角ゴ Pro W3"/>
                <a:cs typeface="ヒラギノ角ゴ Pro W3"/>
              </a:rPr>
              <a:t/>
            </a:r>
            <a:br>
              <a:rPr lang="en-US" altLang="ja-JP" sz="1400" dirty="0" smtClean="0">
                <a:solidFill>
                  <a:srgbClr val="FFFFFF"/>
                </a:solidFill>
                <a:latin typeface="ヒラギノ角ゴ Pro W3"/>
                <a:ea typeface="ヒラギノ角ゴ Pro W3"/>
                <a:cs typeface="ヒラギノ角ゴ Pro W3"/>
              </a:rPr>
            </a:br>
            <a:r>
              <a:rPr lang="en-US" altLang="ja-JP" sz="800" dirty="0" smtClean="0">
                <a:solidFill>
                  <a:srgbClr val="FFFFFF"/>
                </a:solidFill>
                <a:latin typeface="ヒラギノ角ゴ Pro W3"/>
                <a:ea typeface="ヒラギノ角ゴ Pro W3"/>
                <a:cs typeface="ヒラギノ角ゴ Pro W3"/>
              </a:rPr>
              <a:t/>
            </a:r>
            <a:br>
              <a:rPr lang="en-US" altLang="ja-JP" sz="800" dirty="0" smtClean="0">
                <a:solidFill>
                  <a:srgbClr val="FFFFFF"/>
                </a:solidFill>
                <a:latin typeface="ヒラギノ角ゴ Pro W3"/>
                <a:ea typeface="ヒラギノ角ゴ Pro W3"/>
                <a:cs typeface="ヒラギノ角ゴ Pro W3"/>
              </a:rPr>
            </a:br>
            <a:r>
              <a:rPr lang="ja-JP" altLang="en-US" sz="1400" dirty="0" smtClean="0">
                <a:solidFill>
                  <a:srgbClr val="FFFFFF"/>
                </a:solidFill>
                <a:latin typeface="ヒラギノ角ゴ Pro W3"/>
                <a:ea typeface="ヒラギノ角ゴ Pro W3"/>
                <a:cs typeface="ヒラギノ角ゴ Pro W3"/>
              </a:rPr>
              <a:t>レイテンシー</a:t>
            </a:r>
            <a:r>
              <a:rPr lang="ja-JP" altLang="en-US" sz="1400" dirty="0">
                <a:solidFill>
                  <a:srgbClr val="FFFFFF"/>
                </a:solidFill>
                <a:latin typeface="ヒラギノ角ゴ Pro W3"/>
                <a:ea typeface="ヒラギノ角ゴ Pro W3"/>
                <a:cs typeface="ヒラギノ角ゴ Pro W3"/>
              </a:rPr>
              <a:t>の無い</a:t>
            </a:r>
            <a:r>
              <a:rPr lang="ja-JP" altLang="en-US" sz="1400" dirty="0" smtClean="0">
                <a:solidFill>
                  <a:srgbClr val="FFFFFF"/>
                </a:solidFill>
                <a:latin typeface="ヒラギノ角ゴ Pro W3"/>
                <a:ea typeface="ヒラギノ角ゴ Pro W3"/>
                <a:cs typeface="ヒラギノ角ゴ Pro W3"/>
              </a:rPr>
              <a:t>ネットワークセキュリティ</a:t>
            </a:r>
            <a:r>
              <a:rPr lang="en-US" altLang="ja-JP" sz="1400" dirty="0" smtClean="0">
                <a:solidFill>
                  <a:srgbClr val="FFFFFF"/>
                </a:solidFill>
                <a:latin typeface="ヒラギノ角ゴ Pro W3"/>
                <a:ea typeface="ヒラギノ角ゴ Pro W3"/>
                <a:cs typeface="ヒラギノ角ゴ Pro W3"/>
              </a:rPr>
              <a:t/>
            </a:r>
            <a:br>
              <a:rPr lang="en-US" altLang="ja-JP" sz="1400" dirty="0" smtClean="0">
                <a:solidFill>
                  <a:srgbClr val="FFFFFF"/>
                </a:solidFill>
                <a:latin typeface="ヒラギノ角ゴ Pro W3"/>
                <a:ea typeface="ヒラギノ角ゴ Pro W3"/>
                <a:cs typeface="ヒラギノ角ゴ Pro W3"/>
              </a:rPr>
            </a:br>
            <a:r>
              <a:rPr lang="en-US" altLang="ja-JP" sz="800" dirty="0" smtClean="0">
                <a:solidFill>
                  <a:srgbClr val="FFFFFF"/>
                </a:solidFill>
                <a:latin typeface="ヒラギノ角ゴ Pro W3"/>
                <a:ea typeface="ヒラギノ角ゴ Pro W3"/>
                <a:cs typeface="ヒラギノ角ゴ Pro W3"/>
              </a:rPr>
              <a:t/>
            </a:r>
            <a:br>
              <a:rPr lang="en-US" altLang="ja-JP" sz="800" dirty="0" smtClean="0">
                <a:solidFill>
                  <a:srgbClr val="FFFFFF"/>
                </a:solidFill>
                <a:latin typeface="ヒラギノ角ゴ Pro W3"/>
                <a:ea typeface="ヒラギノ角ゴ Pro W3"/>
                <a:cs typeface="ヒラギノ角ゴ Pro W3"/>
              </a:rPr>
            </a:br>
            <a:r>
              <a:rPr lang="ja-JP" altLang="en-US" sz="1400" dirty="0" smtClean="0">
                <a:solidFill>
                  <a:srgbClr val="FFFFFF"/>
                </a:solidFill>
                <a:latin typeface="ヒラギノ角ゴ Pro W3"/>
                <a:ea typeface="ヒラギノ角ゴ Pro W3"/>
                <a:cs typeface="ヒラギノ角ゴ Pro W3"/>
              </a:rPr>
              <a:t>一貫</a:t>
            </a:r>
            <a:r>
              <a:rPr lang="ja-JP" altLang="en-US" sz="1400" dirty="0">
                <a:solidFill>
                  <a:srgbClr val="FFFFFF"/>
                </a:solidFill>
                <a:latin typeface="ヒラギノ角ゴ Pro W3"/>
                <a:ea typeface="ヒラギノ角ゴ Pro W3"/>
                <a:cs typeface="ヒラギノ角ゴ Pro W3"/>
              </a:rPr>
              <a:t>したポリシーの</a:t>
            </a:r>
            <a:r>
              <a:rPr lang="ja-JP" altLang="en-US" sz="1400" dirty="0" smtClean="0">
                <a:solidFill>
                  <a:srgbClr val="FFFFFF"/>
                </a:solidFill>
                <a:latin typeface="ヒラギノ角ゴ Pro W3"/>
                <a:ea typeface="ヒラギノ角ゴ Pro W3"/>
                <a:cs typeface="ヒラギノ角ゴ Pro W3"/>
              </a:rPr>
              <a:t>実行</a:t>
            </a:r>
            <a:r>
              <a:rPr lang="en-US" altLang="ja-JP" sz="1400" dirty="0" smtClean="0">
                <a:solidFill>
                  <a:srgbClr val="FFFFFF"/>
                </a:solidFill>
                <a:latin typeface="ヒラギノ角ゴ Pro W3"/>
                <a:ea typeface="ヒラギノ角ゴ Pro W3"/>
                <a:cs typeface="ヒラギノ角ゴ Pro W3"/>
              </a:rPr>
              <a:t/>
            </a:r>
            <a:br>
              <a:rPr lang="en-US" altLang="ja-JP" sz="1400" dirty="0" smtClean="0">
                <a:solidFill>
                  <a:srgbClr val="FFFFFF"/>
                </a:solidFill>
                <a:latin typeface="ヒラギノ角ゴ Pro W3"/>
                <a:ea typeface="ヒラギノ角ゴ Pro W3"/>
                <a:cs typeface="ヒラギノ角ゴ Pro W3"/>
              </a:rPr>
            </a:br>
            <a:r>
              <a:rPr lang="en-US" altLang="ja-JP" sz="800" dirty="0" smtClean="0">
                <a:solidFill>
                  <a:srgbClr val="FFFFFF"/>
                </a:solidFill>
                <a:latin typeface="ヒラギノ角ゴ Pro W3"/>
                <a:ea typeface="ヒラギノ角ゴ Pro W3"/>
                <a:cs typeface="ヒラギノ角ゴ Pro W3"/>
              </a:rPr>
              <a:t/>
            </a:r>
            <a:br>
              <a:rPr lang="en-US" altLang="ja-JP" sz="800" dirty="0" smtClean="0">
                <a:solidFill>
                  <a:srgbClr val="FFFFFF"/>
                </a:solidFill>
                <a:latin typeface="ヒラギノ角ゴ Pro W3"/>
                <a:ea typeface="ヒラギノ角ゴ Pro W3"/>
                <a:cs typeface="ヒラギノ角ゴ Pro W3"/>
              </a:rPr>
            </a:br>
            <a:r>
              <a:rPr lang="ja-JP" altLang="en-US" sz="1400" dirty="0" smtClean="0">
                <a:solidFill>
                  <a:srgbClr val="FFFFFF"/>
                </a:solidFill>
                <a:latin typeface="ヒラギノ角ゴ Pro W3"/>
                <a:ea typeface="ヒラギノ角ゴ Pro W3"/>
                <a:cs typeface="ヒラギノ角ゴ Pro W3"/>
              </a:rPr>
              <a:t>インターネット</a:t>
            </a:r>
            <a:r>
              <a:rPr lang="ja-JP" altLang="en-US" sz="1400" dirty="0">
                <a:solidFill>
                  <a:srgbClr val="FFFFFF"/>
                </a:solidFill>
                <a:latin typeface="ヒラギノ角ゴ Pro W3"/>
                <a:ea typeface="ヒラギノ角ゴ Pro W3"/>
                <a:cs typeface="ヒラギノ角ゴ Pro W3"/>
              </a:rPr>
              <a:t>を横断する</a:t>
            </a:r>
            <a:r>
              <a:rPr lang="ja-JP" altLang="en-US" sz="1400" dirty="0" smtClean="0">
                <a:solidFill>
                  <a:srgbClr val="FFFFFF"/>
                </a:solidFill>
                <a:latin typeface="ヒラギノ角ゴ Pro W3"/>
                <a:ea typeface="ヒラギノ角ゴ Pro W3"/>
                <a:cs typeface="ヒラギノ角ゴ Pro W3"/>
              </a:rPr>
              <a:t>クラウドアプリ</a:t>
            </a:r>
            <a:r>
              <a:rPr lang="ja-JP" altLang="en-US" sz="1400" dirty="0">
                <a:solidFill>
                  <a:srgbClr val="FFFFFF"/>
                </a:solidFill>
                <a:latin typeface="ヒラギノ角ゴ Pro W3"/>
                <a:ea typeface="ヒラギノ角ゴ Pro W3"/>
                <a:cs typeface="ヒラギノ角ゴ Pro W3"/>
              </a:rPr>
              <a:t>の可視性</a:t>
            </a:r>
            <a:endParaRPr lang="en-US" sz="1400" dirty="0">
              <a:solidFill>
                <a:srgbClr val="FFFFFF"/>
              </a:solidFill>
              <a:latin typeface="ヒラギノ角ゴ Pro W3"/>
              <a:ea typeface="ヒラギノ角ゴ Pro W3"/>
              <a:cs typeface="ヒラギノ角ゴ Pro W3"/>
            </a:endParaRPr>
          </a:p>
        </p:txBody>
      </p:sp>
      <p:cxnSp>
        <p:nvCxnSpPr>
          <p:cNvPr id="89" name="Straight Connector 88"/>
          <p:cNvCxnSpPr/>
          <p:nvPr/>
        </p:nvCxnSpPr>
        <p:spPr bwMode="auto">
          <a:xfrm flipH="1" flipV="1">
            <a:off x="57730" y="2397452"/>
            <a:ext cx="2233978" cy="88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0" name="Straight Connector 89"/>
          <p:cNvCxnSpPr/>
          <p:nvPr/>
        </p:nvCxnSpPr>
        <p:spPr bwMode="auto">
          <a:xfrm flipH="1">
            <a:off x="85986" y="2885486"/>
            <a:ext cx="2205725" cy="4921"/>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1" name="Straight Connector 90"/>
          <p:cNvCxnSpPr/>
          <p:nvPr/>
        </p:nvCxnSpPr>
        <p:spPr bwMode="auto">
          <a:xfrm flipH="1">
            <a:off x="85986" y="3191460"/>
            <a:ext cx="2205725" cy="0"/>
          </a:xfrm>
          <a:prstGeom prst="line">
            <a:avLst/>
          </a:prstGeom>
          <a:solidFill>
            <a:srgbClr val="F37821"/>
          </a:solidFill>
          <a:ln w="12700" cap="rnd" cmpd="sng" algn="ctr">
            <a:solidFill>
              <a:srgbClr val="5E81D3">
                <a:lumMod val="60000"/>
                <a:lumOff val="40000"/>
              </a:srgbClr>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93" name="Group 92"/>
          <p:cNvGrpSpPr/>
          <p:nvPr/>
        </p:nvGrpSpPr>
        <p:grpSpPr>
          <a:xfrm>
            <a:off x="3555986" y="34283"/>
            <a:ext cx="5579132" cy="5109217"/>
            <a:chOff x="3555986" y="34315"/>
            <a:chExt cx="5579132" cy="5113948"/>
          </a:xfrm>
        </p:grpSpPr>
        <p:sp>
          <p:nvSpPr>
            <p:cNvPr id="94" name="Donut 93"/>
            <p:cNvSpPr>
              <a:spLocks noChangeAspect="1"/>
            </p:cNvSpPr>
            <p:nvPr/>
          </p:nvSpPr>
          <p:spPr bwMode="auto">
            <a:xfrm>
              <a:off x="3555986" y="34315"/>
              <a:ext cx="5579132" cy="5113948"/>
            </a:xfrm>
            <a:custGeom>
              <a:avLst/>
              <a:gdLst/>
              <a:ahLst/>
              <a:cxnLst/>
              <a:rect l="l" t="t" r="r" b="b"/>
              <a:pathLst>
                <a:path w="5579132" h="5109217">
                  <a:moveTo>
                    <a:pt x="2789565" y="918006"/>
                  </a:moveTo>
                  <a:cubicBezTo>
                    <a:pt x="1755931" y="918006"/>
                    <a:pt x="918005" y="1755270"/>
                    <a:pt x="918005" y="2788087"/>
                  </a:cubicBezTo>
                  <a:cubicBezTo>
                    <a:pt x="918005" y="3820904"/>
                    <a:pt x="1755931" y="4658168"/>
                    <a:pt x="2789565" y="4658168"/>
                  </a:cubicBezTo>
                  <a:cubicBezTo>
                    <a:pt x="3823199" y="4658168"/>
                    <a:pt x="4661125" y="3820904"/>
                    <a:pt x="4661125" y="2788087"/>
                  </a:cubicBezTo>
                  <a:cubicBezTo>
                    <a:pt x="4661125" y="1755270"/>
                    <a:pt x="3823199" y="918006"/>
                    <a:pt x="2789565" y="918006"/>
                  </a:cubicBezTo>
                  <a:close/>
                  <a:moveTo>
                    <a:pt x="2789566" y="0"/>
                  </a:moveTo>
                  <a:cubicBezTo>
                    <a:pt x="4330201" y="0"/>
                    <a:pt x="5579132" y="1248269"/>
                    <a:pt x="5579132" y="2788087"/>
                  </a:cubicBezTo>
                  <a:cubicBezTo>
                    <a:pt x="5579132" y="3750473"/>
                    <a:pt x="5091268" y="4598973"/>
                    <a:pt x="4349239" y="5100013"/>
                  </a:cubicBezTo>
                  <a:lnTo>
                    <a:pt x="4334080" y="5109217"/>
                  </a:lnTo>
                  <a:lnTo>
                    <a:pt x="1245052" y="5109217"/>
                  </a:lnTo>
                  <a:lnTo>
                    <a:pt x="1229893" y="5100013"/>
                  </a:lnTo>
                  <a:cubicBezTo>
                    <a:pt x="487864" y="4598973"/>
                    <a:pt x="0" y="3750473"/>
                    <a:pt x="0" y="2788087"/>
                  </a:cubicBezTo>
                  <a:cubicBezTo>
                    <a:pt x="0" y="1248269"/>
                    <a:pt x="1248931" y="0"/>
                    <a:pt x="2789566" y="0"/>
                  </a:cubicBezTo>
                  <a:close/>
                </a:path>
              </a:pathLst>
            </a:custGeom>
            <a:solidFill>
              <a:srgbClr val="F3782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95" name="Oval 94"/>
            <p:cNvSpPr/>
            <p:nvPr/>
          </p:nvSpPr>
          <p:spPr bwMode="auto">
            <a:xfrm>
              <a:off x="8322387" y="1619410"/>
              <a:ext cx="432619" cy="432620"/>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Franklin Gothic Medium"/>
                  <a:cs typeface="新細明體"/>
                </a:rPr>
                <a:t>ISP 1</a:t>
              </a:r>
              <a:endParaRPr kumimoji="0" lang="en-US" sz="7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96" name="Oval 95"/>
            <p:cNvSpPr/>
            <p:nvPr/>
          </p:nvSpPr>
          <p:spPr bwMode="auto">
            <a:xfrm>
              <a:off x="3921696" y="1967557"/>
              <a:ext cx="483259" cy="483259"/>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FFFFFF"/>
                  </a:solidFill>
                  <a:effectLst/>
                  <a:uLnTx/>
                  <a:uFillTx/>
                  <a:latin typeface="Franklin Gothic Medium"/>
                  <a:cs typeface="新細明體"/>
                </a:rPr>
                <a:t>m</a:t>
              </a:r>
              <a:r>
                <a:rPr kumimoji="0" lang="en-US" sz="700" b="1" i="0" u="none" strike="noStrike" kern="0" cap="none" spc="0" normalizeH="0" baseline="0" noProof="0" dirty="0" smtClean="0">
                  <a:ln>
                    <a:noFill/>
                  </a:ln>
                  <a:solidFill>
                    <a:srgbClr val="FFFFFF"/>
                  </a:solidFill>
                  <a:effectLst/>
                  <a:uLnTx/>
                  <a:uFillTx/>
                  <a:latin typeface="Franklin Gothic Medium"/>
                  <a:cs typeface="新細明體"/>
                </a:rPr>
                <a:t>obile</a:t>
              </a:r>
              <a:r>
                <a:rPr kumimoji="0" lang="en-US" sz="700" b="1" i="0" u="none" strike="noStrike" kern="0" cap="none" spc="0" normalizeH="0" baseline="0" noProof="0" dirty="0">
                  <a:ln>
                    <a:noFill/>
                  </a:ln>
                  <a:solidFill>
                    <a:srgbClr val="FFFFFF"/>
                  </a:solidFill>
                  <a:effectLst/>
                  <a:uLnTx/>
                  <a:uFillTx/>
                  <a:latin typeface="Franklin Gothic Medium"/>
                  <a:cs typeface="新細明體"/>
                </a:rPr>
                <a:t/>
              </a:r>
              <a:br>
                <a:rPr kumimoji="0" lang="en-US" sz="700" b="1" i="0" u="none" strike="noStrike" kern="0" cap="none" spc="0" normalizeH="0" baseline="0" noProof="0" dirty="0">
                  <a:ln>
                    <a:noFill/>
                  </a:ln>
                  <a:solidFill>
                    <a:srgbClr val="FFFFFF"/>
                  </a:solidFill>
                  <a:effectLst/>
                  <a:uLnTx/>
                  <a:uFillTx/>
                  <a:latin typeface="Franklin Gothic Medium"/>
                  <a:cs typeface="新細明體"/>
                </a:rPr>
              </a:br>
              <a:r>
                <a:rPr kumimoji="0" lang="en-US" sz="700" b="1" i="0" u="none" strike="noStrike" kern="0" cap="none" spc="0" normalizeH="0" baseline="0" noProof="0" dirty="0">
                  <a:ln>
                    <a:noFill/>
                  </a:ln>
                  <a:solidFill>
                    <a:srgbClr val="FFFFFF"/>
                  </a:solidFill>
                  <a:effectLst/>
                  <a:uLnTx/>
                  <a:uFillTx/>
                  <a:latin typeface="Franklin Gothic Medium"/>
                  <a:cs typeface="新細明體"/>
                </a:rPr>
                <a:t>carrier</a:t>
              </a:r>
            </a:p>
          </p:txBody>
        </p:sp>
        <p:sp>
          <p:nvSpPr>
            <p:cNvPr id="97" name="Oval 96"/>
            <p:cNvSpPr/>
            <p:nvPr/>
          </p:nvSpPr>
          <p:spPr bwMode="auto">
            <a:xfrm>
              <a:off x="8532986" y="2528108"/>
              <a:ext cx="432619" cy="432620"/>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Franklin Gothic Medium"/>
                  <a:cs typeface="新細明體"/>
                </a:rPr>
                <a:t>ISP </a:t>
              </a:r>
              <a:r>
                <a:rPr kumimoji="0" lang="en-US" sz="700" b="0" i="0" u="none" strike="noStrike" kern="0" cap="none" spc="0" normalizeH="0" baseline="0" noProof="0" dirty="0" smtClean="0">
                  <a:ln>
                    <a:noFill/>
                  </a:ln>
                  <a:solidFill>
                    <a:srgbClr val="FFFFFF"/>
                  </a:solidFill>
                  <a:effectLst/>
                  <a:uLnTx/>
                  <a:uFillTx/>
                  <a:latin typeface="Franklin Gothic Medium"/>
                  <a:cs typeface="新細明體"/>
                </a:rPr>
                <a:t>2</a:t>
              </a:r>
              <a:endParaRPr kumimoji="0" lang="en-US" sz="7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98" name="Oval 97"/>
            <p:cNvSpPr/>
            <p:nvPr/>
          </p:nvSpPr>
          <p:spPr bwMode="auto">
            <a:xfrm>
              <a:off x="8214289" y="3558364"/>
              <a:ext cx="432619" cy="432620"/>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solidFill>
                  <a:effectLst/>
                  <a:uLnTx/>
                  <a:uFillTx/>
                  <a:latin typeface="Franklin Gothic Medium"/>
                  <a:cs typeface="新細明體"/>
                </a:rPr>
                <a:t>ISP </a:t>
              </a:r>
              <a:r>
                <a:rPr kumimoji="0" lang="en-US" sz="700" b="0" i="0" u="none" strike="noStrike" kern="0" cap="none" spc="0" normalizeH="0" baseline="0" noProof="0" dirty="0" smtClean="0">
                  <a:ln>
                    <a:noFill/>
                  </a:ln>
                  <a:solidFill>
                    <a:srgbClr val="FFFFFF"/>
                  </a:solidFill>
                  <a:effectLst/>
                  <a:uLnTx/>
                  <a:uFillTx/>
                  <a:latin typeface="Franklin Gothic Medium"/>
                  <a:cs typeface="新細明體"/>
                </a:rPr>
                <a:t>3</a:t>
              </a:r>
              <a:endParaRPr kumimoji="0" lang="en-US" sz="7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99" name="Oval 98"/>
            <p:cNvSpPr/>
            <p:nvPr/>
          </p:nvSpPr>
          <p:spPr bwMode="auto">
            <a:xfrm>
              <a:off x="4342077" y="1309967"/>
              <a:ext cx="354041" cy="354041"/>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7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100" name="Oval 99"/>
            <p:cNvSpPr/>
            <p:nvPr/>
          </p:nvSpPr>
          <p:spPr bwMode="auto">
            <a:xfrm>
              <a:off x="4100834" y="2550420"/>
              <a:ext cx="257023" cy="257024"/>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1" name="Oval 100"/>
            <p:cNvSpPr/>
            <p:nvPr/>
          </p:nvSpPr>
          <p:spPr bwMode="auto">
            <a:xfrm>
              <a:off x="4133863" y="3085988"/>
              <a:ext cx="354041" cy="354041"/>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7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102" name="Oval 101"/>
            <p:cNvSpPr/>
            <p:nvPr/>
          </p:nvSpPr>
          <p:spPr bwMode="auto">
            <a:xfrm>
              <a:off x="3824652" y="3387387"/>
              <a:ext cx="292767" cy="292768"/>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3" name="Oval 102"/>
            <p:cNvSpPr/>
            <p:nvPr/>
          </p:nvSpPr>
          <p:spPr bwMode="auto">
            <a:xfrm>
              <a:off x="8431133" y="2158571"/>
              <a:ext cx="257023" cy="257024"/>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4" name="Oval 103"/>
            <p:cNvSpPr/>
            <p:nvPr/>
          </p:nvSpPr>
          <p:spPr bwMode="auto">
            <a:xfrm>
              <a:off x="8316837" y="3133010"/>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5" name="Oval 104"/>
            <p:cNvSpPr/>
            <p:nvPr/>
          </p:nvSpPr>
          <p:spPr bwMode="auto">
            <a:xfrm>
              <a:off x="7923015" y="4042246"/>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6" name="Oval 105"/>
            <p:cNvSpPr/>
            <p:nvPr/>
          </p:nvSpPr>
          <p:spPr bwMode="auto">
            <a:xfrm>
              <a:off x="4006441" y="2892825"/>
              <a:ext cx="158293" cy="158292"/>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7" name="Oval 106"/>
            <p:cNvSpPr/>
            <p:nvPr/>
          </p:nvSpPr>
          <p:spPr bwMode="auto">
            <a:xfrm>
              <a:off x="8845314" y="2268803"/>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8" name="Oval 107"/>
            <p:cNvSpPr/>
            <p:nvPr/>
          </p:nvSpPr>
          <p:spPr bwMode="auto">
            <a:xfrm>
              <a:off x="8692960" y="3477415"/>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09" name="Oval 108"/>
            <p:cNvSpPr/>
            <p:nvPr/>
          </p:nvSpPr>
          <p:spPr bwMode="auto">
            <a:xfrm>
              <a:off x="8487800" y="1385087"/>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0" name="Oval 109"/>
            <p:cNvSpPr/>
            <p:nvPr/>
          </p:nvSpPr>
          <p:spPr bwMode="auto">
            <a:xfrm>
              <a:off x="8048355" y="1391137"/>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1" name="Oval 110"/>
            <p:cNvSpPr/>
            <p:nvPr/>
          </p:nvSpPr>
          <p:spPr bwMode="auto">
            <a:xfrm>
              <a:off x="4096090" y="3711762"/>
              <a:ext cx="483259" cy="483259"/>
            </a:xfrm>
            <a:prstGeom prst="ellipse">
              <a:avLst/>
            </a:prstGeom>
            <a:solidFill>
              <a:srgbClr val="000000"/>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FFFFFF"/>
                  </a:solidFill>
                  <a:effectLst/>
                  <a:uLnTx/>
                  <a:uFillTx/>
                  <a:latin typeface="Franklin Gothic Medium"/>
                  <a:cs typeface="新細明體"/>
                </a:rPr>
                <a:t>ISP ?</a:t>
              </a:r>
              <a:endParaRPr kumimoji="0" lang="en-US" sz="700" b="0" i="0" u="none" strike="noStrike" kern="0" cap="none" spc="0" normalizeH="0" baseline="0" noProof="0" dirty="0">
                <a:ln>
                  <a:noFill/>
                </a:ln>
                <a:solidFill>
                  <a:srgbClr val="FFFFFF"/>
                </a:solidFill>
                <a:effectLst/>
                <a:uLnTx/>
                <a:uFillTx/>
                <a:latin typeface="Franklin Gothic Medium"/>
                <a:cs typeface="新細明體"/>
              </a:endParaRPr>
            </a:p>
          </p:txBody>
        </p:sp>
        <p:sp>
          <p:nvSpPr>
            <p:cNvPr id="112" name="Oval 111"/>
            <p:cNvSpPr/>
            <p:nvPr/>
          </p:nvSpPr>
          <p:spPr bwMode="auto">
            <a:xfrm>
              <a:off x="3917639" y="1455673"/>
              <a:ext cx="354041" cy="354041"/>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3" name="Oval 112"/>
            <p:cNvSpPr/>
            <p:nvPr/>
          </p:nvSpPr>
          <p:spPr bwMode="auto">
            <a:xfrm>
              <a:off x="4318692" y="1781060"/>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4" name="Oval 113"/>
            <p:cNvSpPr/>
            <p:nvPr/>
          </p:nvSpPr>
          <p:spPr bwMode="auto">
            <a:xfrm>
              <a:off x="3785693" y="1885475"/>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5" name="Oval 114"/>
            <p:cNvSpPr/>
            <p:nvPr/>
          </p:nvSpPr>
          <p:spPr bwMode="auto">
            <a:xfrm>
              <a:off x="4759395" y="1143097"/>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6" name="Oval 115"/>
            <p:cNvSpPr/>
            <p:nvPr/>
          </p:nvSpPr>
          <p:spPr bwMode="auto">
            <a:xfrm>
              <a:off x="4604355" y="4160470"/>
              <a:ext cx="354041" cy="354041"/>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7" name="Oval 116"/>
            <p:cNvSpPr/>
            <p:nvPr/>
          </p:nvSpPr>
          <p:spPr bwMode="auto">
            <a:xfrm>
              <a:off x="8220890" y="4140471"/>
              <a:ext cx="354041" cy="354041"/>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8" name="Oval 117"/>
            <p:cNvSpPr/>
            <p:nvPr/>
          </p:nvSpPr>
          <p:spPr bwMode="auto">
            <a:xfrm>
              <a:off x="7888919" y="4372581"/>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19" name="Oval 118"/>
            <p:cNvSpPr/>
            <p:nvPr/>
          </p:nvSpPr>
          <p:spPr bwMode="auto">
            <a:xfrm>
              <a:off x="8231275" y="1093182"/>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0" name="Oval 119"/>
            <p:cNvSpPr/>
            <p:nvPr/>
          </p:nvSpPr>
          <p:spPr bwMode="auto">
            <a:xfrm>
              <a:off x="3755956" y="2446127"/>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1" name="Oval 120"/>
            <p:cNvSpPr/>
            <p:nvPr/>
          </p:nvSpPr>
          <p:spPr bwMode="auto">
            <a:xfrm>
              <a:off x="4176455" y="4310183"/>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2" name="Oval 121"/>
            <p:cNvSpPr/>
            <p:nvPr/>
          </p:nvSpPr>
          <p:spPr bwMode="auto">
            <a:xfrm>
              <a:off x="4441676" y="3534257"/>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3" name="Oval 122"/>
            <p:cNvSpPr/>
            <p:nvPr/>
          </p:nvSpPr>
          <p:spPr bwMode="auto">
            <a:xfrm>
              <a:off x="3893524" y="3804846"/>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4" name="Oval 123"/>
            <p:cNvSpPr/>
            <p:nvPr/>
          </p:nvSpPr>
          <p:spPr bwMode="auto">
            <a:xfrm>
              <a:off x="8323791" y="2519550"/>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5" name="Oval 124"/>
            <p:cNvSpPr/>
            <p:nvPr/>
          </p:nvSpPr>
          <p:spPr bwMode="auto">
            <a:xfrm>
              <a:off x="3706099" y="2794580"/>
              <a:ext cx="190644" cy="19064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6" name="Oval 125"/>
            <p:cNvSpPr/>
            <p:nvPr/>
          </p:nvSpPr>
          <p:spPr bwMode="auto">
            <a:xfrm>
              <a:off x="3843668" y="3138591"/>
              <a:ext cx="108464" cy="108463"/>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7" name="Oval 126"/>
            <p:cNvSpPr/>
            <p:nvPr/>
          </p:nvSpPr>
          <p:spPr bwMode="auto">
            <a:xfrm>
              <a:off x="8704781" y="3025063"/>
              <a:ext cx="354041" cy="354041"/>
            </a:xfrm>
            <a:prstGeom prst="ellipse">
              <a:avLst/>
            </a:prstGeom>
            <a:solidFill>
              <a:srgbClr val="FFFFFF">
                <a:lumMod val="85000"/>
                <a:alpha val="32941"/>
              </a:srgbClr>
            </a:solidFill>
            <a:ln w="38100" cap="flat" cmpd="sng" algn="ctr">
              <a:noFill/>
              <a:prstDash val="solid"/>
              <a:round/>
              <a:headEnd type="none" w="med" len="med"/>
              <a:tailEnd type="none" w="med" len="med"/>
            </a:ln>
            <a:effectLst/>
            <a:extLst/>
          </p:spPr>
          <p:txBody>
            <a:bodyPr vert="horz" wrap="square" lIns="0" tIns="45720" rIns="0" bIns="45720" numCol="1" rtlCol="0" anchor="ctr" anchorCtr="1"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a:ln>
                  <a:noFill/>
                </a:ln>
                <a:solidFill>
                  <a:srgbClr val="FFFFFF">
                    <a:lumMod val="85000"/>
                  </a:srgbClr>
                </a:solidFill>
                <a:effectLst/>
                <a:uLnTx/>
                <a:uFillTx/>
                <a:latin typeface="Franklin Gothic Medium"/>
                <a:cs typeface="新細明體"/>
              </a:endParaRPr>
            </a:p>
          </p:txBody>
        </p:sp>
        <p:sp>
          <p:nvSpPr>
            <p:cNvPr id="128" name="Rounded Rectangle 127"/>
            <p:cNvSpPr/>
            <p:nvPr/>
          </p:nvSpPr>
          <p:spPr bwMode="auto">
            <a:xfrm>
              <a:off x="5459744" y="4398534"/>
              <a:ext cx="1814877" cy="618108"/>
            </a:xfrm>
            <a:prstGeom prst="roundRect">
              <a:avLst>
                <a:gd name="adj" fmla="val 8396"/>
              </a:avLst>
            </a:prstGeom>
            <a:solidFill>
              <a:srgbClr val="FFFFFF"/>
            </a:solidFill>
            <a:ln w="3175" cap="rnd" cmpd="sng" algn="ctr">
              <a:solidFill>
                <a:srgbClr val="0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129" name="Oval 128"/>
            <p:cNvSpPr>
              <a:spLocks noChangeAspect="1"/>
            </p:cNvSpPr>
            <p:nvPr/>
          </p:nvSpPr>
          <p:spPr bwMode="auto">
            <a:xfrm>
              <a:off x="5548659" y="4461588"/>
              <a:ext cx="689734" cy="177481"/>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130" name="TextBox 129"/>
            <p:cNvSpPr txBox="1"/>
            <p:nvPr/>
          </p:nvSpPr>
          <p:spPr>
            <a:xfrm>
              <a:off x="6338323" y="4448922"/>
              <a:ext cx="936278" cy="244529"/>
            </a:xfrm>
            <a:prstGeom prst="rect">
              <a:avLst/>
            </a:prstGeom>
          </p:spPr>
          <p:txBody>
            <a:bodyPr wrap="square" lIns="0" tIns="0" rIns="0" bIns="0" rtlCol="0" anchor="ctr">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800" b="0"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rPr>
                <a:t>外向け権威</a:t>
              </a:r>
              <a:r>
                <a:rPr kumimoji="0" lang="en-US" sz="800" b="0" i="0" u="none" strike="noStrike" kern="0" cap="none" spc="0" normalizeH="0" baseline="0" noProof="0" dirty="0" smtClean="0">
                  <a:ln>
                    <a:noFill/>
                  </a:ln>
                  <a:solidFill>
                    <a:srgbClr val="5E81D3"/>
                  </a:solidFill>
                  <a:effectLst/>
                  <a:uLnTx/>
                  <a:uFillTx/>
                  <a:latin typeface="ヒラギノ角ゴ Pro W3"/>
                  <a:ea typeface="ヒラギノ角ゴ Pro W3"/>
                  <a:cs typeface="ヒラギノ角ゴ Pro W3"/>
                </a:rPr>
                <a:t> DNS</a:t>
              </a:r>
              <a:endParaRPr kumimoji="0" lang="en-US" sz="800" b="0" i="0" u="none" strike="noStrike" kern="0" cap="none" spc="0" normalizeH="0" baseline="0" noProof="0" dirty="0">
                <a:ln>
                  <a:noFill/>
                </a:ln>
                <a:solidFill>
                  <a:srgbClr val="5E81D3"/>
                </a:solidFill>
                <a:effectLst/>
                <a:uLnTx/>
                <a:uFillTx/>
                <a:latin typeface="ヒラギノ角ゴ Pro W3"/>
                <a:ea typeface="ヒラギノ角ゴ Pro W3"/>
                <a:cs typeface="ヒラギノ角ゴ Pro W3"/>
              </a:endParaRPr>
            </a:p>
          </p:txBody>
        </p:sp>
        <p:sp>
          <p:nvSpPr>
            <p:cNvPr id="131" name="TextBox 130"/>
            <p:cNvSpPr txBox="1"/>
            <p:nvPr/>
          </p:nvSpPr>
          <p:spPr>
            <a:xfrm>
              <a:off x="6338322" y="4711533"/>
              <a:ext cx="961352" cy="267539"/>
            </a:xfrm>
            <a:prstGeom prst="rect">
              <a:avLst/>
            </a:prstGeom>
          </p:spPr>
          <p:txBody>
            <a:bodyPr wrap="square" lIns="0" tIns="0" rIns="0" bIns="0"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ja-JP" altLang="en-US" sz="800" b="0" i="0" u="none" strike="noStrike" kern="0" cap="none" spc="0" normalizeH="0" baseline="0" noProof="0" dirty="0" smtClean="0">
                  <a:ln>
                    <a:noFill/>
                  </a:ln>
                  <a:solidFill>
                    <a:srgbClr val="F37821"/>
                  </a:solidFill>
                  <a:effectLst/>
                  <a:uLnTx/>
                  <a:uFillTx/>
                  <a:latin typeface="ヒラギノ角ゴ Pro W3"/>
                  <a:ea typeface="ヒラギノ角ゴ Pro W3"/>
                  <a:cs typeface="ヒラギノ角ゴ Pro W3"/>
                </a:rPr>
                <a:t>外向けリカーシブ</a:t>
              </a:r>
              <a:r>
                <a:rPr kumimoji="0" lang="en-US" altLang="ja-JP" sz="800" b="0" i="0" u="none" strike="noStrike" kern="0" cap="none" spc="0" normalizeH="0" baseline="0" noProof="0" dirty="0" smtClean="0">
                  <a:ln>
                    <a:noFill/>
                  </a:ln>
                  <a:solidFill>
                    <a:srgbClr val="F37821"/>
                  </a:solidFill>
                  <a:effectLst/>
                  <a:uLnTx/>
                  <a:uFillTx/>
                  <a:latin typeface="ヒラギノ角ゴ Pro W3"/>
                  <a:ea typeface="ヒラギノ角ゴ Pro W3"/>
                  <a:cs typeface="ヒラギノ角ゴ Pro W3"/>
                </a:rPr>
                <a:t>DNS</a:t>
              </a:r>
              <a:endParaRPr kumimoji="0" lang="en-US" sz="800" b="0" i="0" u="none" strike="noStrike" kern="0" cap="none" spc="0" normalizeH="0" baseline="0" noProof="0" dirty="0">
                <a:ln>
                  <a:noFill/>
                </a:ln>
                <a:solidFill>
                  <a:srgbClr val="F37821"/>
                </a:solidFill>
                <a:effectLst/>
                <a:uLnTx/>
                <a:uFillTx/>
                <a:latin typeface="ヒラギノ角ゴ Pro W3"/>
                <a:ea typeface="ヒラギノ角ゴ Pro W3"/>
                <a:cs typeface="ヒラギノ角ゴ Pro W3"/>
              </a:endParaRPr>
            </a:p>
          </p:txBody>
        </p:sp>
        <p:pic>
          <p:nvPicPr>
            <p:cNvPr id="132" name="Picture 131" descr="Logo_OpenDNS.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548681" y="4673885"/>
              <a:ext cx="705157" cy="283450"/>
            </a:xfrm>
            <a:prstGeom prst="rect">
              <a:avLst/>
            </a:prstGeom>
          </p:spPr>
        </p:pic>
      </p:grpSp>
      <p:sp>
        <p:nvSpPr>
          <p:cNvPr id="2" name="Title 1"/>
          <p:cNvSpPr>
            <a:spLocks noGrp="1"/>
          </p:cNvSpPr>
          <p:nvPr>
            <p:ph type="title"/>
          </p:nvPr>
        </p:nvSpPr>
        <p:spPr/>
        <p:txBody>
          <a:bodyPr/>
          <a:lstStyle/>
          <a:p>
            <a:r>
              <a:rPr lang="ja-JP" altLang="en-US" dirty="0" smtClean="0"/>
              <a:t>単一のグローバルなリカーシブ</a:t>
            </a:r>
            <a:r>
              <a:rPr lang="en-US" altLang="ja-JP" dirty="0" smtClean="0"/>
              <a:t>DNS</a:t>
            </a:r>
            <a:r>
              <a:rPr lang="ja-JP" altLang="en-US" dirty="0" smtClean="0"/>
              <a:t>サービスを活用する</a:t>
            </a:r>
            <a:endParaRPr lang="en-US" dirty="0"/>
          </a:p>
        </p:txBody>
      </p:sp>
    </p:spTree>
    <p:extLst>
      <p:ext uri="{BB962C8B-B14F-4D97-AF65-F5344CB8AC3E}">
        <p14:creationId xmlns:p14="http://schemas.microsoft.com/office/powerpoint/2010/main" val="119336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341433"/>
            <a:ext cx="8706234" cy="731837"/>
          </a:xfrm>
        </p:spPr>
        <p:txBody>
          <a:bodyPr/>
          <a:lstStyle/>
          <a:p>
            <a:r>
              <a:rPr lang="en-US" altLang="ja-JP" dirty="0" smtClean="0"/>
              <a:t>DNS</a:t>
            </a:r>
            <a:r>
              <a:rPr lang="ja-JP" altLang="en-US" dirty="0" smtClean="0"/>
              <a:t>レイヤで情報を集め、セキュリティを強化する</a:t>
            </a:r>
            <a:endParaRPr lang="en-US" dirty="0"/>
          </a:p>
        </p:txBody>
      </p:sp>
      <p:sp>
        <p:nvSpPr>
          <p:cNvPr id="3" name="Flowchart: Manual Operation 45"/>
          <p:cNvSpPr/>
          <p:nvPr/>
        </p:nvSpPr>
        <p:spPr bwMode="auto">
          <a:xfrm rot="10800000">
            <a:off x="1563817" y="2075770"/>
            <a:ext cx="2382423" cy="1332265"/>
          </a:xfrm>
          <a:prstGeom prst="flowChartManualOperation">
            <a:avLst/>
          </a:prstGeom>
          <a:gradFill>
            <a:gsLst>
              <a:gs pos="0">
                <a:srgbClr val="7F7F7F">
                  <a:lumMod val="40000"/>
                  <a:lumOff val="60000"/>
                </a:srgbClr>
              </a:gs>
              <a:gs pos="100000">
                <a:srgbClr val="7F7F7F">
                  <a:lumMod val="40000"/>
                  <a:lumOff val="60000"/>
                  <a:alpha val="0"/>
                </a:srgbClr>
              </a:gs>
            </a:gsLst>
            <a:lin ang="5400000" scaled="0"/>
          </a:gradFill>
          <a:ln w="12700" cap="rnd" cmpd="sng" algn="ctr">
            <a:noFill/>
            <a:prstDash val="sysDot"/>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 name="TextBox 3"/>
          <p:cNvSpPr txBox="1"/>
          <p:nvPr/>
        </p:nvSpPr>
        <p:spPr>
          <a:xfrm>
            <a:off x="1579755" y="3399811"/>
            <a:ext cx="2355970" cy="1476301"/>
          </a:xfrm>
          <a:prstGeom prst="rect">
            <a:avLst/>
          </a:prstGeom>
          <a:solidFill>
            <a:srgbClr val="7F7F7F">
              <a:lumMod val="20000"/>
              <a:lumOff val="80000"/>
            </a:srgbClr>
          </a:solidFill>
          <a:ln>
            <a:solidFill>
              <a:srgbClr val="7F7F7F">
                <a:lumMod val="40000"/>
                <a:lumOff val="60000"/>
              </a:srgbClr>
            </a:solidFill>
          </a:ln>
        </p:spPr>
        <p:txBody>
          <a:bodyPr wrap="square" rtlCol="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阻止するために使う</a:t>
            </a:r>
            <a:r>
              <a:rPr kumimoji="0" lang="en-US" sz="12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a:t>
            </a:r>
            <a:endParaRPr kumimoji="0" lang="en-US" sz="1200" b="0" i="0" u="none" strike="noStrike" kern="0" cap="none" spc="0" normalizeH="0" baseline="0" noProof="0" dirty="0">
              <a:ln>
                <a:noFill/>
              </a:ln>
              <a:solidFill>
                <a:srgbClr val="000000"/>
              </a:solidFill>
              <a:effectLst/>
              <a:uLnTx/>
              <a:uFillTx/>
              <a:latin typeface="ヒラギノ角ゴ Pro W3"/>
              <a:ea typeface="ヒラギノ角ゴ Pro W3"/>
              <a:cs typeface="ヒラギノ角ゴ Pro W3"/>
            </a:endParaRPr>
          </a:p>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000000"/>
              </a:solidFill>
              <a:effectLst/>
              <a:uLnTx/>
              <a:uFillTx/>
              <a:latin typeface="Franklin Gothic Book"/>
            </a:endParaRPr>
          </a:p>
          <a:p>
            <a:pPr marL="171450" marR="0" lvl="0" indent="-171450" defTabSz="914400" eaLnBrk="1" fontAlgn="auto" latinLnBrk="0" hangingPunct="1">
              <a:lnSpc>
                <a:spcPct val="90000"/>
              </a:lnSpc>
              <a:spcBef>
                <a:spcPts val="0"/>
              </a:spcBef>
              <a:spcAft>
                <a:spcPts val="200"/>
              </a:spcAft>
              <a:buClrTx/>
              <a:buSzTx/>
              <a:buFontTx/>
              <a:buChar char="•"/>
              <a:tabLst/>
              <a:defRPr/>
            </a:pPr>
            <a:r>
              <a:rPr kumimoji="0" lang="ja-JP" altLang="en-US"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危険なシステム</a:t>
            </a:r>
            <a:endParaRPr kumimoji="0" lang="en-US" altLang="ja-JP"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200"/>
              </a:spcAft>
              <a:buClrTx/>
              <a:buSzTx/>
              <a:buFontTx/>
              <a:buChar char="•"/>
              <a:tabLst/>
              <a:defRPr/>
            </a:pPr>
            <a:r>
              <a:rPr kumimoji="0" lang="en-US" altLang="ja-JP"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C2</a:t>
            </a:r>
            <a:r>
              <a:rPr kumimoji="0" lang="ja-JP" altLang="en-US"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サーバへのコールバック</a:t>
            </a:r>
            <a:endParaRPr kumimoji="0" lang="en-US" sz="1050" b="0" i="0" u="none" strike="noStrike" kern="0" cap="none" spc="0" normalizeH="0" baseline="0" noProof="0" dirty="0">
              <a:ln>
                <a:noFill/>
              </a:ln>
              <a:solidFill>
                <a:srgbClr val="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200"/>
              </a:spcAft>
              <a:buClrTx/>
              <a:buSzTx/>
              <a:buFontTx/>
              <a:buChar char="•"/>
              <a:tabLst/>
              <a:defRPr/>
            </a:pPr>
            <a:r>
              <a:rPr kumimoji="0" lang="ja-JP" altLang="en-US"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マルウェア・フィッシングトライ</a:t>
            </a:r>
            <a:endParaRPr kumimoji="0" lang="en-US" altLang="ja-JP"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200"/>
              </a:spcAft>
              <a:buClrTx/>
              <a:buSzTx/>
              <a:buFontTx/>
              <a:buChar char="•"/>
              <a:tabLst/>
              <a:defRPr/>
            </a:pPr>
            <a:r>
              <a:rPr kumimoji="0" lang="ja-JP" altLang="en-US"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アルゴリズムで作られ</a:t>
            </a:r>
            <a:r>
              <a:rPr kumimoji="0" lang="ja-JP" altLang="en-US" sz="1050" kern="0" dirty="0" smtClean="0">
                <a:solidFill>
                  <a:srgbClr val="000000"/>
                </a:solidFill>
                <a:latin typeface="ヒラギノ角ゴ Pro W3"/>
                <a:ea typeface="ヒラギノ角ゴ Pro W3"/>
                <a:cs typeface="ヒラギノ角ゴ Pro W3"/>
              </a:rPr>
              <a:t>たドメイン</a:t>
            </a:r>
            <a:endParaRPr kumimoji="0" lang="en-US" sz="1050" b="0" i="0" u="none" strike="noStrike" kern="0" cap="none" spc="0" normalizeH="0" baseline="0" noProof="0" dirty="0">
              <a:ln>
                <a:noFill/>
              </a:ln>
              <a:solidFill>
                <a:srgbClr val="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200"/>
              </a:spcAft>
              <a:buClrTx/>
              <a:buSzTx/>
              <a:buFontTx/>
              <a:buChar char="•"/>
              <a:tabLst/>
              <a:defRPr/>
            </a:pPr>
            <a:r>
              <a:rPr kumimoji="0" lang="ja-JP" altLang="en-US"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ドメインの共起</a:t>
            </a:r>
            <a:endParaRPr kumimoji="0" lang="en-US" sz="1050" b="0" i="0" u="none" strike="noStrike" kern="0" cap="none" spc="0" normalizeH="0" baseline="0" noProof="0" dirty="0">
              <a:ln>
                <a:noFill/>
              </a:ln>
              <a:solidFill>
                <a:srgbClr val="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200"/>
              </a:spcAft>
              <a:buClrTx/>
              <a:buSzTx/>
              <a:buFontTx/>
              <a:buChar char="•"/>
              <a:tabLst/>
              <a:defRPr/>
            </a:pPr>
            <a:r>
              <a:rPr kumimoji="0" lang="ja-JP" altLang="en-US" sz="105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新しくレジストされたドメイン</a:t>
            </a:r>
            <a:endParaRPr kumimoji="0" lang="en-US" sz="1050" b="0" i="0" u="none" strike="noStrike" kern="0" cap="none" spc="0" normalizeH="0" baseline="0" noProof="0" dirty="0">
              <a:ln>
                <a:noFill/>
              </a:ln>
              <a:solidFill>
                <a:srgbClr val="000000"/>
              </a:solidFill>
              <a:effectLst/>
              <a:uLnTx/>
              <a:uFillTx/>
              <a:latin typeface="ヒラギノ角ゴ Pro W3"/>
              <a:ea typeface="ヒラギノ角ゴ Pro W3"/>
              <a:cs typeface="ヒラギノ角ゴ Pro W3"/>
            </a:endParaRPr>
          </a:p>
        </p:txBody>
      </p:sp>
      <p:sp>
        <p:nvSpPr>
          <p:cNvPr id="5" name="Flowchart: Manual Operation 45"/>
          <p:cNvSpPr/>
          <p:nvPr/>
        </p:nvSpPr>
        <p:spPr bwMode="auto">
          <a:xfrm rot="10800000">
            <a:off x="5037737" y="2070323"/>
            <a:ext cx="2245989" cy="1327229"/>
          </a:xfrm>
          <a:prstGeom prst="flowChartManualOperation">
            <a:avLst/>
          </a:prstGeom>
          <a:gradFill>
            <a:gsLst>
              <a:gs pos="0">
                <a:srgbClr val="7F7F7F">
                  <a:lumMod val="40000"/>
                  <a:lumOff val="60000"/>
                </a:srgbClr>
              </a:gs>
              <a:gs pos="100000">
                <a:srgbClr val="7F7F7F">
                  <a:lumMod val="40000"/>
                  <a:lumOff val="60000"/>
                  <a:alpha val="0"/>
                </a:srgbClr>
              </a:gs>
            </a:gsLst>
            <a:lin ang="5400000" scaled="0"/>
          </a:gradFill>
          <a:ln w="12700" cap="rnd" cmpd="sng" algn="ctr">
            <a:noFill/>
            <a:prstDash val="sysDot"/>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6" name="Group 5"/>
          <p:cNvGrpSpPr/>
          <p:nvPr/>
        </p:nvGrpSpPr>
        <p:grpSpPr>
          <a:xfrm>
            <a:off x="502133" y="1139360"/>
            <a:ext cx="1743246" cy="1801136"/>
            <a:chOff x="502133" y="1140415"/>
            <a:chExt cx="1743246" cy="1802804"/>
          </a:xfrm>
        </p:grpSpPr>
        <p:sp>
          <p:nvSpPr>
            <p:cNvPr id="7" name="Rounded Rectangle 6"/>
            <p:cNvSpPr/>
            <p:nvPr/>
          </p:nvSpPr>
          <p:spPr bwMode="auto">
            <a:xfrm>
              <a:off x="502133" y="1140415"/>
              <a:ext cx="1743246" cy="1802804"/>
            </a:xfrm>
            <a:prstGeom prst="roundRect">
              <a:avLst>
                <a:gd name="adj" fmla="val 3753"/>
              </a:avLst>
            </a:prstGeom>
            <a:solidFill>
              <a:srgbClr val="FFFFFF"/>
            </a:solidFill>
            <a:ln w="12700" cap="rnd" cmpd="sng" algn="ctr">
              <a:solidFill>
                <a:srgbClr val="000000"/>
              </a:solidFill>
              <a:prstDash val="sysDot"/>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7F7F7F"/>
                  </a:solidFill>
                  <a:effectLst/>
                  <a:uLnTx/>
                  <a:uFillTx/>
                  <a:latin typeface="Franklin Gothic Medium"/>
                </a:rPr>
                <a:t>Any Device</a:t>
              </a:r>
              <a:endParaRPr kumimoji="0" lang="en-US" sz="1600" b="0" i="0" u="none" strike="noStrike" kern="0" cap="none" spc="0" normalizeH="0" baseline="0" noProof="0" dirty="0">
                <a:ln>
                  <a:noFill/>
                </a:ln>
                <a:solidFill>
                  <a:srgbClr val="7F7F7F"/>
                </a:solidFill>
                <a:effectLst/>
                <a:uLnTx/>
                <a:uFillTx/>
                <a:latin typeface="Franklin Gothic Medium"/>
              </a:endParaRPr>
            </a:p>
          </p:txBody>
        </p:sp>
        <p:sp>
          <p:nvSpPr>
            <p:cNvPr id="8" name="Freeform 6"/>
            <p:cNvSpPr>
              <a:spLocks noChangeAspect="1"/>
            </p:cNvSpPr>
            <p:nvPr/>
          </p:nvSpPr>
          <p:spPr bwMode="auto">
            <a:xfrm>
              <a:off x="920960" y="1804162"/>
              <a:ext cx="890027" cy="665903"/>
            </a:xfrm>
            <a:custGeom>
              <a:avLst/>
              <a:gdLst/>
              <a:ahLst/>
              <a:cxnLst/>
              <a:rect l="l" t="t" r="r" b="b"/>
              <a:pathLst>
                <a:path w="478537" h="341526">
                  <a:moveTo>
                    <a:pt x="0" y="295211"/>
                  </a:moveTo>
                  <a:cubicBezTo>
                    <a:pt x="0" y="295211"/>
                    <a:pt x="0" y="295211"/>
                    <a:pt x="213716" y="295211"/>
                  </a:cubicBezTo>
                  <a:cubicBezTo>
                    <a:pt x="213716" y="295211"/>
                    <a:pt x="213716" y="295211"/>
                    <a:pt x="213716" y="301386"/>
                  </a:cubicBezTo>
                  <a:cubicBezTo>
                    <a:pt x="213716" y="306018"/>
                    <a:pt x="218362" y="310649"/>
                    <a:pt x="223008" y="310649"/>
                  </a:cubicBezTo>
                  <a:cubicBezTo>
                    <a:pt x="223008" y="310649"/>
                    <a:pt x="223008" y="310649"/>
                    <a:pt x="255530" y="310649"/>
                  </a:cubicBezTo>
                  <a:cubicBezTo>
                    <a:pt x="261724" y="310649"/>
                    <a:pt x="264822" y="306018"/>
                    <a:pt x="264822" y="301386"/>
                  </a:cubicBezTo>
                  <a:cubicBezTo>
                    <a:pt x="264822" y="301386"/>
                    <a:pt x="264822" y="301386"/>
                    <a:pt x="264822" y="295211"/>
                  </a:cubicBezTo>
                  <a:lnTo>
                    <a:pt x="478537" y="295211"/>
                  </a:lnTo>
                  <a:cubicBezTo>
                    <a:pt x="478537" y="295211"/>
                    <a:pt x="478537" y="295211"/>
                    <a:pt x="478537" y="324544"/>
                  </a:cubicBezTo>
                  <a:cubicBezTo>
                    <a:pt x="478537" y="333807"/>
                    <a:pt x="470794" y="341526"/>
                    <a:pt x="461502" y="341526"/>
                  </a:cubicBezTo>
                  <a:cubicBezTo>
                    <a:pt x="461502" y="341526"/>
                    <a:pt x="461502" y="341526"/>
                    <a:pt x="17035" y="341526"/>
                  </a:cubicBezTo>
                  <a:cubicBezTo>
                    <a:pt x="7743" y="341526"/>
                    <a:pt x="0" y="333807"/>
                    <a:pt x="0" y="324544"/>
                  </a:cubicBezTo>
                  <a:cubicBezTo>
                    <a:pt x="0" y="324544"/>
                    <a:pt x="0" y="324544"/>
                    <a:pt x="0" y="295211"/>
                  </a:cubicBezTo>
                  <a:close/>
                  <a:moveTo>
                    <a:pt x="35660" y="0"/>
                  </a:moveTo>
                  <a:cubicBezTo>
                    <a:pt x="35660" y="0"/>
                    <a:pt x="35660" y="0"/>
                    <a:pt x="442942" y="0"/>
                  </a:cubicBezTo>
                  <a:cubicBezTo>
                    <a:pt x="452233" y="0"/>
                    <a:pt x="459976" y="7729"/>
                    <a:pt x="459976" y="17004"/>
                  </a:cubicBezTo>
                  <a:cubicBezTo>
                    <a:pt x="459976" y="17004"/>
                    <a:pt x="459976" y="17004"/>
                    <a:pt x="459976" y="267421"/>
                  </a:cubicBezTo>
                  <a:cubicBezTo>
                    <a:pt x="459976" y="267421"/>
                    <a:pt x="459976" y="267421"/>
                    <a:pt x="425907" y="267421"/>
                  </a:cubicBezTo>
                  <a:cubicBezTo>
                    <a:pt x="425907" y="267421"/>
                    <a:pt x="425907" y="267421"/>
                    <a:pt x="425907" y="34007"/>
                  </a:cubicBezTo>
                  <a:cubicBezTo>
                    <a:pt x="425907" y="34007"/>
                    <a:pt x="425907" y="34007"/>
                    <a:pt x="52695" y="34007"/>
                  </a:cubicBezTo>
                  <a:lnTo>
                    <a:pt x="52695" y="267421"/>
                  </a:lnTo>
                  <a:cubicBezTo>
                    <a:pt x="52695" y="267421"/>
                    <a:pt x="52695" y="267421"/>
                    <a:pt x="20174" y="267421"/>
                  </a:cubicBezTo>
                  <a:cubicBezTo>
                    <a:pt x="20174" y="267421"/>
                    <a:pt x="20174" y="267421"/>
                    <a:pt x="20174" y="17004"/>
                  </a:cubicBezTo>
                  <a:cubicBezTo>
                    <a:pt x="20174" y="7729"/>
                    <a:pt x="26369" y="0"/>
                    <a:pt x="35660" y="0"/>
                  </a:cubicBezTo>
                  <a:close/>
                </a:path>
              </a:pathLst>
            </a:custGeom>
            <a:solidFill>
              <a:srgbClr val="7F7F7F"/>
            </a:solidFill>
            <a:ln>
              <a:noFill/>
            </a:ln>
          </p:spPr>
          <p:txBody>
            <a:bodyPr vert="horz" wrap="square" lIns="68517" tIns="34258" rIns="68517" bIns="3425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349" b="0" i="0" u="none" strike="noStrike" kern="0" cap="none" spc="0" normalizeH="0" baseline="0" noProof="0">
                <a:ln>
                  <a:noFill/>
                </a:ln>
                <a:solidFill>
                  <a:srgbClr val="000000"/>
                </a:solidFill>
                <a:effectLst/>
                <a:uLnTx/>
                <a:uFillTx/>
              </a:endParaRPr>
            </a:p>
          </p:txBody>
        </p:sp>
      </p:grpSp>
      <p:sp>
        <p:nvSpPr>
          <p:cNvPr id="9" name="TextBox 8"/>
          <p:cNvSpPr txBox="1"/>
          <p:nvPr/>
        </p:nvSpPr>
        <p:spPr>
          <a:xfrm>
            <a:off x="5070819" y="3026561"/>
            <a:ext cx="2195739" cy="329046"/>
          </a:xfrm>
          <a:prstGeom prst="rect">
            <a:avLst/>
          </a:prstGeom>
        </p:spPr>
        <p:txBody>
          <a:bodyPr wrap="square" rtlCol="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0000"/>
                </a:solidFill>
                <a:effectLst/>
                <a:uLnTx/>
                <a:uFillTx/>
                <a:latin typeface="Franklin Gothic Medium"/>
              </a:rPr>
              <a:t>Authoritative </a:t>
            </a:r>
            <a:r>
              <a:rPr kumimoji="0" lang="en-US" sz="1600" b="0" i="0" u="none" strike="noStrike" kern="0" cap="none" spc="0" normalizeH="0" baseline="0" noProof="0" dirty="0">
                <a:ln>
                  <a:noFill/>
                </a:ln>
                <a:solidFill>
                  <a:srgbClr val="000000"/>
                </a:solidFill>
                <a:effectLst/>
                <a:uLnTx/>
                <a:uFillTx/>
                <a:latin typeface="Franklin Gothic Medium"/>
              </a:rPr>
              <a:t>L</a:t>
            </a:r>
            <a:r>
              <a:rPr kumimoji="0" lang="en-US" sz="1600" b="0" i="0" u="none" strike="noStrike" kern="0" cap="none" spc="0" normalizeH="0" baseline="0" noProof="0" dirty="0" smtClean="0">
                <a:ln>
                  <a:noFill/>
                </a:ln>
                <a:solidFill>
                  <a:srgbClr val="000000"/>
                </a:solidFill>
                <a:effectLst/>
                <a:uLnTx/>
                <a:uFillTx/>
                <a:latin typeface="Franklin Gothic Medium"/>
              </a:rPr>
              <a:t>ogs</a:t>
            </a:r>
          </a:p>
        </p:txBody>
      </p:sp>
      <p:grpSp>
        <p:nvGrpSpPr>
          <p:cNvPr id="10" name="Group 9"/>
          <p:cNvGrpSpPr/>
          <p:nvPr/>
        </p:nvGrpSpPr>
        <p:grpSpPr>
          <a:xfrm>
            <a:off x="3347016" y="1139976"/>
            <a:ext cx="2136771" cy="1801136"/>
            <a:chOff x="3346993" y="1141032"/>
            <a:chExt cx="2136771" cy="1802804"/>
          </a:xfrm>
        </p:grpSpPr>
        <p:sp>
          <p:nvSpPr>
            <p:cNvPr id="11" name="Rounded Rectangle 10"/>
            <p:cNvSpPr/>
            <p:nvPr/>
          </p:nvSpPr>
          <p:spPr bwMode="auto">
            <a:xfrm>
              <a:off x="3346993" y="1141032"/>
              <a:ext cx="2136771" cy="1802804"/>
            </a:xfrm>
            <a:prstGeom prst="roundRect">
              <a:avLst>
                <a:gd name="adj" fmla="val 3753"/>
              </a:avLst>
            </a:prstGeom>
            <a:solidFill>
              <a:srgbClr val="F37821">
                <a:lumMod val="40000"/>
                <a:lumOff val="60000"/>
              </a:srgbClr>
            </a:solidFill>
            <a:ln w="12700" cap="rnd" cmpd="sng" algn="ctr">
              <a:solidFill>
                <a:srgbClr val="F37821"/>
              </a:solidFill>
              <a:prstDash val="sysDot"/>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F37821"/>
                  </a:solidFill>
                  <a:effectLst/>
                  <a:uLnTx/>
                  <a:uFillTx/>
                  <a:latin typeface="Franklin Gothic Medium"/>
                </a:rPr>
                <a:t>Recursive DNS</a:t>
              </a:r>
              <a:endParaRPr kumimoji="0" lang="en-US" sz="1600" b="0" i="0" u="none" strike="noStrike" kern="0" cap="none" spc="0" normalizeH="0" baseline="0" noProof="0" dirty="0">
                <a:ln>
                  <a:noFill/>
                </a:ln>
                <a:solidFill>
                  <a:srgbClr val="F37821"/>
                </a:solidFill>
                <a:effectLst/>
                <a:uLnTx/>
                <a:uFillTx/>
                <a:latin typeface="Franklin Gothic Medium"/>
              </a:endParaRPr>
            </a:p>
          </p:txBody>
        </p:sp>
        <p:pic>
          <p:nvPicPr>
            <p:cNvPr id="12" name="Picture 11" descr="Logo_OpenDN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30826" y="1815587"/>
              <a:ext cx="1535247" cy="617119"/>
            </a:xfrm>
            <a:prstGeom prst="rect">
              <a:avLst/>
            </a:prstGeom>
          </p:spPr>
        </p:pic>
      </p:grpSp>
      <p:cxnSp>
        <p:nvCxnSpPr>
          <p:cNvPr id="13" name="Straight Arrow Connector 12"/>
          <p:cNvCxnSpPr/>
          <p:nvPr/>
        </p:nvCxnSpPr>
        <p:spPr bwMode="auto">
          <a:xfrm>
            <a:off x="1945856" y="2082598"/>
            <a:ext cx="1572090" cy="0"/>
          </a:xfrm>
          <a:prstGeom prst="straightConnector1">
            <a:avLst/>
          </a:prstGeom>
          <a:solidFill>
            <a:srgbClr val="F37821"/>
          </a:solidFill>
          <a:ln w="12700" cap="rnd" cmpd="sng" algn="ctr">
            <a:solidFill>
              <a:srgbClr val="000000">
                <a:lumMod val="65000"/>
                <a:lumOff val="35000"/>
              </a:srgb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 name="Straight Arrow Connector 13"/>
          <p:cNvCxnSpPr/>
          <p:nvPr/>
        </p:nvCxnSpPr>
        <p:spPr bwMode="auto">
          <a:xfrm flipH="1">
            <a:off x="1904435" y="2170039"/>
            <a:ext cx="1574774" cy="0"/>
          </a:xfrm>
          <a:prstGeom prst="straightConnector1">
            <a:avLst/>
          </a:prstGeom>
          <a:solidFill>
            <a:srgbClr val="F37821"/>
          </a:solidFill>
          <a:ln w="12700" cap="rnd" cmpd="sng" algn="ctr">
            <a:solidFill>
              <a:srgbClr val="EA610B"/>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5" name="Group 14"/>
          <p:cNvGrpSpPr/>
          <p:nvPr/>
        </p:nvGrpSpPr>
        <p:grpSpPr>
          <a:xfrm>
            <a:off x="6711222" y="1138578"/>
            <a:ext cx="2018006" cy="1801136"/>
            <a:chOff x="5718451" y="1139632"/>
            <a:chExt cx="2018006" cy="1802804"/>
          </a:xfrm>
        </p:grpSpPr>
        <p:sp>
          <p:nvSpPr>
            <p:cNvPr id="16" name="Rounded Rectangle 15"/>
            <p:cNvSpPr/>
            <p:nvPr/>
          </p:nvSpPr>
          <p:spPr bwMode="auto">
            <a:xfrm>
              <a:off x="5718451" y="1139632"/>
              <a:ext cx="1926317" cy="1802804"/>
            </a:xfrm>
            <a:prstGeom prst="roundRect">
              <a:avLst>
                <a:gd name="adj" fmla="val 3753"/>
              </a:avLst>
            </a:prstGeom>
            <a:solidFill>
              <a:srgbClr val="FFFFFF"/>
            </a:solidFill>
            <a:ln w="12700" cap="rnd" cmpd="sng" algn="ctr">
              <a:solidFill>
                <a:srgbClr val="7F7F7F"/>
              </a:solidFill>
              <a:prstDash val="sysDot"/>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7F7F7F"/>
                  </a:solidFill>
                  <a:effectLst/>
                  <a:uLnTx/>
                  <a:uFillTx/>
                  <a:latin typeface="Franklin Gothic Medium"/>
                </a:rPr>
                <a:t>Authoritative DNS</a:t>
              </a:r>
              <a:endParaRPr kumimoji="0" lang="en-US" sz="1600" b="0" i="0" u="none" strike="noStrike" kern="0" cap="none" spc="0" normalizeH="0" baseline="0" noProof="0" dirty="0">
                <a:ln>
                  <a:noFill/>
                </a:ln>
                <a:solidFill>
                  <a:srgbClr val="7F7F7F"/>
                </a:solidFill>
                <a:effectLst/>
                <a:uLnTx/>
                <a:uFillTx/>
                <a:latin typeface="Franklin Gothic Medium"/>
              </a:endParaRPr>
            </a:p>
          </p:txBody>
        </p:sp>
        <p:grpSp>
          <p:nvGrpSpPr>
            <p:cNvPr id="17" name="Group 16"/>
            <p:cNvGrpSpPr/>
            <p:nvPr/>
          </p:nvGrpSpPr>
          <p:grpSpPr>
            <a:xfrm>
              <a:off x="5925604" y="1622960"/>
              <a:ext cx="365495" cy="232899"/>
              <a:chOff x="6674579" y="1715362"/>
              <a:chExt cx="457059" cy="291245"/>
            </a:xfrm>
          </p:grpSpPr>
          <p:sp>
            <p:nvSpPr>
              <p:cNvPr id="41" name="Freeform 11"/>
              <p:cNvSpPr>
                <a:spLocks noEditPoints="1"/>
              </p:cNvSpPr>
              <p:nvPr/>
            </p:nvSpPr>
            <p:spPr bwMode="auto">
              <a:xfrm>
                <a:off x="6674579" y="1826704"/>
                <a:ext cx="457059" cy="179903"/>
              </a:xfrm>
              <a:custGeom>
                <a:avLst/>
                <a:gdLst>
                  <a:gd name="T0" fmla="*/ 295 w 305"/>
                  <a:gd name="T1" fmla="*/ 0 h 159"/>
                  <a:gd name="T2" fmla="*/ 10 w 305"/>
                  <a:gd name="T3" fmla="*/ 0 h 159"/>
                  <a:gd name="T4" fmla="*/ 0 w 305"/>
                  <a:gd name="T5" fmla="*/ 11 h 159"/>
                  <a:gd name="T6" fmla="*/ 0 w 305"/>
                  <a:gd name="T7" fmla="*/ 91 h 159"/>
                  <a:gd name="T8" fmla="*/ 10 w 305"/>
                  <a:gd name="T9" fmla="*/ 102 h 159"/>
                  <a:gd name="T10" fmla="*/ 142 w 305"/>
                  <a:gd name="T11" fmla="*/ 102 h 159"/>
                  <a:gd name="T12" fmla="*/ 142 w 305"/>
                  <a:gd name="T13" fmla="*/ 129 h 159"/>
                  <a:gd name="T14" fmla="*/ 136 w 305"/>
                  <a:gd name="T15" fmla="*/ 142 h 159"/>
                  <a:gd name="T16" fmla="*/ 153 w 305"/>
                  <a:gd name="T17" fmla="*/ 159 h 159"/>
                  <a:gd name="T18" fmla="*/ 170 w 305"/>
                  <a:gd name="T19" fmla="*/ 142 h 159"/>
                  <a:gd name="T20" fmla="*/ 163 w 305"/>
                  <a:gd name="T21" fmla="*/ 129 h 159"/>
                  <a:gd name="T22" fmla="*/ 163 w 305"/>
                  <a:gd name="T23" fmla="*/ 102 h 159"/>
                  <a:gd name="T24" fmla="*/ 295 w 305"/>
                  <a:gd name="T25" fmla="*/ 102 h 159"/>
                  <a:gd name="T26" fmla="*/ 305 w 305"/>
                  <a:gd name="T27" fmla="*/ 91 h 159"/>
                  <a:gd name="T28" fmla="*/ 305 w 305"/>
                  <a:gd name="T29" fmla="*/ 11 h 159"/>
                  <a:gd name="T30" fmla="*/ 295 w 305"/>
                  <a:gd name="T31" fmla="*/ 0 h 159"/>
                  <a:gd name="T32" fmla="*/ 284 w 305"/>
                  <a:gd name="T33" fmla="*/ 81 h 159"/>
                  <a:gd name="T34" fmla="*/ 21 w 305"/>
                  <a:gd name="T35" fmla="*/ 81 h 159"/>
                  <a:gd name="T36" fmla="*/ 21 w 305"/>
                  <a:gd name="T37" fmla="*/ 22 h 159"/>
                  <a:gd name="T38" fmla="*/ 284 w 305"/>
                  <a:gd name="T39" fmla="*/ 22 h 159"/>
                  <a:gd name="T40" fmla="*/ 284 w 305"/>
                  <a:gd name="T41" fmla="*/ 8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59">
                    <a:moveTo>
                      <a:pt x="295" y="0"/>
                    </a:moveTo>
                    <a:cubicBezTo>
                      <a:pt x="10" y="0"/>
                      <a:pt x="10" y="0"/>
                      <a:pt x="10" y="0"/>
                    </a:cubicBezTo>
                    <a:cubicBezTo>
                      <a:pt x="4" y="0"/>
                      <a:pt x="0" y="5"/>
                      <a:pt x="0" y="11"/>
                    </a:cubicBezTo>
                    <a:cubicBezTo>
                      <a:pt x="0" y="91"/>
                      <a:pt x="0" y="91"/>
                      <a:pt x="0" y="91"/>
                    </a:cubicBezTo>
                    <a:cubicBezTo>
                      <a:pt x="0" y="97"/>
                      <a:pt x="4" y="102"/>
                      <a:pt x="10" y="102"/>
                    </a:cubicBezTo>
                    <a:cubicBezTo>
                      <a:pt x="142" y="102"/>
                      <a:pt x="142" y="102"/>
                      <a:pt x="142" y="102"/>
                    </a:cubicBezTo>
                    <a:cubicBezTo>
                      <a:pt x="142" y="129"/>
                      <a:pt x="142" y="129"/>
                      <a:pt x="142" y="129"/>
                    </a:cubicBezTo>
                    <a:cubicBezTo>
                      <a:pt x="138" y="132"/>
                      <a:pt x="136" y="137"/>
                      <a:pt x="136" y="142"/>
                    </a:cubicBezTo>
                    <a:cubicBezTo>
                      <a:pt x="136" y="151"/>
                      <a:pt x="143" y="159"/>
                      <a:pt x="153" y="159"/>
                    </a:cubicBezTo>
                    <a:cubicBezTo>
                      <a:pt x="162" y="159"/>
                      <a:pt x="170" y="151"/>
                      <a:pt x="170" y="142"/>
                    </a:cubicBezTo>
                    <a:cubicBezTo>
                      <a:pt x="170" y="137"/>
                      <a:pt x="167" y="132"/>
                      <a:pt x="163" y="129"/>
                    </a:cubicBezTo>
                    <a:cubicBezTo>
                      <a:pt x="163" y="102"/>
                      <a:pt x="163" y="102"/>
                      <a:pt x="163" y="102"/>
                    </a:cubicBezTo>
                    <a:cubicBezTo>
                      <a:pt x="295" y="102"/>
                      <a:pt x="295" y="102"/>
                      <a:pt x="295" y="102"/>
                    </a:cubicBezTo>
                    <a:cubicBezTo>
                      <a:pt x="300" y="102"/>
                      <a:pt x="305" y="97"/>
                      <a:pt x="305" y="91"/>
                    </a:cubicBezTo>
                    <a:cubicBezTo>
                      <a:pt x="305" y="11"/>
                      <a:pt x="305" y="11"/>
                      <a:pt x="305" y="11"/>
                    </a:cubicBezTo>
                    <a:cubicBezTo>
                      <a:pt x="305" y="5"/>
                      <a:pt x="300" y="0"/>
                      <a:pt x="295" y="0"/>
                    </a:cubicBezTo>
                    <a:moveTo>
                      <a:pt x="284" y="81"/>
                    </a:moveTo>
                    <a:cubicBezTo>
                      <a:pt x="21" y="81"/>
                      <a:pt x="21" y="81"/>
                      <a:pt x="21" y="81"/>
                    </a:cubicBezTo>
                    <a:cubicBezTo>
                      <a:pt x="21" y="22"/>
                      <a:pt x="21" y="22"/>
                      <a:pt x="21" y="22"/>
                    </a:cubicBezTo>
                    <a:cubicBezTo>
                      <a:pt x="284" y="22"/>
                      <a:pt x="284" y="22"/>
                      <a:pt x="284" y="22"/>
                    </a:cubicBezTo>
                    <a:lnTo>
                      <a:pt x="284" y="81"/>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42" name="Freeform 15"/>
              <p:cNvSpPr>
                <a:spLocks/>
              </p:cNvSpPr>
              <p:nvPr/>
            </p:nvSpPr>
            <p:spPr bwMode="auto">
              <a:xfrm>
                <a:off x="7058001" y="1964711"/>
                <a:ext cx="71098" cy="33010"/>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43" name="Freeform 16"/>
              <p:cNvSpPr>
                <a:spLocks/>
              </p:cNvSpPr>
              <p:nvPr/>
            </p:nvSpPr>
            <p:spPr bwMode="auto">
              <a:xfrm>
                <a:off x="6964050" y="1964711"/>
                <a:ext cx="68559" cy="33010"/>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44" name="Freeform 17"/>
              <p:cNvSpPr>
                <a:spLocks/>
              </p:cNvSpPr>
              <p:nvPr/>
            </p:nvSpPr>
            <p:spPr bwMode="auto">
              <a:xfrm>
                <a:off x="6771704" y="1964711"/>
                <a:ext cx="70463" cy="33010"/>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45" name="Freeform 18"/>
              <p:cNvSpPr>
                <a:spLocks/>
              </p:cNvSpPr>
              <p:nvPr/>
            </p:nvSpPr>
            <p:spPr bwMode="auto">
              <a:xfrm>
                <a:off x="6677118" y="1964711"/>
                <a:ext cx="69194" cy="33010"/>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46" name="Rounded Rectangle 45"/>
              <p:cNvSpPr/>
              <p:nvPr/>
            </p:nvSpPr>
            <p:spPr bwMode="auto">
              <a:xfrm>
                <a:off x="6690986" y="1715362"/>
                <a:ext cx="427973" cy="86987"/>
              </a:xfrm>
              <a:prstGeom prst="roundRect">
                <a:avLst>
                  <a:gd name="adj" fmla="val 1394"/>
                </a:avLst>
              </a:prstGeom>
              <a:noFill/>
              <a:ln w="2857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7" name="Oval 46"/>
              <p:cNvSpPr/>
              <p:nvPr/>
            </p:nvSpPr>
            <p:spPr bwMode="auto">
              <a:xfrm>
                <a:off x="7009922" y="1735064"/>
                <a:ext cx="45719" cy="45719"/>
              </a:xfrm>
              <a:prstGeom prst="ellipse">
                <a:avLst/>
              </a:prstGeom>
              <a:solidFill>
                <a:srgbClr val="FFFFFF"/>
              </a:solidFill>
              <a:ln w="952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8" name="Oval 47"/>
              <p:cNvSpPr/>
              <p:nvPr/>
            </p:nvSpPr>
            <p:spPr bwMode="auto">
              <a:xfrm>
                <a:off x="7009922" y="1862064"/>
                <a:ext cx="45719" cy="45719"/>
              </a:xfrm>
              <a:prstGeom prst="ellipse">
                <a:avLst/>
              </a:prstGeom>
              <a:solidFill>
                <a:srgbClr val="FFFFFF"/>
              </a:solidFill>
              <a:ln w="952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18" name="Group 17"/>
            <p:cNvGrpSpPr/>
            <p:nvPr/>
          </p:nvGrpSpPr>
          <p:grpSpPr>
            <a:xfrm>
              <a:off x="5917252" y="2050119"/>
              <a:ext cx="365495" cy="232899"/>
              <a:chOff x="6674579" y="1715362"/>
              <a:chExt cx="457059" cy="291245"/>
            </a:xfrm>
          </p:grpSpPr>
          <p:sp>
            <p:nvSpPr>
              <p:cNvPr id="33" name="Freeform 11"/>
              <p:cNvSpPr>
                <a:spLocks noEditPoints="1"/>
              </p:cNvSpPr>
              <p:nvPr/>
            </p:nvSpPr>
            <p:spPr bwMode="auto">
              <a:xfrm>
                <a:off x="6674579" y="1826704"/>
                <a:ext cx="457059" cy="179903"/>
              </a:xfrm>
              <a:custGeom>
                <a:avLst/>
                <a:gdLst>
                  <a:gd name="T0" fmla="*/ 295 w 305"/>
                  <a:gd name="T1" fmla="*/ 0 h 159"/>
                  <a:gd name="T2" fmla="*/ 10 w 305"/>
                  <a:gd name="T3" fmla="*/ 0 h 159"/>
                  <a:gd name="T4" fmla="*/ 0 w 305"/>
                  <a:gd name="T5" fmla="*/ 11 h 159"/>
                  <a:gd name="T6" fmla="*/ 0 w 305"/>
                  <a:gd name="T7" fmla="*/ 91 h 159"/>
                  <a:gd name="T8" fmla="*/ 10 w 305"/>
                  <a:gd name="T9" fmla="*/ 102 h 159"/>
                  <a:gd name="T10" fmla="*/ 142 w 305"/>
                  <a:gd name="T11" fmla="*/ 102 h 159"/>
                  <a:gd name="T12" fmla="*/ 142 w 305"/>
                  <a:gd name="T13" fmla="*/ 129 h 159"/>
                  <a:gd name="T14" fmla="*/ 136 w 305"/>
                  <a:gd name="T15" fmla="*/ 142 h 159"/>
                  <a:gd name="T16" fmla="*/ 153 w 305"/>
                  <a:gd name="T17" fmla="*/ 159 h 159"/>
                  <a:gd name="T18" fmla="*/ 170 w 305"/>
                  <a:gd name="T19" fmla="*/ 142 h 159"/>
                  <a:gd name="T20" fmla="*/ 163 w 305"/>
                  <a:gd name="T21" fmla="*/ 129 h 159"/>
                  <a:gd name="T22" fmla="*/ 163 w 305"/>
                  <a:gd name="T23" fmla="*/ 102 h 159"/>
                  <a:gd name="T24" fmla="*/ 295 w 305"/>
                  <a:gd name="T25" fmla="*/ 102 h 159"/>
                  <a:gd name="T26" fmla="*/ 305 w 305"/>
                  <a:gd name="T27" fmla="*/ 91 h 159"/>
                  <a:gd name="T28" fmla="*/ 305 w 305"/>
                  <a:gd name="T29" fmla="*/ 11 h 159"/>
                  <a:gd name="T30" fmla="*/ 295 w 305"/>
                  <a:gd name="T31" fmla="*/ 0 h 159"/>
                  <a:gd name="T32" fmla="*/ 284 w 305"/>
                  <a:gd name="T33" fmla="*/ 81 h 159"/>
                  <a:gd name="T34" fmla="*/ 21 w 305"/>
                  <a:gd name="T35" fmla="*/ 81 h 159"/>
                  <a:gd name="T36" fmla="*/ 21 w 305"/>
                  <a:gd name="T37" fmla="*/ 22 h 159"/>
                  <a:gd name="T38" fmla="*/ 284 w 305"/>
                  <a:gd name="T39" fmla="*/ 22 h 159"/>
                  <a:gd name="T40" fmla="*/ 284 w 305"/>
                  <a:gd name="T41" fmla="*/ 8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59">
                    <a:moveTo>
                      <a:pt x="295" y="0"/>
                    </a:moveTo>
                    <a:cubicBezTo>
                      <a:pt x="10" y="0"/>
                      <a:pt x="10" y="0"/>
                      <a:pt x="10" y="0"/>
                    </a:cubicBezTo>
                    <a:cubicBezTo>
                      <a:pt x="4" y="0"/>
                      <a:pt x="0" y="5"/>
                      <a:pt x="0" y="11"/>
                    </a:cubicBezTo>
                    <a:cubicBezTo>
                      <a:pt x="0" y="91"/>
                      <a:pt x="0" y="91"/>
                      <a:pt x="0" y="91"/>
                    </a:cubicBezTo>
                    <a:cubicBezTo>
                      <a:pt x="0" y="97"/>
                      <a:pt x="4" y="102"/>
                      <a:pt x="10" y="102"/>
                    </a:cubicBezTo>
                    <a:cubicBezTo>
                      <a:pt x="142" y="102"/>
                      <a:pt x="142" y="102"/>
                      <a:pt x="142" y="102"/>
                    </a:cubicBezTo>
                    <a:cubicBezTo>
                      <a:pt x="142" y="129"/>
                      <a:pt x="142" y="129"/>
                      <a:pt x="142" y="129"/>
                    </a:cubicBezTo>
                    <a:cubicBezTo>
                      <a:pt x="138" y="132"/>
                      <a:pt x="136" y="137"/>
                      <a:pt x="136" y="142"/>
                    </a:cubicBezTo>
                    <a:cubicBezTo>
                      <a:pt x="136" y="151"/>
                      <a:pt x="143" y="159"/>
                      <a:pt x="153" y="159"/>
                    </a:cubicBezTo>
                    <a:cubicBezTo>
                      <a:pt x="162" y="159"/>
                      <a:pt x="170" y="151"/>
                      <a:pt x="170" y="142"/>
                    </a:cubicBezTo>
                    <a:cubicBezTo>
                      <a:pt x="170" y="137"/>
                      <a:pt x="167" y="132"/>
                      <a:pt x="163" y="129"/>
                    </a:cubicBezTo>
                    <a:cubicBezTo>
                      <a:pt x="163" y="102"/>
                      <a:pt x="163" y="102"/>
                      <a:pt x="163" y="102"/>
                    </a:cubicBezTo>
                    <a:cubicBezTo>
                      <a:pt x="295" y="102"/>
                      <a:pt x="295" y="102"/>
                      <a:pt x="295" y="102"/>
                    </a:cubicBezTo>
                    <a:cubicBezTo>
                      <a:pt x="300" y="102"/>
                      <a:pt x="305" y="97"/>
                      <a:pt x="305" y="91"/>
                    </a:cubicBezTo>
                    <a:cubicBezTo>
                      <a:pt x="305" y="11"/>
                      <a:pt x="305" y="11"/>
                      <a:pt x="305" y="11"/>
                    </a:cubicBezTo>
                    <a:cubicBezTo>
                      <a:pt x="305" y="5"/>
                      <a:pt x="300" y="0"/>
                      <a:pt x="295" y="0"/>
                    </a:cubicBezTo>
                    <a:moveTo>
                      <a:pt x="284" y="81"/>
                    </a:moveTo>
                    <a:cubicBezTo>
                      <a:pt x="21" y="81"/>
                      <a:pt x="21" y="81"/>
                      <a:pt x="21" y="81"/>
                    </a:cubicBezTo>
                    <a:cubicBezTo>
                      <a:pt x="21" y="22"/>
                      <a:pt x="21" y="22"/>
                      <a:pt x="21" y="22"/>
                    </a:cubicBezTo>
                    <a:cubicBezTo>
                      <a:pt x="284" y="22"/>
                      <a:pt x="284" y="22"/>
                      <a:pt x="284" y="22"/>
                    </a:cubicBezTo>
                    <a:lnTo>
                      <a:pt x="284" y="81"/>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34" name="Freeform 15"/>
              <p:cNvSpPr>
                <a:spLocks/>
              </p:cNvSpPr>
              <p:nvPr/>
            </p:nvSpPr>
            <p:spPr bwMode="auto">
              <a:xfrm>
                <a:off x="7058001" y="1964711"/>
                <a:ext cx="71098" cy="33010"/>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35" name="Freeform 16"/>
              <p:cNvSpPr>
                <a:spLocks/>
              </p:cNvSpPr>
              <p:nvPr/>
            </p:nvSpPr>
            <p:spPr bwMode="auto">
              <a:xfrm>
                <a:off x="6964050" y="1964711"/>
                <a:ext cx="68559" cy="33010"/>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36" name="Freeform 17"/>
              <p:cNvSpPr>
                <a:spLocks/>
              </p:cNvSpPr>
              <p:nvPr/>
            </p:nvSpPr>
            <p:spPr bwMode="auto">
              <a:xfrm>
                <a:off x="6771704" y="1964711"/>
                <a:ext cx="70463" cy="33010"/>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37" name="Freeform 18"/>
              <p:cNvSpPr>
                <a:spLocks/>
              </p:cNvSpPr>
              <p:nvPr/>
            </p:nvSpPr>
            <p:spPr bwMode="auto">
              <a:xfrm>
                <a:off x="6677118" y="1964711"/>
                <a:ext cx="69194" cy="33010"/>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38" name="Rounded Rectangle 37"/>
              <p:cNvSpPr/>
              <p:nvPr/>
            </p:nvSpPr>
            <p:spPr bwMode="auto">
              <a:xfrm>
                <a:off x="6690986" y="1715362"/>
                <a:ext cx="427973" cy="86987"/>
              </a:xfrm>
              <a:prstGeom prst="roundRect">
                <a:avLst>
                  <a:gd name="adj" fmla="val 1394"/>
                </a:avLst>
              </a:prstGeom>
              <a:noFill/>
              <a:ln w="2857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39" name="Oval 38"/>
              <p:cNvSpPr/>
              <p:nvPr/>
            </p:nvSpPr>
            <p:spPr bwMode="auto">
              <a:xfrm>
                <a:off x="7009922" y="1735064"/>
                <a:ext cx="45719" cy="45719"/>
              </a:xfrm>
              <a:prstGeom prst="ellipse">
                <a:avLst/>
              </a:prstGeom>
              <a:solidFill>
                <a:srgbClr val="FFFFFF"/>
              </a:solidFill>
              <a:ln w="952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40" name="Oval 39"/>
              <p:cNvSpPr/>
              <p:nvPr/>
            </p:nvSpPr>
            <p:spPr bwMode="auto">
              <a:xfrm>
                <a:off x="7009922" y="1862064"/>
                <a:ext cx="45719" cy="45719"/>
              </a:xfrm>
              <a:prstGeom prst="ellipse">
                <a:avLst/>
              </a:prstGeom>
              <a:solidFill>
                <a:srgbClr val="FFFFFF"/>
              </a:solidFill>
              <a:ln w="952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grpSp>
          <p:nvGrpSpPr>
            <p:cNvPr id="19" name="Group 18"/>
            <p:cNvGrpSpPr/>
            <p:nvPr/>
          </p:nvGrpSpPr>
          <p:grpSpPr>
            <a:xfrm>
              <a:off x="5923103" y="2491451"/>
              <a:ext cx="365495" cy="232899"/>
              <a:chOff x="6674579" y="1715362"/>
              <a:chExt cx="457059" cy="291245"/>
            </a:xfrm>
          </p:grpSpPr>
          <p:sp>
            <p:nvSpPr>
              <p:cNvPr id="25" name="Freeform 11"/>
              <p:cNvSpPr>
                <a:spLocks noEditPoints="1"/>
              </p:cNvSpPr>
              <p:nvPr/>
            </p:nvSpPr>
            <p:spPr bwMode="auto">
              <a:xfrm>
                <a:off x="6674579" y="1826704"/>
                <a:ext cx="457059" cy="179903"/>
              </a:xfrm>
              <a:custGeom>
                <a:avLst/>
                <a:gdLst>
                  <a:gd name="T0" fmla="*/ 295 w 305"/>
                  <a:gd name="T1" fmla="*/ 0 h 159"/>
                  <a:gd name="T2" fmla="*/ 10 w 305"/>
                  <a:gd name="T3" fmla="*/ 0 h 159"/>
                  <a:gd name="T4" fmla="*/ 0 w 305"/>
                  <a:gd name="T5" fmla="*/ 11 h 159"/>
                  <a:gd name="T6" fmla="*/ 0 w 305"/>
                  <a:gd name="T7" fmla="*/ 91 h 159"/>
                  <a:gd name="T8" fmla="*/ 10 w 305"/>
                  <a:gd name="T9" fmla="*/ 102 h 159"/>
                  <a:gd name="T10" fmla="*/ 142 w 305"/>
                  <a:gd name="T11" fmla="*/ 102 h 159"/>
                  <a:gd name="T12" fmla="*/ 142 w 305"/>
                  <a:gd name="T13" fmla="*/ 129 h 159"/>
                  <a:gd name="T14" fmla="*/ 136 w 305"/>
                  <a:gd name="T15" fmla="*/ 142 h 159"/>
                  <a:gd name="T16" fmla="*/ 153 w 305"/>
                  <a:gd name="T17" fmla="*/ 159 h 159"/>
                  <a:gd name="T18" fmla="*/ 170 w 305"/>
                  <a:gd name="T19" fmla="*/ 142 h 159"/>
                  <a:gd name="T20" fmla="*/ 163 w 305"/>
                  <a:gd name="T21" fmla="*/ 129 h 159"/>
                  <a:gd name="T22" fmla="*/ 163 w 305"/>
                  <a:gd name="T23" fmla="*/ 102 h 159"/>
                  <a:gd name="T24" fmla="*/ 295 w 305"/>
                  <a:gd name="T25" fmla="*/ 102 h 159"/>
                  <a:gd name="T26" fmla="*/ 305 w 305"/>
                  <a:gd name="T27" fmla="*/ 91 h 159"/>
                  <a:gd name="T28" fmla="*/ 305 w 305"/>
                  <a:gd name="T29" fmla="*/ 11 h 159"/>
                  <a:gd name="T30" fmla="*/ 295 w 305"/>
                  <a:gd name="T31" fmla="*/ 0 h 159"/>
                  <a:gd name="T32" fmla="*/ 284 w 305"/>
                  <a:gd name="T33" fmla="*/ 81 h 159"/>
                  <a:gd name="T34" fmla="*/ 21 w 305"/>
                  <a:gd name="T35" fmla="*/ 81 h 159"/>
                  <a:gd name="T36" fmla="*/ 21 w 305"/>
                  <a:gd name="T37" fmla="*/ 22 h 159"/>
                  <a:gd name="T38" fmla="*/ 284 w 305"/>
                  <a:gd name="T39" fmla="*/ 22 h 159"/>
                  <a:gd name="T40" fmla="*/ 284 w 305"/>
                  <a:gd name="T41" fmla="*/ 8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59">
                    <a:moveTo>
                      <a:pt x="295" y="0"/>
                    </a:moveTo>
                    <a:cubicBezTo>
                      <a:pt x="10" y="0"/>
                      <a:pt x="10" y="0"/>
                      <a:pt x="10" y="0"/>
                    </a:cubicBezTo>
                    <a:cubicBezTo>
                      <a:pt x="4" y="0"/>
                      <a:pt x="0" y="5"/>
                      <a:pt x="0" y="11"/>
                    </a:cubicBezTo>
                    <a:cubicBezTo>
                      <a:pt x="0" y="91"/>
                      <a:pt x="0" y="91"/>
                      <a:pt x="0" y="91"/>
                    </a:cubicBezTo>
                    <a:cubicBezTo>
                      <a:pt x="0" y="97"/>
                      <a:pt x="4" y="102"/>
                      <a:pt x="10" y="102"/>
                    </a:cubicBezTo>
                    <a:cubicBezTo>
                      <a:pt x="142" y="102"/>
                      <a:pt x="142" y="102"/>
                      <a:pt x="142" y="102"/>
                    </a:cubicBezTo>
                    <a:cubicBezTo>
                      <a:pt x="142" y="129"/>
                      <a:pt x="142" y="129"/>
                      <a:pt x="142" y="129"/>
                    </a:cubicBezTo>
                    <a:cubicBezTo>
                      <a:pt x="138" y="132"/>
                      <a:pt x="136" y="137"/>
                      <a:pt x="136" y="142"/>
                    </a:cubicBezTo>
                    <a:cubicBezTo>
                      <a:pt x="136" y="151"/>
                      <a:pt x="143" y="159"/>
                      <a:pt x="153" y="159"/>
                    </a:cubicBezTo>
                    <a:cubicBezTo>
                      <a:pt x="162" y="159"/>
                      <a:pt x="170" y="151"/>
                      <a:pt x="170" y="142"/>
                    </a:cubicBezTo>
                    <a:cubicBezTo>
                      <a:pt x="170" y="137"/>
                      <a:pt x="167" y="132"/>
                      <a:pt x="163" y="129"/>
                    </a:cubicBezTo>
                    <a:cubicBezTo>
                      <a:pt x="163" y="102"/>
                      <a:pt x="163" y="102"/>
                      <a:pt x="163" y="102"/>
                    </a:cubicBezTo>
                    <a:cubicBezTo>
                      <a:pt x="295" y="102"/>
                      <a:pt x="295" y="102"/>
                      <a:pt x="295" y="102"/>
                    </a:cubicBezTo>
                    <a:cubicBezTo>
                      <a:pt x="300" y="102"/>
                      <a:pt x="305" y="97"/>
                      <a:pt x="305" y="91"/>
                    </a:cubicBezTo>
                    <a:cubicBezTo>
                      <a:pt x="305" y="11"/>
                      <a:pt x="305" y="11"/>
                      <a:pt x="305" y="11"/>
                    </a:cubicBezTo>
                    <a:cubicBezTo>
                      <a:pt x="305" y="5"/>
                      <a:pt x="300" y="0"/>
                      <a:pt x="295" y="0"/>
                    </a:cubicBezTo>
                    <a:moveTo>
                      <a:pt x="284" y="81"/>
                    </a:moveTo>
                    <a:cubicBezTo>
                      <a:pt x="21" y="81"/>
                      <a:pt x="21" y="81"/>
                      <a:pt x="21" y="81"/>
                    </a:cubicBezTo>
                    <a:cubicBezTo>
                      <a:pt x="21" y="22"/>
                      <a:pt x="21" y="22"/>
                      <a:pt x="21" y="22"/>
                    </a:cubicBezTo>
                    <a:cubicBezTo>
                      <a:pt x="284" y="22"/>
                      <a:pt x="284" y="22"/>
                      <a:pt x="284" y="22"/>
                    </a:cubicBezTo>
                    <a:lnTo>
                      <a:pt x="284" y="81"/>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26" name="Freeform 15"/>
              <p:cNvSpPr>
                <a:spLocks/>
              </p:cNvSpPr>
              <p:nvPr/>
            </p:nvSpPr>
            <p:spPr bwMode="auto">
              <a:xfrm>
                <a:off x="7058001" y="1964711"/>
                <a:ext cx="71098" cy="33010"/>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27" name="Freeform 16"/>
              <p:cNvSpPr>
                <a:spLocks/>
              </p:cNvSpPr>
              <p:nvPr/>
            </p:nvSpPr>
            <p:spPr bwMode="auto">
              <a:xfrm>
                <a:off x="6964050" y="1964711"/>
                <a:ext cx="68559" cy="33010"/>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28" name="Freeform 17"/>
              <p:cNvSpPr>
                <a:spLocks/>
              </p:cNvSpPr>
              <p:nvPr/>
            </p:nvSpPr>
            <p:spPr bwMode="auto">
              <a:xfrm>
                <a:off x="6771704" y="1964711"/>
                <a:ext cx="70463" cy="33010"/>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29" name="Freeform 18"/>
              <p:cNvSpPr>
                <a:spLocks/>
              </p:cNvSpPr>
              <p:nvPr/>
            </p:nvSpPr>
            <p:spPr bwMode="auto">
              <a:xfrm>
                <a:off x="6677118" y="1964711"/>
                <a:ext cx="69194" cy="33010"/>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7CBA2B"/>
                  </a:solidFill>
                  <a:effectLst/>
                  <a:uLnTx/>
                  <a:uFillTx/>
                </a:endParaRPr>
              </a:p>
            </p:txBody>
          </p:sp>
          <p:sp>
            <p:nvSpPr>
              <p:cNvPr id="30" name="Rounded Rectangle 29"/>
              <p:cNvSpPr/>
              <p:nvPr/>
            </p:nvSpPr>
            <p:spPr bwMode="auto">
              <a:xfrm>
                <a:off x="6690986" y="1715362"/>
                <a:ext cx="427973" cy="86987"/>
              </a:xfrm>
              <a:prstGeom prst="roundRect">
                <a:avLst>
                  <a:gd name="adj" fmla="val 1394"/>
                </a:avLst>
              </a:prstGeom>
              <a:noFill/>
              <a:ln w="2857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31" name="Oval 30"/>
              <p:cNvSpPr/>
              <p:nvPr/>
            </p:nvSpPr>
            <p:spPr bwMode="auto">
              <a:xfrm>
                <a:off x="7009922" y="1735064"/>
                <a:ext cx="45719" cy="45719"/>
              </a:xfrm>
              <a:prstGeom prst="ellipse">
                <a:avLst/>
              </a:prstGeom>
              <a:solidFill>
                <a:srgbClr val="FFFFFF"/>
              </a:solidFill>
              <a:ln w="952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32" name="Oval 31"/>
              <p:cNvSpPr/>
              <p:nvPr/>
            </p:nvSpPr>
            <p:spPr bwMode="auto">
              <a:xfrm>
                <a:off x="7009922" y="1862064"/>
                <a:ext cx="45719" cy="45719"/>
              </a:xfrm>
              <a:prstGeom prst="ellipse">
                <a:avLst/>
              </a:prstGeom>
              <a:solidFill>
                <a:srgbClr val="FFFFFF"/>
              </a:solidFill>
              <a:ln w="9525" cap="rnd" cmpd="sng" algn="ctr">
                <a:solidFill>
                  <a:srgbClr val="7F7F7F"/>
                </a:solidFill>
                <a:prstDash val="solid"/>
                <a:round/>
                <a:headEnd type="none" w="med" len="med"/>
                <a:tailEnd type="none" w="med" len="med"/>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sp>
          <p:nvSpPr>
            <p:cNvPr id="20" name="TextBox 19"/>
            <p:cNvSpPr txBox="1"/>
            <p:nvPr/>
          </p:nvSpPr>
          <p:spPr>
            <a:xfrm>
              <a:off x="6405406" y="1587891"/>
              <a:ext cx="749332" cy="246521"/>
            </a:xfrm>
            <a:prstGeom prst="rect">
              <a:avLst/>
            </a:prstGeom>
          </p:spPr>
          <p:txBody>
            <a:bodyPr wrap="square"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7F7F7F"/>
                  </a:solidFill>
                  <a:effectLst/>
                  <a:uLnTx/>
                  <a:uFillTx/>
                  <a:latin typeface="Franklin Gothic Book"/>
                </a:rPr>
                <a:t>root</a:t>
              </a:r>
            </a:p>
          </p:txBody>
        </p:sp>
        <p:sp>
          <p:nvSpPr>
            <p:cNvPr id="21" name="TextBox 20"/>
            <p:cNvSpPr txBox="1"/>
            <p:nvPr/>
          </p:nvSpPr>
          <p:spPr>
            <a:xfrm>
              <a:off x="6408960" y="2025307"/>
              <a:ext cx="749332" cy="246521"/>
            </a:xfrm>
            <a:prstGeom prst="rect">
              <a:avLst/>
            </a:prstGeom>
          </p:spPr>
          <p:txBody>
            <a:bodyPr wrap="square"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F7F7F"/>
                  </a:solidFill>
                  <a:effectLst/>
                  <a:uLnTx/>
                  <a:uFillTx/>
                  <a:latin typeface="Franklin Gothic Book"/>
                </a:rPr>
                <a:t>c</a:t>
              </a:r>
              <a:r>
                <a:rPr kumimoji="0" lang="en-US" sz="1400" b="0" i="0" u="none" strike="noStrike" kern="0" cap="none" spc="0" normalizeH="0" baseline="0" noProof="0" dirty="0" smtClean="0">
                  <a:ln>
                    <a:noFill/>
                  </a:ln>
                  <a:solidFill>
                    <a:srgbClr val="7F7F7F"/>
                  </a:solidFill>
                  <a:effectLst/>
                  <a:uLnTx/>
                  <a:uFillTx/>
                  <a:latin typeface="Franklin Gothic Book"/>
                </a:rPr>
                <a:t>om.</a:t>
              </a:r>
            </a:p>
          </p:txBody>
        </p:sp>
        <p:sp>
          <p:nvSpPr>
            <p:cNvPr id="22" name="TextBox 21"/>
            <p:cNvSpPr txBox="1"/>
            <p:nvPr/>
          </p:nvSpPr>
          <p:spPr>
            <a:xfrm>
              <a:off x="6402653" y="2462724"/>
              <a:ext cx="1333804" cy="246521"/>
            </a:xfrm>
            <a:prstGeom prst="rect">
              <a:avLst/>
            </a:prstGeom>
          </p:spPr>
          <p:txBody>
            <a:bodyPr wrap="square" rtlCol="0">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7F7F7F"/>
                  </a:solidFill>
                  <a:effectLst/>
                  <a:uLnTx/>
                  <a:uFillTx/>
                  <a:latin typeface="Franklin Gothic Book"/>
                </a:rPr>
                <a:t>d</a:t>
              </a:r>
              <a:r>
                <a:rPr kumimoji="0" lang="en-US" sz="1400" b="0" i="0" u="none" strike="noStrike" kern="0" cap="none" spc="0" normalizeH="0" baseline="0" noProof="0" dirty="0" smtClean="0">
                  <a:ln>
                    <a:noFill/>
                  </a:ln>
                  <a:solidFill>
                    <a:srgbClr val="7F7F7F"/>
                  </a:solidFill>
                  <a:effectLst/>
                  <a:uLnTx/>
                  <a:uFillTx/>
                  <a:latin typeface="Franklin Gothic Book"/>
                </a:rPr>
                <a:t>omain.com.</a:t>
              </a:r>
            </a:p>
          </p:txBody>
        </p:sp>
        <p:sp>
          <p:nvSpPr>
            <p:cNvPr id="23" name="Arc 22"/>
            <p:cNvSpPr/>
            <p:nvPr/>
          </p:nvSpPr>
          <p:spPr bwMode="auto">
            <a:xfrm>
              <a:off x="6415264" y="1676639"/>
              <a:ext cx="621158" cy="552207"/>
            </a:xfrm>
            <a:prstGeom prst="arc">
              <a:avLst>
                <a:gd name="adj1" fmla="val 17727636"/>
                <a:gd name="adj2" fmla="val 2212732"/>
              </a:avLst>
            </a:prstGeom>
            <a:noFill/>
            <a:ln w="12700" cap="rnd" cmpd="sng" algn="ctr">
              <a:solidFill>
                <a:srgbClr val="EA610B"/>
              </a:solidFill>
              <a:prstDash val="sysDash"/>
              <a:round/>
              <a:headEnd type="none" w="med" len="med"/>
              <a:tailEnd type="triangle" w="med" len="med"/>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sp>
          <p:nvSpPr>
            <p:cNvPr id="24" name="Arc 23"/>
            <p:cNvSpPr/>
            <p:nvPr/>
          </p:nvSpPr>
          <p:spPr bwMode="auto">
            <a:xfrm rot="18899027">
              <a:off x="6740616" y="2083553"/>
              <a:ext cx="655194" cy="608433"/>
            </a:xfrm>
            <a:prstGeom prst="arc">
              <a:avLst>
                <a:gd name="adj1" fmla="val 18073606"/>
                <a:gd name="adj2" fmla="val 4214969"/>
              </a:avLst>
            </a:prstGeom>
            <a:noFill/>
            <a:ln w="12700" cap="rnd" cmpd="sng" algn="ctr">
              <a:solidFill>
                <a:srgbClr val="EA610B"/>
              </a:solidFill>
              <a:prstDash val="sysDash"/>
              <a:round/>
              <a:headEnd type="none" w="med" len="med"/>
              <a:tailEnd type="triangle" w="med" len="med"/>
            </a:ln>
            <a:effectLst/>
            <a:ex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ysClr val="windowText" lastClr="000000"/>
                </a:solidFill>
                <a:effectLst/>
                <a:uLnTx/>
                <a:uFillTx/>
              </a:endParaRPr>
            </a:p>
          </p:txBody>
        </p:sp>
      </p:grpSp>
      <p:cxnSp>
        <p:nvCxnSpPr>
          <p:cNvPr id="49" name="Straight Arrow Connector 48"/>
          <p:cNvCxnSpPr/>
          <p:nvPr/>
        </p:nvCxnSpPr>
        <p:spPr bwMode="auto">
          <a:xfrm>
            <a:off x="5311440" y="2100046"/>
            <a:ext cx="1502097" cy="298"/>
          </a:xfrm>
          <a:prstGeom prst="straightConnector1">
            <a:avLst/>
          </a:prstGeom>
          <a:solidFill>
            <a:srgbClr val="F37821"/>
          </a:solidFill>
          <a:ln w="12700" cap="rnd" cmpd="sng" algn="ctr">
            <a:solidFill>
              <a:srgbClr val="000000">
                <a:lumMod val="65000"/>
                <a:lumOff val="35000"/>
              </a:srgb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0" name="Straight Arrow Connector 49"/>
          <p:cNvCxnSpPr/>
          <p:nvPr/>
        </p:nvCxnSpPr>
        <p:spPr bwMode="auto">
          <a:xfrm flipH="1">
            <a:off x="5284162" y="2166711"/>
            <a:ext cx="1529360" cy="386"/>
          </a:xfrm>
          <a:prstGeom prst="straightConnector1">
            <a:avLst/>
          </a:prstGeom>
          <a:solidFill>
            <a:srgbClr val="F37821"/>
          </a:solidFill>
          <a:ln w="12700" cap="rnd" cmpd="sng" algn="ctr">
            <a:solidFill>
              <a:srgbClr val="EA610B"/>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1" name="Straight Arrow Connector 50"/>
          <p:cNvCxnSpPr/>
          <p:nvPr/>
        </p:nvCxnSpPr>
        <p:spPr bwMode="auto">
          <a:xfrm flipV="1">
            <a:off x="5293414" y="1639685"/>
            <a:ext cx="1520108" cy="221790"/>
          </a:xfrm>
          <a:prstGeom prst="straightConnector1">
            <a:avLst/>
          </a:prstGeom>
          <a:solidFill>
            <a:srgbClr val="F37821"/>
          </a:solidFill>
          <a:ln w="12700" cap="rnd" cmpd="sng" algn="ctr">
            <a:solidFill>
              <a:srgbClr val="000000">
                <a:lumMod val="65000"/>
                <a:lumOff val="35000"/>
              </a:srgb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2" name="Straight Arrow Connector 51"/>
          <p:cNvCxnSpPr/>
          <p:nvPr/>
        </p:nvCxnSpPr>
        <p:spPr bwMode="auto">
          <a:xfrm>
            <a:off x="5302669" y="2310372"/>
            <a:ext cx="1539572" cy="240554"/>
          </a:xfrm>
          <a:prstGeom prst="straightConnector1">
            <a:avLst/>
          </a:prstGeom>
          <a:solidFill>
            <a:srgbClr val="F37821"/>
          </a:solidFill>
          <a:ln w="12700" cap="rnd" cmpd="sng" algn="ctr">
            <a:solidFill>
              <a:srgbClr val="000000">
                <a:lumMod val="65000"/>
                <a:lumOff val="35000"/>
              </a:srgbClr>
            </a:solidFill>
            <a:prstDash val="solid"/>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3" name="Straight Arrow Connector 52"/>
          <p:cNvCxnSpPr/>
          <p:nvPr/>
        </p:nvCxnSpPr>
        <p:spPr bwMode="auto">
          <a:xfrm>
            <a:off x="5273128" y="2393116"/>
            <a:ext cx="1539572" cy="240554"/>
          </a:xfrm>
          <a:prstGeom prst="straightConnector1">
            <a:avLst/>
          </a:prstGeom>
          <a:solidFill>
            <a:srgbClr val="F37821"/>
          </a:solidFill>
          <a:ln w="12700" cap="rnd" cmpd="sng" algn="ctr">
            <a:solidFill>
              <a:srgbClr val="EA610B"/>
            </a:solidFill>
            <a:prstDash val="solid"/>
            <a:round/>
            <a:headEnd type="triangl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4" name="Straight Arrow Connector 53"/>
          <p:cNvCxnSpPr/>
          <p:nvPr/>
        </p:nvCxnSpPr>
        <p:spPr bwMode="auto">
          <a:xfrm flipV="1">
            <a:off x="5302680" y="1717765"/>
            <a:ext cx="1510853" cy="213313"/>
          </a:xfrm>
          <a:prstGeom prst="straightConnector1">
            <a:avLst/>
          </a:prstGeom>
          <a:solidFill>
            <a:srgbClr val="F37821"/>
          </a:solidFill>
          <a:ln w="12700" cap="rnd" cmpd="sng" algn="ctr">
            <a:solidFill>
              <a:srgbClr val="EA610B"/>
            </a:solidFill>
            <a:prstDash val="solid"/>
            <a:round/>
            <a:headEnd type="triangle" w="med" len="med"/>
            <a:tailEnd type="non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5" name="TextBox 54"/>
          <p:cNvSpPr txBox="1"/>
          <p:nvPr/>
        </p:nvSpPr>
        <p:spPr>
          <a:xfrm>
            <a:off x="5037738" y="3394358"/>
            <a:ext cx="2245987" cy="1481753"/>
          </a:xfrm>
          <a:prstGeom prst="rect">
            <a:avLst/>
          </a:prstGeom>
          <a:solidFill>
            <a:srgbClr val="7F7F7F">
              <a:lumMod val="20000"/>
              <a:lumOff val="80000"/>
            </a:srgbClr>
          </a:solidFill>
          <a:ln>
            <a:solidFill>
              <a:srgbClr val="7F7F7F">
                <a:lumMod val="40000"/>
                <a:lumOff val="60000"/>
              </a:srgbClr>
            </a:solidFill>
          </a:ln>
        </p:spPr>
        <p:txBody>
          <a:bodyPr wrap="square" rtlCol="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見つけるために使う</a:t>
            </a:r>
            <a:r>
              <a:rPr kumimoji="0" lang="en-US" sz="120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a:t>
            </a:r>
            <a:endParaRPr kumimoji="0" lang="en-US" sz="120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endParaRPr>
          </a:p>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300"/>
              </a:spcAft>
              <a:buClrTx/>
              <a:buSzTx/>
              <a:buFontTx/>
              <a:buChar char="•"/>
              <a:tabLst/>
              <a:defRPr/>
            </a:pPr>
            <a:r>
              <a:rPr kumimoji="0" lang="ja-JP" altLang="en-US"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新しく準備されたインフラ</a:t>
            </a:r>
            <a:endParaRPr kumimoji="0" lang="en-US" altLang="ja-JP"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300"/>
              </a:spcAft>
              <a:buClrTx/>
              <a:buSzTx/>
              <a:buFontTx/>
              <a:buChar char="•"/>
              <a:tabLst/>
              <a:defRPr/>
            </a:pPr>
            <a:r>
              <a:rPr kumimoji="0" lang="ja-JP" altLang="en-US"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疑わしいドメイン・</a:t>
            </a:r>
            <a:r>
              <a:rPr kumimoji="0" lang="en-US" altLang="ja-JP"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IP</a:t>
            </a:r>
            <a:r>
              <a:rPr kumimoji="0" lang="ja-JP" altLang="en-US"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a:t>
            </a:r>
            <a:r>
              <a:rPr kumimoji="0" lang="en-US" altLang="ja-JP"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ASN</a:t>
            </a:r>
            <a:endParaRPr kumimoji="0" lang="en-US" sz="105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300"/>
              </a:spcAft>
              <a:buClrTx/>
              <a:buSzTx/>
              <a:buFontTx/>
              <a:buChar char="•"/>
              <a:tabLst/>
              <a:defRPr/>
            </a:pPr>
            <a:r>
              <a:rPr kumimoji="0" lang="en-US" sz="105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rPr>
              <a:t>DNS </a:t>
            </a:r>
            <a:r>
              <a:rPr kumimoji="0" lang="ja-JP" altLang="en-US"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ハイジャッキング</a:t>
            </a:r>
            <a:endParaRPr kumimoji="0" lang="en-US" sz="105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300"/>
              </a:spcAft>
              <a:buClrTx/>
              <a:buSzTx/>
              <a:buFontTx/>
              <a:buChar char="•"/>
              <a:tabLst/>
              <a:defRPr/>
            </a:pPr>
            <a:r>
              <a:rPr kumimoji="0" lang="en-US" sz="105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rPr>
              <a:t>Fast flux </a:t>
            </a:r>
            <a:r>
              <a:rPr kumimoji="0" lang="ja-JP" altLang="en-US"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ドメイン</a:t>
            </a:r>
            <a:endParaRPr kumimoji="0" lang="en-US" sz="105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endParaRPr>
          </a:p>
          <a:p>
            <a:pPr marL="171450" marR="0" lvl="0" indent="-171450" defTabSz="914400" eaLnBrk="1" fontAlgn="auto" latinLnBrk="0" hangingPunct="1">
              <a:lnSpc>
                <a:spcPct val="90000"/>
              </a:lnSpc>
              <a:spcBef>
                <a:spcPts val="0"/>
              </a:spcBef>
              <a:spcAft>
                <a:spcPts val="300"/>
              </a:spcAft>
              <a:buClrTx/>
              <a:buSzTx/>
              <a:buFontTx/>
              <a:buChar char="•"/>
              <a:tabLst/>
              <a:defRPr/>
            </a:pPr>
            <a:r>
              <a:rPr kumimoji="0" lang="ja-JP" altLang="en-US" sz="1050" b="0" i="0" u="none" strike="noStrike" kern="0" cap="none" spc="0" normalizeH="0" baseline="0" noProof="0" dirty="0" smtClean="0">
                <a:ln>
                  <a:noFill/>
                </a:ln>
                <a:solidFill>
                  <a:sysClr val="windowText" lastClr="000000"/>
                </a:solidFill>
                <a:effectLst/>
                <a:uLnTx/>
                <a:uFillTx/>
                <a:latin typeface="ヒラギノ角ゴ Pro W3"/>
                <a:ea typeface="ヒラギノ角ゴ Pro W3"/>
                <a:cs typeface="ヒラギノ角ゴ Pro W3"/>
              </a:rPr>
              <a:t>関連ドメイン</a:t>
            </a:r>
            <a:endParaRPr kumimoji="0" lang="en-US" sz="1050" b="0" i="0" u="none" strike="noStrike" kern="0" cap="none" spc="0" normalizeH="0" baseline="0" noProof="0" dirty="0">
              <a:ln>
                <a:noFill/>
              </a:ln>
              <a:solidFill>
                <a:sysClr val="windowText" lastClr="000000"/>
              </a:solidFill>
              <a:effectLst/>
              <a:uLnTx/>
              <a:uFillTx/>
              <a:latin typeface="ヒラギノ角ゴ Pro W3"/>
              <a:ea typeface="ヒラギノ角ゴ Pro W3"/>
              <a:cs typeface="ヒラギノ角ゴ Pro W3"/>
            </a:endParaRPr>
          </a:p>
        </p:txBody>
      </p:sp>
      <p:sp>
        <p:nvSpPr>
          <p:cNvPr id="56" name="TextBox 55"/>
          <p:cNvSpPr txBox="1"/>
          <p:nvPr/>
        </p:nvSpPr>
        <p:spPr>
          <a:xfrm>
            <a:off x="1665319" y="3042488"/>
            <a:ext cx="2195739" cy="329046"/>
          </a:xfrm>
          <a:prstGeom prst="rect">
            <a:avLst/>
          </a:prstGeom>
        </p:spPr>
        <p:txBody>
          <a:bodyPr wrap="square" rtlCol="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srgbClr val="000000"/>
                </a:solidFill>
                <a:effectLst/>
                <a:uLnTx/>
                <a:uFillTx/>
                <a:latin typeface="Franklin Gothic Medium"/>
              </a:rPr>
              <a:t>Request Patterns</a:t>
            </a:r>
          </a:p>
        </p:txBody>
      </p:sp>
    </p:spTree>
    <p:extLst>
      <p:ext uri="{BB962C8B-B14F-4D97-AF65-F5344CB8AC3E}">
        <p14:creationId xmlns:p14="http://schemas.microsoft.com/office/powerpoint/2010/main" val="3863180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animEffect transition="in" filter="fade">
                                      <p:cBhvr>
                                        <p:cTn id="25" dur="500"/>
                                        <p:tgtEl>
                                          <p:spTgt spid="5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childTnLst>
                          </p:cTn>
                        </p:par>
                        <p:par>
                          <p:cTn id="31" fill="hold">
                            <p:stCondLst>
                              <p:cond delay="500"/>
                            </p:stCondLst>
                            <p:childTnLst>
                              <p:par>
                                <p:cTn id="32" presetID="22" presetClass="entr" presetSubtype="8" fill="hold" nodeType="after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wipe(left)">
                                      <p:cBhvr>
                                        <p:cTn id="34" dur="250"/>
                                        <p:tgtEl>
                                          <p:spTgt spid="51"/>
                                        </p:tgtEl>
                                      </p:cBhvr>
                                    </p:animEffect>
                                  </p:childTnLst>
                                </p:cTn>
                              </p:par>
                            </p:childTnLst>
                          </p:cTn>
                        </p:par>
                        <p:par>
                          <p:cTn id="35" fill="hold">
                            <p:stCondLst>
                              <p:cond delay="750"/>
                            </p:stCondLst>
                            <p:childTnLst>
                              <p:par>
                                <p:cTn id="36" presetID="22" presetClass="entr" presetSubtype="2" fill="hold" nodeType="afterEffect">
                                  <p:stCondLst>
                                    <p:cond delay="0"/>
                                  </p:stCondLst>
                                  <p:childTnLst>
                                    <p:set>
                                      <p:cBhvr>
                                        <p:cTn id="37" dur="1" fill="hold">
                                          <p:stCondLst>
                                            <p:cond delay="0"/>
                                          </p:stCondLst>
                                        </p:cTn>
                                        <p:tgtEl>
                                          <p:spTgt spid="54"/>
                                        </p:tgtEl>
                                        <p:attrNameLst>
                                          <p:attrName>style.visibility</p:attrName>
                                        </p:attrNameLst>
                                      </p:cBhvr>
                                      <p:to>
                                        <p:strVal val="visible"/>
                                      </p:to>
                                    </p:set>
                                    <p:animEffect transition="in" filter="wipe(right)">
                                      <p:cBhvr>
                                        <p:cTn id="38" dur="250"/>
                                        <p:tgtEl>
                                          <p:spTgt spid="54"/>
                                        </p:tgtEl>
                                      </p:cBhvr>
                                    </p:animEffect>
                                  </p:childTnLst>
                                </p:cTn>
                              </p:par>
                            </p:childTnLst>
                          </p:cTn>
                        </p:par>
                        <p:par>
                          <p:cTn id="39" fill="hold">
                            <p:stCondLst>
                              <p:cond delay="1000"/>
                            </p:stCondLst>
                            <p:childTnLst>
                              <p:par>
                                <p:cTn id="40" presetID="22" presetClass="entr" presetSubtype="8" fill="hold" nodeType="after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wipe(left)">
                                      <p:cBhvr>
                                        <p:cTn id="42" dur="250"/>
                                        <p:tgtEl>
                                          <p:spTgt spid="49"/>
                                        </p:tgtEl>
                                      </p:cBhvr>
                                    </p:animEffect>
                                  </p:childTnLst>
                                </p:cTn>
                              </p:par>
                            </p:childTnLst>
                          </p:cTn>
                        </p:par>
                        <p:par>
                          <p:cTn id="43" fill="hold">
                            <p:stCondLst>
                              <p:cond delay="1250"/>
                            </p:stCondLst>
                            <p:childTnLst>
                              <p:par>
                                <p:cTn id="44" presetID="22" presetClass="entr" presetSubtype="2" fill="hold"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wipe(right)">
                                      <p:cBhvr>
                                        <p:cTn id="46" dur="250"/>
                                        <p:tgtEl>
                                          <p:spTgt spid="50"/>
                                        </p:tgtEl>
                                      </p:cBhvr>
                                    </p:animEffect>
                                  </p:childTnLst>
                                </p:cTn>
                              </p:par>
                            </p:childTnLst>
                          </p:cTn>
                        </p:par>
                        <p:par>
                          <p:cTn id="47" fill="hold">
                            <p:stCondLst>
                              <p:cond delay="15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250"/>
                                        <p:tgtEl>
                                          <p:spTgt spid="52"/>
                                        </p:tgtEl>
                                      </p:cBhvr>
                                    </p:animEffect>
                                  </p:childTnLst>
                                </p:cTn>
                              </p:par>
                            </p:childTnLst>
                          </p:cTn>
                        </p:par>
                        <p:par>
                          <p:cTn id="51" fill="hold">
                            <p:stCondLst>
                              <p:cond delay="1750"/>
                            </p:stCondLst>
                            <p:childTnLst>
                              <p:par>
                                <p:cTn id="52" presetID="22" presetClass="entr" presetSubtype="2" fill="hold" nodeType="afterEffect">
                                  <p:stCondLst>
                                    <p:cond delay="0"/>
                                  </p:stCondLst>
                                  <p:childTnLst>
                                    <p:set>
                                      <p:cBhvr>
                                        <p:cTn id="53" dur="1" fill="hold">
                                          <p:stCondLst>
                                            <p:cond delay="0"/>
                                          </p:stCondLst>
                                        </p:cTn>
                                        <p:tgtEl>
                                          <p:spTgt spid="53"/>
                                        </p:tgtEl>
                                        <p:attrNameLst>
                                          <p:attrName>style.visibility</p:attrName>
                                        </p:attrNameLst>
                                      </p:cBhvr>
                                      <p:to>
                                        <p:strVal val="visible"/>
                                      </p:to>
                                    </p:set>
                                    <p:animEffect transition="in" filter="wipe(right)">
                                      <p:cBhvr>
                                        <p:cTn id="54" dur="250"/>
                                        <p:tgtEl>
                                          <p:spTgt spid="53"/>
                                        </p:tgtEl>
                                      </p:cBhvr>
                                    </p:animEffect>
                                  </p:childTnLst>
                                </p:cTn>
                              </p:par>
                            </p:childTnLst>
                          </p:cTn>
                        </p:par>
                        <p:par>
                          <p:cTn id="55" fill="hold">
                            <p:stCondLst>
                              <p:cond delay="2000"/>
                            </p:stCondLst>
                            <p:childTnLst>
                              <p:par>
                                <p:cTn id="56" presetID="10" presetClass="entr" presetSubtype="0" fill="hold" grpId="0" nodeType="afterEffect">
                                  <p:stCondLst>
                                    <p:cond delay="0"/>
                                  </p:stCondLst>
                                  <p:childTnLst>
                                    <p:set>
                                      <p:cBhvr>
                                        <p:cTn id="57" dur="1" fill="hold">
                                          <p:stCondLst>
                                            <p:cond delay="0"/>
                                          </p:stCondLst>
                                        </p:cTn>
                                        <p:tgtEl>
                                          <p:spTgt spid="5"/>
                                        </p:tgtEl>
                                        <p:attrNameLst>
                                          <p:attrName>style.visibility</p:attrName>
                                        </p:attrNameLst>
                                      </p:cBhvr>
                                      <p:to>
                                        <p:strVal val="visible"/>
                                      </p:to>
                                    </p:set>
                                    <p:animEffect transition="in" filter="fade">
                                      <p:cBhvr>
                                        <p:cTn id="58" dur="500"/>
                                        <p:tgtEl>
                                          <p:spTgt spid="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55"/>
                                        </p:tgtEl>
                                        <p:attrNameLst>
                                          <p:attrName>style.visibility</p:attrName>
                                        </p:attrNameLst>
                                      </p:cBhvr>
                                      <p:to>
                                        <p:strVal val="visible"/>
                                      </p:to>
                                    </p:set>
                                    <p:animEffect transition="in" filter="fade">
                                      <p:cBhvr>
                                        <p:cTn id="61" dur="500"/>
                                        <p:tgtEl>
                                          <p:spTgt spid="55"/>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9"/>
                                        </p:tgtEl>
                                        <p:attrNameLst>
                                          <p:attrName>style.visibility</p:attrName>
                                        </p:attrNameLst>
                                      </p:cBhvr>
                                      <p:to>
                                        <p:strVal val="visible"/>
                                      </p:to>
                                    </p:set>
                                    <p:animEffect transition="in" filter="fade">
                                      <p:cBhvr>
                                        <p:cTn id="64" dur="500"/>
                                        <p:tgtEl>
                                          <p:spTgt spid="9"/>
                                        </p:tgtEl>
                                      </p:cBhvr>
                                    </p:animEffect>
                                  </p:childTnLst>
                                </p:cTn>
                              </p:par>
                            </p:childTnLst>
                          </p:cTn>
                        </p:par>
                        <p:par>
                          <p:cTn id="65" fill="hold">
                            <p:stCondLst>
                              <p:cond delay="2500"/>
                            </p:stCondLst>
                            <p:childTnLst>
                              <p:par>
                                <p:cTn id="66" presetID="22" presetClass="entr" presetSubtype="2" fill="hold" nodeType="afterEffect">
                                  <p:stCondLst>
                                    <p:cond delay="0"/>
                                  </p:stCondLst>
                                  <p:childTnLst>
                                    <p:set>
                                      <p:cBhvr>
                                        <p:cTn id="67" dur="1" fill="hold">
                                          <p:stCondLst>
                                            <p:cond delay="0"/>
                                          </p:stCondLst>
                                        </p:cTn>
                                        <p:tgtEl>
                                          <p:spTgt spid="14"/>
                                        </p:tgtEl>
                                        <p:attrNameLst>
                                          <p:attrName>style.visibility</p:attrName>
                                        </p:attrNameLst>
                                      </p:cBhvr>
                                      <p:to>
                                        <p:strVal val="visible"/>
                                      </p:to>
                                    </p:set>
                                    <p:animEffect transition="in" filter="wipe(right)">
                                      <p:cBhvr>
                                        <p:cTn id="6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9" grpId="0"/>
      <p:bldP spid="55" grpId="0" animBg="1"/>
      <p:bldP spid="56"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66"/>
          <p:cNvSpPr/>
          <p:nvPr/>
        </p:nvSpPr>
        <p:spPr bwMode="auto">
          <a:xfrm>
            <a:off x="402897" y="1015826"/>
            <a:ext cx="2793950" cy="3972394"/>
          </a:xfrm>
          <a:prstGeom prst="rect">
            <a:avLst/>
          </a:prstGeom>
          <a:solidFill>
            <a:srgbClr val="FFFFFF">
              <a:lumMod val="95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grpSp>
        <p:nvGrpSpPr>
          <p:cNvPr id="68" name="Group 67"/>
          <p:cNvGrpSpPr/>
          <p:nvPr/>
        </p:nvGrpSpPr>
        <p:grpSpPr>
          <a:xfrm>
            <a:off x="6000462" y="1015831"/>
            <a:ext cx="2754183" cy="3977905"/>
            <a:chOff x="6000459" y="1016766"/>
            <a:chExt cx="2754183" cy="3981589"/>
          </a:xfrm>
        </p:grpSpPr>
        <p:grpSp>
          <p:nvGrpSpPr>
            <p:cNvPr id="69" name="Group 68"/>
            <p:cNvGrpSpPr/>
            <p:nvPr/>
          </p:nvGrpSpPr>
          <p:grpSpPr>
            <a:xfrm>
              <a:off x="6000459" y="1016766"/>
              <a:ext cx="2754183" cy="3981589"/>
              <a:chOff x="6000459" y="1016766"/>
              <a:chExt cx="2754183" cy="3981589"/>
            </a:xfrm>
          </p:grpSpPr>
          <p:sp>
            <p:nvSpPr>
              <p:cNvPr id="78" name="Rectangle 77"/>
              <p:cNvSpPr/>
              <p:nvPr/>
            </p:nvSpPr>
            <p:spPr bwMode="auto">
              <a:xfrm>
                <a:off x="6000459" y="1022282"/>
                <a:ext cx="2754183" cy="3976073"/>
              </a:xfrm>
              <a:prstGeom prst="rect">
                <a:avLst/>
              </a:prstGeom>
              <a:solidFill>
                <a:srgbClr val="F37821">
                  <a:lumMod val="20000"/>
                  <a:lumOff val="8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cxnSp>
            <p:nvCxnSpPr>
              <p:cNvPr id="79" name="Straight Connector 78"/>
              <p:cNvCxnSpPr/>
              <p:nvPr/>
            </p:nvCxnSpPr>
            <p:spPr bwMode="auto">
              <a:xfrm>
                <a:off x="6000459" y="1016766"/>
                <a:ext cx="0" cy="3981589"/>
              </a:xfrm>
              <a:prstGeom prst="line">
                <a:avLst/>
              </a:prstGeom>
              <a:solidFill>
                <a:srgbClr val="F37821"/>
              </a:solidFill>
              <a:ln w="19050" cap="rnd"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80" name="Rectangle 79"/>
              <p:cNvSpPr/>
              <p:nvPr/>
            </p:nvSpPr>
            <p:spPr>
              <a:xfrm>
                <a:off x="6323371" y="1016766"/>
                <a:ext cx="2232152" cy="73866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37821"/>
                    </a:solidFill>
                    <a:effectLst/>
                    <a:uLnTx/>
                    <a:uFillTx/>
                    <a:latin typeface="Franklin Gothic Medium"/>
                  </a:rPr>
                  <a:t>VIRTUAL APPLIA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ビジビリティコントロールを</a:t>
                </a:r>
                <a: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t/>
                </a:r>
                <a:b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b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したい時のベストな構成</a:t>
                </a:r>
                <a:endParaRPr kumimoji="0" lang="en-US" sz="1200" b="0" i="0" u="none" strike="noStrike" kern="0" cap="none" spc="0" normalizeH="0" baseline="0" noProof="0" dirty="0" smtClean="0">
                  <a:ln>
                    <a:noFill/>
                  </a:ln>
                  <a:solidFill>
                    <a:sysClr val="windowText" lastClr="000000"/>
                  </a:solidFill>
                  <a:effectLst/>
                  <a:uLnTx/>
                  <a:uFillTx/>
                  <a:latin typeface="Franklin Gothic Book"/>
                </a:endParaRPr>
              </a:p>
            </p:txBody>
          </p:sp>
        </p:grpSp>
        <p:sp>
          <p:nvSpPr>
            <p:cNvPr id="70" name="Rounded Rectangle 69"/>
            <p:cNvSpPr/>
            <p:nvPr/>
          </p:nvSpPr>
          <p:spPr bwMode="auto">
            <a:xfrm>
              <a:off x="6207351" y="2853360"/>
              <a:ext cx="2430246" cy="1997465"/>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71" name="Rounded Rectangle 70"/>
            <p:cNvSpPr/>
            <p:nvPr/>
          </p:nvSpPr>
          <p:spPr bwMode="auto">
            <a:xfrm>
              <a:off x="7667039" y="4005194"/>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ny Device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 10.1.2.2</a:t>
              </a:r>
              <a:endParaRPr kumimoji="0" lang="en-US" sz="1050" b="0" i="0" u="none" strike="noStrike" kern="0" cap="none" spc="0" normalizeH="0" baseline="0" noProof="0" dirty="0">
                <a:ln>
                  <a:noFill/>
                </a:ln>
                <a:solidFill>
                  <a:srgbClr val="FFFFFF"/>
                </a:solidFill>
                <a:effectLst/>
                <a:uLnTx/>
                <a:uFillTx/>
                <a:ea typeface="新細明體" charset="0"/>
                <a:cs typeface="新細明體" charset="0"/>
              </a:endParaRPr>
            </a:p>
          </p:txBody>
        </p:sp>
        <p:grpSp>
          <p:nvGrpSpPr>
            <p:cNvPr id="72" name="Group 71"/>
            <p:cNvGrpSpPr/>
            <p:nvPr/>
          </p:nvGrpSpPr>
          <p:grpSpPr>
            <a:xfrm>
              <a:off x="6207351" y="1793441"/>
              <a:ext cx="1347548" cy="770854"/>
              <a:chOff x="547242" y="1793442"/>
              <a:chExt cx="1347548" cy="770854"/>
            </a:xfrm>
          </p:grpSpPr>
          <p:sp>
            <p:nvSpPr>
              <p:cNvPr id="75"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37821"/>
              </a:solidFill>
              <a:ln w="38100" cap="flat" cmpd="sng" algn="ctr">
                <a:solidFill>
                  <a:srgbClr val="F3782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76" name="TextBox 75"/>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77" name="Picture 76"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sp>
          <p:nvSpPr>
            <p:cNvPr id="73" name="Rounded Rectangle 72"/>
            <p:cNvSpPr/>
            <p:nvPr/>
          </p:nvSpPr>
          <p:spPr bwMode="auto">
            <a:xfrm>
              <a:off x="7667039" y="2921353"/>
              <a:ext cx="888802" cy="770854"/>
            </a:xfrm>
            <a:prstGeom prst="roundRect">
              <a:avLst/>
            </a:prstGeom>
            <a:solidFill>
              <a:srgbClr val="5E81D3"/>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DNS Server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 10.1.0.1</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74" name="Rounded Rectangle 73"/>
            <p:cNvSpPr/>
            <p:nvPr/>
          </p:nvSpPr>
          <p:spPr bwMode="auto">
            <a:xfrm>
              <a:off x="6303785" y="2921353"/>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Gateway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 8.2.0.1</a:t>
              </a:r>
            </a:p>
          </p:txBody>
        </p:sp>
      </p:grpSp>
      <p:grpSp>
        <p:nvGrpSpPr>
          <p:cNvPr id="81" name="Group 80"/>
          <p:cNvGrpSpPr/>
          <p:nvPr/>
        </p:nvGrpSpPr>
        <p:grpSpPr>
          <a:xfrm>
            <a:off x="3196855" y="1015831"/>
            <a:ext cx="2793953" cy="3977905"/>
            <a:chOff x="3196844" y="1016766"/>
            <a:chExt cx="2793953" cy="3981589"/>
          </a:xfrm>
        </p:grpSpPr>
        <p:grpSp>
          <p:nvGrpSpPr>
            <p:cNvPr id="82" name="Group 81"/>
            <p:cNvGrpSpPr/>
            <p:nvPr/>
          </p:nvGrpSpPr>
          <p:grpSpPr>
            <a:xfrm>
              <a:off x="3196844" y="1016766"/>
              <a:ext cx="2793953" cy="3981589"/>
              <a:chOff x="3196844" y="1016766"/>
              <a:chExt cx="2793953" cy="3981589"/>
            </a:xfrm>
          </p:grpSpPr>
          <p:sp>
            <p:nvSpPr>
              <p:cNvPr id="91" name="Rectangle 90"/>
              <p:cNvSpPr/>
              <p:nvPr/>
            </p:nvSpPr>
            <p:spPr bwMode="auto">
              <a:xfrm>
                <a:off x="3196847" y="1022275"/>
                <a:ext cx="2793950" cy="3976073"/>
              </a:xfrm>
              <a:prstGeom prst="rect">
                <a:avLst/>
              </a:prstGeom>
              <a:solidFill>
                <a:srgbClr val="DFE6F6"/>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cxnSp>
            <p:nvCxnSpPr>
              <p:cNvPr id="92" name="Straight Connector 91"/>
              <p:cNvCxnSpPr/>
              <p:nvPr/>
            </p:nvCxnSpPr>
            <p:spPr bwMode="auto">
              <a:xfrm>
                <a:off x="3196844" y="1016766"/>
                <a:ext cx="0" cy="3981589"/>
              </a:xfrm>
              <a:prstGeom prst="line">
                <a:avLst/>
              </a:prstGeom>
              <a:solidFill>
                <a:srgbClr val="F37821"/>
              </a:solidFill>
              <a:ln w="19050" cap="rnd"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3" name="Rectangle 92"/>
              <p:cNvSpPr/>
              <p:nvPr/>
            </p:nvSpPr>
            <p:spPr>
              <a:xfrm>
                <a:off x="3672069" y="1016766"/>
                <a:ext cx="1867819" cy="739348"/>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5E81D3"/>
                    </a:solidFill>
                    <a:effectLst/>
                    <a:uLnTx/>
                    <a:uFillTx/>
                    <a:latin typeface="Franklin Gothic Medium"/>
                  </a:rPr>
                  <a:t>DNS SERV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イントラドメインを管理する</a:t>
                </a:r>
                <a: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t/>
                </a:r>
                <a:b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b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シンプルな構成</a:t>
                </a:r>
                <a:endParaRPr kumimoji="0" lang="en-US" sz="1200" b="0" i="0" u="none" strike="noStrike" kern="0" cap="none" spc="0" normalizeH="0" baseline="0" noProof="0" dirty="0" smtClean="0">
                  <a:ln>
                    <a:noFill/>
                  </a:ln>
                  <a:solidFill>
                    <a:sysClr val="windowText" lastClr="000000"/>
                  </a:solidFill>
                  <a:effectLst/>
                  <a:uLnTx/>
                  <a:uFillTx/>
                  <a:latin typeface="Franklin Gothic Book"/>
                </a:endParaRPr>
              </a:p>
            </p:txBody>
          </p:sp>
        </p:grpSp>
        <p:sp>
          <p:nvSpPr>
            <p:cNvPr id="83" name="Rounded Rectangle 82"/>
            <p:cNvSpPr/>
            <p:nvPr/>
          </p:nvSpPr>
          <p:spPr bwMode="auto">
            <a:xfrm>
              <a:off x="3373887" y="2853360"/>
              <a:ext cx="2430246" cy="1997465"/>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84" name="Rounded Rectangle 83"/>
            <p:cNvSpPr/>
            <p:nvPr/>
          </p:nvSpPr>
          <p:spPr bwMode="auto">
            <a:xfrm>
              <a:off x="4833575" y="4005194"/>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ny Device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 10.1.2.2</a:t>
              </a:r>
              <a:endPar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85" name="Rounded Rectangle 84"/>
            <p:cNvSpPr/>
            <p:nvPr/>
          </p:nvSpPr>
          <p:spPr bwMode="auto">
            <a:xfrm>
              <a:off x="4833575" y="2921353"/>
              <a:ext cx="888802" cy="770854"/>
            </a:xfrm>
            <a:prstGeom prst="roundRect">
              <a:avLst/>
            </a:prstGeom>
            <a:solidFill>
              <a:srgbClr val="5E81D3"/>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DNS Server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 10.1.0.1</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nvGrpSpPr>
            <p:cNvPr id="86" name="Group 85"/>
            <p:cNvGrpSpPr/>
            <p:nvPr/>
          </p:nvGrpSpPr>
          <p:grpSpPr>
            <a:xfrm>
              <a:off x="3373887" y="1793441"/>
              <a:ext cx="1347548" cy="770854"/>
              <a:chOff x="547242" y="1793442"/>
              <a:chExt cx="1347548" cy="770854"/>
            </a:xfrm>
          </p:grpSpPr>
          <p:sp>
            <p:nvSpPr>
              <p:cNvPr id="88"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37821"/>
              </a:solidFill>
              <a:ln w="38100" cap="flat" cmpd="sng" algn="ctr">
                <a:solidFill>
                  <a:srgbClr val="F3782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89" name="TextBox 88"/>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90" name="Picture 89"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sp>
          <p:nvSpPr>
            <p:cNvPr id="87" name="Rounded Rectangle 86"/>
            <p:cNvSpPr/>
            <p:nvPr/>
          </p:nvSpPr>
          <p:spPr bwMode="auto">
            <a:xfrm>
              <a:off x="3470321" y="2921353"/>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Gateway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 8.2.0.1</a:t>
              </a:r>
            </a:p>
          </p:txBody>
        </p:sp>
      </p:grpSp>
      <p:sp>
        <p:nvSpPr>
          <p:cNvPr id="94" name="Rounded Rectangle 93"/>
          <p:cNvSpPr/>
          <p:nvPr/>
        </p:nvSpPr>
        <p:spPr bwMode="auto">
          <a:xfrm>
            <a:off x="560678" y="2850726"/>
            <a:ext cx="2430246" cy="1995617"/>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95" name="Rounded Rectangle 94"/>
          <p:cNvSpPr/>
          <p:nvPr/>
        </p:nvSpPr>
        <p:spPr bwMode="auto">
          <a:xfrm>
            <a:off x="2020366" y="2918650"/>
            <a:ext cx="888802" cy="770141"/>
          </a:xfrm>
          <a:prstGeom prst="roundRect">
            <a:avLst/>
          </a:prstGeom>
          <a:solidFill>
            <a:srgbClr val="5E81D3">
              <a:lumMod val="20000"/>
              <a:lumOff val="80000"/>
            </a:srgbClr>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No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DNS Server</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96" name="Rectangle 95"/>
          <p:cNvSpPr/>
          <p:nvPr/>
        </p:nvSpPr>
        <p:spPr>
          <a:xfrm>
            <a:off x="985972" y="1015825"/>
            <a:ext cx="1614520" cy="73866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7F7F7F"/>
                </a:solidFill>
                <a:effectLst/>
                <a:uLnTx/>
                <a:uFillTx/>
                <a:latin typeface="Franklin Gothic Medium"/>
              </a:rPr>
              <a:t>DHCP SERV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イントラドメインの無い</a:t>
            </a:r>
            <a: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t/>
            </a:r>
            <a:b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b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シンプルな構成</a:t>
            </a:r>
            <a:endParaRPr kumimoji="0" lang="en-US" sz="1200" b="0" i="0" u="none" strike="noStrike" kern="0" cap="none" spc="0" normalizeH="0" baseline="0" noProof="0" dirty="0">
              <a:ln>
                <a:noFill/>
              </a:ln>
              <a:solidFill>
                <a:sysClr val="windowText" lastClr="000000"/>
              </a:solidFill>
              <a:effectLst/>
              <a:uLnTx/>
              <a:uFillTx/>
              <a:latin typeface="Franklin Gothic Book"/>
            </a:endParaRPr>
          </a:p>
        </p:txBody>
      </p:sp>
      <p:sp>
        <p:nvSpPr>
          <p:cNvPr id="97" name="Title 248"/>
          <p:cNvSpPr txBox="1">
            <a:spLocks/>
          </p:cNvSpPr>
          <p:nvPr/>
        </p:nvSpPr>
        <p:spPr bwMode="auto">
          <a:xfrm>
            <a:off x="343932" y="60929"/>
            <a:ext cx="7961868"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b" anchorCtr="0" compatLnSpc="1">
            <a:prstTxWarp prst="textNoShape">
              <a:avLst/>
            </a:prstTxWarp>
            <a:normAutofit/>
          </a:bodyPr>
          <a:lstStyle>
            <a:lvl1pPr algn="l" rtl="0" eaLnBrk="1" fontAlgn="base" hangingPunct="1">
              <a:lnSpc>
                <a:spcPct val="85000"/>
              </a:lnSpc>
              <a:spcBef>
                <a:spcPct val="0"/>
              </a:spcBef>
              <a:spcAft>
                <a:spcPct val="0"/>
              </a:spcAft>
              <a:defRPr kumimoji="1" lang="en-US" altLang="zh-TW" sz="2400" b="0" kern="1200" dirty="0">
                <a:solidFill>
                  <a:schemeClr val="tx1"/>
                </a:solidFill>
                <a:latin typeface="Franklin Gothic Medium" panose="020B0603020102020204" pitchFamily="34" charset="0"/>
                <a:ea typeface="PMingLiU" pitchFamily="18" charset="-120"/>
                <a:cs typeface="+mn-cs"/>
              </a:defRPr>
            </a:lvl1pPr>
            <a:lvl2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2pPr>
            <a:lvl3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3pPr>
            <a:lvl4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4pPr>
            <a:lvl5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5pPr>
            <a:lvl6pPr marL="4572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6pPr>
            <a:lvl7pPr marL="9144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7pPr>
            <a:lvl8pPr marL="13716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8pPr>
            <a:lvl9pPr marL="18288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9pPr>
          </a:lstStyle>
          <a:p>
            <a:pPr marL="0" marR="0" lvl="0" indent="0" algn="l" defTabSz="914400" rtl="0" eaLnBrk="1" fontAlgn="base" latinLnBrk="0" hangingPunct="1">
              <a:lnSpc>
                <a:spcPct val="85000"/>
              </a:lnSpc>
              <a:spcBef>
                <a:spcPct val="0"/>
              </a:spcBef>
              <a:spcAft>
                <a:spcPct val="0"/>
              </a:spcAft>
              <a:buClrTx/>
              <a:buSzTx/>
              <a:buFontTx/>
              <a:buNone/>
              <a:tabLst/>
              <a:defRPr/>
            </a:pPr>
            <a:r>
              <a:rPr kumimoji="1" lang="en-US" altLang="zh-TW" sz="2400" b="0" i="0" u="none" strike="noStrike" kern="1200" cap="none" spc="0" normalizeH="0" baseline="0" noProof="0" dirty="0" smtClean="0">
                <a:ln>
                  <a:noFill/>
                </a:ln>
                <a:solidFill>
                  <a:srgbClr val="000000"/>
                </a:solidFill>
                <a:effectLst/>
                <a:uLnTx/>
                <a:uFillTx/>
                <a:latin typeface="Franklin Gothic Medium" panose="020B0603020102020204" pitchFamily="34" charset="0"/>
                <a:ea typeface="PMingLiU" pitchFamily="18" charset="-120"/>
                <a:cs typeface="新細明體"/>
              </a:rPr>
              <a:t>ON-Production-NET:</a:t>
            </a:r>
            <a:br>
              <a:rPr kumimoji="1" lang="en-US" altLang="zh-TW" sz="2400" b="0" i="0" u="none" strike="noStrike" kern="1200" cap="none" spc="0" normalizeH="0" baseline="0" noProof="0" dirty="0" smtClean="0">
                <a:ln>
                  <a:noFill/>
                </a:ln>
                <a:solidFill>
                  <a:srgbClr val="000000"/>
                </a:solidFill>
                <a:effectLst/>
                <a:uLnTx/>
                <a:uFillTx/>
                <a:latin typeface="Franklin Gothic Medium" panose="020B0603020102020204" pitchFamily="34" charset="0"/>
                <a:ea typeface="PMingLiU" pitchFamily="18" charset="-120"/>
                <a:cs typeface="新細明體"/>
              </a:rPr>
            </a:br>
            <a:r>
              <a:rPr kumimoji="1" lang="ja-JP" altLang="en-US"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パブリック</a:t>
            </a:r>
            <a:r>
              <a:rPr kumimoji="1" lang="en-US" altLang="ja-JP"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a:t>
            </a:r>
            <a:r>
              <a:rPr kumimoji="1" lang="ja-JP" altLang="en-US"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インターナルのネットワークを制御する方法</a:t>
            </a:r>
            <a:endParaRPr kumimoji="1" lang="en-US" altLang="zh-TW" sz="1200" b="0" i="0" u="none" strike="noStrike" kern="1200" cap="none" spc="0" normalizeH="0" baseline="0" noProof="0" dirty="0">
              <a:ln>
                <a:noFill/>
              </a:ln>
              <a:solidFill>
                <a:srgbClr val="000000"/>
              </a:solidFill>
              <a:effectLst/>
              <a:uLnTx/>
              <a:uFillTx/>
              <a:latin typeface="ヒラギノ角ゴ Pro W3"/>
              <a:ea typeface="ヒラギノ角ゴ Pro W3"/>
              <a:cs typeface="ヒラギノ角ゴ Pro W3"/>
            </a:endParaRPr>
          </a:p>
        </p:txBody>
      </p:sp>
      <p:sp>
        <p:nvSpPr>
          <p:cNvPr id="98" name="Rounded Rectangle 97"/>
          <p:cNvSpPr/>
          <p:nvPr/>
        </p:nvSpPr>
        <p:spPr bwMode="auto">
          <a:xfrm>
            <a:off x="2020366" y="4001488"/>
            <a:ext cx="888802" cy="770141"/>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ny Device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 10.1.2.2</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nvGrpSpPr>
          <p:cNvPr id="99" name="Group 98"/>
          <p:cNvGrpSpPr/>
          <p:nvPr/>
        </p:nvGrpSpPr>
        <p:grpSpPr>
          <a:xfrm>
            <a:off x="547242" y="1791794"/>
            <a:ext cx="1347548" cy="770141"/>
            <a:chOff x="547242" y="1793442"/>
            <a:chExt cx="1347548" cy="770854"/>
          </a:xfrm>
        </p:grpSpPr>
        <p:sp>
          <p:nvSpPr>
            <p:cNvPr id="100"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37821"/>
            </a:solidFill>
            <a:ln w="38100" cap="flat" cmpd="sng" algn="ctr">
              <a:solidFill>
                <a:srgbClr val="F3782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101" name="TextBox 100"/>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102" name="Picture 101"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cxnSp>
        <p:nvCxnSpPr>
          <p:cNvPr id="103" name="Straight Arrow Connector 84"/>
          <p:cNvCxnSpPr>
            <a:stCxn id="85" idx="2"/>
            <a:endCxn id="84" idx="0"/>
          </p:cNvCxnSpPr>
          <p:nvPr/>
        </p:nvCxnSpPr>
        <p:spPr bwMode="auto">
          <a:xfrm>
            <a:off x="5277976" y="3688797"/>
            <a:ext cx="0" cy="312697"/>
          </a:xfrm>
          <a:prstGeom prst="straightConnector1">
            <a:avLst/>
          </a:prstGeom>
          <a:solidFill>
            <a:srgbClr val="F37821"/>
          </a:solidFill>
          <a:ln w="19050" cap="rnd" cmpd="sng" algn="ctr">
            <a:solidFill>
              <a:srgbClr val="5E81D3"/>
            </a:solidFill>
            <a:prstDash val="solid"/>
            <a:round/>
            <a:headEnd type="arrow"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4" name="Rounded Rectangle 103"/>
          <p:cNvSpPr>
            <a:spLocks noChangeAspect="1"/>
          </p:cNvSpPr>
          <p:nvPr/>
        </p:nvSpPr>
        <p:spPr bwMode="auto">
          <a:xfrm>
            <a:off x="4895362" y="3357978"/>
            <a:ext cx="778034" cy="277474"/>
          </a:xfrm>
          <a:prstGeom prst="roundRect">
            <a:avLst>
              <a:gd name="adj" fmla="val 35450"/>
            </a:avLst>
          </a:prstGeom>
          <a:solidFill>
            <a:srgbClr val="5E81D3">
              <a:lumMod val="20000"/>
              <a:lumOff val="8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EXTERNAL DNS= </a:t>
            </a:r>
            <a:r>
              <a:rPr kumimoji="0" lang="en-US" sz="750" b="0" i="0" u="none" strike="noStrike" kern="0" cap="none" spc="0" normalizeH="0" baseline="0" noProof="0" dirty="0" smtClean="0">
                <a:ln>
                  <a:noFill/>
                </a:ln>
                <a:solidFill>
                  <a:srgbClr val="F37821"/>
                </a:solidFill>
                <a:effectLst/>
                <a:uLnTx/>
                <a:uFillTx/>
                <a:latin typeface="Franklin Gothic Book"/>
                <a:ea typeface="新細明體" charset="0"/>
                <a:cs typeface="新細明體" charset="0"/>
              </a:rPr>
              <a:t>208.67.222.222</a:t>
            </a:r>
            <a:endParaRPr kumimoji="0" lang="en-US" sz="750" b="0" i="0" u="none" strike="noStrike" kern="0" cap="none" spc="0" normalizeH="0" baseline="0" noProof="0" dirty="0">
              <a:ln>
                <a:noFill/>
              </a:ln>
              <a:solidFill>
                <a:srgbClr val="F37821"/>
              </a:solidFill>
              <a:effectLst/>
              <a:uLnTx/>
              <a:uFillTx/>
              <a:latin typeface="Franklin Gothic Book"/>
              <a:ea typeface="新細明體" charset="0"/>
              <a:cs typeface="新細明體" charset="0"/>
            </a:endParaRPr>
          </a:p>
        </p:txBody>
      </p:sp>
      <p:sp>
        <p:nvSpPr>
          <p:cNvPr id="105" name="Rounded Rectangle 104"/>
          <p:cNvSpPr>
            <a:spLocks noChangeAspect="1"/>
          </p:cNvSpPr>
          <p:nvPr/>
        </p:nvSpPr>
        <p:spPr bwMode="auto">
          <a:xfrm>
            <a:off x="3525704" y="3357978"/>
            <a:ext cx="778034" cy="277474"/>
          </a:xfrm>
          <a:prstGeom prst="roundRect">
            <a:avLst>
              <a:gd name="adj" fmla="val 36143"/>
            </a:avLst>
          </a:prstGeom>
          <a:solidFill>
            <a:srgbClr val="CCCCCC"/>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DHCP’s DNS =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5E81D3"/>
                </a:solidFill>
                <a:effectLst/>
                <a:uLnTx/>
                <a:uFillTx/>
                <a:latin typeface="Franklin Gothic Book"/>
                <a:ea typeface="新細明體" charset="0"/>
                <a:cs typeface="新細明體" charset="0"/>
              </a:rPr>
              <a:t>10.1.0.1</a:t>
            </a:r>
            <a:endParaRPr kumimoji="0" lang="en-US" sz="800" b="0" i="0" u="none" strike="noStrike" kern="0" cap="none" spc="0" normalizeH="0" baseline="0" noProof="0" dirty="0">
              <a:ln>
                <a:noFill/>
              </a:ln>
              <a:solidFill>
                <a:srgbClr val="5E81D3"/>
              </a:solidFill>
              <a:effectLst/>
              <a:uLnTx/>
              <a:uFillTx/>
              <a:latin typeface="Franklin Gothic Book"/>
              <a:ea typeface="新細明體" charset="0"/>
              <a:cs typeface="新細明體" charset="0"/>
            </a:endParaRPr>
          </a:p>
        </p:txBody>
      </p:sp>
      <p:cxnSp>
        <p:nvCxnSpPr>
          <p:cNvPr id="106" name="Straight Arrow Connector 84"/>
          <p:cNvCxnSpPr/>
          <p:nvPr/>
        </p:nvCxnSpPr>
        <p:spPr bwMode="auto">
          <a:xfrm rot="5400000">
            <a:off x="7248217" y="3576128"/>
            <a:ext cx="356286" cy="530352"/>
          </a:xfrm>
          <a:prstGeom prst="bentConnector3">
            <a:avLst>
              <a:gd name="adj1" fmla="val 50000"/>
            </a:avLst>
          </a:prstGeom>
          <a:solidFill>
            <a:srgbClr val="F37821"/>
          </a:solidFill>
          <a:ln w="19050" cap="rnd" cmpd="sng" algn="ctr">
            <a:solidFill>
              <a:srgbClr val="5E81D3"/>
            </a:solidFill>
            <a:prstDash val="solid"/>
            <a:round/>
            <a:headEnd type="arrow"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7" name="Rounded Rectangle 106"/>
          <p:cNvSpPr>
            <a:spLocks noChangeAspect="1"/>
          </p:cNvSpPr>
          <p:nvPr/>
        </p:nvSpPr>
        <p:spPr bwMode="auto">
          <a:xfrm>
            <a:off x="6359168" y="3357978"/>
            <a:ext cx="778034" cy="277474"/>
          </a:xfrm>
          <a:prstGeom prst="roundRect">
            <a:avLst>
              <a:gd name="adj" fmla="val 36144"/>
            </a:avLst>
          </a:prstGeom>
          <a:solidFill>
            <a:srgbClr val="CCCCCC"/>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DHCP’s DNS =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37821"/>
                </a:solidFill>
                <a:effectLst/>
                <a:uLnTx/>
                <a:uFillTx/>
                <a:latin typeface="Franklin Gothic Book"/>
                <a:ea typeface="新細明體" charset="0"/>
                <a:cs typeface="新細明體" charset="0"/>
              </a:rPr>
              <a:t>10.1.0.2</a:t>
            </a:r>
            <a:endParaRPr kumimoji="0" lang="en-US" sz="800" b="0" i="0" u="none" strike="noStrike" kern="0" cap="none" spc="0" normalizeH="0" baseline="0" noProof="0" dirty="0">
              <a:ln>
                <a:noFill/>
              </a:ln>
              <a:solidFill>
                <a:srgbClr val="F37821"/>
              </a:solidFill>
              <a:effectLst/>
              <a:uLnTx/>
              <a:uFillTx/>
              <a:latin typeface="Franklin Gothic Book"/>
              <a:ea typeface="新細明體" charset="0"/>
              <a:cs typeface="新細明體" charset="0"/>
            </a:endParaRPr>
          </a:p>
        </p:txBody>
      </p:sp>
      <p:sp>
        <p:nvSpPr>
          <p:cNvPr id="108" name="Rounded Rectangle 107"/>
          <p:cNvSpPr/>
          <p:nvPr/>
        </p:nvSpPr>
        <p:spPr bwMode="auto">
          <a:xfrm>
            <a:off x="6303785" y="4001487"/>
            <a:ext cx="888802" cy="770141"/>
          </a:xfrm>
          <a:prstGeom prst="roundRect">
            <a:avLst/>
          </a:prstGeom>
          <a:solidFill>
            <a:srgbClr val="F37821"/>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OpenDNS VA @ 10.1.0.2</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109" name="Rounded Rectangle 108"/>
          <p:cNvSpPr>
            <a:spLocks noChangeAspect="1"/>
          </p:cNvSpPr>
          <p:nvPr/>
        </p:nvSpPr>
        <p:spPr bwMode="auto">
          <a:xfrm>
            <a:off x="6365572" y="4440810"/>
            <a:ext cx="778034" cy="277474"/>
          </a:xfrm>
          <a:prstGeom prst="roundRect">
            <a:avLst>
              <a:gd name="adj" fmla="val 28521"/>
            </a:avLst>
          </a:prstGeom>
          <a:solidFill>
            <a:srgbClr val="FDE4D3"/>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INTERNAL DNS= </a:t>
            </a:r>
            <a:r>
              <a:rPr kumimoji="0" lang="en-US" sz="800" b="0" i="0" u="none" strike="noStrike" kern="0" cap="none" spc="0" normalizeH="0" baseline="0" noProof="0" dirty="0" smtClean="0">
                <a:ln>
                  <a:noFill/>
                </a:ln>
                <a:solidFill>
                  <a:srgbClr val="5E81D3"/>
                </a:solidFill>
                <a:effectLst/>
                <a:uLnTx/>
                <a:uFillTx/>
                <a:latin typeface="Franklin Gothic Book"/>
                <a:ea typeface="新細明體" charset="0"/>
                <a:cs typeface="新細明體" charset="0"/>
              </a:rPr>
              <a:t>10.1.0.1</a:t>
            </a:r>
            <a:endParaRPr kumimoji="0" lang="en-US" sz="800" b="0" i="0" u="none" strike="noStrike" kern="0" cap="none" spc="0" normalizeH="0" baseline="0" noProof="0" dirty="0">
              <a:ln>
                <a:noFill/>
              </a:ln>
              <a:solidFill>
                <a:srgbClr val="5E81D3"/>
              </a:solidFill>
              <a:effectLst/>
              <a:uLnTx/>
              <a:uFillTx/>
              <a:latin typeface="Franklin Gothic Book"/>
              <a:ea typeface="新細明體" charset="0"/>
              <a:cs typeface="新細明體" charset="0"/>
            </a:endParaRPr>
          </a:p>
        </p:txBody>
      </p:sp>
      <p:grpSp>
        <p:nvGrpSpPr>
          <p:cNvPr id="110" name="Group 109"/>
          <p:cNvGrpSpPr/>
          <p:nvPr/>
        </p:nvGrpSpPr>
        <p:grpSpPr>
          <a:xfrm>
            <a:off x="1135283" y="2561936"/>
            <a:ext cx="1199424" cy="1824627"/>
            <a:chOff x="1135283" y="2564303"/>
            <a:chExt cx="1199424" cy="1826317"/>
          </a:xfrm>
        </p:grpSpPr>
        <p:cxnSp>
          <p:nvCxnSpPr>
            <p:cNvPr id="111" name="Straight Arrow Connector 84"/>
            <p:cNvCxnSpPr>
              <a:endCxn id="98" idx="1"/>
            </p:cNvCxnSpPr>
            <p:nvPr/>
          </p:nvCxnSpPr>
          <p:spPr bwMode="auto">
            <a:xfrm rot="16200000" flipH="1">
              <a:off x="664666" y="3034920"/>
              <a:ext cx="1826317" cy="885083"/>
            </a:xfrm>
            <a:prstGeom prst="bentConnector2">
              <a:avLst/>
            </a:prstGeom>
            <a:solidFill>
              <a:srgbClr val="F37821"/>
            </a:solidFill>
            <a:ln w="19050" cap="rnd" cmpd="sng" algn="ctr">
              <a:solidFill>
                <a:srgbClr val="F37821"/>
              </a:solidFill>
              <a:prstDash val="solid"/>
              <a:round/>
              <a:headEnd type="arrow"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2" name="TextBox 111"/>
            <p:cNvSpPr txBox="1"/>
            <p:nvPr/>
          </p:nvSpPr>
          <p:spPr>
            <a:xfrm>
              <a:off x="1242001" y="2613797"/>
              <a:ext cx="1092706" cy="245977"/>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Policy for public network ID @ 8.2.0.1</a:t>
              </a:r>
            </a:p>
          </p:txBody>
        </p:sp>
      </p:grpSp>
      <p:cxnSp>
        <p:nvCxnSpPr>
          <p:cNvPr id="113" name="Straight Arrow Connector 182"/>
          <p:cNvCxnSpPr/>
          <p:nvPr/>
        </p:nvCxnSpPr>
        <p:spPr bwMode="auto">
          <a:xfrm>
            <a:off x="1472437" y="3688796"/>
            <a:ext cx="547930" cy="374101"/>
          </a:xfrm>
          <a:prstGeom prst="bentConnector3">
            <a:avLst>
              <a:gd name="adj1" fmla="val 50000"/>
            </a:avLst>
          </a:prstGeom>
          <a:solidFill>
            <a:srgbClr val="F37821"/>
          </a:solidFill>
          <a:ln w="19050" cap="rnd" cmpd="sng" algn="ctr">
            <a:solidFill>
              <a:srgbClr val="7F7F7F">
                <a:lumMod val="60000"/>
                <a:lumOff val="40000"/>
              </a:srgbClr>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4" name="Straight Arrow Connector 188"/>
          <p:cNvCxnSpPr/>
          <p:nvPr/>
        </p:nvCxnSpPr>
        <p:spPr bwMode="auto">
          <a:xfrm>
            <a:off x="4303738" y="3688796"/>
            <a:ext cx="547930" cy="374101"/>
          </a:xfrm>
          <a:prstGeom prst="bentConnector3">
            <a:avLst>
              <a:gd name="adj1" fmla="val 50000"/>
            </a:avLst>
          </a:prstGeom>
          <a:solidFill>
            <a:srgbClr val="F37821"/>
          </a:solidFill>
          <a:ln w="19050" cap="rnd" cmpd="sng" algn="ctr">
            <a:solidFill>
              <a:srgbClr val="7F7F7F">
                <a:lumMod val="60000"/>
                <a:lumOff val="40000"/>
              </a:srgbClr>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15" name="Straight Arrow Connector 189"/>
          <p:cNvCxnSpPr/>
          <p:nvPr/>
        </p:nvCxnSpPr>
        <p:spPr bwMode="auto">
          <a:xfrm>
            <a:off x="7143606" y="3688796"/>
            <a:ext cx="547930" cy="374101"/>
          </a:xfrm>
          <a:prstGeom prst="bentConnector3">
            <a:avLst>
              <a:gd name="adj1" fmla="val 50000"/>
            </a:avLst>
          </a:prstGeom>
          <a:solidFill>
            <a:srgbClr val="F37821"/>
          </a:solidFill>
          <a:ln w="19050" cap="rnd" cmpd="sng" algn="ctr">
            <a:solidFill>
              <a:srgbClr val="7F7F7F">
                <a:lumMod val="60000"/>
                <a:lumOff val="40000"/>
              </a:srgbClr>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16" name="Group 115"/>
          <p:cNvGrpSpPr/>
          <p:nvPr/>
        </p:nvGrpSpPr>
        <p:grpSpPr>
          <a:xfrm>
            <a:off x="7192587" y="4386558"/>
            <a:ext cx="474452" cy="332300"/>
            <a:chOff x="7192587" y="4390620"/>
            <a:chExt cx="474452" cy="332608"/>
          </a:xfrm>
        </p:grpSpPr>
        <p:cxnSp>
          <p:nvCxnSpPr>
            <p:cNvPr id="117" name="Straight Arrow Connector 84"/>
            <p:cNvCxnSpPr>
              <a:stCxn id="108" idx="3"/>
              <a:endCxn id="71" idx="1"/>
            </p:cNvCxnSpPr>
            <p:nvPr/>
          </p:nvCxnSpPr>
          <p:spPr bwMode="auto">
            <a:xfrm>
              <a:off x="7192587" y="4390620"/>
              <a:ext cx="474452" cy="1"/>
            </a:xfrm>
            <a:prstGeom prst="straightConnector1">
              <a:avLst/>
            </a:prstGeom>
            <a:solidFill>
              <a:srgbClr val="F37821"/>
            </a:solidFill>
            <a:ln w="19050" cap="rnd" cmpd="sng" algn="ctr">
              <a:solidFill>
                <a:srgbClr val="F37821"/>
              </a:solidFill>
              <a:prstDash val="solid"/>
              <a:round/>
              <a:headEnd type="arrow"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8" name="TextBox 117"/>
            <p:cNvSpPr txBox="1"/>
            <p:nvPr/>
          </p:nvSpPr>
          <p:spPr>
            <a:xfrm>
              <a:off x="7211829" y="4470578"/>
              <a:ext cx="417697" cy="252650"/>
            </a:xfrm>
            <a:prstGeom prst="rect">
              <a:avLst/>
            </a:prstGeom>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no NAT or proxy</a:t>
              </a:r>
            </a:p>
          </p:txBody>
        </p:sp>
      </p:grpSp>
      <p:grpSp>
        <p:nvGrpSpPr>
          <p:cNvPr id="119" name="Group 118"/>
          <p:cNvGrpSpPr/>
          <p:nvPr/>
        </p:nvGrpSpPr>
        <p:grpSpPr>
          <a:xfrm>
            <a:off x="3983123" y="2568275"/>
            <a:ext cx="1186595" cy="743562"/>
            <a:chOff x="3983112" y="2570653"/>
            <a:chExt cx="1186595" cy="744251"/>
          </a:xfrm>
        </p:grpSpPr>
        <p:sp>
          <p:nvSpPr>
            <p:cNvPr id="120" name="TextBox 119"/>
            <p:cNvSpPr txBox="1"/>
            <p:nvPr/>
          </p:nvSpPr>
          <p:spPr>
            <a:xfrm>
              <a:off x="4099028" y="2613797"/>
              <a:ext cx="1070679" cy="245977"/>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Policy for public network ID @ 8.2.0.1</a:t>
              </a:r>
            </a:p>
          </p:txBody>
        </p:sp>
        <p:grpSp>
          <p:nvGrpSpPr>
            <p:cNvPr id="121" name="Group 120"/>
            <p:cNvGrpSpPr/>
            <p:nvPr/>
          </p:nvGrpSpPr>
          <p:grpSpPr>
            <a:xfrm>
              <a:off x="3983112" y="2570653"/>
              <a:ext cx="850463" cy="744251"/>
              <a:chOff x="3983112" y="2570653"/>
              <a:chExt cx="850463" cy="744251"/>
            </a:xfrm>
          </p:grpSpPr>
          <p:cxnSp>
            <p:nvCxnSpPr>
              <p:cNvPr id="122" name="Straight Arrow Connector 84"/>
              <p:cNvCxnSpPr/>
              <p:nvPr/>
            </p:nvCxnSpPr>
            <p:spPr bwMode="auto">
              <a:xfrm>
                <a:off x="4359123" y="3314903"/>
                <a:ext cx="474452" cy="1"/>
              </a:xfrm>
              <a:prstGeom prst="straightConnector1">
                <a:avLst/>
              </a:prstGeom>
              <a:solidFill>
                <a:srgbClr val="F37821"/>
              </a:solidFill>
              <a:ln w="19050" cap="rnd" cmpd="sng" algn="ctr">
                <a:solidFill>
                  <a:srgbClr val="F37821"/>
                </a:solidFill>
                <a:prstDash val="solid"/>
                <a:round/>
                <a:headEnd type="none"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3" name="Straight Arrow Connector 84"/>
              <p:cNvCxnSpPr/>
              <p:nvPr/>
            </p:nvCxnSpPr>
            <p:spPr bwMode="auto">
              <a:xfrm flipV="1">
                <a:off x="3983112" y="2570653"/>
                <a:ext cx="0" cy="350700"/>
              </a:xfrm>
              <a:prstGeom prst="straightConnector1">
                <a:avLst/>
              </a:prstGeom>
              <a:solidFill>
                <a:srgbClr val="F37821"/>
              </a:solidFill>
              <a:ln w="19050" cap="rnd" cmpd="sng" algn="ctr">
                <a:solidFill>
                  <a:srgbClr val="F37821"/>
                </a:solidFill>
                <a:prstDash val="solid"/>
                <a:round/>
                <a:headEnd type="none"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24" name="Group 123"/>
          <p:cNvGrpSpPr/>
          <p:nvPr/>
        </p:nvGrpSpPr>
        <p:grpSpPr>
          <a:xfrm>
            <a:off x="6748186" y="2568280"/>
            <a:ext cx="1237280" cy="1433213"/>
            <a:chOff x="6748186" y="2570653"/>
            <a:chExt cx="1237280" cy="1434540"/>
          </a:xfrm>
        </p:grpSpPr>
        <p:sp>
          <p:nvSpPr>
            <p:cNvPr id="125" name="TextBox 124"/>
            <p:cNvSpPr txBox="1"/>
            <p:nvPr/>
          </p:nvSpPr>
          <p:spPr>
            <a:xfrm>
              <a:off x="6854197" y="2613797"/>
              <a:ext cx="1131269" cy="245977"/>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Policy for internal network ID @ 10.1.2.2</a:t>
              </a:r>
            </a:p>
          </p:txBody>
        </p:sp>
        <p:cxnSp>
          <p:nvCxnSpPr>
            <p:cNvPr id="126" name="Straight Arrow Connector 84"/>
            <p:cNvCxnSpPr>
              <a:endCxn id="108" idx="0"/>
            </p:cNvCxnSpPr>
            <p:nvPr/>
          </p:nvCxnSpPr>
          <p:spPr bwMode="auto">
            <a:xfrm>
              <a:off x="6748186" y="3692207"/>
              <a:ext cx="0" cy="312986"/>
            </a:xfrm>
            <a:prstGeom prst="straightConnector1">
              <a:avLst/>
            </a:prstGeom>
            <a:solidFill>
              <a:srgbClr val="F37821"/>
            </a:solidFill>
            <a:ln w="19050" cap="rnd" cmpd="sng" algn="ctr">
              <a:solidFill>
                <a:srgbClr val="F37821"/>
              </a:solidFill>
              <a:prstDash val="solid"/>
              <a:round/>
              <a:headEnd type="none"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7" name="Straight Arrow Connector 84"/>
            <p:cNvCxnSpPr/>
            <p:nvPr/>
          </p:nvCxnSpPr>
          <p:spPr bwMode="auto">
            <a:xfrm flipV="1">
              <a:off x="6748186" y="2570653"/>
              <a:ext cx="0" cy="350700"/>
            </a:xfrm>
            <a:prstGeom prst="straightConnector1">
              <a:avLst/>
            </a:prstGeom>
            <a:solidFill>
              <a:srgbClr val="F37821"/>
            </a:solidFill>
            <a:ln w="19050" cap="rnd" cmpd="sng" algn="ctr">
              <a:solidFill>
                <a:srgbClr val="F37821"/>
              </a:solidFill>
              <a:prstDash val="solid"/>
              <a:round/>
              <a:headEnd type="none"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28" name="Rounded Rectangle 127"/>
          <p:cNvSpPr/>
          <p:nvPr/>
        </p:nvSpPr>
        <p:spPr bwMode="auto">
          <a:xfrm>
            <a:off x="639020" y="2918650"/>
            <a:ext cx="888802" cy="770141"/>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Gateway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 8.2.0.1</a:t>
            </a:r>
          </a:p>
        </p:txBody>
      </p:sp>
      <p:sp>
        <p:nvSpPr>
          <p:cNvPr id="129" name="Rounded Rectangle 128"/>
          <p:cNvSpPr>
            <a:spLocks noChangeAspect="1"/>
          </p:cNvSpPr>
          <p:nvPr/>
        </p:nvSpPr>
        <p:spPr bwMode="auto">
          <a:xfrm>
            <a:off x="694403" y="3357978"/>
            <a:ext cx="778034" cy="277474"/>
          </a:xfrm>
          <a:prstGeom prst="roundRect">
            <a:avLst>
              <a:gd name="adj" fmla="val 35679"/>
            </a:avLst>
          </a:prstGeom>
          <a:solidFill>
            <a:srgbClr val="CCCCCC"/>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DHCP’s DNS = </a:t>
            </a:r>
            <a:r>
              <a:rPr kumimoji="0" lang="en-US" sz="750" b="0" i="0" u="none" strike="noStrike" kern="0" cap="none" spc="0" normalizeH="0" baseline="0" noProof="0" dirty="0" smtClean="0">
                <a:ln>
                  <a:noFill/>
                </a:ln>
                <a:solidFill>
                  <a:srgbClr val="F37821"/>
                </a:solidFill>
                <a:effectLst/>
                <a:uLnTx/>
                <a:uFillTx/>
                <a:latin typeface="Franklin Gothic Book"/>
                <a:ea typeface="新細明體" charset="0"/>
                <a:cs typeface="新細明體" charset="0"/>
              </a:rPr>
              <a:t>208.67.222.222</a:t>
            </a:r>
            <a:endParaRPr kumimoji="0" lang="en-US" sz="750" b="0" i="0" u="none" strike="noStrike" kern="0" cap="none" spc="0" normalizeH="0" baseline="0" noProof="0" dirty="0">
              <a:ln>
                <a:noFill/>
              </a:ln>
              <a:solidFill>
                <a:srgbClr val="F37821"/>
              </a:solidFill>
              <a:effectLst/>
              <a:uLnTx/>
              <a:uFillTx/>
              <a:latin typeface="Franklin Gothic Book"/>
              <a:ea typeface="新細明體" charset="0"/>
              <a:cs typeface="新細明體" charset="0"/>
            </a:endParaRPr>
          </a:p>
        </p:txBody>
      </p:sp>
    </p:spTree>
    <p:extLst>
      <p:ext uri="{BB962C8B-B14F-4D97-AF65-F5344CB8AC3E}">
        <p14:creationId xmlns:p14="http://schemas.microsoft.com/office/powerpoint/2010/main" val="217267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9"/>
                                        </p:tgtEl>
                                        <p:attrNameLst>
                                          <p:attrName>style.visibility</p:attrName>
                                        </p:attrNameLst>
                                      </p:cBhvr>
                                      <p:to>
                                        <p:strVal val="visible"/>
                                      </p:to>
                                    </p:set>
                                    <p:animEffect transition="in" filter="fade">
                                      <p:cBhvr>
                                        <p:cTn id="7" dur="500"/>
                                        <p:tgtEl>
                                          <p:spTgt spid="12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13"/>
                                        </p:tgtEl>
                                        <p:attrNameLst>
                                          <p:attrName>style.visibility</p:attrName>
                                        </p:attrNameLst>
                                      </p:cBhvr>
                                      <p:to>
                                        <p:strVal val="visible"/>
                                      </p:to>
                                    </p:set>
                                    <p:animEffect transition="in" filter="wipe(left)">
                                      <p:cBhvr>
                                        <p:cTn id="11" dur="500"/>
                                        <p:tgtEl>
                                          <p:spTgt spid="113"/>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110"/>
                                        </p:tgtEl>
                                        <p:attrNameLst>
                                          <p:attrName>style.visibility</p:attrName>
                                        </p:attrNameLst>
                                      </p:cBhvr>
                                      <p:to>
                                        <p:strVal val="visible"/>
                                      </p:to>
                                    </p:set>
                                    <p:animEffect transition="in" filter="wipe(down)">
                                      <p:cBhvr>
                                        <p:cTn id="15" dur="500"/>
                                        <p:tgtEl>
                                          <p:spTgt spid="110"/>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mph" presetSubtype="0" grpId="0" nodeType="clickEffect">
                                  <p:stCondLst>
                                    <p:cond delay="0"/>
                                  </p:stCondLst>
                                  <p:childTnLst>
                                    <p:set>
                                      <p:cBhvr rctx="PPT">
                                        <p:cTn id="19" dur="indefinite"/>
                                        <p:tgtEl>
                                          <p:spTgt spid="94"/>
                                        </p:tgtEl>
                                        <p:attrNameLst>
                                          <p:attrName>style.opacity</p:attrName>
                                        </p:attrNameLst>
                                      </p:cBhvr>
                                      <p:to>
                                        <p:strVal val="0.25"/>
                                      </p:to>
                                    </p:set>
                                    <p:animEffect filter="image" prLst="opacity: 0.25">
                                      <p:cBhvr rctx="IE">
                                        <p:cTn id="20" dur="indefinite"/>
                                        <p:tgtEl>
                                          <p:spTgt spid="94"/>
                                        </p:tgtEl>
                                      </p:cBhvr>
                                    </p:animEffect>
                                  </p:childTnLst>
                                </p:cTn>
                              </p:par>
                              <p:par>
                                <p:cTn id="21" presetID="9" presetClass="emph" presetSubtype="0" grpId="0" nodeType="withEffect">
                                  <p:stCondLst>
                                    <p:cond delay="0"/>
                                  </p:stCondLst>
                                  <p:childTnLst>
                                    <p:set>
                                      <p:cBhvr rctx="PPT">
                                        <p:cTn id="22" dur="indefinite"/>
                                        <p:tgtEl>
                                          <p:spTgt spid="95"/>
                                        </p:tgtEl>
                                        <p:attrNameLst>
                                          <p:attrName>style.opacity</p:attrName>
                                        </p:attrNameLst>
                                      </p:cBhvr>
                                      <p:to>
                                        <p:strVal val="0.25"/>
                                      </p:to>
                                    </p:set>
                                    <p:animEffect filter="image" prLst="opacity: 0.25">
                                      <p:cBhvr rctx="IE">
                                        <p:cTn id="23" dur="indefinite"/>
                                        <p:tgtEl>
                                          <p:spTgt spid="95"/>
                                        </p:tgtEl>
                                      </p:cBhvr>
                                    </p:animEffect>
                                  </p:childTnLst>
                                </p:cTn>
                              </p:par>
                              <p:par>
                                <p:cTn id="24" presetID="9" presetClass="emph" presetSubtype="0" grpId="0" nodeType="withEffect">
                                  <p:stCondLst>
                                    <p:cond delay="0"/>
                                  </p:stCondLst>
                                  <p:childTnLst>
                                    <p:set>
                                      <p:cBhvr rctx="PPT">
                                        <p:cTn id="25" dur="indefinite"/>
                                        <p:tgtEl>
                                          <p:spTgt spid="96"/>
                                        </p:tgtEl>
                                        <p:attrNameLst>
                                          <p:attrName>style.opacity</p:attrName>
                                        </p:attrNameLst>
                                      </p:cBhvr>
                                      <p:to>
                                        <p:strVal val="0.25"/>
                                      </p:to>
                                    </p:set>
                                    <p:animEffect filter="image" prLst="opacity: 0.25">
                                      <p:cBhvr rctx="IE">
                                        <p:cTn id="26" dur="indefinite"/>
                                        <p:tgtEl>
                                          <p:spTgt spid="96"/>
                                        </p:tgtEl>
                                      </p:cBhvr>
                                    </p:animEffect>
                                  </p:childTnLst>
                                </p:cTn>
                              </p:par>
                              <p:par>
                                <p:cTn id="27" presetID="9" presetClass="emph" presetSubtype="0" grpId="0" nodeType="withEffect">
                                  <p:stCondLst>
                                    <p:cond delay="0"/>
                                  </p:stCondLst>
                                  <p:childTnLst>
                                    <p:set>
                                      <p:cBhvr rctx="PPT">
                                        <p:cTn id="28" dur="indefinite"/>
                                        <p:tgtEl>
                                          <p:spTgt spid="98"/>
                                        </p:tgtEl>
                                        <p:attrNameLst>
                                          <p:attrName>style.opacity</p:attrName>
                                        </p:attrNameLst>
                                      </p:cBhvr>
                                      <p:to>
                                        <p:strVal val="0.25"/>
                                      </p:to>
                                    </p:set>
                                    <p:animEffect filter="image" prLst="opacity: 0.25">
                                      <p:cBhvr rctx="IE">
                                        <p:cTn id="29" dur="indefinite"/>
                                        <p:tgtEl>
                                          <p:spTgt spid="98"/>
                                        </p:tgtEl>
                                      </p:cBhvr>
                                    </p:animEffect>
                                  </p:childTnLst>
                                </p:cTn>
                              </p:par>
                              <p:par>
                                <p:cTn id="30" presetID="9" presetClass="emph" presetSubtype="0" nodeType="withEffect">
                                  <p:stCondLst>
                                    <p:cond delay="0"/>
                                  </p:stCondLst>
                                  <p:childTnLst>
                                    <p:set>
                                      <p:cBhvr rctx="PPT">
                                        <p:cTn id="31" dur="indefinite"/>
                                        <p:tgtEl>
                                          <p:spTgt spid="99"/>
                                        </p:tgtEl>
                                        <p:attrNameLst>
                                          <p:attrName>style.opacity</p:attrName>
                                        </p:attrNameLst>
                                      </p:cBhvr>
                                      <p:to>
                                        <p:strVal val="0.25"/>
                                      </p:to>
                                    </p:set>
                                    <p:animEffect filter="image" prLst="opacity: 0.25">
                                      <p:cBhvr rctx="IE">
                                        <p:cTn id="32" dur="indefinite"/>
                                        <p:tgtEl>
                                          <p:spTgt spid="99"/>
                                        </p:tgtEl>
                                      </p:cBhvr>
                                    </p:animEffect>
                                  </p:childTnLst>
                                </p:cTn>
                              </p:par>
                              <p:par>
                                <p:cTn id="33" presetID="9" presetClass="emph" presetSubtype="0" nodeType="withEffect">
                                  <p:stCondLst>
                                    <p:cond delay="0"/>
                                  </p:stCondLst>
                                  <p:childTnLst>
                                    <p:set>
                                      <p:cBhvr rctx="PPT">
                                        <p:cTn id="34" dur="indefinite"/>
                                        <p:tgtEl>
                                          <p:spTgt spid="110"/>
                                        </p:tgtEl>
                                        <p:attrNameLst>
                                          <p:attrName>style.opacity</p:attrName>
                                        </p:attrNameLst>
                                      </p:cBhvr>
                                      <p:to>
                                        <p:strVal val="0.25"/>
                                      </p:to>
                                    </p:set>
                                    <p:animEffect filter="image" prLst="opacity: 0.25">
                                      <p:cBhvr rctx="IE">
                                        <p:cTn id="35" dur="indefinite"/>
                                        <p:tgtEl>
                                          <p:spTgt spid="110"/>
                                        </p:tgtEl>
                                      </p:cBhvr>
                                    </p:animEffect>
                                  </p:childTnLst>
                                </p:cTn>
                              </p:par>
                              <p:par>
                                <p:cTn id="36" presetID="9" presetClass="emph" presetSubtype="0" nodeType="withEffect">
                                  <p:stCondLst>
                                    <p:cond delay="0"/>
                                  </p:stCondLst>
                                  <p:childTnLst>
                                    <p:set>
                                      <p:cBhvr rctx="PPT">
                                        <p:cTn id="37" dur="indefinite"/>
                                        <p:tgtEl>
                                          <p:spTgt spid="113"/>
                                        </p:tgtEl>
                                        <p:attrNameLst>
                                          <p:attrName>style.opacity</p:attrName>
                                        </p:attrNameLst>
                                      </p:cBhvr>
                                      <p:to>
                                        <p:strVal val="0.25"/>
                                      </p:to>
                                    </p:set>
                                    <p:animEffect filter="image" prLst="opacity: 0.25">
                                      <p:cBhvr rctx="IE">
                                        <p:cTn id="38" dur="indefinite"/>
                                        <p:tgtEl>
                                          <p:spTgt spid="113"/>
                                        </p:tgtEl>
                                      </p:cBhvr>
                                    </p:animEffect>
                                  </p:childTnLst>
                                </p:cTn>
                              </p:par>
                              <p:par>
                                <p:cTn id="39" presetID="9" presetClass="emph" presetSubtype="0" grpId="0" nodeType="withEffect">
                                  <p:stCondLst>
                                    <p:cond delay="0"/>
                                  </p:stCondLst>
                                  <p:childTnLst>
                                    <p:set>
                                      <p:cBhvr rctx="PPT">
                                        <p:cTn id="40" dur="indefinite"/>
                                        <p:tgtEl>
                                          <p:spTgt spid="128"/>
                                        </p:tgtEl>
                                        <p:attrNameLst>
                                          <p:attrName>style.opacity</p:attrName>
                                        </p:attrNameLst>
                                      </p:cBhvr>
                                      <p:to>
                                        <p:strVal val="0.25"/>
                                      </p:to>
                                    </p:set>
                                    <p:animEffect filter="image" prLst="opacity: 0.25">
                                      <p:cBhvr rctx="IE">
                                        <p:cTn id="41" dur="indefinite"/>
                                        <p:tgtEl>
                                          <p:spTgt spid="128"/>
                                        </p:tgtEl>
                                      </p:cBhvr>
                                    </p:animEffect>
                                  </p:childTnLst>
                                </p:cTn>
                              </p:par>
                              <p:par>
                                <p:cTn id="42" presetID="9" presetClass="emph" presetSubtype="0" grpId="1" nodeType="withEffect">
                                  <p:stCondLst>
                                    <p:cond delay="0"/>
                                  </p:stCondLst>
                                  <p:childTnLst>
                                    <p:set>
                                      <p:cBhvr rctx="PPT">
                                        <p:cTn id="43" dur="indefinite"/>
                                        <p:tgtEl>
                                          <p:spTgt spid="129"/>
                                        </p:tgtEl>
                                        <p:attrNameLst>
                                          <p:attrName>style.opacity</p:attrName>
                                        </p:attrNameLst>
                                      </p:cBhvr>
                                      <p:to>
                                        <p:strVal val="0.25"/>
                                      </p:to>
                                    </p:set>
                                    <p:animEffect filter="image" prLst="opacity: 0.25">
                                      <p:cBhvr rctx="IE">
                                        <p:cTn id="44" dur="indefinite"/>
                                        <p:tgtEl>
                                          <p:spTgt spid="129"/>
                                        </p:tgtEl>
                                      </p:cBhvr>
                                    </p:animEffect>
                                  </p:childTnLst>
                                </p:cTn>
                              </p:par>
                            </p:childTnLst>
                          </p:cTn>
                        </p:par>
                        <p:par>
                          <p:cTn id="45" fill="hold">
                            <p:stCondLst>
                              <p:cond delay="0"/>
                            </p:stCondLst>
                            <p:childTnLst>
                              <p:par>
                                <p:cTn id="46" presetID="10" presetClass="entr" presetSubtype="0" fill="hold" nodeType="afterEffect">
                                  <p:stCondLst>
                                    <p:cond delay="0"/>
                                  </p:stCondLst>
                                  <p:childTnLst>
                                    <p:set>
                                      <p:cBhvr>
                                        <p:cTn id="47" dur="1" fill="hold">
                                          <p:stCondLst>
                                            <p:cond delay="0"/>
                                          </p:stCondLst>
                                        </p:cTn>
                                        <p:tgtEl>
                                          <p:spTgt spid="81"/>
                                        </p:tgtEl>
                                        <p:attrNameLst>
                                          <p:attrName>style.visibility</p:attrName>
                                        </p:attrNameLst>
                                      </p:cBhvr>
                                      <p:to>
                                        <p:strVal val="visible"/>
                                      </p:to>
                                    </p:set>
                                    <p:animEffect transition="in" filter="fade">
                                      <p:cBhvr>
                                        <p:cTn id="48" dur="500"/>
                                        <p:tgtEl>
                                          <p:spTgt spid="81"/>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105"/>
                                        </p:tgtEl>
                                        <p:attrNameLst>
                                          <p:attrName>style.visibility</p:attrName>
                                        </p:attrNameLst>
                                      </p:cBhvr>
                                      <p:to>
                                        <p:strVal val="visible"/>
                                      </p:to>
                                    </p:set>
                                    <p:animEffect transition="in" filter="fade">
                                      <p:cBhvr>
                                        <p:cTn id="53" dur="500"/>
                                        <p:tgtEl>
                                          <p:spTgt spid="105"/>
                                        </p:tgtEl>
                                      </p:cBhvr>
                                    </p:animEffect>
                                  </p:childTnLst>
                                </p:cTn>
                              </p:par>
                            </p:childTnLst>
                          </p:cTn>
                        </p:par>
                        <p:par>
                          <p:cTn id="54" fill="hold">
                            <p:stCondLst>
                              <p:cond delay="500"/>
                            </p:stCondLst>
                            <p:childTnLst>
                              <p:par>
                                <p:cTn id="55" presetID="22" presetClass="entr" presetSubtype="8" fill="hold" nodeType="afterEffect">
                                  <p:stCondLst>
                                    <p:cond delay="0"/>
                                  </p:stCondLst>
                                  <p:childTnLst>
                                    <p:set>
                                      <p:cBhvr>
                                        <p:cTn id="56" dur="1" fill="hold">
                                          <p:stCondLst>
                                            <p:cond delay="0"/>
                                          </p:stCondLst>
                                        </p:cTn>
                                        <p:tgtEl>
                                          <p:spTgt spid="114"/>
                                        </p:tgtEl>
                                        <p:attrNameLst>
                                          <p:attrName>style.visibility</p:attrName>
                                        </p:attrNameLst>
                                      </p:cBhvr>
                                      <p:to>
                                        <p:strVal val="visible"/>
                                      </p:to>
                                    </p:set>
                                    <p:animEffect transition="in" filter="wipe(left)">
                                      <p:cBhvr>
                                        <p:cTn id="57" dur="500"/>
                                        <p:tgtEl>
                                          <p:spTgt spid="114"/>
                                        </p:tgtEl>
                                      </p:cBhvr>
                                    </p:animEffect>
                                  </p:childTnLst>
                                </p:cTn>
                              </p:par>
                            </p:childTnLst>
                          </p:cTn>
                        </p:par>
                        <p:par>
                          <p:cTn id="58" fill="hold">
                            <p:stCondLst>
                              <p:cond delay="1000"/>
                            </p:stCondLst>
                            <p:childTnLst>
                              <p:par>
                                <p:cTn id="59" presetID="22" presetClass="entr" presetSubtype="4" fill="hold" nodeType="afterEffect">
                                  <p:stCondLst>
                                    <p:cond delay="0"/>
                                  </p:stCondLst>
                                  <p:childTnLst>
                                    <p:set>
                                      <p:cBhvr>
                                        <p:cTn id="60" dur="1" fill="hold">
                                          <p:stCondLst>
                                            <p:cond delay="0"/>
                                          </p:stCondLst>
                                        </p:cTn>
                                        <p:tgtEl>
                                          <p:spTgt spid="103"/>
                                        </p:tgtEl>
                                        <p:attrNameLst>
                                          <p:attrName>style.visibility</p:attrName>
                                        </p:attrNameLst>
                                      </p:cBhvr>
                                      <p:to>
                                        <p:strVal val="visible"/>
                                      </p:to>
                                    </p:set>
                                    <p:animEffect transition="in" filter="wipe(down)">
                                      <p:cBhvr>
                                        <p:cTn id="61" dur="500"/>
                                        <p:tgtEl>
                                          <p:spTgt spid="103"/>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104"/>
                                        </p:tgtEl>
                                        <p:attrNameLst>
                                          <p:attrName>style.visibility</p:attrName>
                                        </p:attrNameLst>
                                      </p:cBhvr>
                                      <p:to>
                                        <p:strVal val="visible"/>
                                      </p:to>
                                    </p:set>
                                    <p:animEffect transition="in" filter="fade">
                                      <p:cBhvr>
                                        <p:cTn id="66" dur="500"/>
                                        <p:tgtEl>
                                          <p:spTgt spid="104"/>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19"/>
                                        </p:tgtEl>
                                        <p:attrNameLst>
                                          <p:attrName>style.visibility</p:attrName>
                                        </p:attrNameLst>
                                      </p:cBhvr>
                                      <p:to>
                                        <p:strVal val="visible"/>
                                      </p:to>
                                    </p:set>
                                    <p:animEffect transition="in" filter="fade">
                                      <p:cBhvr>
                                        <p:cTn id="70" dur="500"/>
                                        <p:tgtEl>
                                          <p:spTgt spid="119"/>
                                        </p:tgtEl>
                                      </p:cBhvr>
                                    </p:animEffect>
                                  </p:childTnLst>
                                </p:cTn>
                              </p:par>
                            </p:childTnLst>
                          </p:cTn>
                        </p:par>
                      </p:childTnLst>
                    </p:cTn>
                  </p:par>
                  <p:par>
                    <p:cTn id="71" fill="hold">
                      <p:stCondLst>
                        <p:cond delay="indefinite"/>
                      </p:stCondLst>
                      <p:childTnLst>
                        <p:par>
                          <p:cTn id="72" fill="hold">
                            <p:stCondLst>
                              <p:cond delay="0"/>
                            </p:stCondLst>
                            <p:childTnLst>
                              <p:par>
                                <p:cTn id="73" presetID="9" presetClass="emph" presetSubtype="0" nodeType="clickEffect">
                                  <p:stCondLst>
                                    <p:cond delay="0"/>
                                  </p:stCondLst>
                                  <p:childTnLst>
                                    <p:set>
                                      <p:cBhvr rctx="PPT">
                                        <p:cTn id="74" dur="indefinite"/>
                                        <p:tgtEl>
                                          <p:spTgt spid="81"/>
                                        </p:tgtEl>
                                        <p:attrNameLst>
                                          <p:attrName>style.opacity</p:attrName>
                                        </p:attrNameLst>
                                      </p:cBhvr>
                                      <p:to>
                                        <p:strVal val="0.25"/>
                                      </p:to>
                                    </p:set>
                                    <p:animEffect filter="image" prLst="opacity: 0.25">
                                      <p:cBhvr rctx="IE">
                                        <p:cTn id="75" dur="indefinite"/>
                                        <p:tgtEl>
                                          <p:spTgt spid="81"/>
                                        </p:tgtEl>
                                      </p:cBhvr>
                                    </p:animEffect>
                                  </p:childTnLst>
                                </p:cTn>
                              </p:par>
                              <p:par>
                                <p:cTn id="76" presetID="9" presetClass="emph" presetSubtype="0" nodeType="withEffect">
                                  <p:stCondLst>
                                    <p:cond delay="0"/>
                                  </p:stCondLst>
                                  <p:childTnLst>
                                    <p:set>
                                      <p:cBhvr rctx="PPT">
                                        <p:cTn id="77" dur="indefinite"/>
                                        <p:tgtEl>
                                          <p:spTgt spid="103"/>
                                        </p:tgtEl>
                                        <p:attrNameLst>
                                          <p:attrName>style.opacity</p:attrName>
                                        </p:attrNameLst>
                                      </p:cBhvr>
                                      <p:to>
                                        <p:strVal val="0.25"/>
                                      </p:to>
                                    </p:set>
                                    <p:animEffect filter="image" prLst="opacity: 0.25">
                                      <p:cBhvr rctx="IE">
                                        <p:cTn id="78" dur="indefinite"/>
                                        <p:tgtEl>
                                          <p:spTgt spid="103"/>
                                        </p:tgtEl>
                                      </p:cBhvr>
                                    </p:animEffect>
                                  </p:childTnLst>
                                </p:cTn>
                              </p:par>
                              <p:par>
                                <p:cTn id="79" presetID="9" presetClass="emph" presetSubtype="0" grpId="1" nodeType="withEffect">
                                  <p:stCondLst>
                                    <p:cond delay="0"/>
                                  </p:stCondLst>
                                  <p:childTnLst>
                                    <p:set>
                                      <p:cBhvr rctx="PPT">
                                        <p:cTn id="80" dur="indefinite"/>
                                        <p:tgtEl>
                                          <p:spTgt spid="104"/>
                                        </p:tgtEl>
                                        <p:attrNameLst>
                                          <p:attrName>style.opacity</p:attrName>
                                        </p:attrNameLst>
                                      </p:cBhvr>
                                      <p:to>
                                        <p:strVal val="0.25"/>
                                      </p:to>
                                    </p:set>
                                    <p:animEffect filter="image" prLst="opacity: 0.25">
                                      <p:cBhvr rctx="IE">
                                        <p:cTn id="81" dur="indefinite"/>
                                        <p:tgtEl>
                                          <p:spTgt spid="104"/>
                                        </p:tgtEl>
                                      </p:cBhvr>
                                    </p:animEffect>
                                  </p:childTnLst>
                                </p:cTn>
                              </p:par>
                              <p:par>
                                <p:cTn id="82" presetID="9" presetClass="emph" presetSubtype="0" grpId="1" nodeType="withEffect">
                                  <p:stCondLst>
                                    <p:cond delay="0"/>
                                  </p:stCondLst>
                                  <p:childTnLst>
                                    <p:set>
                                      <p:cBhvr rctx="PPT">
                                        <p:cTn id="83" dur="indefinite"/>
                                        <p:tgtEl>
                                          <p:spTgt spid="105"/>
                                        </p:tgtEl>
                                        <p:attrNameLst>
                                          <p:attrName>style.opacity</p:attrName>
                                        </p:attrNameLst>
                                      </p:cBhvr>
                                      <p:to>
                                        <p:strVal val="0.25"/>
                                      </p:to>
                                    </p:set>
                                    <p:animEffect filter="image" prLst="opacity: 0.25">
                                      <p:cBhvr rctx="IE">
                                        <p:cTn id="84" dur="indefinite"/>
                                        <p:tgtEl>
                                          <p:spTgt spid="105"/>
                                        </p:tgtEl>
                                      </p:cBhvr>
                                    </p:animEffect>
                                  </p:childTnLst>
                                </p:cTn>
                              </p:par>
                              <p:par>
                                <p:cTn id="85" presetID="9" presetClass="emph" presetSubtype="0" nodeType="withEffect">
                                  <p:stCondLst>
                                    <p:cond delay="0"/>
                                  </p:stCondLst>
                                  <p:childTnLst>
                                    <p:set>
                                      <p:cBhvr rctx="PPT">
                                        <p:cTn id="86" dur="indefinite"/>
                                        <p:tgtEl>
                                          <p:spTgt spid="114"/>
                                        </p:tgtEl>
                                        <p:attrNameLst>
                                          <p:attrName>style.opacity</p:attrName>
                                        </p:attrNameLst>
                                      </p:cBhvr>
                                      <p:to>
                                        <p:strVal val="0.25"/>
                                      </p:to>
                                    </p:set>
                                    <p:animEffect filter="image" prLst="opacity: 0.25">
                                      <p:cBhvr rctx="IE">
                                        <p:cTn id="87" dur="indefinite"/>
                                        <p:tgtEl>
                                          <p:spTgt spid="114"/>
                                        </p:tgtEl>
                                      </p:cBhvr>
                                    </p:animEffect>
                                  </p:childTnLst>
                                </p:cTn>
                              </p:par>
                              <p:par>
                                <p:cTn id="88" presetID="9" presetClass="emph" presetSubtype="0" nodeType="withEffect">
                                  <p:stCondLst>
                                    <p:cond delay="0"/>
                                  </p:stCondLst>
                                  <p:childTnLst>
                                    <p:set>
                                      <p:cBhvr rctx="PPT">
                                        <p:cTn id="89" dur="indefinite"/>
                                        <p:tgtEl>
                                          <p:spTgt spid="119"/>
                                        </p:tgtEl>
                                        <p:attrNameLst>
                                          <p:attrName>style.opacity</p:attrName>
                                        </p:attrNameLst>
                                      </p:cBhvr>
                                      <p:to>
                                        <p:strVal val="0.25"/>
                                      </p:to>
                                    </p:set>
                                    <p:animEffect filter="image" prLst="opacity: 0.25">
                                      <p:cBhvr rctx="IE">
                                        <p:cTn id="90" dur="indefinite"/>
                                        <p:tgtEl>
                                          <p:spTgt spid="119"/>
                                        </p:tgtEl>
                                      </p:cBhvr>
                                    </p:animEffect>
                                  </p:childTnLst>
                                </p:cTn>
                              </p:par>
                              <p:par>
                                <p:cTn id="91" presetID="10" presetClass="entr" presetSubtype="0" fill="hold" nodeType="withEffect">
                                  <p:stCondLst>
                                    <p:cond delay="0"/>
                                  </p:stCondLst>
                                  <p:childTnLst>
                                    <p:set>
                                      <p:cBhvr>
                                        <p:cTn id="92" dur="1" fill="hold">
                                          <p:stCondLst>
                                            <p:cond delay="0"/>
                                          </p:stCondLst>
                                        </p:cTn>
                                        <p:tgtEl>
                                          <p:spTgt spid="68"/>
                                        </p:tgtEl>
                                        <p:attrNameLst>
                                          <p:attrName>style.visibility</p:attrName>
                                        </p:attrNameLst>
                                      </p:cBhvr>
                                      <p:to>
                                        <p:strVal val="visible"/>
                                      </p:to>
                                    </p:set>
                                    <p:animEffect transition="in" filter="fade">
                                      <p:cBhvr>
                                        <p:cTn id="93" dur="500"/>
                                        <p:tgtEl>
                                          <p:spTgt spid="68"/>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108"/>
                                        </p:tgtEl>
                                        <p:attrNameLst>
                                          <p:attrName>style.visibility</p:attrName>
                                        </p:attrNameLst>
                                      </p:cBhvr>
                                      <p:to>
                                        <p:strVal val="visible"/>
                                      </p:to>
                                    </p:set>
                                    <p:animEffect transition="in" filter="fade">
                                      <p:cBhvr>
                                        <p:cTn id="98" dur="500"/>
                                        <p:tgtEl>
                                          <p:spTgt spid="108"/>
                                        </p:tgtEl>
                                      </p:cBhvr>
                                    </p:animEffect>
                                  </p:childTnLst>
                                </p:cTn>
                              </p:par>
                            </p:childTnLst>
                          </p:cTn>
                        </p:par>
                        <p:par>
                          <p:cTn id="99" fill="hold">
                            <p:stCondLst>
                              <p:cond delay="500"/>
                            </p:stCondLst>
                            <p:childTnLst>
                              <p:par>
                                <p:cTn id="100" presetID="10" presetClass="entr" presetSubtype="0" fill="hold" grpId="0" nodeType="afterEffect">
                                  <p:stCondLst>
                                    <p:cond delay="0"/>
                                  </p:stCondLst>
                                  <p:childTnLst>
                                    <p:set>
                                      <p:cBhvr>
                                        <p:cTn id="101" dur="1" fill="hold">
                                          <p:stCondLst>
                                            <p:cond delay="0"/>
                                          </p:stCondLst>
                                        </p:cTn>
                                        <p:tgtEl>
                                          <p:spTgt spid="107"/>
                                        </p:tgtEl>
                                        <p:attrNameLst>
                                          <p:attrName>style.visibility</p:attrName>
                                        </p:attrNameLst>
                                      </p:cBhvr>
                                      <p:to>
                                        <p:strVal val="visible"/>
                                      </p:to>
                                    </p:set>
                                    <p:animEffect transition="in" filter="fade">
                                      <p:cBhvr>
                                        <p:cTn id="102" dur="500"/>
                                        <p:tgtEl>
                                          <p:spTgt spid="107"/>
                                        </p:tgtEl>
                                      </p:cBhvr>
                                    </p:animEffect>
                                  </p:childTnLst>
                                </p:cTn>
                              </p:par>
                            </p:childTnLst>
                          </p:cTn>
                        </p:par>
                        <p:par>
                          <p:cTn id="103" fill="hold">
                            <p:stCondLst>
                              <p:cond delay="1000"/>
                            </p:stCondLst>
                            <p:childTnLst>
                              <p:par>
                                <p:cTn id="104" presetID="22" presetClass="entr" presetSubtype="8" fill="hold" nodeType="afterEffect">
                                  <p:stCondLst>
                                    <p:cond delay="0"/>
                                  </p:stCondLst>
                                  <p:childTnLst>
                                    <p:set>
                                      <p:cBhvr>
                                        <p:cTn id="105" dur="1" fill="hold">
                                          <p:stCondLst>
                                            <p:cond delay="0"/>
                                          </p:stCondLst>
                                        </p:cTn>
                                        <p:tgtEl>
                                          <p:spTgt spid="115"/>
                                        </p:tgtEl>
                                        <p:attrNameLst>
                                          <p:attrName>style.visibility</p:attrName>
                                        </p:attrNameLst>
                                      </p:cBhvr>
                                      <p:to>
                                        <p:strVal val="visible"/>
                                      </p:to>
                                    </p:set>
                                    <p:animEffect transition="in" filter="wipe(left)">
                                      <p:cBhvr>
                                        <p:cTn id="106" dur="500"/>
                                        <p:tgtEl>
                                          <p:spTgt spid="115"/>
                                        </p:tgtEl>
                                      </p:cBhvr>
                                    </p:animEffect>
                                  </p:childTnLst>
                                </p:cTn>
                              </p:par>
                            </p:childTnLst>
                          </p:cTn>
                        </p:par>
                        <p:par>
                          <p:cTn id="107" fill="hold">
                            <p:stCondLst>
                              <p:cond delay="1500"/>
                            </p:stCondLst>
                            <p:childTnLst>
                              <p:par>
                                <p:cTn id="108" presetID="22" presetClass="entr" presetSubtype="2" fill="hold" nodeType="afterEffect">
                                  <p:stCondLst>
                                    <p:cond delay="0"/>
                                  </p:stCondLst>
                                  <p:childTnLst>
                                    <p:set>
                                      <p:cBhvr>
                                        <p:cTn id="109" dur="1" fill="hold">
                                          <p:stCondLst>
                                            <p:cond delay="0"/>
                                          </p:stCondLst>
                                        </p:cTn>
                                        <p:tgtEl>
                                          <p:spTgt spid="116"/>
                                        </p:tgtEl>
                                        <p:attrNameLst>
                                          <p:attrName>style.visibility</p:attrName>
                                        </p:attrNameLst>
                                      </p:cBhvr>
                                      <p:to>
                                        <p:strVal val="visible"/>
                                      </p:to>
                                    </p:set>
                                    <p:animEffect transition="in" filter="wipe(right)">
                                      <p:cBhvr>
                                        <p:cTn id="110" dur="500"/>
                                        <p:tgtEl>
                                          <p:spTgt spid="116"/>
                                        </p:tgtEl>
                                      </p:cBhvr>
                                    </p:animEffect>
                                  </p:childTnLst>
                                </p:cTn>
                              </p:par>
                            </p:childTnLst>
                          </p:cTn>
                        </p:par>
                        <p:par>
                          <p:cTn id="111" fill="hold">
                            <p:stCondLst>
                              <p:cond delay="2000"/>
                            </p:stCondLst>
                            <p:childTnLst>
                              <p:par>
                                <p:cTn id="112" presetID="22" presetClass="entr" presetSubtype="4" fill="hold" nodeType="afterEffect">
                                  <p:stCondLst>
                                    <p:cond delay="0"/>
                                  </p:stCondLst>
                                  <p:childTnLst>
                                    <p:set>
                                      <p:cBhvr>
                                        <p:cTn id="113" dur="1" fill="hold">
                                          <p:stCondLst>
                                            <p:cond delay="0"/>
                                          </p:stCondLst>
                                        </p:cTn>
                                        <p:tgtEl>
                                          <p:spTgt spid="124"/>
                                        </p:tgtEl>
                                        <p:attrNameLst>
                                          <p:attrName>style.visibility</p:attrName>
                                        </p:attrNameLst>
                                      </p:cBhvr>
                                      <p:to>
                                        <p:strVal val="visible"/>
                                      </p:to>
                                    </p:set>
                                    <p:animEffect transition="in" filter="wipe(down)">
                                      <p:cBhvr>
                                        <p:cTn id="114" dur="500"/>
                                        <p:tgtEl>
                                          <p:spTgt spid="124"/>
                                        </p:tgtEl>
                                      </p:cBhvr>
                                    </p:animEffect>
                                  </p:childTnLst>
                                </p:cTn>
                              </p:par>
                            </p:childTnLst>
                          </p:cTn>
                        </p:par>
                      </p:childTnLst>
                    </p:cTn>
                  </p:par>
                  <p:par>
                    <p:cTn id="115" fill="hold">
                      <p:stCondLst>
                        <p:cond delay="indefinite"/>
                      </p:stCondLst>
                      <p:childTnLst>
                        <p:par>
                          <p:cTn id="116" fill="hold">
                            <p:stCondLst>
                              <p:cond delay="0"/>
                            </p:stCondLst>
                            <p:childTnLst>
                              <p:par>
                                <p:cTn id="117" presetID="10" presetClass="entr" presetSubtype="0" fill="hold" grpId="0" nodeType="clickEffect">
                                  <p:stCondLst>
                                    <p:cond delay="0"/>
                                  </p:stCondLst>
                                  <p:childTnLst>
                                    <p:set>
                                      <p:cBhvr>
                                        <p:cTn id="118" dur="1" fill="hold">
                                          <p:stCondLst>
                                            <p:cond delay="0"/>
                                          </p:stCondLst>
                                        </p:cTn>
                                        <p:tgtEl>
                                          <p:spTgt spid="109"/>
                                        </p:tgtEl>
                                        <p:attrNameLst>
                                          <p:attrName>style.visibility</p:attrName>
                                        </p:attrNameLst>
                                      </p:cBhvr>
                                      <p:to>
                                        <p:strVal val="visible"/>
                                      </p:to>
                                    </p:set>
                                    <p:animEffect transition="in" filter="fade">
                                      <p:cBhvr>
                                        <p:cTn id="119" dur="500"/>
                                        <p:tgtEl>
                                          <p:spTgt spid="109"/>
                                        </p:tgtEl>
                                      </p:cBhvr>
                                    </p:animEffect>
                                  </p:childTnLst>
                                </p:cTn>
                              </p:par>
                            </p:childTnLst>
                          </p:cTn>
                        </p:par>
                        <p:par>
                          <p:cTn id="120" fill="hold">
                            <p:stCondLst>
                              <p:cond delay="500"/>
                            </p:stCondLst>
                            <p:childTnLst>
                              <p:par>
                                <p:cTn id="121" presetID="22" presetClass="entr" presetSubtype="8" fill="hold" nodeType="afterEffect">
                                  <p:stCondLst>
                                    <p:cond delay="0"/>
                                  </p:stCondLst>
                                  <p:childTnLst>
                                    <p:set>
                                      <p:cBhvr>
                                        <p:cTn id="122" dur="1" fill="hold">
                                          <p:stCondLst>
                                            <p:cond delay="0"/>
                                          </p:stCondLst>
                                        </p:cTn>
                                        <p:tgtEl>
                                          <p:spTgt spid="106"/>
                                        </p:tgtEl>
                                        <p:attrNameLst>
                                          <p:attrName>style.visibility</p:attrName>
                                        </p:attrNameLst>
                                      </p:cBhvr>
                                      <p:to>
                                        <p:strVal val="visible"/>
                                      </p:to>
                                    </p:set>
                                    <p:animEffect transition="in" filter="wipe(left)">
                                      <p:cBhvr>
                                        <p:cTn id="123" dur="500"/>
                                        <p:tgtEl>
                                          <p:spTgt spid="1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animBg="1"/>
      <p:bldP spid="95" grpId="0" animBg="1"/>
      <p:bldP spid="96" grpId="0"/>
      <p:bldP spid="98" grpId="0" animBg="1"/>
      <p:bldP spid="104" grpId="0" animBg="1"/>
      <p:bldP spid="104" grpId="1" animBg="1"/>
      <p:bldP spid="105" grpId="0" animBg="1"/>
      <p:bldP spid="105" grpId="1" animBg="1"/>
      <p:bldP spid="107" grpId="0" animBg="1"/>
      <p:bldP spid="108" grpId="0" animBg="1"/>
      <p:bldP spid="109" grpId="0" animBg="1"/>
      <p:bldP spid="128" grpId="0" animBg="1"/>
      <p:bldP spid="129" grpId="0" animBg="1"/>
      <p:bldP spid="129" grpId="1"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2243510" y="1098103"/>
            <a:ext cx="4930331" cy="3869336"/>
          </a:xfrm>
          <a:prstGeom prst="rect">
            <a:avLst/>
          </a:prstGeom>
          <a:solidFill>
            <a:srgbClr val="F37821">
              <a:lumMod val="20000"/>
              <a:lumOff val="8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30" name="Title 248"/>
          <p:cNvSpPr txBox="1">
            <a:spLocks/>
          </p:cNvSpPr>
          <p:nvPr/>
        </p:nvSpPr>
        <p:spPr bwMode="auto">
          <a:xfrm>
            <a:off x="343932" y="60929"/>
            <a:ext cx="7961868"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b" anchorCtr="0" compatLnSpc="1">
            <a:prstTxWarp prst="textNoShape">
              <a:avLst/>
            </a:prstTxWarp>
            <a:normAutofit/>
          </a:bodyPr>
          <a:lstStyle>
            <a:lvl1pPr algn="l" rtl="0" eaLnBrk="1" fontAlgn="base" hangingPunct="1">
              <a:lnSpc>
                <a:spcPct val="85000"/>
              </a:lnSpc>
              <a:spcBef>
                <a:spcPct val="0"/>
              </a:spcBef>
              <a:spcAft>
                <a:spcPct val="0"/>
              </a:spcAft>
              <a:defRPr kumimoji="1" lang="en-US" altLang="zh-TW" sz="2400" b="0" kern="1200" dirty="0">
                <a:solidFill>
                  <a:schemeClr val="tx1"/>
                </a:solidFill>
                <a:latin typeface="Franklin Gothic Medium" panose="020B0603020102020204" pitchFamily="34" charset="0"/>
                <a:ea typeface="PMingLiU" pitchFamily="18" charset="-120"/>
                <a:cs typeface="+mn-cs"/>
              </a:defRPr>
            </a:lvl1pPr>
            <a:lvl2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2pPr>
            <a:lvl3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3pPr>
            <a:lvl4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4pPr>
            <a:lvl5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5pPr>
            <a:lvl6pPr marL="4572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6pPr>
            <a:lvl7pPr marL="9144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7pPr>
            <a:lvl8pPr marL="13716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8pPr>
            <a:lvl9pPr marL="18288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9pPr>
          </a:lstStyle>
          <a:p>
            <a:pPr marL="0" marR="0" lvl="0" indent="0" algn="l" defTabSz="914400" rtl="0" eaLnBrk="1" fontAlgn="base" latinLnBrk="0" hangingPunct="1">
              <a:lnSpc>
                <a:spcPct val="85000"/>
              </a:lnSpc>
              <a:spcBef>
                <a:spcPct val="0"/>
              </a:spcBef>
              <a:spcAft>
                <a:spcPct val="0"/>
              </a:spcAft>
              <a:buClrTx/>
              <a:buSzTx/>
              <a:buFontTx/>
              <a:buNone/>
              <a:tabLst/>
              <a:defRPr/>
            </a:pPr>
            <a:r>
              <a:rPr kumimoji="1" lang="en-US" altLang="zh-TW" sz="2400" b="0" i="0" u="none" strike="noStrike" kern="1200" cap="none" spc="0" normalizeH="0" baseline="0" noProof="0" dirty="0" smtClean="0">
                <a:ln>
                  <a:noFill/>
                </a:ln>
                <a:solidFill>
                  <a:srgbClr val="000000"/>
                </a:solidFill>
                <a:effectLst/>
                <a:uLnTx/>
                <a:uFillTx/>
                <a:latin typeface="Franklin Gothic Medium" panose="020B0603020102020204" pitchFamily="34" charset="0"/>
                <a:ea typeface="PMingLiU" pitchFamily="18" charset="-120"/>
                <a:cs typeface="新細明體"/>
              </a:rPr>
              <a:t>ON-Production-NET:</a:t>
            </a:r>
            <a:br>
              <a:rPr kumimoji="1" lang="en-US" altLang="zh-TW" sz="2400" b="0" i="0" u="none" strike="noStrike" kern="1200" cap="none" spc="0" normalizeH="0" baseline="0" noProof="0" dirty="0" smtClean="0">
                <a:ln>
                  <a:noFill/>
                </a:ln>
                <a:solidFill>
                  <a:srgbClr val="000000"/>
                </a:solidFill>
                <a:effectLst/>
                <a:uLnTx/>
                <a:uFillTx/>
                <a:latin typeface="Franklin Gothic Medium" panose="020B0603020102020204" pitchFamily="34" charset="0"/>
                <a:ea typeface="PMingLiU" pitchFamily="18" charset="-120"/>
                <a:cs typeface="新細明體"/>
              </a:rPr>
            </a:br>
            <a:r>
              <a:rPr kumimoji="1" lang="en-US" altLang="zh-TW"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AD User/Device/Group</a:t>
            </a:r>
            <a:r>
              <a:rPr kumimoji="1" lang="ja-JP" altLang="en-US"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によって制御する方法</a:t>
            </a:r>
            <a:endParaRPr kumimoji="1" lang="en-US" altLang="zh-TW" sz="1200" b="0" i="0" u="none" strike="noStrike" kern="1200" cap="none" spc="0" normalizeH="0" baseline="0" noProof="0" dirty="0">
              <a:ln>
                <a:noFill/>
              </a:ln>
              <a:solidFill>
                <a:srgbClr val="000000"/>
              </a:solidFill>
              <a:effectLst/>
              <a:uLnTx/>
              <a:uFillTx/>
              <a:latin typeface="ヒラギノ角ゴ Pro W3"/>
              <a:ea typeface="ヒラギノ角ゴ Pro W3"/>
              <a:cs typeface="ヒラギノ角ゴ Pro W3"/>
            </a:endParaRPr>
          </a:p>
        </p:txBody>
      </p:sp>
      <p:sp>
        <p:nvSpPr>
          <p:cNvPr id="31" name="Rectangle 30"/>
          <p:cNvSpPr/>
          <p:nvPr/>
        </p:nvSpPr>
        <p:spPr>
          <a:xfrm>
            <a:off x="2468290" y="1098100"/>
            <a:ext cx="4480764" cy="553998"/>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37821"/>
                </a:solidFill>
                <a:effectLst/>
                <a:uLnTx/>
                <a:uFillTx/>
                <a:latin typeface="Franklin Gothic Medium"/>
              </a:rPr>
              <a:t>VIRTUAL APPLIANCE AND CONNECTOR</a:t>
            </a:r>
          </a:p>
          <a:p>
            <a:pPr algn="ctr" fontAlgn="auto">
              <a:spcBef>
                <a:spcPts val="0"/>
              </a:spcBef>
              <a:spcAft>
                <a:spcPts val="0"/>
              </a:spcAft>
              <a:defRPr/>
            </a:pPr>
            <a:r>
              <a:rPr kumimoji="0" lang="ja-JP" altLang="en-US" sz="1200" kern="0" dirty="0" smtClean="0">
                <a:solidFill>
                  <a:sysClr val="windowText" lastClr="000000"/>
                </a:solidFill>
                <a:latin typeface="Franklin Gothic Book"/>
              </a:rPr>
              <a:t>ビジビリティコントロールをしたい</a:t>
            </a:r>
            <a:r>
              <a:rPr kumimoji="0" lang="ja-JP" altLang="en-US" sz="1200" kern="0" dirty="0">
                <a:solidFill>
                  <a:sysClr val="windowText" lastClr="000000"/>
                </a:solidFill>
                <a:latin typeface="Franklin Gothic Book"/>
              </a:rPr>
              <a:t>時のベストな</a:t>
            </a:r>
            <a:r>
              <a:rPr kumimoji="0" lang="ja-JP" altLang="en-US" sz="1200" kern="0" dirty="0" smtClean="0">
                <a:solidFill>
                  <a:sysClr val="windowText" lastClr="000000"/>
                </a:solidFill>
                <a:latin typeface="Franklin Gothic Book"/>
              </a:rPr>
              <a:t>構成（</a:t>
            </a:r>
            <a:r>
              <a:rPr kumimoji="0" lang="en-US" altLang="ja-JP" sz="1200" kern="0" dirty="0" smtClean="0">
                <a:solidFill>
                  <a:sysClr val="windowText" lastClr="000000"/>
                </a:solidFill>
                <a:latin typeface="Franklin Gothic Book"/>
              </a:rPr>
              <a:t>AD</a:t>
            </a:r>
            <a:r>
              <a:rPr kumimoji="0" lang="ja-JP" altLang="en-US" sz="1200" kern="0" dirty="0" smtClean="0">
                <a:solidFill>
                  <a:sysClr val="windowText" lastClr="000000"/>
                </a:solidFill>
                <a:latin typeface="Franklin Gothic Book"/>
              </a:rPr>
              <a:t>がある場合）</a:t>
            </a:r>
            <a:endParaRPr kumimoji="0" lang="en-US" sz="1200" b="0" i="0" u="none" strike="noStrike" kern="0" cap="none" spc="0" normalizeH="0" baseline="0" noProof="0" dirty="0" smtClean="0">
              <a:ln>
                <a:noFill/>
              </a:ln>
              <a:solidFill>
                <a:sysClr val="windowText" lastClr="000000"/>
              </a:solidFill>
              <a:effectLst/>
              <a:uLnTx/>
              <a:uFillTx/>
              <a:latin typeface="Franklin Gothic Book"/>
            </a:endParaRPr>
          </a:p>
        </p:txBody>
      </p:sp>
      <p:sp>
        <p:nvSpPr>
          <p:cNvPr id="32" name="Rounded Rectangle 31"/>
          <p:cNvSpPr/>
          <p:nvPr/>
        </p:nvSpPr>
        <p:spPr bwMode="auto">
          <a:xfrm>
            <a:off x="2652173" y="2824430"/>
            <a:ext cx="3839903" cy="1995617"/>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33" name="Rounded Rectangle 32"/>
          <p:cNvSpPr/>
          <p:nvPr/>
        </p:nvSpPr>
        <p:spPr bwMode="auto">
          <a:xfrm>
            <a:off x="5521508" y="3975196"/>
            <a:ext cx="888802" cy="770141"/>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algn="ctr"/>
            <a:r>
              <a:rPr lang="en-US" sz="1050" dirty="0">
                <a:solidFill>
                  <a:srgbClr val="FFFFFF"/>
                </a:solidFill>
                <a:latin typeface="Franklin Gothic Book"/>
                <a:ea typeface="新細明體" charset="0"/>
                <a:cs typeface="Franklin Gothic Book"/>
              </a:rPr>
              <a:t>Any Device </a:t>
            </a:r>
            <a:br>
              <a:rPr lang="en-US" sz="1050" dirty="0">
                <a:solidFill>
                  <a:srgbClr val="FFFFFF"/>
                </a:solidFill>
                <a:latin typeface="Franklin Gothic Book"/>
                <a:ea typeface="新細明體" charset="0"/>
                <a:cs typeface="Franklin Gothic Book"/>
              </a:rPr>
            </a:br>
            <a:r>
              <a:rPr lang="en-US" sz="1050" dirty="0">
                <a:solidFill>
                  <a:srgbClr val="FFFFFF"/>
                </a:solidFill>
                <a:latin typeface="Franklin Gothic Book"/>
                <a:ea typeface="新細明體" charset="0"/>
                <a:cs typeface="Franklin Gothic Book"/>
              </a:rPr>
              <a:t>@ 10.1.2.2</a:t>
            </a:r>
            <a:endParaRPr lang="en-US" sz="1050" dirty="0">
              <a:solidFill>
                <a:srgbClr val="FFFFFF"/>
              </a:solidFill>
              <a:ea typeface="新細明體" charset="0"/>
              <a:cs typeface="新細明體" charset="0"/>
            </a:endParaRPr>
          </a:p>
        </p:txBody>
      </p:sp>
      <p:grpSp>
        <p:nvGrpSpPr>
          <p:cNvPr id="34" name="Group 33"/>
          <p:cNvGrpSpPr/>
          <p:nvPr/>
        </p:nvGrpSpPr>
        <p:grpSpPr>
          <a:xfrm>
            <a:off x="3933643" y="1765488"/>
            <a:ext cx="1347548" cy="770141"/>
            <a:chOff x="547242" y="1793442"/>
            <a:chExt cx="1347548" cy="770854"/>
          </a:xfrm>
        </p:grpSpPr>
        <p:sp>
          <p:nvSpPr>
            <p:cNvPr id="35"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37821"/>
            </a:solidFill>
            <a:ln w="38100" cap="flat" cmpd="sng" algn="ctr">
              <a:solidFill>
                <a:srgbClr val="F3782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36" name="TextBox 35"/>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37" name="Picture 36"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sp>
        <p:nvSpPr>
          <p:cNvPr id="38" name="Rounded Rectangle 37"/>
          <p:cNvSpPr/>
          <p:nvPr/>
        </p:nvSpPr>
        <p:spPr bwMode="auto">
          <a:xfrm>
            <a:off x="5521508" y="2892358"/>
            <a:ext cx="888802" cy="770141"/>
          </a:xfrm>
          <a:prstGeom prst="roundRect">
            <a:avLst/>
          </a:prstGeom>
          <a:solidFill>
            <a:srgbClr val="5E81D3"/>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DNS Server </a:t>
            </a:r>
            <a:b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b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 10.1.0.1</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39" name="Rounded Rectangle 38"/>
          <p:cNvSpPr/>
          <p:nvPr/>
        </p:nvSpPr>
        <p:spPr bwMode="auto">
          <a:xfrm>
            <a:off x="4158254" y="3975195"/>
            <a:ext cx="888802" cy="770141"/>
          </a:xfrm>
          <a:prstGeom prst="roundRect">
            <a:avLst/>
          </a:prstGeom>
          <a:solidFill>
            <a:srgbClr val="F37821"/>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OpenDNS VA @ 10.1.0.2</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nvGrpSpPr>
          <p:cNvPr id="40" name="Group 39"/>
          <p:cNvGrpSpPr/>
          <p:nvPr/>
        </p:nvGrpSpPr>
        <p:grpSpPr>
          <a:xfrm>
            <a:off x="4602655" y="2541984"/>
            <a:ext cx="1889410" cy="1433211"/>
            <a:chOff x="6748186" y="2570653"/>
            <a:chExt cx="1889410" cy="1434538"/>
          </a:xfrm>
        </p:grpSpPr>
        <p:sp>
          <p:nvSpPr>
            <p:cNvPr id="41" name="TextBox 40"/>
            <p:cNvSpPr txBox="1"/>
            <p:nvPr/>
          </p:nvSpPr>
          <p:spPr>
            <a:xfrm>
              <a:off x="6854196" y="2613797"/>
              <a:ext cx="1783400" cy="245977"/>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Policy for Active Directory IDs </a:t>
              </a:r>
              <a:br>
                <a:rPr kumimoji="0" lang="en-US" sz="900" b="0" i="0" u="none" strike="noStrike" kern="0" cap="none" spc="0" normalizeH="0" baseline="0" noProof="0" dirty="0" smtClean="0">
                  <a:ln>
                    <a:noFill/>
                  </a:ln>
                  <a:solidFill>
                    <a:srgbClr val="F37821"/>
                  </a:solidFill>
                  <a:effectLst/>
                  <a:uLnTx/>
                  <a:uFillTx/>
                  <a:latin typeface="Franklin Gothic Book"/>
                </a:rPr>
              </a:br>
              <a:r>
                <a:rPr kumimoji="0" lang="en-US" sz="900" b="0" i="0" u="none" strike="noStrike" kern="0" cap="none" spc="0" normalizeH="0" baseline="0" noProof="0" dirty="0" smtClean="0">
                  <a:ln>
                    <a:noFill/>
                  </a:ln>
                  <a:solidFill>
                    <a:srgbClr val="F37821"/>
                  </a:solidFill>
                  <a:effectLst/>
                  <a:uLnTx/>
                  <a:uFillTx/>
                  <a:latin typeface="Franklin Gothic Book"/>
                </a:rPr>
                <a:t>Bill, Bill’s PC, or All The Bills</a:t>
              </a:r>
            </a:p>
          </p:txBody>
        </p:sp>
        <p:cxnSp>
          <p:nvCxnSpPr>
            <p:cNvPr id="42" name="Straight Arrow Connector 84"/>
            <p:cNvCxnSpPr/>
            <p:nvPr/>
          </p:nvCxnSpPr>
          <p:spPr bwMode="auto">
            <a:xfrm>
              <a:off x="6752948" y="3692205"/>
              <a:ext cx="0" cy="312986"/>
            </a:xfrm>
            <a:prstGeom prst="straightConnector1">
              <a:avLst/>
            </a:prstGeom>
            <a:solidFill>
              <a:srgbClr val="F37821"/>
            </a:solidFill>
            <a:ln w="19050" cap="rnd" cmpd="sng" algn="ctr">
              <a:solidFill>
                <a:srgbClr val="F37821"/>
              </a:solidFill>
              <a:prstDash val="solid"/>
              <a:round/>
              <a:headEnd type="none"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3" name="Straight Arrow Connector 84"/>
            <p:cNvCxnSpPr/>
            <p:nvPr/>
          </p:nvCxnSpPr>
          <p:spPr bwMode="auto">
            <a:xfrm flipV="1">
              <a:off x="6748186" y="2570653"/>
              <a:ext cx="0" cy="350700"/>
            </a:xfrm>
            <a:prstGeom prst="straightConnector1">
              <a:avLst/>
            </a:prstGeom>
            <a:solidFill>
              <a:srgbClr val="F37821"/>
            </a:solidFill>
            <a:ln w="19050" cap="rnd" cmpd="sng" algn="ctr">
              <a:solidFill>
                <a:srgbClr val="F37821"/>
              </a:solidFill>
              <a:prstDash val="solid"/>
              <a:round/>
              <a:headEnd type="none"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44" name="Rounded Rectangle 43"/>
          <p:cNvSpPr/>
          <p:nvPr/>
        </p:nvSpPr>
        <p:spPr bwMode="auto">
          <a:xfrm>
            <a:off x="2736283" y="2892358"/>
            <a:ext cx="888802" cy="770141"/>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algn="ctr"/>
            <a:r>
              <a:rPr lang="en-US" sz="1050" dirty="0" smtClean="0">
                <a:solidFill>
                  <a:srgbClr val="FFFFFF"/>
                </a:solidFill>
                <a:latin typeface="Franklin Gothic Book"/>
                <a:ea typeface="新細明體" charset="0"/>
                <a:cs typeface="Franklin Gothic Book"/>
              </a:rPr>
              <a:t>AD Domain Controller(s)</a:t>
            </a:r>
            <a:endParaRPr lang="en-US" sz="1050" dirty="0">
              <a:solidFill>
                <a:srgbClr val="FFFFFF"/>
              </a:solidFill>
              <a:ea typeface="新細明體" charset="0"/>
              <a:cs typeface="新細明體" charset="0"/>
            </a:endParaRPr>
          </a:p>
        </p:txBody>
      </p:sp>
      <p:sp>
        <p:nvSpPr>
          <p:cNvPr id="45" name="Rounded Rectangle 44"/>
          <p:cNvSpPr>
            <a:spLocks noChangeAspect="1"/>
          </p:cNvSpPr>
          <p:nvPr/>
        </p:nvSpPr>
        <p:spPr bwMode="auto">
          <a:xfrm>
            <a:off x="2788186" y="3466253"/>
            <a:ext cx="778034" cy="142898"/>
          </a:xfrm>
          <a:prstGeom prst="roundRect">
            <a:avLst>
              <a:gd name="adj" fmla="val 49279"/>
            </a:avLst>
          </a:prstGeom>
          <a:solidFill>
            <a:srgbClr val="F37821"/>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ODNS Connector</a:t>
            </a:r>
            <a:endParaRPr kumimoji="0" lang="en-US" sz="800" b="0" i="0" u="none" strike="noStrike" kern="0" cap="none" spc="0" normalizeH="0" baseline="0" noProof="0" dirty="0">
              <a:ln>
                <a:noFill/>
              </a:ln>
              <a:solidFill>
                <a:srgbClr val="FFFFFF"/>
              </a:solidFill>
              <a:effectLst/>
              <a:uLnTx/>
              <a:uFillTx/>
              <a:latin typeface="Franklin Gothic Book"/>
              <a:ea typeface="新細明體" charset="0"/>
              <a:cs typeface="新細明體" charset="0"/>
            </a:endParaRPr>
          </a:p>
        </p:txBody>
      </p:sp>
      <p:sp>
        <p:nvSpPr>
          <p:cNvPr id="46" name="Rounded Rectangle 45"/>
          <p:cNvSpPr>
            <a:spLocks noChangeAspect="1"/>
          </p:cNvSpPr>
          <p:nvPr/>
        </p:nvSpPr>
        <p:spPr bwMode="auto">
          <a:xfrm>
            <a:off x="2788186" y="3291910"/>
            <a:ext cx="778034" cy="142898"/>
          </a:xfrm>
          <a:prstGeom prst="roundRect">
            <a:avLst>
              <a:gd name="adj" fmla="val 49279"/>
            </a:avLst>
          </a:prstGeom>
          <a:solidFill>
            <a:srgbClr val="FDE4D3"/>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lvl="0" algn="ctr"/>
            <a:r>
              <a:rPr lang="en-US" sz="800" dirty="0" smtClean="0">
                <a:solidFill>
                  <a:srgbClr val="F37821"/>
                </a:solidFill>
                <a:latin typeface="Franklin Gothic Book"/>
                <a:ea typeface="新細明體" charset="0"/>
                <a:cs typeface="新細明體" charset="0"/>
              </a:rPr>
              <a:t>ODNS Script</a:t>
            </a:r>
            <a:endParaRPr lang="en-US" sz="800" dirty="0">
              <a:solidFill>
                <a:srgbClr val="F37821"/>
              </a:solidFill>
              <a:latin typeface="Franklin Gothic Book"/>
              <a:ea typeface="新細明體" charset="0"/>
              <a:cs typeface="新細明體" charset="0"/>
            </a:endParaRPr>
          </a:p>
        </p:txBody>
      </p:sp>
      <p:cxnSp>
        <p:nvCxnSpPr>
          <p:cNvPr id="47" name="Straight Arrow Connector 70"/>
          <p:cNvCxnSpPr>
            <a:stCxn id="44" idx="2"/>
            <a:endCxn id="39" idx="1"/>
          </p:cNvCxnSpPr>
          <p:nvPr/>
        </p:nvCxnSpPr>
        <p:spPr bwMode="auto">
          <a:xfrm rot="16200000" flipH="1">
            <a:off x="3320588" y="3522593"/>
            <a:ext cx="697767" cy="977570"/>
          </a:xfrm>
          <a:prstGeom prst="bentConnector2">
            <a:avLst/>
          </a:prstGeom>
          <a:solidFill>
            <a:srgbClr val="F37821"/>
          </a:solidFill>
          <a:ln w="19050" cap="rnd" cmpd="sng" algn="ctr">
            <a:solidFill>
              <a:srgbClr val="F37821"/>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8" name="Straight Arrow Connector 70"/>
          <p:cNvCxnSpPr>
            <a:stCxn id="44" idx="3"/>
            <a:endCxn id="35" idx="6"/>
          </p:cNvCxnSpPr>
          <p:nvPr/>
        </p:nvCxnSpPr>
        <p:spPr bwMode="auto">
          <a:xfrm flipV="1">
            <a:off x="3625085" y="2533623"/>
            <a:ext cx="593272" cy="743802"/>
          </a:xfrm>
          <a:prstGeom prst="bentConnector3">
            <a:avLst>
              <a:gd name="adj1" fmla="val 101319"/>
            </a:avLst>
          </a:prstGeom>
          <a:solidFill>
            <a:srgbClr val="F37821"/>
          </a:solidFill>
          <a:ln w="19050" cap="rnd" cmpd="sng" algn="ctr">
            <a:solidFill>
              <a:srgbClr val="F37821"/>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9" name="Rounded Rectangle 48"/>
          <p:cNvSpPr/>
          <p:nvPr/>
        </p:nvSpPr>
        <p:spPr bwMode="auto">
          <a:xfrm>
            <a:off x="4158254" y="2892358"/>
            <a:ext cx="888802" cy="770141"/>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lvl="0" algn="ctr"/>
            <a:r>
              <a:rPr lang="en-US" sz="1050" dirty="0">
                <a:solidFill>
                  <a:srgbClr val="FFFFFF"/>
                </a:solidFill>
                <a:latin typeface="Franklin Gothic Book"/>
                <a:ea typeface="新細明體" charset="0"/>
                <a:cs typeface="新細明體" charset="0"/>
              </a:rPr>
              <a:t>Gateway </a:t>
            </a:r>
            <a:r>
              <a:rPr lang="en-US" sz="1050" dirty="0" smtClean="0">
                <a:solidFill>
                  <a:srgbClr val="FFFFFF"/>
                </a:solidFill>
                <a:latin typeface="Franklin Gothic Book"/>
                <a:ea typeface="新細明體" charset="0"/>
                <a:cs typeface="新細明體" charset="0"/>
              </a:rPr>
              <a:t/>
            </a:r>
            <a:br>
              <a:rPr lang="en-US" sz="1050" dirty="0" smtClean="0">
                <a:solidFill>
                  <a:srgbClr val="FFFFFF"/>
                </a:solidFill>
                <a:latin typeface="Franklin Gothic Book"/>
                <a:ea typeface="新細明體" charset="0"/>
                <a:cs typeface="新細明體" charset="0"/>
              </a:rPr>
            </a:br>
            <a:r>
              <a:rPr lang="en-US" sz="1050" dirty="0" smtClean="0">
                <a:solidFill>
                  <a:srgbClr val="FFFFFF"/>
                </a:solidFill>
                <a:latin typeface="Franklin Gothic Book"/>
                <a:ea typeface="新細明體" charset="0"/>
                <a:cs typeface="新細明體" charset="0"/>
              </a:rPr>
              <a:t>@ </a:t>
            </a:r>
            <a:r>
              <a:rPr lang="en-US" sz="1050" dirty="0">
                <a:solidFill>
                  <a:srgbClr val="FFFFFF"/>
                </a:solidFill>
                <a:latin typeface="Franklin Gothic Book"/>
                <a:ea typeface="新細明體" charset="0"/>
                <a:cs typeface="新細明體" charset="0"/>
              </a:rPr>
              <a:t>8.2.0.1</a:t>
            </a:r>
          </a:p>
        </p:txBody>
      </p:sp>
      <p:cxnSp>
        <p:nvCxnSpPr>
          <p:cNvPr id="50" name="Straight Arrow Connector 189"/>
          <p:cNvCxnSpPr/>
          <p:nvPr/>
        </p:nvCxnSpPr>
        <p:spPr bwMode="auto">
          <a:xfrm rot="16200000" flipV="1">
            <a:off x="4394001" y="2835863"/>
            <a:ext cx="312697" cy="1965960"/>
          </a:xfrm>
          <a:prstGeom prst="bentConnector3">
            <a:avLst>
              <a:gd name="adj1" fmla="val 50000"/>
            </a:avLst>
          </a:prstGeom>
          <a:solidFill>
            <a:srgbClr val="F37821"/>
          </a:solidFill>
          <a:ln w="19050" cap="rnd" cmpd="sng" algn="ctr">
            <a:solidFill>
              <a:srgbClr val="7F7F7F">
                <a:lumMod val="60000"/>
                <a:lumOff val="40000"/>
              </a:srgbClr>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1" name="Rounded Rectangle 50"/>
          <p:cNvSpPr>
            <a:spLocks noChangeAspect="1"/>
          </p:cNvSpPr>
          <p:nvPr/>
        </p:nvSpPr>
        <p:spPr bwMode="auto">
          <a:xfrm>
            <a:off x="4213638" y="4541385"/>
            <a:ext cx="778034" cy="142898"/>
          </a:xfrm>
          <a:prstGeom prst="roundRect">
            <a:avLst>
              <a:gd name="adj" fmla="val 49279"/>
            </a:avLst>
          </a:prstGeom>
          <a:solidFill>
            <a:srgbClr val="FDE4D3"/>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50" b="0" i="0" u="none" strike="noStrike" kern="0" cap="none" spc="0" normalizeH="0" baseline="0" noProof="0" dirty="0" smtClean="0">
                <a:ln>
                  <a:noFill/>
                </a:ln>
                <a:solidFill>
                  <a:srgbClr val="F37821"/>
                </a:solidFill>
                <a:effectLst/>
                <a:uLnTx/>
                <a:uFillTx/>
                <a:latin typeface="Franklin Gothic Book"/>
                <a:ea typeface="新細明體" charset="0"/>
                <a:cs typeface="新細明體" charset="0"/>
              </a:rPr>
              <a:t>Bill’s PC=10.1.2.2</a:t>
            </a:r>
            <a:endParaRPr kumimoji="0" lang="en-US" sz="750" b="0" i="0" u="none" strike="noStrike" kern="0" cap="none" spc="0" normalizeH="0" baseline="0" noProof="0" dirty="0">
              <a:ln>
                <a:noFill/>
              </a:ln>
              <a:solidFill>
                <a:srgbClr val="F37821"/>
              </a:solidFill>
              <a:effectLst/>
              <a:uLnTx/>
              <a:uFillTx/>
              <a:latin typeface="Franklin Gothic Book"/>
              <a:ea typeface="新細明體" charset="0"/>
              <a:cs typeface="新細明體" charset="0"/>
            </a:endParaRPr>
          </a:p>
        </p:txBody>
      </p:sp>
      <p:sp>
        <p:nvSpPr>
          <p:cNvPr id="52" name="Rounded Rectangle 51"/>
          <p:cNvSpPr>
            <a:spLocks noChangeAspect="1"/>
          </p:cNvSpPr>
          <p:nvPr/>
        </p:nvSpPr>
        <p:spPr bwMode="auto">
          <a:xfrm>
            <a:off x="4213638" y="4367043"/>
            <a:ext cx="778034" cy="142898"/>
          </a:xfrm>
          <a:prstGeom prst="roundRect">
            <a:avLst>
              <a:gd name="adj" fmla="val 49279"/>
            </a:avLst>
          </a:prstGeom>
          <a:solidFill>
            <a:srgbClr val="FDE4D3"/>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lvl="0" algn="ctr"/>
            <a:r>
              <a:rPr lang="en-US" sz="800" dirty="0" smtClean="0">
                <a:solidFill>
                  <a:srgbClr val="F37821"/>
                </a:solidFill>
                <a:latin typeface="Franklin Gothic Book"/>
                <a:ea typeface="新細明體" charset="0"/>
                <a:cs typeface="新細明體" charset="0"/>
              </a:rPr>
              <a:t>Bill=10.1.2.2</a:t>
            </a:r>
            <a:endParaRPr lang="en-US" sz="800" dirty="0">
              <a:solidFill>
                <a:srgbClr val="F37821"/>
              </a:solidFill>
              <a:latin typeface="Franklin Gothic Book"/>
              <a:ea typeface="新細明體" charset="0"/>
              <a:cs typeface="新細明體" charset="0"/>
            </a:endParaRPr>
          </a:p>
        </p:txBody>
      </p:sp>
      <p:sp>
        <p:nvSpPr>
          <p:cNvPr id="53" name="Rounded Rectangle 52"/>
          <p:cNvSpPr>
            <a:spLocks noChangeAspect="1"/>
          </p:cNvSpPr>
          <p:nvPr/>
        </p:nvSpPr>
        <p:spPr bwMode="auto">
          <a:xfrm>
            <a:off x="5578290" y="4541385"/>
            <a:ext cx="778034" cy="142898"/>
          </a:xfrm>
          <a:prstGeom prst="roundRect">
            <a:avLst>
              <a:gd name="adj" fmla="val 49279"/>
            </a:avLst>
          </a:prstGeom>
          <a:solidFill>
            <a:srgbClr val="7F7F7F">
              <a:lumMod val="20000"/>
              <a:lumOff val="80000"/>
            </a:srgbClr>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device=Bill’s PC</a:t>
            </a:r>
            <a:endParaRPr kumimoji="0" lang="en-US" sz="800" b="0" i="0" u="none" strike="noStrike" kern="0" cap="none" spc="0" normalizeH="0" baseline="0" noProof="0" dirty="0">
              <a:ln>
                <a:noFill/>
              </a:ln>
              <a:solidFill>
                <a:srgbClr val="7F7F7F"/>
              </a:solidFill>
              <a:effectLst/>
              <a:uLnTx/>
              <a:uFillTx/>
              <a:latin typeface="Franklin Gothic Book"/>
              <a:ea typeface="新細明體" charset="0"/>
              <a:cs typeface="新細明體" charset="0"/>
            </a:endParaRPr>
          </a:p>
        </p:txBody>
      </p:sp>
      <p:sp>
        <p:nvSpPr>
          <p:cNvPr id="54" name="Rounded Rectangle 53"/>
          <p:cNvSpPr>
            <a:spLocks noChangeAspect="1"/>
          </p:cNvSpPr>
          <p:nvPr/>
        </p:nvSpPr>
        <p:spPr bwMode="auto">
          <a:xfrm>
            <a:off x="5578290" y="4367043"/>
            <a:ext cx="778034" cy="142898"/>
          </a:xfrm>
          <a:prstGeom prst="roundRect">
            <a:avLst>
              <a:gd name="adj" fmla="val 49279"/>
            </a:avLst>
          </a:prstGeom>
          <a:solidFill>
            <a:srgbClr val="7F7F7F">
              <a:lumMod val="20000"/>
              <a:lumOff val="80000"/>
            </a:srgbClr>
          </a:solidFill>
          <a:ln w="9525" cap="flat" cmpd="sng" algn="ctr">
            <a:noFill/>
            <a:prstDash val="solid"/>
            <a:round/>
            <a:headEnd type="none" w="med" len="med"/>
            <a:tailEnd type="none" w="med" len="med"/>
          </a:ln>
          <a:effectLst/>
          <a:extLst/>
        </p:spPr>
        <p:txBody>
          <a:bodyPr vert="horz" wrap="square" lIns="0" tIns="0" rIns="0" bIns="0" numCol="1" rtlCol="0" anchor="b"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7F7F7F"/>
                </a:solidFill>
                <a:effectLst/>
                <a:uLnTx/>
                <a:uFillTx/>
                <a:latin typeface="Franklin Gothic Book"/>
                <a:ea typeface="新細明體" charset="0"/>
                <a:cs typeface="新細明體" charset="0"/>
              </a:rPr>
              <a:t>user=Bill</a:t>
            </a:r>
            <a:endParaRPr kumimoji="0" lang="en-US" sz="800" b="0" i="0" u="none" strike="noStrike" kern="0" cap="none" spc="0" normalizeH="0" baseline="0" noProof="0" dirty="0">
              <a:ln>
                <a:noFill/>
              </a:ln>
              <a:solidFill>
                <a:srgbClr val="7F7F7F"/>
              </a:solidFill>
              <a:effectLst/>
              <a:uLnTx/>
              <a:uFillTx/>
              <a:latin typeface="Franklin Gothic Book"/>
              <a:ea typeface="新細明體" charset="0"/>
              <a:cs typeface="新細明體" charset="0"/>
            </a:endParaRPr>
          </a:p>
        </p:txBody>
      </p:sp>
      <p:cxnSp>
        <p:nvCxnSpPr>
          <p:cNvPr id="55" name="Straight Arrow Connector 84"/>
          <p:cNvCxnSpPr/>
          <p:nvPr/>
        </p:nvCxnSpPr>
        <p:spPr bwMode="auto">
          <a:xfrm>
            <a:off x="5047056" y="4360268"/>
            <a:ext cx="474452" cy="1"/>
          </a:xfrm>
          <a:prstGeom prst="straightConnector1">
            <a:avLst/>
          </a:prstGeom>
          <a:solidFill>
            <a:srgbClr val="F37821"/>
          </a:solidFill>
          <a:ln w="19050" cap="rnd" cmpd="sng" algn="ctr">
            <a:solidFill>
              <a:srgbClr val="F37821"/>
            </a:solidFill>
            <a:prstDash val="solid"/>
            <a:round/>
            <a:headEnd type="arrow" w="lg" len="sm"/>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110733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fade">
                                      <p:cBhvr>
                                        <p:cTn id="11" dur="500"/>
                                        <p:tgtEl>
                                          <p:spTgt spid="45"/>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48"/>
                                        </p:tgtEl>
                                        <p:attrNameLst>
                                          <p:attrName>style.visibility</p:attrName>
                                        </p:attrNameLst>
                                      </p:cBhvr>
                                      <p:to>
                                        <p:strVal val="visible"/>
                                      </p:to>
                                    </p:set>
                                    <p:animEffect transition="in" filter="wipe(left)">
                                      <p:cBhvr>
                                        <p:cTn id="15" dur="500"/>
                                        <p:tgtEl>
                                          <p:spTgt spid="4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4"/>
                                        </p:tgtEl>
                                        <p:attrNameLst>
                                          <p:attrName>style.visibility</p:attrName>
                                        </p:attrNameLst>
                                      </p:cBhvr>
                                      <p:to>
                                        <p:strVal val="visible"/>
                                      </p:to>
                                    </p:set>
                                    <p:animEffect transition="in" filter="fade">
                                      <p:cBhvr>
                                        <p:cTn id="20" dur="500"/>
                                        <p:tgtEl>
                                          <p:spTgt spid="54"/>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3"/>
                                        </p:tgtEl>
                                        <p:attrNameLst>
                                          <p:attrName>style.visibility</p:attrName>
                                        </p:attrNameLst>
                                      </p:cBhvr>
                                      <p:to>
                                        <p:strVal val="visible"/>
                                      </p:to>
                                    </p:set>
                                    <p:animEffect transition="in" filter="fade">
                                      <p:cBhvr>
                                        <p:cTn id="23" dur="500"/>
                                        <p:tgtEl>
                                          <p:spTgt spid="53"/>
                                        </p:tgtEl>
                                      </p:cBhvr>
                                    </p:animEffect>
                                  </p:childTnLst>
                                </p:cTn>
                              </p:par>
                            </p:childTnLst>
                          </p:cTn>
                        </p:par>
                        <p:par>
                          <p:cTn id="24" fill="hold">
                            <p:stCondLst>
                              <p:cond delay="500"/>
                            </p:stCondLst>
                            <p:childTnLst>
                              <p:par>
                                <p:cTn id="25" presetID="22" presetClass="entr" presetSubtype="2" fill="hold" nodeType="afterEffect">
                                  <p:stCondLst>
                                    <p:cond delay="0"/>
                                  </p:stCondLst>
                                  <p:childTnLst>
                                    <p:set>
                                      <p:cBhvr>
                                        <p:cTn id="26" dur="1" fill="hold">
                                          <p:stCondLst>
                                            <p:cond delay="0"/>
                                          </p:stCondLst>
                                        </p:cTn>
                                        <p:tgtEl>
                                          <p:spTgt spid="50"/>
                                        </p:tgtEl>
                                        <p:attrNameLst>
                                          <p:attrName>style.visibility</p:attrName>
                                        </p:attrNameLst>
                                      </p:cBhvr>
                                      <p:to>
                                        <p:strVal val="visible"/>
                                      </p:to>
                                    </p:set>
                                    <p:animEffect transition="in" filter="wipe(right)">
                                      <p:cBhvr>
                                        <p:cTn id="27" dur="500"/>
                                        <p:tgtEl>
                                          <p:spTgt spid="50"/>
                                        </p:tgtEl>
                                      </p:cBhvr>
                                    </p:animEffect>
                                  </p:childTnLst>
                                </p:cTn>
                              </p:par>
                            </p:childTnLst>
                          </p:cTn>
                        </p:par>
                        <p:par>
                          <p:cTn id="28" fill="hold">
                            <p:stCondLst>
                              <p:cond delay="1000"/>
                            </p:stCondLst>
                            <p:childTnLst>
                              <p:par>
                                <p:cTn id="29" presetID="22" presetClass="entr" presetSubtype="8" fill="hold" nodeType="after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wipe(left)">
                                      <p:cBhvr>
                                        <p:cTn id="31" dur="500"/>
                                        <p:tgtEl>
                                          <p:spTgt spid="47"/>
                                        </p:tgtEl>
                                      </p:cBhvr>
                                    </p:animEffect>
                                  </p:childTnLst>
                                </p:cTn>
                              </p:par>
                            </p:childTnLst>
                          </p:cTn>
                        </p:par>
                        <p:par>
                          <p:cTn id="32" fill="hold">
                            <p:stCondLst>
                              <p:cond delay="1500"/>
                            </p:stCondLst>
                            <p:childTnLst>
                              <p:par>
                                <p:cTn id="33" presetID="10" presetClass="entr" presetSubtype="0" fill="hold" grpId="0" nodeType="after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500"/>
                                        <p:tgtEl>
                                          <p:spTgt spid="52"/>
                                        </p:tgtEl>
                                      </p:cBhvr>
                                    </p:animEffect>
                                  </p:childTnLst>
                                </p:cTn>
                              </p:par>
                            </p:childTnLst>
                          </p:cTn>
                        </p:par>
                        <p:par>
                          <p:cTn id="36" fill="hold">
                            <p:stCondLst>
                              <p:cond delay="2000"/>
                            </p:stCondLst>
                            <p:childTnLst>
                              <p:par>
                                <p:cTn id="37" presetID="10" presetClass="entr" presetSubtype="0" fill="hold" grpId="0" nodeType="after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fade">
                                      <p:cBhvr>
                                        <p:cTn id="39" dur="500"/>
                                        <p:tgtEl>
                                          <p:spTgt spid="51"/>
                                        </p:tgtEl>
                                      </p:cBhvr>
                                    </p:animEffect>
                                  </p:childTnLst>
                                </p:cTn>
                              </p:par>
                            </p:childTnLst>
                          </p:cTn>
                        </p:par>
                        <p:par>
                          <p:cTn id="40" fill="hold">
                            <p:stCondLst>
                              <p:cond delay="2500"/>
                            </p:stCondLst>
                            <p:childTnLst>
                              <p:par>
                                <p:cTn id="41" presetID="22" presetClass="entr" presetSubtype="4" fill="hold" nodeType="afterEffect">
                                  <p:stCondLst>
                                    <p:cond delay="0"/>
                                  </p:stCondLst>
                                  <p:childTnLst>
                                    <p:set>
                                      <p:cBhvr>
                                        <p:cTn id="42" dur="1" fill="hold">
                                          <p:stCondLst>
                                            <p:cond delay="0"/>
                                          </p:stCondLst>
                                        </p:cTn>
                                        <p:tgtEl>
                                          <p:spTgt spid="40"/>
                                        </p:tgtEl>
                                        <p:attrNameLst>
                                          <p:attrName>style.visibility</p:attrName>
                                        </p:attrNameLst>
                                      </p:cBhvr>
                                      <p:to>
                                        <p:strVal val="visible"/>
                                      </p:to>
                                    </p:set>
                                    <p:animEffect transition="in" filter="wipe(down)">
                                      <p:cBhvr>
                                        <p:cTn id="4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51" grpId="0" animBg="1"/>
      <p:bldP spid="52" grpId="0" animBg="1"/>
      <p:bldP spid="53" grpId="0" animBg="1"/>
      <p:bldP spid="54"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 name="Group 130"/>
          <p:cNvGrpSpPr/>
          <p:nvPr/>
        </p:nvGrpSpPr>
        <p:grpSpPr>
          <a:xfrm>
            <a:off x="402894" y="858843"/>
            <a:ext cx="2793952" cy="4284662"/>
            <a:chOff x="402894" y="859638"/>
            <a:chExt cx="2793952" cy="4288630"/>
          </a:xfrm>
        </p:grpSpPr>
        <p:sp>
          <p:nvSpPr>
            <p:cNvPr id="132" name="Rectangle 131"/>
            <p:cNvSpPr/>
            <p:nvPr/>
          </p:nvSpPr>
          <p:spPr bwMode="auto">
            <a:xfrm>
              <a:off x="402894" y="865147"/>
              <a:ext cx="2793952" cy="4283121"/>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133" name="Rectangle 132"/>
            <p:cNvSpPr/>
            <p:nvPr/>
          </p:nvSpPr>
          <p:spPr>
            <a:xfrm>
              <a:off x="751909" y="859638"/>
              <a:ext cx="2082621" cy="739348"/>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latin typeface="Franklin Gothic Medium"/>
                </a:rPr>
                <a:t>STEP 1</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新しい</a:t>
              </a:r>
              <a: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t>NW</a:t>
              </a: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と連続して設定した</a:t>
              </a:r>
              <a: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t/>
              </a:r>
              <a:b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br>
              <a:r>
                <a:rPr kumimoji="0" lang="en-US" altLang="ja-JP" sz="1200" b="0" i="0" u="none" strike="noStrike" kern="0" cap="none" spc="0" normalizeH="0" baseline="0" noProof="0" dirty="0" smtClean="0">
                  <a:ln>
                    <a:noFill/>
                  </a:ln>
                  <a:solidFill>
                    <a:sysClr val="windowText" lastClr="000000"/>
                  </a:solidFill>
                  <a:effectLst/>
                  <a:uLnTx/>
                  <a:uFillTx/>
                  <a:latin typeface="Franklin Gothic Book"/>
                </a:rPr>
                <a:t>DNS</a:t>
              </a:r>
              <a:r>
                <a:rPr kumimoji="0" lang="ja-JP" altLang="en-US" sz="1200" b="0" i="0" u="none" strike="noStrike" kern="0" cap="none" spc="0" normalizeH="0" baseline="0" noProof="0" dirty="0" smtClean="0">
                  <a:ln>
                    <a:noFill/>
                  </a:ln>
                  <a:solidFill>
                    <a:sysClr val="windowText" lastClr="000000"/>
                  </a:solidFill>
                  <a:effectLst/>
                  <a:uLnTx/>
                  <a:uFillTx/>
                  <a:latin typeface="Franklin Gothic Book"/>
                </a:rPr>
                <a:t>の設定を監視</a:t>
              </a:r>
              <a:endParaRPr kumimoji="0" lang="en-US" sz="1200" b="0" i="0" u="none" strike="noStrike" kern="0" cap="none" spc="0" normalizeH="0" baseline="0" noProof="0" dirty="0">
                <a:ln>
                  <a:noFill/>
                </a:ln>
                <a:solidFill>
                  <a:sysClr val="windowText" lastClr="000000"/>
                </a:solidFill>
                <a:effectLst/>
                <a:uLnTx/>
                <a:uFillTx/>
                <a:latin typeface="Franklin Gothic Book"/>
              </a:endParaRPr>
            </a:p>
          </p:txBody>
        </p:sp>
      </p:grpSp>
      <p:grpSp>
        <p:nvGrpSpPr>
          <p:cNvPr id="134" name="Group 133"/>
          <p:cNvGrpSpPr/>
          <p:nvPr/>
        </p:nvGrpSpPr>
        <p:grpSpPr>
          <a:xfrm>
            <a:off x="547242" y="1745080"/>
            <a:ext cx="2443682" cy="3251044"/>
            <a:chOff x="547242" y="1746692"/>
            <a:chExt cx="2443682" cy="3254055"/>
          </a:xfrm>
        </p:grpSpPr>
        <p:sp>
          <p:nvSpPr>
            <p:cNvPr id="135" name="Rounded Rectangle 134"/>
            <p:cNvSpPr/>
            <p:nvPr/>
          </p:nvSpPr>
          <p:spPr bwMode="auto">
            <a:xfrm>
              <a:off x="2220544" y="2102101"/>
              <a:ext cx="511047" cy="171387"/>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FFFFFF"/>
                </a:solidFill>
                <a:effectLst/>
                <a:uLnTx/>
                <a:uFillTx/>
                <a:latin typeface="Franklin Gothic Book"/>
                <a:ea typeface="新細明體" charset="0"/>
                <a:cs typeface="新細明體" charset="0"/>
              </a:endParaRPr>
            </a:p>
          </p:txBody>
        </p:sp>
        <p:sp>
          <p:nvSpPr>
            <p:cNvPr id="136" name="Rounded Rectangle 135"/>
            <p:cNvSpPr/>
            <p:nvPr/>
          </p:nvSpPr>
          <p:spPr bwMode="auto">
            <a:xfrm>
              <a:off x="2217671" y="2302172"/>
              <a:ext cx="511047" cy="171387"/>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FFFFFF"/>
                </a:solidFill>
                <a:effectLst/>
                <a:uLnTx/>
                <a:uFillTx/>
                <a:latin typeface="Franklin Gothic Book"/>
                <a:ea typeface="新細明體" charset="0"/>
                <a:cs typeface="新細明體" charset="0"/>
              </a:endParaRPr>
            </a:p>
          </p:txBody>
        </p:sp>
        <p:grpSp>
          <p:nvGrpSpPr>
            <p:cNvPr id="137" name="Group 136"/>
            <p:cNvGrpSpPr/>
            <p:nvPr/>
          </p:nvGrpSpPr>
          <p:grpSpPr>
            <a:xfrm>
              <a:off x="547242" y="1746692"/>
              <a:ext cx="2443682" cy="3254055"/>
              <a:chOff x="547242" y="1746692"/>
              <a:chExt cx="2443682" cy="3254055"/>
            </a:xfrm>
          </p:grpSpPr>
          <p:sp>
            <p:nvSpPr>
              <p:cNvPr id="138" name="Rounded Rectangle 137"/>
              <p:cNvSpPr/>
              <p:nvPr/>
            </p:nvSpPr>
            <p:spPr bwMode="auto">
              <a:xfrm>
                <a:off x="560678" y="3003282"/>
                <a:ext cx="2430246" cy="1997465"/>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139" name="Rounded Rectangle 138"/>
              <p:cNvSpPr/>
              <p:nvPr/>
            </p:nvSpPr>
            <p:spPr bwMode="auto">
              <a:xfrm>
                <a:off x="639020" y="3071273"/>
                <a:ext cx="888802" cy="770854"/>
              </a:xfrm>
              <a:prstGeom prst="roundRect">
                <a:avLst/>
              </a:prstGeom>
              <a:solidFill>
                <a:srgbClr val="F37821"/>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OpenD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Roam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Client</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156" name="Rounded Rectangle 155"/>
              <p:cNvSpPr/>
              <p:nvPr/>
            </p:nvSpPr>
            <p:spPr bwMode="auto">
              <a:xfrm>
                <a:off x="2020366" y="3071273"/>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Built</a:t>
                </a:r>
                <a:r>
                  <a:rPr kumimoji="0" lang="en-US" sz="1050" b="0" i="0" u="none" strike="noStrike" kern="0" cap="none" spc="0" normalizeH="0" baseline="0" noProof="0" dirty="0">
                    <a:ln>
                      <a:noFill/>
                    </a:ln>
                    <a:solidFill>
                      <a:srgbClr val="FFFFFF"/>
                    </a:solidFill>
                    <a:effectLst/>
                    <a:uLnTx/>
                    <a:uFillTx/>
                    <a:latin typeface="Franklin Gothic Book"/>
                    <a:ea typeface="新細明體" charset="0"/>
                    <a:cs typeface="Franklin Gothic Book"/>
                  </a:rPr>
                  <a:t>-in </a:t>
                </a: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OS </a:t>
                </a: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Operational Parameters</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141" name="Rounded Rectangle 140"/>
              <p:cNvSpPr/>
              <p:nvPr/>
            </p:nvSpPr>
            <p:spPr bwMode="auto">
              <a:xfrm>
                <a:off x="2020366" y="4155116"/>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n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Runn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pp</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nvGrpSpPr>
              <p:cNvPr id="142" name="Group 141"/>
              <p:cNvGrpSpPr/>
              <p:nvPr/>
            </p:nvGrpSpPr>
            <p:grpSpPr>
              <a:xfrm>
                <a:off x="547242" y="1770190"/>
                <a:ext cx="1347548" cy="770854"/>
                <a:chOff x="547242" y="1793442"/>
                <a:chExt cx="1347548" cy="770854"/>
              </a:xfrm>
            </p:grpSpPr>
            <p:sp>
              <p:nvSpPr>
                <p:cNvPr id="153"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37821"/>
                </a:solidFill>
                <a:ln w="38100" cap="flat" cmpd="sng" algn="ctr">
                  <a:solidFill>
                    <a:srgbClr val="F3782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154" name="TextBox 153"/>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155" name="Picture 154"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sp>
            <p:nvSpPr>
              <p:cNvPr id="143" name="Rectangle 142"/>
              <p:cNvSpPr/>
              <p:nvPr/>
            </p:nvSpPr>
            <p:spPr>
              <a:xfrm>
                <a:off x="2059443" y="1746692"/>
                <a:ext cx="849727" cy="351891"/>
              </a:xfrm>
              <a:prstGeom prst="rect">
                <a:avLst/>
              </a:prstGeom>
            </p:spPr>
            <p:txBody>
              <a:bodyPr wrap="square" lIns="0" tIns="0" rIns="0" bIns="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7F7F7F">
                        <a:lumMod val="40000"/>
                        <a:lumOff val="60000"/>
                      </a:srgbClr>
                    </a:solidFill>
                    <a:effectLst/>
                    <a:uLnTx/>
                    <a:uFillTx/>
                    <a:latin typeface="Franklin Gothic Medium"/>
                  </a:rPr>
                  <a:t>YOUR DNS SERVER</a:t>
                </a:r>
              </a:p>
            </p:txBody>
          </p:sp>
          <p:grpSp>
            <p:nvGrpSpPr>
              <p:cNvPr id="144" name="Group 10"/>
              <p:cNvGrpSpPr>
                <a:grpSpLocks noChangeAspect="1"/>
              </p:cNvGrpSpPr>
              <p:nvPr/>
            </p:nvGrpSpPr>
            <p:grpSpPr bwMode="auto">
              <a:xfrm>
                <a:off x="2217673" y="2102101"/>
                <a:ext cx="516789" cy="468983"/>
                <a:chOff x="-1133" y="418"/>
                <a:chExt cx="720" cy="654"/>
              </a:xfrm>
              <a:solidFill>
                <a:srgbClr val="CCCCCC"/>
              </a:solidFill>
            </p:grpSpPr>
            <p:sp>
              <p:nvSpPr>
                <p:cNvPr id="145" name="Freeform 11"/>
                <p:cNvSpPr>
                  <a:spLocks noEditPoints="1"/>
                </p:cNvSpPr>
                <p:nvPr/>
              </p:nvSpPr>
              <p:spPr bwMode="auto">
                <a:xfrm>
                  <a:off x="-1133" y="697"/>
                  <a:ext cx="720" cy="375"/>
                </a:xfrm>
                <a:custGeom>
                  <a:avLst/>
                  <a:gdLst>
                    <a:gd name="T0" fmla="*/ 295 w 305"/>
                    <a:gd name="T1" fmla="*/ 0 h 159"/>
                    <a:gd name="T2" fmla="*/ 10 w 305"/>
                    <a:gd name="T3" fmla="*/ 0 h 159"/>
                    <a:gd name="T4" fmla="*/ 0 w 305"/>
                    <a:gd name="T5" fmla="*/ 11 h 159"/>
                    <a:gd name="T6" fmla="*/ 0 w 305"/>
                    <a:gd name="T7" fmla="*/ 91 h 159"/>
                    <a:gd name="T8" fmla="*/ 10 w 305"/>
                    <a:gd name="T9" fmla="*/ 102 h 159"/>
                    <a:gd name="T10" fmla="*/ 142 w 305"/>
                    <a:gd name="T11" fmla="*/ 102 h 159"/>
                    <a:gd name="T12" fmla="*/ 142 w 305"/>
                    <a:gd name="T13" fmla="*/ 129 h 159"/>
                    <a:gd name="T14" fmla="*/ 136 w 305"/>
                    <a:gd name="T15" fmla="*/ 142 h 159"/>
                    <a:gd name="T16" fmla="*/ 153 w 305"/>
                    <a:gd name="T17" fmla="*/ 159 h 159"/>
                    <a:gd name="T18" fmla="*/ 170 w 305"/>
                    <a:gd name="T19" fmla="*/ 142 h 159"/>
                    <a:gd name="T20" fmla="*/ 163 w 305"/>
                    <a:gd name="T21" fmla="*/ 129 h 159"/>
                    <a:gd name="T22" fmla="*/ 163 w 305"/>
                    <a:gd name="T23" fmla="*/ 102 h 159"/>
                    <a:gd name="T24" fmla="*/ 295 w 305"/>
                    <a:gd name="T25" fmla="*/ 102 h 159"/>
                    <a:gd name="T26" fmla="*/ 305 w 305"/>
                    <a:gd name="T27" fmla="*/ 91 h 159"/>
                    <a:gd name="T28" fmla="*/ 305 w 305"/>
                    <a:gd name="T29" fmla="*/ 11 h 159"/>
                    <a:gd name="T30" fmla="*/ 295 w 305"/>
                    <a:gd name="T31" fmla="*/ 0 h 159"/>
                    <a:gd name="T32" fmla="*/ 284 w 305"/>
                    <a:gd name="T33" fmla="*/ 81 h 159"/>
                    <a:gd name="T34" fmla="*/ 21 w 305"/>
                    <a:gd name="T35" fmla="*/ 81 h 159"/>
                    <a:gd name="T36" fmla="*/ 21 w 305"/>
                    <a:gd name="T37" fmla="*/ 22 h 159"/>
                    <a:gd name="T38" fmla="*/ 284 w 305"/>
                    <a:gd name="T39" fmla="*/ 22 h 159"/>
                    <a:gd name="T40" fmla="*/ 284 w 305"/>
                    <a:gd name="T41" fmla="*/ 8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59">
                      <a:moveTo>
                        <a:pt x="295" y="0"/>
                      </a:moveTo>
                      <a:cubicBezTo>
                        <a:pt x="10" y="0"/>
                        <a:pt x="10" y="0"/>
                        <a:pt x="10" y="0"/>
                      </a:cubicBezTo>
                      <a:cubicBezTo>
                        <a:pt x="4" y="0"/>
                        <a:pt x="0" y="5"/>
                        <a:pt x="0" y="11"/>
                      </a:cubicBezTo>
                      <a:cubicBezTo>
                        <a:pt x="0" y="91"/>
                        <a:pt x="0" y="91"/>
                        <a:pt x="0" y="91"/>
                      </a:cubicBezTo>
                      <a:cubicBezTo>
                        <a:pt x="0" y="97"/>
                        <a:pt x="4" y="102"/>
                        <a:pt x="10" y="102"/>
                      </a:cubicBezTo>
                      <a:cubicBezTo>
                        <a:pt x="142" y="102"/>
                        <a:pt x="142" y="102"/>
                        <a:pt x="142" y="102"/>
                      </a:cubicBezTo>
                      <a:cubicBezTo>
                        <a:pt x="142" y="129"/>
                        <a:pt x="142" y="129"/>
                        <a:pt x="142" y="129"/>
                      </a:cubicBezTo>
                      <a:cubicBezTo>
                        <a:pt x="138" y="132"/>
                        <a:pt x="136" y="137"/>
                        <a:pt x="136" y="142"/>
                      </a:cubicBezTo>
                      <a:cubicBezTo>
                        <a:pt x="136" y="151"/>
                        <a:pt x="143" y="159"/>
                        <a:pt x="153" y="159"/>
                      </a:cubicBezTo>
                      <a:cubicBezTo>
                        <a:pt x="162" y="159"/>
                        <a:pt x="170" y="151"/>
                        <a:pt x="170" y="142"/>
                      </a:cubicBezTo>
                      <a:cubicBezTo>
                        <a:pt x="170" y="137"/>
                        <a:pt x="167" y="132"/>
                        <a:pt x="163" y="129"/>
                      </a:cubicBezTo>
                      <a:cubicBezTo>
                        <a:pt x="163" y="102"/>
                        <a:pt x="163" y="102"/>
                        <a:pt x="163" y="102"/>
                      </a:cubicBezTo>
                      <a:cubicBezTo>
                        <a:pt x="295" y="102"/>
                        <a:pt x="295" y="102"/>
                        <a:pt x="295" y="102"/>
                      </a:cubicBezTo>
                      <a:cubicBezTo>
                        <a:pt x="300" y="102"/>
                        <a:pt x="305" y="97"/>
                        <a:pt x="305" y="91"/>
                      </a:cubicBezTo>
                      <a:cubicBezTo>
                        <a:pt x="305" y="11"/>
                        <a:pt x="305" y="11"/>
                        <a:pt x="305" y="11"/>
                      </a:cubicBezTo>
                      <a:cubicBezTo>
                        <a:pt x="305" y="5"/>
                        <a:pt x="300" y="0"/>
                        <a:pt x="295" y="0"/>
                      </a:cubicBezTo>
                      <a:moveTo>
                        <a:pt x="284" y="81"/>
                      </a:moveTo>
                      <a:cubicBezTo>
                        <a:pt x="21" y="81"/>
                        <a:pt x="21" y="81"/>
                        <a:pt x="21" y="81"/>
                      </a:cubicBezTo>
                      <a:cubicBezTo>
                        <a:pt x="21" y="22"/>
                        <a:pt x="21" y="22"/>
                        <a:pt x="21" y="22"/>
                      </a:cubicBezTo>
                      <a:cubicBezTo>
                        <a:pt x="284" y="22"/>
                        <a:pt x="284" y="22"/>
                        <a:pt x="284" y="22"/>
                      </a:cubicBezTo>
                      <a:lnTo>
                        <a:pt x="28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46" name="Freeform 12"/>
                <p:cNvSpPr>
                  <a:spLocks noEditPoints="1"/>
                </p:cNvSpPr>
                <p:nvPr/>
              </p:nvSpPr>
              <p:spPr bwMode="auto">
                <a:xfrm>
                  <a:off x="-588" y="777"/>
                  <a:ext cx="81" cy="83"/>
                </a:xfrm>
                <a:custGeom>
                  <a:avLst/>
                  <a:gdLst>
                    <a:gd name="T0" fmla="*/ 17 w 34"/>
                    <a:gd name="T1" fmla="*/ 35 h 35"/>
                    <a:gd name="T2" fmla="*/ 34 w 34"/>
                    <a:gd name="T3" fmla="*/ 18 h 35"/>
                    <a:gd name="T4" fmla="*/ 17 w 34"/>
                    <a:gd name="T5" fmla="*/ 0 h 35"/>
                    <a:gd name="T6" fmla="*/ 0 w 34"/>
                    <a:gd name="T7" fmla="*/ 18 h 35"/>
                    <a:gd name="T8" fmla="*/ 17 w 34"/>
                    <a:gd name="T9" fmla="*/ 35 h 35"/>
                    <a:gd name="T10" fmla="*/ 17 w 34"/>
                    <a:gd name="T11" fmla="*/ 13 h 35"/>
                    <a:gd name="T12" fmla="*/ 22 w 34"/>
                    <a:gd name="T13" fmla="*/ 18 h 35"/>
                    <a:gd name="T14" fmla="*/ 17 w 34"/>
                    <a:gd name="T15" fmla="*/ 22 h 35"/>
                    <a:gd name="T16" fmla="*/ 13 w 34"/>
                    <a:gd name="T17" fmla="*/ 18 h 35"/>
                    <a:gd name="T18" fmla="*/ 17 w 34"/>
                    <a:gd name="T1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5">
                      <a:moveTo>
                        <a:pt x="17" y="35"/>
                      </a:moveTo>
                      <a:cubicBezTo>
                        <a:pt x="27" y="35"/>
                        <a:pt x="34" y="27"/>
                        <a:pt x="34" y="18"/>
                      </a:cubicBezTo>
                      <a:cubicBezTo>
                        <a:pt x="34" y="8"/>
                        <a:pt x="27" y="0"/>
                        <a:pt x="17" y="0"/>
                      </a:cubicBezTo>
                      <a:cubicBezTo>
                        <a:pt x="8" y="0"/>
                        <a:pt x="0" y="8"/>
                        <a:pt x="0" y="18"/>
                      </a:cubicBezTo>
                      <a:cubicBezTo>
                        <a:pt x="0" y="27"/>
                        <a:pt x="8" y="35"/>
                        <a:pt x="17" y="35"/>
                      </a:cubicBezTo>
                      <a:moveTo>
                        <a:pt x="17" y="13"/>
                      </a:moveTo>
                      <a:cubicBezTo>
                        <a:pt x="20" y="13"/>
                        <a:pt x="22" y="15"/>
                        <a:pt x="22" y="18"/>
                      </a:cubicBezTo>
                      <a:cubicBezTo>
                        <a:pt x="22" y="20"/>
                        <a:pt x="20" y="22"/>
                        <a:pt x="17" y="22"/>
                      </a:cubicBezTo>
                      <a:cubicBezTo>
                        <a:pt x="15" y="22"/>
                        <a:pt x="13" y="20"/>
                        <a:pt x="13" y="18"/>
                      </a:cubicBezTo>
                      <a:cubicBezTo>
                        <a:pt x="13" y="15"/>
                        <a:pt x="15" y="13"/>
                        <a:pt x="1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47" name="Freeform 13"/>
                <p:cNvSpPr>
                  <a:spLocks noEditPoints="1"/>
                </p:cNvSpPr>
                <p:nvPr/>
              </p:nvSpPr>
              <p:spPr bwMode="auto">
                <a:xfrm>
                  <a:off x="-1133" y="418"/>
                  <a:ext cx="720" cy="239"/>
                </a:xfrm>
                <a:custGeom>
                  <a:avLst/>
                  <a:gdLst>
                    <a:gd name="T0" fmla="*/ 295 w 305"/>
                    <a:gd name="T1" fmla="*/ 0 h 101"/>
                    <a:gd name="T2" fmla="*/ 10 w 305"/>
                    <a:gd name="T3" fmla="*/ 0 h 101"/>
                    <a:gd name="T4" fmla="*/ 0 w 305"/>
                    <a:gd name="T5" fmla="*/ 10 h 101"/>
                    <a:gd name="T6" fmla="*/ 0 w 305"/>
                    <a:gd name="T7" fmla="*/ 91 h 101"/>
                    <a:gd name="T8" fmla="*/ 10 w 305"/>
                    <a:gd name="T9" fmla="*/ 101 h 101"/>
                    <a:gd name="T10" fmla="*/ 295 w 305"/>
                    <a:gd name="T11" fmla="*/ 101 h 101"/>
                    <a:gd name="T12" fmla="*/ 305 w 305"/>
                    <a:gd name="T13" fmla="*/ 91 h 101"/>
                    <a:gd name="T14" fmla="*/ 305 w 305"/>
                    <a:gd name="T15" fmla="*/ 10 h 101"/>
                    <a:gd name="T16" fmla="*/ 295 w 305"/>
                    <a:gd name="T17" fmla="*/ 0 h 101"/>
                    <a:gd name="T18" fmla="*/ 284 w 305"/>
                    <a:gd name="T19" fmla="*/ 80 h 101"/>
                    <a:gd name="T20" fmla="*/ 21 w 305"/>
                    <a:gd name="T21" fmla="*/ 80 h 101"/>
                    <a:gd name="T22" fmla="*/ 21 w 305"/>
                    <a:gd name="T23" fmla="*/ 21 h 101"/>
                    <a:gd name="T24" fmla="*/ 284 w 305"/>
                    <a:gd name="T25" fmla="*/ 21 h 101"/>
                    <a:gd name="T26" fmla="*/ 284 w 305"/>
                    <a:gd name="T27"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101">
                      <a:moveTo>
                        <a:pt x="295" y="0"/>
                      </a:moveTo>
                      <a:cubicBezTo>
                        <a:pt x="10" y="0"/>
                        <a:pt x="10" y="0"/>
                        <a:pt x="10" y="0"/>
                      </a:cubicBezTo>
                      <a:cubicBezTo>
                        <a:pt x="4" y="0"/>
                        <a:pt x="0" y="5"/>
                        <a:pt x="0" y="10"/>
                      </a:cubicBezTo>
                      <a:cubicBezTo>
                        <a:pt x="0" y="91"/>
                        <a:pt x="0" y="91"/>
                        <a:pt x="0" y="91"/>
                      </a:cubicBezTo>
                      <a:cubicBezTo>
                        <a:pt x="0" y="97"/>
                        <a:pt x="4" y="101"/>
                        <a:pt x="10" y="101"/>
                      </a:cubicBezTo>
                      <a:cubicBezTo>
                        <a:pt x="295" y="101"/>
                        <a:pt x="295" y="101"/>
                        <a:pt x="295" y="101"/>
                      </a:cubicBezTo>
                      <a:cubicBezTo>
                        <a:pt x="300" y="101"/>
                        <a:pt x="305" y="97"/>
                        <a:pt x="305" y="91"/>
                      </a:cubicBezTo>
                      <a:cubicBezTo>
                        <a:pt x="305" y="10"/>
                        <a:pt x="305" y="10"/>
                        <a:pt x="305" y="10"/>
                      </a:cubicBezTo>
                      <a:cubicBezTo>
                        <a:pt x="305" y="5"/>
                        <a:pt x="300" y="0"/>
                        <a:pt x="295" y="0"/>
                      </a:cubicBezTo>
                      <a:moveTo>
                        <a:pt x="284" y="80"/>
                      </a:moveTo>
                      <a:cubicBezTo>
                        <a:pt x="21" y="80"/>
                        <a:pt x="21" y="80"/>
                        <a:pt x="21" y="80"/>
                      </a:cubicBezTo>
                      <a:cubicBezTo>
                        <a:pt x="21" y="21"/>
                        <a:pt x="21" y="21"/>
                        <a:pt x="21" y="21"/>
                      </a:cubicBezTo>
                      <a:cubicBezTo>
                        <a:pt x="284" y="21"/>
                        <a:pt x="284" y="21"/>
                        <a:pt x="284" y="21"/>
                      </a:cubicBezTo>
                      <a:lnTo>
                        <a:pt x="28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48" name="Freeform 14"/>
                <p:cNvSpPr>
                  <a:spLocks noEditPoints="1"/>
                </p:cNvSpPr>
                <p:nvPr/>
              </p:nvSpPr>
              <p:spPr bwMode="auto">
                <a:xfrm>
                  <a:off x="-588" y="498"/>
                  <a:ext cx="81" cy="81"/>
                </a:xfrm>
                <a:custGeom>
                  <a:avLst/>
                  <a:gdLst>
                    <a:gd name="T0" fmla="*/ 17 w 34"/>
                    <a:gd name="T1" fmla="*/ 34 h 34"/>
                    <a:gd name="T2" fmla="*/ 34 w 34"/>
                    <a:gd name="T3" fmla="*/ 17 h 34"/>
                    <a:gd name="T4" fmla="*/ 17 w 34"/>
                    <a:gd name="T5" fmla="*/ 0 h 34"/>
                    <a:gd name="T6" fmla="*/ 0 w 34"/>
                    <a:gd name="T7" fmla="*/ 17 h 34"/>
                    <a:gd name="T8" fmla="*/ 17 w 34"/>
                    <a:gd name="T9" fmla="*/ 34 h 34"/>
                    <a:gd name="T10" fmla="*/ 17 w 34"/>
                    <a:gd name="T11" fmla="*/ 13 h 34"/>
                    <a:gd name="T12" fmla="*/ 22 w 34"/>
                    <a:gd name="T13" fmla="*/ 17 h 34"/>
                    <a:gd name="T14" fmla="*/ 17 w 34"/>
                    <a:gd name="T15" fmla="*/ 21 h 34"/>
                    <a:gd name="T16" fmla="*/ 13 w 34"/>
                    <a:gd name="T17" fmla="*/ 17 h 34"/>
                    <a:gd name="T18" fmla="*/ 17 w 34"/>
                    <a:gd name="T19"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27" y="34"/>
                        <a:pt x="34" y="27"/>
                        <a:pt x="34" y="17"/>
                      </a:cubicBezTo>
                      <a:cubicBezTo>
                        <a:pt x="34" y="8"/>
                        <a:pt x="27" y="0"/>
                        <a:pt x="17" y="0"/>
                      </a:cubicBezTo>
                      <a:cubicBezTo>
                        <a:pt x="8" y="0"/>
                        <a:pt x="0" y="8"/>
                        <a:pt x="0" y="17"/>
                      </a:cubicBezTo>
                      <a:cubicBezTo>
                        <a:pt x="0" y="27"/>
                        <a:pt x="8" y="34"/>
                        <a:pt x="17" y="34"/>
                      </a:cubicBezTo>
                      <a:moveTo>
                        <a:pt x="17" y="13"/>
                      </a:moveTo>
                      <a:cubicBezTo>
                        <a:pt x="20" y="13"/>
                        <a:pt x="22" y="15"/>
                        <a:pt x="22" y="17"/>
                      </a:cubicBezTo>
                      <a:cubicBezTo>
                        <a:pt x="22" y="20"/>
                        <a:pt x="20" y="21"/>
                        <a:pt x="17" y="21"/>
                      </a:cubicBezTo>
                      <a:cubicBezTo>
                        <a:pt x="15" y="21"/>
                        <a:pt x="13" y="20"/>
                        <a:pt x="13" y="17"/>
                      </a:cubicBezTo>
                      <a:cubicBezTo>
                        <a:pt x="13" y="15"/>
                        <a:pt x="15" y="13"/>
                        <a:pt x="1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49" name="Freeform 15"/>
                <p:cNvSpPr>
                  <a:spLocks/>
                </p:cNvSpPr>
                <p:nvPr/>
              </p:nvSpPr>
              <p:spPr bwMode="auto">
                <a:xfrm>
                  <a:off x="-529" y="1006"/>
                  <a:ext cx="112" cy="52"/>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50" name="Freeform 16"/>
                <p:cNvSpPr>
                  <a:spLocks/>
                </p:cNvSpPr>
                <p:nvPr/>
              </p:nvSpPr>
              <p:spPr bwMode="auto">
                <a:xfrm>
                  <a:off x="-677" y="1006"/>
                  <a:ext cx="108" cy="52"/>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51" name="Freeform 17"/>
                <p:cNvSpPr>
                  <a:spLocks/>
                </p:cNvSpPr>
                <p:nvPr/>
              </p:nvSpPr>
              <p:spPr bwMode="auto">
                <a:xfrm>
                  <a:off x="-980" y="1006"/>
                  <a:ext cx="111" cy="52"/>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52" name="Freeform 18"/>
                <p:cNvSpPr>
                  <a:spLocks/>
                </p:cNvSpPr>
                <p:nvPr/>
              </p:nvSpPr>
              <p:spPr bwMode="auto">
                <a:xfrm>
                  <a:off x="-1129" y="1006"/>
                  <a:ext cx="109" cy="52"/>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grpSp>
        </p:grpSp>
      </p:grpSp>
      <p:grpSp>
        <p:nvGrpSpPr>
          <p:cNvPr id="160" name="Group 159"/>
          <p:cNvGrpSpPr/>
          <p:nvPr/>
        </p:nvGrpSpPr>
        <p:grpSpPr>
          <a:xfrm>
            <a:off x="1083421" y="2557512"/>
            <a:ext cx="595108" cy="510926"/>
            <a:chOff x="1083421" y="2559880"/>
            <a:chExt cx="595108" cy="511399"/>
          </a:xfrm>
        </p:grpSpPr>
        <p:sp>
          <p:nvSpPr>
            <p:cNvPr id="161" name="TextBox 160"/>
            <p:cNvSpPr txBox="1"/>
            <p:nvPr/>
          </p:nvSpPr>
          <p:spPr>
            <a:xfrm>
              <a:off x="1141872" y="2607505"/>
              <a:ext cx="536657" cy="324556"/>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customer’s internal domain list</a:t>
              </a:r>
            </a:p>
          </p:txBody>
        </p:sp>
        <p:cxnSp>
          <p:nvCxnSpPr>
            <p:cNvPr id="162" name="Straight Arrow Connector 161"/>
            <p:cNvCxnSpPr>
              <a:endCxn id="139" idx="0"/>
            </p:cNvCxnSpPr>
            <p:nvPr/>
          </p:nvCxnSpPr>
          <p:spPr bwMode="auto">
            <a:xfrm>
              <a:off x="1083421" y="2559880"/>
              <a:ext cx="0" cy="511399"/>
            </a:xfrm>
            <a:prstGeom prst="straightConnector1">
              <a:avLst/>
            </a:prstGeom>
            <a:solidFill>
              <a:srgbClr val="F37821"/>
            </a:solidFill>
            <a:ln w="19050" cap="rnd" cmpd="sng" algn="ctr">
              <a:solidFill>
                <a:srgbClr val="F37821"/>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3" name="Group 162"/>
          <p:cNvGrpSpPr/>
          <p:nvPr/>
        </p:nvGrpSpPr>
        <p:grpSpPr>
          <a:xfrm>
            <a:off x="1498178" y="3515587"/>
            <a:ext cx="522188" cy="440797"/>
            <a:chOff x="1498178" y="3518839"/>
            <a:chExt cx="522188" cy="441205"/>
          </a:xfrm>
        </p:grpSpPr>
        <p:sp>
          <p:nvSpPr>
            <p:cNvPr id="164" name="TextBox 163"/>
            <p:cNvSpPr txBox="1"/>
            <p:nvPr/>
          </p:nvSpPr>
          <p:spPr>
            <a:xfrm>
              <a:off x="1498178" y="3593490"/>
              <a:ext cx="522188" cy="366554"/>
            </a:xfrm>
            <a:prstGeom prst="rect">
              <a:avLst/>
            </a:prstGeom>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set DNS server to 127.0.0.1</a:t>
              </a:r>
              <a:endParaRPr kumimoji="0" lang="en-US" sz="900" b="0" i="0" u="none" strike="noStrike" kern="0" cap="none" spc="0" normalizeH="0" baseline="0" noProof="0" dirty="0">
                <a:ln>
                  <a:noFill/>
                </a:ln>
                <a:solidFill>
                  <a:srgbClr val="F37821"/>
                </a:solidFill>
                <a:effectLst/>
                <a:uLnTx/>
                <a:uFillTx/>
                <a:latin typeface="Franklin Gothic Book"/>
              </a:endParaRPr>
            </a:p>
          </p:txBody>
        </p:sp>
        <p:cxnSp>
          <p:nvCxnSpPr>
            <p:cNvPr id="165" name="Straight Arrow Connector 164"/>
            <p:cNvCxnSpPr/>
            <p:nvPr/>
          </p:nvCxnSpPr>
          <p:spPr bwMode="auto">
            <a:xfrm>
              <a:off x="1527822" y="3518839"/>
              <a:ext cx="466518" cy="0"/>
            </a:xfrm>
            <a:prstGeom prst="straightConnector1">
              <a:avLst/>
            </a:prstGeom>
            <a:solidFill>
              <a:srgbClr val="F37821"/>
            </a:solidFill>
            <a:ln w="19050" cap="rnd" cmpd="sng" algn="ctr">
              <a:solidFill>
                <a:srgbClr val="F37821"/>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6" name="Group 165"/>
          <p:cNvGrpSpPr/>
          <p:nvPr/>
        </p:nvGrpSpPr>
        <p:grpSpPr>
          <a:xfrm>
            <a:off x="2464774" y="3838584"/>
            <a:ext cx="444417" cy="312697"/>
            <a:chOff x="2464767" y="3842135"/>
            <a:chExt cx="444417" cy="312987"/>
          </a:xfrm>
        </p:grpSpPr>
        <p:cxnSp>
          <p:nvCxnSpPr>
            <p:cNvPr id="167" name="Straight Arrow Connector 166"/>
            <p:cNvCxnSpPr>
              <a:stCxn id="156" idx="2"/>
            </p:cNvCxnSpPr>
            <p:nvPr/>
          </p:nvCxnSpPr>
          <p:spPr bwMode="auto">
            <a:xfrm>
              <a:off x="2464767" y="3842135"/>
              <a:ext cx="0" cy="312987"/>
            </a:xfrm>
            <a:prstGeom prst="straightConnector1">
              <a:avLst/>
            </a:prstGeom>
            <a:solidFill>
              <a:srgbClr val="F37821"/>
            </a:solidFill>
            <a:ln w="19050" cap="rnd" cmpd="sng" algn="ctr">
              <a:solidFill>
                <a:srgbClr val="7F7F7F"/>
              </a:solidFill>
              <a:prstDash val="dash"/>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68" name="TextBox 167"/>
            <p:cNvSpPr txBox="1"/>
            <p:nvPr/>
          </p:nvSpPr>
          <p:spPr>
            <a:xfrm>
              <a:off x="2575791" y="3882077"/>
              <a:ext cx="333393" cy="257531"/>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DNS server</a:t>
              </a:r>
              <a:endParaRPr kumimoji="0" lang="en-US" sz="900" b="0" i="0" u="none" strike="noStrike" kern="0" cap="none" spc="0" normalizeH="0" baseline="0" noProof="0" dirty="0">
                <a:ln>
                  <a:noFill/>
                </a:ln>
                <a:solidFill>
                  <a:srgbClr val="7F7F7F"/>
                </a:solidFill>
                <a:effectLst/>
                <a:uLnTx/>
                <a:uFillTx/>
                <a:latin typeface="Franklin Gothic Book"/>
              </a:endParaRPr>
            </a:p>
          </p:txBody>
        </p:sp>
      </p:grpSp>
      <p:grpSp>
        <p:nvGrpSpPr>
          <p:cNvPr id="169" name="Group 168"/>
          <p:cNvGrpSpPr/>
          <p:nvPr/>
        </p:nvGrpSpPr>
        <p:grpSpPr>
          <a:xfrm>
            <a:off x="3196851" y="858842"/>
            <a:ext cx="5541737" cy="4284670"/>
            <a:chOff x="3196844" y="859637"/>
            <a:chExt cx="5541737" cy="4288638"/>
          </a:xfrm>
        </p:grpSpPr>
        <p:sp>
          <p:nvSpPr>
            <p:cNvPr id="170" name="Rectangle 169"/>
            <p:cNvSpPr/>
            <p:nvPr/>
          </p:nvSpPr>
          <p:spPr bwMode="auto">
            <a:xfrm>
              <a:off x="5984398" y="859637"/>
              <a:ext cx="2754183" cy="4283121"/>
            </a:xfrm>
            <a:prstGeom prst="rect">
              <a:avLst/>
            </a:prstGeom>
            <a:solidFill>
              <a:srgbClr val="FFFFFF">
                <a:lumMod val="95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171" name="Rectangle 170"/>
            <p:cNvSpPr/>
            <p:nvPr/>
          </p:nvSpPr>
          <p:spPr bwMode="auto">
            <a:xfrm>
              <a:off x="3196845" y="865147"/>
              <a:ext cx="2793952" cy="4283121"/>
            </a:xfrm>
            <a:prstGeom prst="rect">
              <a:avLst/>
            </a:prstGeom>
            <a:solidFill>
              <a:srgbClr val="F37821">
                <a:lumMod val="20000"/>
                <a:lumOff val="8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cxnSp>
          <p:nvCxnSpPr>
            <p:cNvPr id="172" name="Straight Connector 171"/>
            <p:cNvCxnSpPr/>
            <p:nvPr/>
          </p:nvCxnSpPr>
          <p:spPr bwMode="auto">
            <a:xfrm>
              <a:off x="3196844" y="859637"/>
              <a:ext cx="0" cy="4288638"/>
            </a:xfrm>
            <a:prstGeom prst="line">
              <a:avLst/>
            </a:prstGeom>
            <a:solidFill>
              <a:srgbClr val="F37821"/>
            </a:solidFill>
            <a:ln w="19050" cap="rnd"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3" name="Rectangle 172"/>
            <p:cNvSpPr/>
            <p:nvPr/>
          </p:nvSpPr>
          <p:spPr>
            <a:xfrm>
              <a:off x="3613737" y="859638"/>
              <a:ext cx="1984437" cy="739348"/>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rgbClr val="F37821"/>
                  </a:solidFill>
                  <a:effectLst/>
                  <a:uLnTx/>
                  <a:uFillTx/>
                  <a:latin typeface="Franklin Gothic Medium"/>
                </a:rPr>
                <a:t>STEP 2a</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smtClean="0">
                  <a:ln>
                    <a:noFill/>
                  </a:ln>
                  <a:solidFill>
                    <a:srgbClr val="F37821"/>
                  </a:solidFill>
                  <a:effectLst/>
                  <a:uLnTx/>
                  <a:uFillTx/>
                  <a:latin typeface="Franklin Gothic Book"/>
                </a:rPr>
                <a:t>OpenDNS</a:t>
              </a:r>
              <a:r>
                <a:rPr kumimoji="0" lang="ja-JP" altLang="en-US" sz="1200" b="0" i="0" u="none" strike="noStrike" kern="0" cap="none" spc="0" normalizeH="0" baseline="0" noProof="0" dirty="0" smtClean="0">
                  <a:ln>
                    <a:noFill/>
                  </a:ln>
                  <a:solidFill>
                    <a:srgbClr val="F37821"/>
                  </a:solidFill>
                  <a:effectLst/>
                  <a:uLnTx/>
                  <a:uFillTx/>
                  <a:latin typeface="Franklin Gothic Book"/>
                </a:rPr>
                <a:t>によって</a:t>
              </a:r>
              <a:r>
                <a:rPr kumimoji="0" lang="en-US" altLang="ja-JP" sz="1200" b="0" i="0" u="none" strike="noStrike" kern="0" cap="none" spc="0" normalizeH="0" baseline="0" noProof="0" dirty="0" smtClean="0">
                  <a:ln>
                    <a:noFill/>
                  </a:ln>
                  <a:solidFill>
                    <a:srgbClr val="F37821"/>
                  </a:solidFill>
                  <a:effectLst/>
                  <a:uLnTx/>
                  <a:uFillTx/>
                  <a:latin typeface="Franklin Gothic Book"/>
                </a:rPr>
                <a:t/>
              </a:r>
              <a:br>
                <a:rPr kumimoji="0" lang="en-US" altLang="ja-JP" sz="1200" b="0" i="0" u="none" strike="noStrike" kern="0" cap="none" spc="0" normalizeH="0" baseline="0" noProof="0" dirty="0" smtClean="0">
                  <a:ln>
                    <a:noFill/>
                  </a:ln>
                  <a:solidFill>
                    <a:srgbClr val="F37821"/>
                  </a:solidFill>
                  <a:effectLst/>
                  <a:uLnTx/>
                  <a:uFillTx/>
                  <a:latin typeface="Franklin Gothic Book"/>
                </a:rPr>
              </a:br>
              <a:r>
                <a:rPr kumimoji="0" lang="ja-JP" altLang="en-US" sz="1200" b="0" i="0" u="none" strike="noStrike" kern="0" cap="none" spc="0" normalizeH="0" baseline="0" noProof="0" dirty="0" smtClean="0">
                  <a:ln>
                    <a:noFill/>
                  </a:ln>
                  <a:solidFill>
                    <a:srgbClr val="F37821"/>
                  </a:solidFill>
                  <a:effectLst/>
                  <a:uLnTx/>
                  <a:uFillTx/>
                  <a:latin typeface="Franklin Gothic Book"/>
                </a:rPr>
                <a:t>インターネットドメインを解決</a:t>
              </a:r>
              <a:endParaRPr kumimoji="0" lang="en-US" sz="1200" b="0" i="0" u="none" strike="noStrike" kern="0" cap="none" spc="0" normalizeH="0" baseline="0" noProof="0" dirty="0" smtClean="0">
                <a:ln>
                  <a:noFill/>
                </a:ln>
                <a:solidFill>
                  <a:srgbClr val="F37821"/>
                </a:solidFill>
                <a:effectLst/>
                <a:uLnTx/>
                <a:uFillTx/>
                <a:latin typeface="Franklin Gothic Book"/>
              </a:endParaRPr>
            </a:p>
          </p:txBody>
        </p:sp>
        <p:sp>
          <p:nvSpPr>
            <p:cNvPr id="175" name="Rectangle 174"/>
            <p:cNvSpPr/>
            <p:nvPr/>
          </p:nvSpPr>
          <p:spPr>
            <a:xfrm>
              <a:off x="5777835" y="1047268"/>
              <a:ext cx="425953" cy="369332"/>
            </a:xfrm>
            <a:prstGeom prst="rect">
              <a:avLst/>
            </a:prstGeom>
            <a:no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1" u="none" strike="noStrike" kern="0" cap="none" spc="0" normalizeH="0" baseline="0" noProof="0" dirty="0" smtClean="0">
                  <a:ln>
                    <a:noFill/>
                  </a:ln>
                  <a:solidFill>
                    <a:sysClr val="windowText" lastClr="000000"/>
                  </a:solidFill>
                  <a:effectLst/>
                  <a:uLnTx/>
                  <a:uFillTx/>
                  <a:latin typeface="Franklin Gothic Book"/>
                </a:rPr>
                <a:t>or</a:t>
              </a:r>
              <a:endParaRPr kumimoji="0" lang="en-US" sz="1200" b="0" i="1" u="none" strike="noStrike" kern="0" cap="none" spc="0" normalizeH="0" baseline="0" noProof="0" dirty="0" smtClean="0">
                <a:ln>
                  <a:noFill/>
                </a:ln>
                <a:solidFill>
                  <a:sysClr val="windowText" lastClr="000000"/>
                </a:solidFill>
                <a:effectLst/>
                <a:uLnTx/>
                <a:uFillTx/>
                <a:latin typeface="Franklin Gothic Book"/>
              </a:endParaRPr>
            </a:p>
          </p:txBody>
        </p:sp>
        <p:cxnSp>
          <p:nvCxnSpPr>
            <p:cNvPr id="176" name="Straight Connector 175"/>
            <p:cNvCxnSpPr>
              <a:stCxn id="175" idx="1"/>
              <a:endCxn id="173" idx="3"/>
            </p:cNvCxnSpPr>
            <p:nvPr/>
          </p:nvCxnSpPr>
          <p:spPr bwMode="auto">
            <a:xfrm flipH="1" flipV="1">
              <a:off x="5598174" y="1229312"/>
              <a:ext cx="179661" cy="2621"/>
            </a:xfrm>
            <a:prstGeom prst="line">
              <a:avLst/>
            </a:prstGeom>
            <a:solidFill>
              <a:srgbClr val="F37821"/>
            </a:solidFill>
            <a:ln w="12700" cap="rnd"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7" name="Rectangle 176"/>
            <p:cNvSpPr/>
            <p:nvPr/>
          </p:nvSpPr>
          <p:spPr>
            <a:xfrm>
              <a:off x="6431504" y="859638"/>
              <a:ext cx="1930712" cy="739348"/>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7F7F7F"/>
                  </a:solidFill>
                  <a:effectLst/>
                  <a:uLnTx/>
                  <a:uFillTx/>
                  <a:latin typeface="Franklin Gothic Medium"/>
                </a:rPr>
                <a:t>STEP </a:t>
              </a:r>
              <a:r>
                <a:rPr kumimoji="0" lang="en-US" sz="1800" b="0" i="0" u="none" strike="noStrike" kern="0" cap="none" spc="0" normalizeH="0" baseline="0" noProof="0" dirty="0" smtClean="0">
                  <a:ln>
                    <a:noFill/>
                  </a:ln>
                  <a:solidFill>
                    <a:srgbClr val="7F7F7F"/>
                  </a:solidFill>
                  <a:effectLst/>
                  <a:uLnTx/>
                  <a:uFillTx/>
                  <a:latin typeface="Franklin Gothic Medium"/>
                </a:rPr>
                <a:t>2b</a:t>
              </a:r>
              <a:endParaRPr kumimoji="0" lang="en-US" sz="1800" b="0" i="0" u="none" strike="noStrike" kern="0" cap="none" spc="0" normalizeH="0" baseline="0" noProof="0" dirty="0">
                <a:ln>
                  <a:noFill/>
                </a:ln>
                <a:solidFill>
                  <a:srgbClr val="7F7F7F"/>
                </a:solidFill>
                <a:effectLst/>
                <a:uLnTx/>
                <a:uFillTx/>
                <a:latin typeface="Franklin Gothic Medium"/>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smtClean="0">
                  <a:ln>
                    <a:noFill/>
                  </a:ln>
                  <a:solidFill>
                    <a:srgbClr val="7F7F7F"/>
                  </a:solidFill>
                  <a:effectLst/>
                  <a:uLnTx/>
                  <a:uFillTx/>
                  <a:latin typeface="Franklin Gothic Book"/>
                </a:rPr>
                <a:t>既存の</a:t>
              </a:r>
              <a:r>
                <a:rPr kumimoji="0" lang="en-US" sz="1200" b="0" i="0" u="none" strike="noStrike" kern="0" cap="none" spc="0" normalizeH="0" baseline="0" noProof="0" dirty="0" smtClean="0">
                  <a:ln>
                    <a:noFill/>
                  </a:ln>
                  <a:solidFill>
                    <a:srgbClr val="7F7F7F"/>
                  </a:solidFill>
                  <a:effectLst/>
                  <a:uLnTx/>
                  <a:uFillTx/>
                  <a:latin typeface="Franklin Gothic Book"/>
                </a:rPr>
                <a:t>DNS</a:t>
              </a:r>
              <a:r>
                <a:rPr kumimoji="0" lang="ja-JP" altLang="en-US" sz="1200" b="0" i="0" u="none" strike="noStrike" kern="0" cap="none" spc="0" normalizeH="0" baseline="0" noProof="0" dirty="0" smtClean="0">
                  <a:ln>
                    <a:noFill/>
                  </a:ln>
                  <a:solidFill>
                    <a:srgbClr val="7F7F7F"/>
                  </a:solidFill>
                  <a:effectLst/>
                  <a:uLnTx/>
                  <a:uFillTx/>
                  <a:latin typeface="Franklin Gothic Book"/>
                </a:rPr>
                <a:t>サーバによって</a:t>
              </a:r>
              <a:r>
                <a:rPr kumimoji="0" lang="en-US" altLang="ja-JP" sz="1200" b="0" i="0" u="none" strike="noStrike" kern="0" cap="none" spc="0" normalizeH="0" baseline="0" noProof="0" dirty="0" smtClean="0">
                  <a:ln>
                    <a:noFill/>
                  </a:ln>
                  <a:solidFill>
                    <a:srgbClr val="7F7F7F"/>
                  </a:solidFill>
                  <a:effectLst/>
                  <a:uLnTx/>
                  <a:uFillTx/>
                  <a:latin typeface="Franklin Gothic Book"/>
                </a:rPr>
                <a:t/>
              </a:r>
              <a:br>
                <a:rPr kumimoji="0" lang="en-US" altLang="ja-JP" sz="1200" b="0" i="0" u="none" strike="noStrike" kern="0" cap="none" spc="0" normalizeH="0" baseline="0" noProof="0" dirty="0" smtClean="0">
                  <a:ln>
                    <a:noFill/>
                  </a:ln>
                  <a:solidFill>
                    <a:srgbClr val="7F7F7F"/>
                  </a:solidFill>
                  <a:effectLst/>
                  <a:uLnTx/>
                  <a:uFillTx/>
                  <a:latin typeface="Franklin Gothic Book"/>
                </a:rPr>
              </a:br>
              <a:r>
                <a:rPr kumimoji="0" lang="ja-JP" altLang="en-US" sz="1200" b="0" i="0" u="none" strike="noStrike" kern="0" cap="none" spc="0" normalizeH="0" baseline="0" noProof="0" dirty="0" smtClean="0">
                  <a:ln>
                    <a:noFill/>
                  </a:ln>
                  <a:solidFill>
                    <a:srgbClr val="7F7F7F"/>
                  </a:solidFill>
                  <a:effectLst/>
                  <a:uLnTx/>
                  <a:uFillTx/>
                  <a:latin typeface="Franklin Gothic Book"/>
                </a:rPr>
                <a:t>インターナルドメインを解決</a:t>
              </a:r>
              <a:endParaRPr kumimoji="0" lang="en-US" sz="1200" b="0" i="0" u="none" strike="noStrike" kern="0" cap="none" spc="0" normalizeH="0" baseline="0" noProof="0" dirty="0">
                <a:ln>
                  <a:noFill/>
                </a:ln>
                <a:solidFill>
                  <a:srgbClr val="7F7F7F"/>
                </a:solidFill>
                <a:effectLst/>
                <a:uLnTx/>
                <a:uFillTx/>
                <a:latin typeface="Franklin Gothic Book"/>
              </a:endParaRPr>
            </a:p>
          </p:txBody>
        </p:sp>
      </p:grpSp>
      <p:grpSp>
        <p:nvGrpSpPr>
          <p:cNvPr id="178" name="Group 177"/>
          <p:cNvGrpSpPr/>
          <p:nvPr/>
        </p:nvGrpSpPr>
        <p:grpSpPr>
          <a:xfrm>
            <a:off x="6167519" y="1743917"/>
            <a:ext cx="2430246" cy="3252207"/>
            <a:chOff x="6167519" y="1745528"/>
            <a:chExt cx="2430246" cy="3255219"/>
          </a:xfrm>
        </p:grpSpPr>
        <p:sp>
          <p:nvSpPr>
            <p:cNvPr id="179" name="Rounded Rectangle 178"/>
            <p:cNvSpPr/>
            <p:nvPr/>
          </p:nvSpPr>
          <p:spPr bwMode="auto">
            <a:xfrm>
              <a:off x="6167519" y="3003282"/>
              <a:ext cx="2430246" cy="1997465"/>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180" name="Rounded Rectangle 179"/>
            <p:cNvSpPr/>
            <p:nvPr/>
          </p:nvSpPr>
          <p:spPr bwMode="auto">
            <a:xfrm>
              <a:off x="6245861" y="3071273"/>
              <a:ext cx="888802" cy="770854"/>
            </a:xfrm>
            <a:prstGeom prst="roundRect">
              <a:avLst/>
            </a:prstGeom>
            <a:solidFill>
              <a:srgbClr val="F37821"/>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OpenD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Roam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Client</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200" name="Rounded Rectangle 199"/>
            <p:cNvSpPr/>
            <p:nvPr/>
          </p:nvSpPr>
          <p:spPr bwMode="auto">
            <a:xfrm>
              <a:off x="7627207" y="3071273"/>
              <a:ext cx="888802" cy="770854"/>
            </a:xfrm>
            <a:prstGeom prst="roundRect">
              <a:avLst/>
            </a:prstGeom>
            <a:solidFill>
              <a:srgbClr val="7F7F7F">
                <a:lumMod val="40000"/>
                <a:lumOff val="6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lvl="0" algn="ctr" fontAlgn="auto">
                <a:spcBef>
                  <a:spcPts val="0"/>
                </a:spcBef>
                <a:spcAft>
                  <a:spcPts val="0"/>
                </a:spcAf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Built</a:t>
              </a:r>
              <a:r>
                <a:rPr kumimoji="0" lang="en-US" sz="1050" b="0" i="0" u="none" strike="noStrike" kern="0" cap="none" spc="0" normalizeH="0" baseline="0" noProof="0" dirty="0">
                  <a:ln>
                    <a:noFill/>
                  </a:ln>
                  <a:solidFill>
                    <a:srgbClr val="FFFFFF"/>
                  </a:solidFill>
                  <a:effectLst/>
                  <a:uLnTx/>
                  <a:uFillTx/>
                  <a:latin typeface="Franklin Gothic Book"/>
                  <a:ea typeface="新細明體" charset="0"/>
                  <a:cs typeface="Franklin Gothic Book"/>
                </a:rPr>
                <a:t>-in </a:t>
              </a: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OS </a:t>
              </a:r>
              <a:r>
                <a:rPr kumimoji="0" lang="en-US" sz="1050" kern="0" dirty="0">
                  <a:solidFill>
                    <a:srgbClr val="FFFFFF"/>
                  </a:solidFill>
                  <a:latin typeface="Franklin Gothic Book"/>
                  <a:ea typeface="新細明體" charset="0"/>
                  <a:cs typeface="新細明體" charset="0"/>
                </a:rPr>
                <a:t>Operational </a:t>
              </a:r>
              <a:r>
                <a:rPr kumimoji="0" lang="en-US" sz="1050" kern="0" dirty="0" smtClean="0">
                  <a:solidFill>
                    <a:srgbClr val="FFFFFF"/>
                  </a:solidFill>
                  <a:latin typeface="Franklin Gothic Book"/>
                  <a:ea typeface="新細明體" charset="0"/>
                  <a:cs typeface="新細明體" charset="0"/>
                </a:rPr>
                <a:t>Parameters</a:t>
              </a:r>
              <a:endParaRPr kumimoji="0" lang="en-US" sz="600" kern="0" dirty="0">
                <a:solidFill>
                  <a:srgbClr val="FFFFFF"/>
                </a:solidFill>
                <a:latin typeface="Franklin Gothic Book"/>
                <a:ea typeface="新細明體" charset="0"/>
                <a:cs typeface="新細明體" charset="0"/>
              </a:endParaRPr>
            </a:p>
          </p:txBody>
        </p:sp>
        <p:grpSp>
          <p:nvGrpSpPr>
            <p:cNvPr id="182" name="Group 181"/>
            <p:cNvGrpSpPr/>
            <p:nvPr/>
          </p:nvGrpSpPr>
          <p:grpSpPr>
            <a:xfrm>
              <a:off x="7698525" y="1745528"/>
              <a:ext cx="849727" cy="824392"/>
              <a:chOff x="7698513" y="1595602"/>
              <a:chExt cx="849727" cy="824392"/>
            </a:xfrm>
          </p:grpSpPr>
          <p:sp>
            <p:nvSpPr>
              <p:cNvPr id="188" name="Rectangle 187"/>
              <p:cNvSpPr/>
              <p:nvPr/>
            </p:nvSpPr>
            <p:spPr>
              <a:xfrm>
                <a:off x="7698513" y="1595602"/>
                <a:ext cx="849727" cy="352217"/>
              </a:xfrm>
              <a:prstGeom prst="rect">
                <a:avLst/>
              </a:prstGeom>
            </p:spPr>
            <p:txBody>
              <a:bodyPr wrap="square" lIns="0" tIns="0" rIns="0" bIns="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7F7F7F"/>
                    </a:solidFill>
                    <a:effectLst/>
                    <a:uLnTx/>
                    <a:uFillTx/>
                    <a:latin typeface="Franklin Gothic Medium"/>
                  </a:rPr>
                  <a:t>YOUR DNS SERVER</a:t>
                </a:r>
              </a:p>
            </p:txBody>
          </p:sp>
          <p:sp>
            <p:nvSpPr>
              <p:cNvPr id="189" name="Rounded Rectangle 188"/>
              <p:cNvSpPr/>
              <p:nvPr/>
            </p:nvSpPr>
            <p:spPr bwMode="auto">
              <a:xfrm>
                <a:off x="7859612" y="1951011"/>
                <a:ext cx="511047" cy="171387"/>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FFFFFF"/>
                  </a:solidFill>
                  <a:effectLst/>
                  <a:uLnTx/>
                  <a:uFillTx/>
                  <a:latin typeface="Franklin Gothic Book"/>
                  <a:ea typeface="新細明體" charset="0"/>
                  <a:cs typeface="新細明體" charset="0"/>
                </a:endParaRPr>
              </a:p>
            </p:txBody>
          </p:sp>
          <p:sp>
            <p:nvSpPr>
              <p:cNvPr id="190" name="Rounded Rectangle 189"/>
              <p:cNvSpPr/>
              <p:nvPr/>
            </p:nvSpPr>
            <p:spPr bwMode="auto">
              <a:xfrm>
                <a:off x="7856741" y="2151082"/>
                <a:ext cx="511047" cy="171387"/>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FFFFFF"/>
                  </a:solidFill>
                  <a:effectLst/>
                  <a:uLnTx/>
                  <a:uFillTx/>
                  <a:latin typeface="Franklin Gothic Book"/>
                  <a:ea typeface="新細明體" charset="0"/>
                  <a:cs typeface="新細明體" charset="0"/>
                </a:endParaRPr>
              </a:p>
            </p:txBody>
          </p:sp>
          <p:grpSp>
            <p:nvGrpSpPr>
              <p:cNvPr id="191" name="Group 10"/>
              <p:cNvGrpSpPr>
                <a:grpSpLocks noChangeAspect="1"/>
              </p:cNvGrpSpPr>
              <p:nvPr/>
            </p:nvGrpSpPr>
            <p:grpSpPr bwMode="auto">
              <a:xfrm>
                <a:off x="7856741" y="1951011"/>
                <a:ext cx="516789" cy="468983"/>
                <a:chOff x="-1133" y="418"/>
                <a:chExt cx="720" cy="654"/>
              </a:xfrm>
              <a:solidFill>
                <a:srgbClr val="7F7F7F"/>
              </a:solidFill>
            </p:grpSpPr>
            <p:sp>
              <p:nvSpPr>
                <p:cNvPr id="192" name="Freeform 11"/>
                <p:cNvSpPr>
                  <a:spLocks noEditPoints="1"/>
                </p:cNvSpPr>
                <p:nvPr/>
              </p:nvSpPr>
              <p:spPr bwMode="auto">
                <a:xfrm>
                  <a:off x="-1133" y="697"/>
                  <a:ext cx="720" cy="375"/>
                </a:xfrm>
                <a:custGeom>
                  <a:avLst/>
                  <a:gdLst>
                    <a:gd name="T0" fmla="*/ 295 w 305"/>
                    <a:gd name="T1" fmla="*/ 0 h 159"/>
                    <a:gd name="T2" fmla="*/ 10 w 305"/>
                    <a:gd name="T3" fmla="*/ 0 h 159"/>
                    <a:gd name="T4" fmla="*/ 0 w 305"/>
                    <a:gd name="T5" fmla="*/ 11 h 159"/>
                    <a:gd name="T6" fmla="*/ 0 w 305"/>
                    <a:gd name="T7" fmla="*/ 91 h 159"/>
                    <a:gd name="T8" fmla="*/ 10 w 305"/>
                    <a:gd name="T9" fmla="*/ 102 h 159"/>
                    <a:gd name="T10" fmla="*/ 142 w 305"/>
                    <a:gd name="T11" fmla="*/ 102 h 159"/>
                    <a:gd name="T12" fmla="*/ 142 w 305"/>
                    <a:gd name="T13" fmla="*/ 129 h 159"/>
                    <a:gd name="T14" fmla="*/ 136 w 305"/>
                    <a:gd name="T15" fmla="*/ 142 h 159"/>
                    <a:gd name="T16" fmla="*/ 153 w 305"/>
                    <a:gd name="T17" fmla="*/ 159 h 159"/>
                    <a:gd name="T18" fmla="*/ 170 w 305"/>
                    <a:gd name="T19" fmla="*/ 142 h 159"/>
                    <a:gd name="T20" fmla="*/ 163 w 305"/>
                    <a:gd name="T21" fmla="*/ 129 h 159"/>
                    <a:gd name="T22" fmla="*/ 163 w 305"/>
                    <a:gd name="T23" fmla="*/ 102 h 159"/>
                    <a:gd name="T24" fmla="*/ 295 w 305"/>
                    <a:gd name="T25" fmla="*/ 102 h 159"/>
                    <a:gd name="T26" fmla="*/ 305 w 305"/>
                    <a:gd name="T27" fmla="*/ 91 h 159"/>
                    <a:gd name="T28" fmla="*/ 305 w 305"/>
                    <a:gd name="T29" fmla="*/ 11 h 159"/>
                    <a:gd name="T30" fmla="*/ 295 w 305"/>
                    <a:gd name="T31" fmla="*/ 0 h 159"/>
                    <a:gd name="T32" fmla="*/ 284 w 305"/>
                    <a:gd name="T33" fmla="*/ 81 h 159"/>
                    <a:gd name="T34" fmla="*/ 21 w 305"/>
                    <a:gd name="T35" fmla="*/ 81 h 159"/>
                    <a:gd name="T36" fmla="*/ 21 w 305"/>
                    <a:gd name="T37" fmla="*/ 22 h 159"/>
                    <a:gd name="T38" fmla="*/ 284 w 305"/>
                    <a:gd name="T39" fmla="*/ 22 h 159"/>
                    <a:gd name="T40" fmla="*/ 284 w 305"/>
                    <a:gd name="T41" fmla="*/ 8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59">
                      <a:moveTo>
                        <a:pt x="295" y="0"/>
                      </a:moveTo>
                      <a:cubicBezTo>
                        <a:pt x="10" y="0"/>
                        <a:pt x="10" y="0"/>
                        <a:pt x="10" y="0"/>
                      </a:cubicBezTo>
                      <a:cubicBezTo>
                        <a:pt x="4" y="0"/>
                        <a:pt x="0" y="5"/>
                        <a:pt x="0" y="11"/>
                      </a:cubicBezTo>
                      <a:cubicBezTo>
                        <a:pt x="0" y="91"/>
                        <a:pt x="0" y="91"/>
                        <a:pt x="0" y="91"/>
                      </a:cubicBezTo>
                      <a:cubicBezTo>
                        <a:pt x="0" y="97"/>
                        <a:pt x="4" y="102"/>
                        <a:pt x="10" y="102"/>
                      </a:cubicBezTo>
                      <a:cubicBezTo>
                        <a:pt x="142" y="102"/>
                        <a:pt x="142" y="102"/>
                        <a:pt x="142" y="102"/>
                      </a:cubicBezTo>
                      <a:cubicBezTo>
                        <a:pt x="142" y="129"/>
                        <a:pt x="142" y="129"/>
                        <a:pt x="142" y="129"/>
                      </a:cubicBezTo>
                      <a:cubicBezTo>
                        <a:pt x="138" y="132"/>
                        <a:pt x="136" y="137"/>
                        <a:pt x="136" y="142"/>
                      </a:cubicBezTo>
                      <a:cubicBezTo>
                        <a:pt x="136" y="151"/>
                        <a:pt x="143" y="159"/>
                        <a:pt x="153" y="159"/>
                      </a:cubicBezTo>
                      <a:cubicBezTo>
                        <a:pt x="162" y="159"/>
                        <a:pt x="170" y="151"/>
                        <a:pt x="170" y="142"/>
                      </a:cubicBezTo>
                      <a:cubicBezTo>
                        <a:pt x="170" y="137"/>
                        <a:pt x="167" y="132"/>
                        <a:pt x="163" y="129"/>
                      </a:cubicBezTo>
                      <a:cubicBezTo>
                        <a:pt x="163" y="102"/>
                        <a:pt x="163" y="102"/>
                        <a:pt x="163" y="102"/>
                      </a:cubicBezTo>
                      <a:cubicBezTo>
                        <a:pt x="295" y="102"/>
                        <a:pt x="295" y="102"/>
                        <a:pt x="295" y="102"/>
                      </a:cubicBezTo>
                      <a:cubicBezTo>
                        <a:pt x="300" y="102"/>
                        <a:pt x="305" y="97"/>
                        <a:pt x="305" y="91"/>
                      </a:cubicBezTo>
                      <a:cubicBezTo>
                        <a:pt x="305" y="11"/>
                        <a:pt x="305" y="11"/>
                        <a:pt x="305" y="11"/>
                      </a:cubicBezTo>
                      <a:cubicBezTo>
                        <a:pt x="305" y="5"/>
                        <a:pt x="300" y="0"/>
                        <a:pt x="295" y="0"/>
                      </a:cubicBezTo>
                      <a:moveTo>
                        <a:pt x="284" y="81"/>
                      </a:moveTo>
                      <a:cubicBezTo>
                        <a:pt x="21" y="81"/>
                        <a:pt x="21" y="81"/>
                        <a:pt x="21" y="81"/>
                      </a:cubicBezTo>
                      <a:cubicBezTo>
                        <a:pt x="21" y="22"/>
                        <a:pt x="21" y="22"/>
                        <a:pt x="21" y="22"/>
                      </a:cubicBezTo>
                      <a:cubicBezTo>
                        <a:pt x="284" y="22"/>
                        <a:pt x="284" y="22"/>
                        <a:pt x="284" y="22"/>
                      </a:cubicBezTo>
                      <a:lnTo>
                        <a:pt x="28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3" name="Freeform 12"/>
                <p:cNvSpPr>
                  <a:spLocks noEditPoints="1"/>
                </p:cNvSpPr>
                <p:nvPr/>
              </p:nvSpPr>
              <p:spPr bwMode="auto">
                <a:xfrm>
                  <a:off x="-588" y="777"/>
                  <a:ext cx="81" cy="83"/>
                </a:xfrm>
                <a:custGeom>
                  <a:avLst/>
                  <a:gdLst>
                    <a:gd name="T0" fmla="*/ 17 w 34"/>
                    <a:gd name="T1" fmla="*/ 35 h 35"/>
                    <a:gd name="T2" fmla="*/ 34 w 34"/>
                    <a:gd name="T3" fmla="*/ 18 h 35"/>
                    <a:gd name="T4" fmla="*/ 17 w 34"/>
                    <a:gd name="T5" fmla="*/ 0 h 35"/>
                    <a:gd name="T6" fmla="*/ 0 w 34"/>
                    <a:gd name="T7" fmla="*/ 18 h 35"/>
                    <a:gd name="T8" fmla="*/ 17 w 34"/>
                    <a:gd name="T9" fmla="*/ 35 h 35"/>
                    <a:gd name="T10" fmla="*/ 17 w 34"/>
                    <a:gd name="T11" fmla="*/ 13 h 35"/>
                    <a:gd name="T12" fmla="*/ 22 w 34"/>
                    <a:gd name="T13" fmla="*/ 18 h 35"/>
                    <a:gd name="T14" fmla="*/ 17 w 34"/>
                    <a:gd name="T15" fmla="*/ 22 h 35"/>
                    <a:gd name="T16" fmla="*/ 13 w 34"/>
                    <a:gd name="T17" fmla="*/ 18 h 35"/>
                    <a:gd name="T18" fmla="*/ 17 w 34"/>
                    <a:gd name="T1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5">
                      <a:moveTo>
                        <a:pt x="17" y="35"/>
                      </a:moveTo>
                      <a:cubicBezTo>
                        <a:pt x="27" y="35"/>
                        <a:pt x="34" y="27"/>
                        <a:pt x="34" y="18"/>
                      </a:cubicBezTo>
                      <a:cubicBezTo>
                        <a:pt x="34" y="8"/>
                        <a:pt x="27" y="0"/>
                        <a:pt x="17" y="0"/>
                      </a:cubicBezTo>
                      <a:cubicBezTo>
                        <a:pt x="8" y="0"/>
                        <a:pt x="0" y="8"/>
                        <a:pt x="0" y="18"/>
                      </a:cubicBezTo>
                      <a:cubicBezTo>
                        <a:pt x="0" y="27"/>
                        <a:pt x="8" y="35"/>
                        <a:pt x="17" y="35"/>
                      </a:cubicBezTo>
                      <a:moveTo>
                        <a:pt x="17" y="13"/>
                      </a:moveTo>
                      <a:cubicBezTo>
                        <a:pt x="20" y="13"/>
                        <a:pt x="22" y="15"/>
                        <a:pt x="22" y="18"/>
                      </a:cubicBezTo>
                      <a:cubicBezTo>
                        <a:pt x="22" y="20"/>
                        <a:pt x="20" y="22"/>
                        <a:pt x="17" y="22"/>
                      </a:cubicBezTo>
                      <a:cubicBezTo>
                        <a:pt x="15" y="22"/>
                        <a:pt x="13" y="20"/>
                        <a:pt x="13" y="18"/>
                      </a:cubicBezTo>
                      <a:cubicBezTo>
                        <a:pt x="13" y="15"/>
                        <a:pt x="15" y="13"/>
                        <a:pt x="1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4" name="Freeform 13"/>
                <p:cNvSpPr>
                  <a:spLocks noEditPoints="1"/>
                </p:cNvSpPr>
                <p:nvPr/>
              </p:nvSpPr>
              <p:spPr bwMode="auto">
                <a:xfrm>
                  <a:off x="-1133" y="418"/>
                  <a:ext cx="720" cy="239"/>
                </a:xfrm>
                <a:custGeom>
                  <a:avLst/>
                  <a:gdLst>
                    <a:gd name="T0" fmla="*/ 295 w 305"/>
                    <a:gd name="T1" fmla="*/ 0 h 101"/>
                    <a:gd name="T2" fmla="*/ 10 w 305"/>
                    <a:gd name="T3" fmla="*/ 0 h 101"/>
                    <a:gd name="T4" fmla="*/ 0 w 305"/>
                    <a:gd name="T5" fmla="*/ 10 h 101"/>
                    <a:gd name="T6" fmla="*/ 0 w 305"/>
                    <a:gd name="T7" fmla="*/ 91 h 101"/>
                    <a:gd name="T8" fmla="*/ 10 w 305"/>
                    <a:gd name="T9" fmla="*/ 101 h 101"/>
                    <a:gd name="T10" fmla="*/ 295 w 305"/>
                    <a:gd name="T11" fmla="*/ 101 h 101"/>
                    <a:gd name="T12" fmla="*/ 305 w 305"/>
                    <a:gd name="T13" fmla="*/ 91 h 101"/>
                    <a:gd name="T14" fmla="*/ 305 w 305"/>
                    <a:gd name="T15" fmla="*/ 10 h 101"/>
                    <a:gd name="T16" fmla="*/ 295 w 305"/>
                    <a:gd name="T17" fmla="*/ 0 h 101"/>
                    <a:gd name="T18" fmla="*/ 284 w 305"/>
                    <a:gd name="T19" fmla="*/ 80 h 101"/>
                    <a:gd name="T20" fmla="*/ 21 w 305"/>
                    <a:gd name="T21" fmla="*/ 80 h 101"/>
                    <a:gd name="T22" fmla="*/ 21 w 305"/>
                    <a:gd name="T23" fmla="*/ 21 h 101"/>
                    <a:gd name="T24" fmla="*/ 284 w 305"/>
                    <a:gd name="T25" fmla="*/ 21 h 101"/>
                    <a:gd name="T26" fmla="*/ 284 w 305"/>
                    <a:gd name="T27"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101">
                      <a:moveTo>
                        <a:pt x="295" y="0"/>
                      </a:moveTo>
                      <a:cubicBezTo>
                        <a:pt x="10" y="0"/>
                        <a:pt x="10" y="0"/>
                        <a:pt x="10" y="0"/>
                      </a:cubicBezTo>
                      <a:cubicBezTo>
                        <a:pt x="4" y="0"/>
                        <a:pt x="0" y="5"/>
                        <a:pt x="0" y="10"/>
                      </a:cubicBezTo>
                      <a:cubicBezTo>
                        <a:pt x="0" y="91"/>
                        <a:pt x="0" y="91"/>
                        <a:pt x="0" y="91"/>
                      </a:cubicBezTo>
                      <a:cubicBezTo>
                        <a:pt x="0" y="97"/>
                        <a:pt x="4" y="101"/>
                        <a:pt x="10" y="101"/>
                      </a:cubicBezTo>
                      <a:cubicBezTo>
                        <a:pt x="295" y="101"/>
                        <a:pt x="295" y="101"/>
                        <a:pt x="295" y="101"/>
                      </a:cubicBezTo>
                      <a:cubicBezTo>
                        <a:pt x="300" y="101"/>
                        <a:pt x="305" y="97"/>
                        <a:pt x="305" y="91"/>
                      </a:cubicBezTo>
                      <a:cubicBezTo>
                        <a:pt x="305" y="10"/>
                        <a:pt x="305" y="10"/>
                        <a:pt x="305" y="10"/>
                      </a:cubicBezTo>
                      <a:cubicBezTo>
                        <a:pt x="305" y="5"/>
                        <a:pt x="300" y="0"/>
                        <a:pt x="295" y="0"/>
                      </a:cubicBezTo>
                      <a:moveTo>
                        <a:pt x="284" y="80"/>
                      </a:moveTo>
                      <a:cubicBezTo>
                        <a:pt x="21" y="80"/>
                        <a:pt x="21" y="80"/>
                        <a:pt x="21" y="80"/>
                      </a:cubicBezTo>
                      <a:cubicBezTo>
                        <a:pt x="21" y="21"/>
                        <a:pt x="21" y="21"/>
                        <a:pt x="21" y="21"/>
                      </a:cubicBezTo>
                      <a:cubicBezTo>
                        <a:pt x="284" y="21"/>
                        <a:pt x="284" y="21"/>
                        <a:pt x="284" y="21"/>
                      </a:cubicBezTo>
                      <a:lnTo>
                        <a:pt x="28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5" name="Freeform 14"/>
                <p:cNvSpPr>
                  <a:spLocks noEditPoints="1"/>
                </p:cNvSpPr>
                <p:nvPr/>
              </p:nvSpPr>
              <p:spPr bwMode="auto">
                <a:xfrm>
                  <a:off x="-588" y="498"/>
                  <a:ext cx="81" cy="81"/>
                </a:xfrm>
                <a:custGeom>
                  <a:avLst/>
                  <a:gdLst>
                    <a:gd name="T0" fmla="*/ 17 w 34"/>
                    <a:gd name="T1" fmla="*/ 34 h 34"/>
                    <a:gd name="T2" fmla="*/ 34 w 34"/>
                    <a:gd name="T3" fmla="*/ 17 h 34"/>
                    <a:gd name="T4" fmla="*/ 17 w 34"/>
                    <a:gd name="T5" fmla="*/ 0 h 34"/>
                    <a:gd name="T6" fmla="*/ 0 w 34"/>
                    <a:gd name="T7" fmla="*/ 17 h 34"/>
                    <a:gd name="T8" fmla="*/ 17 w 34"/>
                    <a:gd name="T9" fmla="*/ 34 h 34"/>
                    <a:gd name="T10" fmla="*/ 17 w 34"/>
                    <a:gd name="T11" fmla="*/ 13 h 34"/>
                    <a:gd name="T12" fmla="*/ 22 w 34"/>
                    <a:gd name="T13" fmla="*/ 17 h 34"/>
                    <a:gd name="T14" fmla="*/ 17 w 34"/>
                    <a:gd name="T15" fmla="*/ 21 h 34"/>
                    <a:gd name="T16" fmla="*/ 13 w 34"/>
                    <a:gd name="T17" fmla="*/ 17 h 34"/>
                    <a:gd name="T18" fmla="*/ 17 w 34"/>
                    <a:gd name="T19"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27" y="34"/>
                        <a:pt x="34" y="27"/>
                        <a:pt x="34" y="17"/>
                      </a:cubicBezTo>
                      <a:cubicBezTo>
                        <a:pt x="34" y="8"/>
                        <a:pt x="27" y="0"/>
                        <a:pt x="17" y="0"/>
                      </a:cubicBezTo>
                      <a:cubicBezTo>
                        <a:pt x="8" y="0"/>
                        <a:pt x="0" y="8"/>
                        <a:pt x="0" y="17"/>
                      </a:cubicBezTo>
                      <a:cubicBezTo>
                        <a:pt x="0" y="27"/>
                        <a:pt x="8" y="34"/>
                        <a:pt x="17" y="34"/>
                      </a:cubicBezTo>
                      <a:moveTo>
                        <a:pt x="17" y="13"/>
                      </a:moveTo>
                      <a:cubicBezTo>
                        <a:pt x="20" y="13"/>
                        <a:pt x="22" y="15"/>
                        <a:pt x="22" y="17"/>
                      </a:cubicBezTo>
                      <a:cubicBezTo>
                        <a:pt x="22" y="20"/>
                        <a:pt x="20" y="21"/>
                        <a:pt x="17" y="21"/>
                      </a:cubicBezTo>
                      <a:cubicBezTo>
                        <a:pt x="15" y="21"/>
                        <a:pt x="13" y="20"/>
                        <a:pt x="13" y="17"/>
                      </a:cubicBezTo>
                      <a:cubicBezTo>
                        <a:pt x="13" y="15"/>
                        <a:pt x="15" y="13"/>
                        <a:pt x="1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6" name="Freeform 15"/>
                <p:cNvSpPr>
                  <a:spLocks/>
                </p:cNvSpPr>
                <p:nvPr/>
              </p:nvSpPr>
              <p:spPr bwMode="auto">
                <a:xfrm>
                  <a:off x="-529" y="1006"/>
                  <a:ext cx="112" cy="52"/>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7" name="Freeform 16"/>
                <p:cNvSpPr>
                  <a:spLocks/>
                </p:cNvSpPr>
                <p:nvPr/>
              </p:nvSpPr>
              <p:spPr bwMode="auto">
                <a:xfrm>
                  <a:off x="-677" y="1006"/>
                  <a:ext cx="108" cy="52"/>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8" name="Freeform 17"/>
                <p:cNvSpPr>
                  <a:spLocks/>
                </p:cNvSpPr>
                <p:nvPr/>
              </p:nvSpPr>
              <p:spPr bwMode="auto">
                <a:xfrm>
                  <a:off x="-980" y="1006"/>
                  <a:ext cx="111" cy="52"/>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199" name="Freeform 18"/>
                <p:cNvSpPr>
                  <a:spLocks/>
                </p:cNvSpPr>
                <p:nvPr/>
              </p:nvSpPr>
              <p:spPr bwMode="auto">
                <a:xfrm>
                  <a:off x="-1129" y="1006"/>
                  <a:ext cx="109" cy="52"/>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grpSp>
        </p:grpSp>
        <p:sp>
          <p:nvSpPr>
            <p:cNvPr id="183" name="Rounded Rectangle 182"/>
            <p:cNvSpPr/>
            <p:nvPr/>
          </p:nvSpPr>
          <p:spPr bwMode="auto">
            <a:xfrm>
              <a:off x="7627207" y="4155116"/>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ny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Runn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pp</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nvGrpSpPr>
            <p:cNvPr id="184" name="Group 183"/>
            <p:cNvGrpSpPr/>
            <p:nvPr/>
          </p:nvGrpSpPr>
          <p:grpSpPr>
            <a:xfrm>
              <a:off x="6172455" y="1770190"/>
              <a:ext cx="1347548" cy="770854"/>
              <a:chOff x="547242" y="1793442"/>
              <a:chExt cx="1347548" cy="770854"/>
            </a:xfrm>
          </p:grpSpPr>
          <p:sp>
            <p:nvSpPr>
              <p:cNvPr id="185"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AC9A6"/>
              </a:solidFill>
              <a:ln w="38100" cap="flat" cmpd="sng" algn="ctr">
                <a:solidFill>
                  <a:srgbClr val="F37821">
                    <a:lumMod val="40000"/>
                    <a:lumOff val="6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186" name="TextBox 185"/>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187" name="Picture 186"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grpSp>
      <p:grpSp>
        <p:nvGrpSpPr>
          <p:cNvPr id="204" name="Group 203"/>
          <p:cNvGrpSpPr/>
          <p:nvPr/>
        </p:nvGrpSpPr>
        <p:grpSpPr>
          <a:xfrm>
            <a:off x="3373887" y="1744499"/>
            <a:ext cx="2430246" cy="3251625"/>
            <a:chOff x="3373887" y="1746111"/>
            <a:chExt cx="2430246" cy="3254636"/>
          </a:xfrm>
        </p:grpSpPr>
        <p:sp>
          <p:nvSpPr>
            <p:cNvPr id="205" name="Rounded Rectangle 204"/>
            <p:cNvSpPr/>
            <p:nvPr/>
          </p:nvSpPr>
          <p:spPr bwMode="auto">
            <a:xfrm>
              <a:off x="3373887" y="3003282"/>
              <a:ext cx="2430246" cy="1997465"/>
            </a:xfrm>
            <a:prstGeom prst="roundRect">
              <a:avLst>
                <a:gd name="adj" fmla="val 6487"/>
              </a:avLst>
            </a:prstGeom>
            <a:solidFill>
              <a:srgbClr val="FFFFFF"/>
            </a:solidFill>
            <a:ln w="9525" cap="flat" cmpd="sng" algn="ctr">
              <a:solidFill>
                <a:srgbClr val="FFFFFF">
                  <a:lumMod val="75000"/>
                </a:srgb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2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206" name="Rounded Rectangle 205"/>
            <p:cNvSpPr/>
            <p:nvPr/>
          </p:nvSpPr>
          <p:spPr bwMode="auto">
            <a:xfrm>
              <a:off x="3452229" y="3071273"/>
              <a:ext cx="888802" cy="770854"/>
            </a:xfrm>
            <a:prstGeom prst="roundRect">
              <a:avLst/>
            </a:prstGeom>
            <a:solidFill>
              <a:srgbClr val="F37821"/>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OpenDN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Roaming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Client</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225" name="Rounded Rectangle 224"/>
            <p:cNvSpPr/>
            <p:nvPr/>
          </p:nvSpPr>
          <p:spPr bwMode="auto">
            <a:xfrm>
              <a:off x="4833575" y="3071273"/>
              <a:ext cx="888802" cy="770854"/>
            </a:xfrm>
            <a:prstGeom prst="roundRect">
              <a:avLst/>
            </a:prstGeom>
            <a:solidFill>
              <a:srgbClr val="7F7F7F">
                <a:lumMod val="40000"/>
                <a:lumOff val="60000"/>
              </a:srgbClr>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Built</a:t>
              </a:r>
              <a:r>
                <a:rPr kumimoji="0" lang="en-US" sz="1050" b="0" i="0" u="none" strike="noStrike" kern="0" cap="none" spc="0" normalizeH="0" baseline="0" noProof="0" dirty="0">
                  <a:ln>
                    <a:noFill/>
                  </a:ln>
                  <a:solidFill>
                    <a:srgbClr val="FFFFFF"/>
                  </a:solidFill>
                  <a:effectLst/>
                  <a:uLnTx/>
                  <a:uFillTx/>
                  <a:latin typeface="Franklin Gothic Book"/>
                  <a:ea typeface="新細明體" charset="0"/>
                  <a:cs typeface="Franklin Gothic Book"/>
                </a:rPr>
                <a:t>-in </a:t>
              </a: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OS </a:t>
              </a: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Operational</a:t>
              </a:r>
              <a:r>
                <a:rPr kumimoji="0" lang="en-US" sz="1050" b="0" i="0" u="none" strike="noStrike" kern="0" cap="none" spc="0" normalizeH="0" noProof="0" dirty="0" smtClean="0">
                  <a:ln>
                    <a:noFill/>
                  </a:ln>
                  <a:solidFill>
                    <a:srgbClr val="FFFFFF"/>
                  </a:solidFill>
                  <a:effectLst/>
                  <a:uLnTx/>
                  <a:uFillTx/>
                  <a:latin typeface="Franklin Gothic Book"/>
                  <a:ea typeface="新細明體" charset="0"/>
                  <a:cs typeface="新細明體" charset="0"/>
                </a:rPr>
                <a:t> Parameters</a:t>
              </a:r>
              <a:endParaRPr kumimoji="0" lang="en-US" sz="6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sp>
          <p:nvSpPr>
            <p:cNvPr id="208" name="Rounded Rectangle 207"/>
            <p:cNvSpPr/>
            <p:nvPr/>
          </p:nvSpPr>
          <p:spPr bwMode="auto">
            <a:xfrm>
              <a:off x="4833575" y="4155116"/>
              <a:ext cx="888802" cy="770854"/>
            </a:xfrm>
            <a:prstGeom prst="roundRect">
              <a:avLst/>
            </a:prstGeom>
            <a:solidFill>
              <a:srgbClr val="7F7F7F"/>
            </a:solid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n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Runn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Book"/>
                  <a:ea typeface="新細明體" charset="0"/>
                  <a:cs typeface="Franklin Gothic Book"/>
                </a:rPr>
                <a:t>App</a:t>
              </a:r>
              <a:endParaRPr kumimoji="1" lang="en-US" sz="105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nvGrpSpPr>
            <p:cNvPr id="209" name="Group 208"/>
            <p:cNvGrpSpPr/>
            <p:nvPr/>
          </p:nvGrpSpPr>
          <p:grpSpPr>
            <a:xfrm>
              <a:off x="3373887" y="1770190"/>
              <a:ext cx="1347548" cy="770854"/>
              <a:chOff x="547242" y="1793442"/>
              <a:chExt cx="1347548" cy="770854"/>
            </a:xfrm>
          </p:grpSpPr>
          <p:sp>
            <p:nvSpPr>
              <p:cNvPr id="222" name="Snip Diagonal Corner Rectangle 3"/>
              <p:cNvSpPr>
                <a:spLocks noChangeAspect="1"/>
              </p:cNvSpPr>
              <p:nvPr/>
            </p:nvSpPr>
            <p:spPr>
              <a:xfrm>
                <a:off x="547242" y="1793442"/>
                <a:ext cx="1347548" cy="770854"/>
              </a:xfrm>
              <a:custGeom>
                <a:avLst/>
                <a:gdLst>
                  <a:gd name="connsiteX0" fmla="*/ 548430 w 4830306"/>
                  <a:gd name="connsiteY0" fmla="*/ 0 h 3125490"/>
                  <a:gd name="connsiteX1" fmla="*/ 4309381 w 4830306"/>
                  <a:gd name="connsiteY1" fmla="*/ 0 h 3125490"/>
                  <a:gd name="connsiteX2" fmla="*/ 4830306 w 4830306"/>
                  <a:gd name="connsiteY2" fmla="*/ 520925 h 3125490"/>
                  <a:gd name="connsiteX3" fmla="*/ 4830306 w 4830306"/>
                  <a:gd name="connsiteY3" fmla="*/ 2577060 h 3125490"/>
                  <a:gd name="connsiteX4" fmla="*/ 4281876 w 4830306"/>
                  <a:gd name="connsiteY4" fmla="*/ 3125490 h 3125490"/>
                  <a:gd name="connsiteX5" fmla="*/ 520925 w 4830306"/>
                  <a:gd name="connsiteY5" fmla="*/ 3125490 h 3125490"/>
                  <a:gd name="connsiteX6" fmla="*/ 0 w 4830306"/>
                  <a:gd name="connsiteY6" fmla="*/ 2604565 h 3125490"/>
                  <a:gd name="connsiteX7" fmla="*/ 0 w 4830306"/>
                  <a:gd name="connsiteY7" fmla="*/ 548430 h 3125490"/>
                  <a:gd name="connsiteX8" fmla="*/ 548430 w 4830306"/>
                  <a:gd name="connsiteY8" fmla="*/ 0 h 3125490"/>
                  <a:gd name="connsiteX0" fmla="*/ 548430 w 4830306"/>
                  <a:gd name="connsiteY0" fmla="*/ 0 h 3192335"/>
                  <a:gd name="connsiteX1" fmla="*/ 4309381 w 4830306"/>
                  <a:gd name="connsiteY1" fmla="*/ 0 h 3192335"/>
                  <a:gd name="connsiteX2" fmla="*/ 4830306 w 4830306"/>
                  <a:gd name="connsiteY2" fmla="*/ 520925 h 3192335"/>
                  <a:gd name="connsiteX3" fmla="*/ 4830306 w 4830306"/>
                  <a:gd name="connsiteY3" fmla="*/ 2577060 h 3192335"/>
                  <a:gd name="connsiteX4" fmla="*/ 4281876 w 4830306"/>
                  <a:gd name="connsiteY4" fmla="*/ 3125490 h 3192335"/>
                  <a:gd name="connsiteX5" fmla="*/ 520925 w 4830306"/>
                  <a:gd name="connsiteY5" fmla="*/ 3125490 h 3192335"/>
                  <a:gd name="connsiteX6" fmla="*/ 0 w 4830306"/>
                  <a:gd name="connsiteY6" fmla="*/ 2604565 h 3192335"/>
                  <a:gd name="connsiteX7" fmla="*/ 0 w 4830306"/>
                  <a:gd name="connsiteY7" fmla="*/ 548430 h 3192335"/>
                  <a:gd name="connsiteX8" fmla="*/ 548430 w 4830306"/>
                  <a:gd name="connsiteY8" fmla="*/ 0 h 3192335"/>
                  <a:gd name="connsiteX0" fmla="*/ 576675 w 4858551"/>
                  <a:gd name="connsiteY0" fmla="*/ 0 h 3164267"/>
                  <a:gd name="connsiteX1" fmla="*/ 4337626 w 4858551"/>
                  <a:gd name="connsiteY1" fmla="*/ 0 h 3164267"/>
                  <a:gd name="connsiteX2" fmla="*/ 4858551 w 4858551"/>
                  <a:gd name="connsiteY2" fmla="*/ 520925 h 3164267"/>
                  <a:gd name="connsiteX3" fmla="*/ 4858551 w 4858551"/>
                  <a:gd name="connsiteY3" fmla="*/ 2577060 h 3164267"/>
                  <a:gd name="connsiteX4" fmla="*/ 4310121 w 4858551"/>
                  <a:gd name="connsiteY4" fmla="*/ 3125490 h 3164267"/>
                  <a:gd name="connsiteX5" fmla="*/ 549170 w 4858551"/>
                  <a:gd name="connsiteY5" fmla="*/ 3125490 h 3164267"/>
                  <a:gd name="connsiteX6" fmla="*/ 28245 w 4858551"/>
                  <a:gd name="connsiteY6" fmla="*/ 2604565 h 3164267"/>
                  <a:gd name="connsiteX7" fmla="*/ 28245 w 4858551"/>
                  <a:gd name="connsiteY7" fmla="*/ 548430 h 3164267"/>
                  <a:gd name="connsiteX8" fmla="*/ 576675 w 4858551"/>
                  <a:gd name="connsiteY8" fmla="*/ 0 h 3164267"/>
                  <a:gd name="connsiteX0" fmla="*/ 576675 w 4858551"/>
                  <a:gd name="connsiteY0" fmla="*/ 0 h 3164549"/>
                  <a:gd name="connsiteX1" fmla="*/ 4337626 w 4858551"/>
                  <a:gd name="connsiteY1" fmla="*/ 0 h 3164549"/>
                  <a:gd name="connsiteX2" fmla="*/ 4858551 w 4858551"/>
                  <a:gd name="connsiteY2" fmla="*/ 520925 h 3164549"/>
                  <a:gd name="connsiteX3" fmla="*/ 4858551 w 4858551"/>
                  <a:gd name="connsiteY3" fmla="*/ 2577060 h 3164549"/>
                  <a:gd name="connsiteX4" fmla="*/ 4310121 w 4858551"/>
                  <a:gd name="connsiteY4" fmla="*/ 3125490 h 3164549"/>
                  <a:gd name="connsiteX5" fmla="*/ 549170 w 4858551"/>
                  <a:gd name="connsiteY5" fmla="*/ 3125490 h 3164549"/>
                  <a:gd name="connsiteX6" fmla="*/ 28245 w 4858551"/>
                  <a:gd name="connsiteY6" fmla="*/ 2604565 h 3164549"/>
                  <a:gd name="connsiteX7" fmla="*/ 28245 w 4858551"/>
                  <a:gd name="connsiteY7" fmla="*/ 548430 h 3164549"/>
                  <a:gd name="connsiteX8" fmla="*/ 576675 w 4858551"/>
                  <a:gd name="connsiteY8" fmla="*/ 0 h 3164549"/>
                  <a:gd name="connsiteX0" fmla="*/ 576675 w 4858551"/>
                  <a:gd name="connsiteY0" fmla="*/ 0 h 3166114"/>
                  <a:gd name="connsiteX1" fmla="*/ 4337626 w 4858551"/>
                  <a:gd name="connsiteY1" fmla="*/ 0 h 3166114"/>
                  <a:gd name="connsiteX2" fmla="*/ 4858551 w 4858551"/>
                  <a:gd name="connsiteY2" fmla="*/ 520925 h 3166114"/>
                  <a:gd name="connsiteX3" fmla="*/ 4858551 w 4858551"/>
                  <a:gd name="connsiteY3" fmla="*/ 2577060 h 3166114"/>
                  <a:gd name="connsiteX4" fmla="*/ 4310121 w 4858551"/>
                  <a:gd name="connsiteY4" fmla="*/ 3125490 h 3166114"/>
                  <a:gd name="connsiteX5" fmla="*/ 549170 w 4858551"/>
                  <a:gd name="connsiteY5" fmla="*/ 3125490 h 3166114"/>
                  <a:gd name="connsiteX6" fmla="*/ 28245 w 4858551"/>
                  <a:gd name="connsiteY6" fmla="*/ 2604565 h 3166114"/>
                  <a:gd name="connsiteX7" fmla="*/ 28245 w 4858551"/>
                  <a:gd name="connsiteY7" fmla="*/ 548430 h 3166114"/>
                  <a:gd name="connsiteX8" fmla="*/ 576675 w 4858551"/>
                  <a:gd name="connsiteY8" fmla="*/ 0 h 3166114"/>
                  <a:gd name="connsiteX0" fmla="*/ 548430 w 4830306"/>
                  <a:gd name="connsiteY0" fmla="*/ 0 h 3166114"/>
                  <a:gd name="connsiteX1" fmla="*/ 4309381 w 4830306"/>
                  <a:gd name="connsiteY1" fmla="*/ 0 h 3166114"/>
                  <a:gd name="connsiteX2" fmla="*/ 4830306 w 4830306"/>
                  <a:gd name="connsiteY2" fmla="*/ 520925 h 3166114"/>
                  <a:gd name="connsiteX3" fmla="*/ 4830306 w 4830306"/>
                  <a:gd name="connsiteY3" fmla="*/ 2577060 h 3166114"/>
                  <a:gd name="connsiteX4" fmla="*/ 4281876 w 4830306"/>
                  <a:gd name="connsiteY4" fmla="*/ 3125490 h 3166114"/>
                  <a:gd name="connsiteX5" fmla="*/ 520925 w 4830306"/>
                  <a:gd name="connsiteY5" fmla="*/ 3125490 h 3166114"/>
                  <a:gd name="connsiteX6" fmla="*/ 0 w 4830306"/>
                  <a:gd name="connsiteY6" fmla="*/ 2604565 h 3166114"/>
                  <a:gd name="connsiteX7" fmla="*/ 0 w 4830306"/>
                  <a:gd name="connsiteY7" fmla="*/ 548430 h 3166114"/>
                  <a:gd name="connsiteX8" fmla="*/ 548430 w 4830306"/>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535607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14682 w 4844988"/>
                  <a:gd name="connsiteY7" fmla="*/ 548430 h 3166114"/>
                  <a:gd name="connsiteX8" fmla="*/ 563112 w 4844988"/>
                  <a:gd name="connsiteY8" fmla="*/ 0 h 3166114"/>
                  <a:gd name="connsiteX0" fmla="*/ 563112 w 4844988"/>
                  <a:gd name="connsiteY0" fmla="*/ 0 h 3166114"/>
                  <a:gd name="connsiteX1" fmla="*/ 4324063 w 4844988"/>
                  <a:gd name="connsiteY1" fmla="*/ 0 h 3166114"/>
                  <a:gd name="connsiteX2" fmla="*/ 4844988 w 4844988"/>
                  <a:gd name="connsiteY2" fmla="*/ 520925 h 3166114"/>
                  <a:gd name="connsiteX3" fmla="*/ 4844988 w 4844988"/>
                  <a:gd name="connsiteY3" fmla="*/ 2577060 h 3166114"/>
                  <a:gd name="connsiteX4" fmla="*/ 4296558 w 4844988"/>
                  <a:gd name="connsiteY4" fmla="*/ 3125490 h 3166114"/>
                  <a:gd name="connsiteX5" fmla="*/ 1034788 w 4844988"/>
                  <a:gd name="connsiteY5" fmla="*/ 3125490 h 3166114"/>
                  <a:gd name="connsiteX6" fmla="*/ 0 w 4844988"/>
                  <a:gd name="connsiteY6" fmla="*/ 2193489 h 3166114"/>
                  <a:gd name="connsiteX7" fmla="*/ 851544 w 4844988"/>
                  <a:gd name="connsiteY7" fmla="*/ 1385264 h 3166114"/>
                  <a:gd name="connsiteX8" fmla="*/ 563112 w 4844988"/>
                  <a:gd name="connsiteY8" fmla="*/ 0 h 3166114"/>
                  <a:gd name="connsiteX0" fmla="*/ 1899155 w 4844988"/>
                  <a:gd name="connsiteY0" fmla="*/ 0 h 3173454"/>
                  <a:gd name="connsiteX1" fmla="*/ 4324063 w 4844988"/>
                  <a:gd name="connsiteY1" fmla="*/ 7340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4844988 w 4844988"/>
                  <a:gd name="connsiteY2" fmla="*/ 528265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844988 w 4844988"/>
                  <a:gd name="connsiteY3" fmla="*/ 2584400 h 3173454"/>
                  <a:gd name="connsiteX4" fmla="*/ 4296558 w 4844988"/>
                  <a:gd name="connsiteY4" fmla="*/ 3132830 h 3173454"/>
                  <a:gd name="connsiteX5" fmla="*/ 1034788 w 4844988"/>
                  <a:gd name="connsiteY5" fmla="*/ 3132830 h 3173454"/>
                  <a:gd name="connsiteX6" fmla="*/ 0 w 4844988"/>
                  <a:gd name="connsiteY6" fmla="*/ 2200829 h 3173454"/>
                  <a:gd name="connsiteX7" fmla="*/ 851544 w 4844988"/>
                  <a:gd name="connsiteY7" fmla="*/ 1392604 h 3173454"/>
                  <a:gd name="connsiteX8" fmla="*/ 1899155 w 4844988"/>
                  <a:gd name="connsiteY8"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4015467 w 4844988"/>
                  <a:gd name="connsiteY3" fmla="*/ 118588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2584400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4296558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73454"/>
                  <a:gd name="connsiteX1" fmla="*/ 2731090 w 4844988"/>
                  <a:gd name="connsiteY1" fmla="*/ 418416 h 3173454"/>
                  <a:gd name="connsiteX2" fmla="*/ 3538309 w 4844988"/>
                  <a:gd name="connsiteY2" fmla="*/ 396134 h 3173454"/>
                  <a:gd name="connsiteX3" fmla="*/ 3861308 w 4844988"/>
                  <a:gd name="connsiteY3" fmla="*/ 958323 h 3173454"/>
                  <a:gd name="connsiteX4" fmla="*/ 4844988 w 4844988"/>
                  <a:gd name="connsiteY4" fmla="*/ 1975126 h 3173454"/>
                  <a:gd name="connsiteX5" fmla="*/ 3834082 w 4844988"/>
                  <a:gd name="connsiteY5" fmla="*/ 3132830 h 3173454"/>
                  <a:gd name="connsiteX6" fmla="*/ 1034788 w 4844988"/>
                  <a:gd name="connsiteY6" fmla="*/ 3132830 h 3173454"/>
                  <a:gd name="connsiteX7" fmla="*/ 0 w 4844988"/>
                  <a:gd name="connsiteY7" fmla="*/ 2200829 h 3173454"/>
                  <a:gd name="connsiteX8" fmla="*/ 851544 w 4844988"/>
                  <a:gd name="connsiteY8" fmla="*/ 1392604 h 3173454"/>
                  <a:gd name="connsiteX9" fmla="*/ 1899155 w 4844988"/>
                  <a:gd name="connsiteY9" fmla="*/ 0 h 3173454"/>
                  <a:gd name="connsiteX0" fmla="*/ 1899155 w 4844988"/>
                  <a:gd name="connsiteY0" fmla="*/ 0 h 3132937"/>
                  <a:gd name="connsiteX1" fmla="*/ 2731090 w 4844988"/>
                  <a:gd name="connsiteY1" fmla="*/ 418416 h 3132937"/>
                  <a:gd name="connsiteX2" fmla="*/ 3538309 w 4844988"/>
                  <a:gd name="connsiteY2" fmla="*/ 396134 h 3132937"/>
                  <a:gd name="connsiteX3" fmla="*/ 3861308 w 4844988"/>
                  <a:gd name="connsiteY3" fmla="*/ 958323 h 3132937"/>
                  <a:gd name="connsiteX4" fmla="*/ 4844988 w 4844988"/>
                  <a:gd name="connsiteY4" fmla="*/ 1975126 h 3132937"/>
                  <a:gd name="connsiteX5" fmla="*/ 3834082 w 4844988"/>
                  <a:gd name="connsiteY5" fmla="*/ 3132830 h 3132937"/>
                  <a:gd name="connsiteX6" fmla="*/ 1034788 w 4844988"/>
                  <a:gd name="connsiteY6" fmla="*/ 3132830 h 3132937"/>
                  <a:gd name="connsiteX7" fmla="*/ 0 w 4844988"/>
                  <a:gd name="connsiteY7" fmla="*/ 2200829 h 3132937"/>
                  <a:gd name="connsiteX8" fmla="*/ 851544 w 4844988"/>
                  <a:gd name="connsiteY8" fmla="*/ 1392604 h 3132937"/>
                  <a:gd name="connsiteX9" fmla="*/ 1899155 w 4844988"/>
                  <a:gd name="connsiteY9" fmla="*/ 0 h 3132937"/>
                  <a:gd name="connsiteX0" fmla="*/ 1899155 w 4844988"/>
                  <a:gd name="connsiteY0" fmla="*/ 0 h 3133189"/>
                  <a:gd name="connsiteX1" fmla="*/ 2731090 w 4844988"/>
                  <a:gd name="connsiteY1" fmla="*/ 418416 h 3133189"/>
                  <a:gd name="connsiteX2" fmla="*/ 3538309 w 4844988"/>
                  <a:gd name="connsiteY2" fmla="*/ 396134 h 3133189"/>
                  <a:gd name="connsiteX3" fmla="*/ 3861308 w 4844988"/>
                  <a:gd name="connsiteY3" fmla="*/ 958323 h 3133189"/>
                  <a:gd name="connsiteX4" fmla="*/ 4844988 w 4844988"/>
                  <a:gd name="connsiteY4" fmla="*/ 1975126 h 3133189"/>
                  <a:gd name="connsiteX5" fmla="*/ 3834082 w 4844988"/>
                  <a:gd name="connsiteY5" fmla="*/ 3132830 h 3133189"/>
                  <a:gd name="connsiteX6" fmla="*/ 1034788 w 4844988"/>
                  <a:gd name="connsiteY6" fmla="*/ 3132830 h 3133189"/>
                  <a:gd name="connsiteX7" fmla="*/ 0 w 4844988"/>
                  <a:gd name="connsiteY7" fmla="*/ 2200829 h 3133189"/>
                  <a:gd name="connsiteX8" fmla="*/ 851544 w 4844988"/>
                  <a:gd name="connsiteY8" fmla="*/ 1392604 h 3133189"/>
                  <a:gd name="connsiteX9" fmla="*/ 1899155 w 4844988"/>
                  <a:gd name="connsiteY9" fmla="*/ 0 h 3133189"/>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4988"/>
                  <a:gd name="connsiteY0" fmla="*/ 0 h 3133266"/>
                  <a:gd name="connsiteX1" fmla="*/ 2731090 w 4844988"/>
                  <a:gd name="connsiteY1" fmla="*/ 418416 h 3133266"/>
                  <a:gd name="connsiteX2" fmla="*/ 3538309 w 4844988"/>
                  <a:gd name="connsiteY2" fmla="*/ 396134 h 3133266"/>
                  <a:gd name="connsiteX3" fmla="*/ 3861308 w 4844988"/>
                  <a:gd name="connsiteY3" fmla="*/ 958323 h 3133266"/>
                  <a:gd name="connsiteX4" fmla="*/ 4844988 w 4844988"/>
                  <a:gd name="connsiteY4" fmla="*/ 1975126 h 3133266"/>
                  <a:gd name="connsiteX5" fmla="*/ 3834082 w 4844988"/>
                  <a:gd name="connsiteY5" fmla="*/ 3132830 h 3133266"/>
                  <a:gd name="connsiteX6" fmla="*/ 1034788 w 4844988"/>
                  <a:gd name="connsiteY6" fmla="*/ 3132830 h 3133266"/>
                  <a:gd name="connsiteX7" fmla="*/ 0 w 4844988"/>
                  <a:gd name="connsiteY7" fmla="*/ 2200829 h 3133266"/>
                  <a:gd name="connsiteX8" fmla="*/ 851544 w 4844988"/>
                  <a:gd name="connsiteY8" fmla="*/ 1392604 h 3133266"/>
                  <a:gd name="connsiteX9" fmla="*/ 1899155 w 4844988"/>
                  <a:gd name="connsiteY9" fmla="*/ 0 h 3133266"/>
                  <a:gd name="connsiteX0" fmla="*/ 1899155 w 4845058"/>
                  <a:gd name="connsiteY0" fmla="*/ 0 h 3133266"/>
                  <a:gd name="connsiteX1" fmla="*/ 2731090 w 4845058"/>
                  <a:gd name="connsiteY1" fmla="*/ 418416 h 3133266"/>
                  <a:gd name="connsiteX2" fmla="*/ 3538309 w 4845058"/>
                  <a:gd name="connsiteY2" fmla="*/ 396134 h 3133266"/>
                  <a:gd name="connsiteX3" fmla="*/ 3861308 w 4845058"/>
                  <a:gd name="connsiteY3" fmla="*/ 958323 h 3133266"/>
                  <a:gd name="connsiteX4" fmla="*/ 4844988 w 4845058"/>
                  <a:gd name="connsiteY4" fmla="*/ 1975126 h 3133266"/>
                  <a:gd name="connsiteX5" fmla="*/ 3834082 w 4845058"/>
                  <a:gd name="connsiteY5" fmla="*/ 3132830 h 3133266"/>
                  <a:gd name="connsiteX6" fmla="*/ 1034788 w 4845058"/>
                  <a:gd name="connsiteY6" fmla="*/ 3132830 h 3133266"/>
                  <a:gd name="connsiteX7" fmla="*/ 0 w 4845058"/>
                  <a:gd name="connsiteY7" fmla="*/ 2200829 h 3133266"/>
                  <a:gd name="connsiteX8" fmla="*/ 851544 w 4845058"/>
                  <a:gd name="connsiteY8" fmla="*/ 1392604 h 3133266"/>
                  <a:gd name="connsiteX9" fmla="*/ 1899155 w 4845058"/>
                  <a:gd name="connsiteY9" fmla="*/ 0 h 3133266"/>
                  <a:gd name="connsiteX0" fmla="*/ 1899155 w 4845043"/>
                  <a:gd name="connsiteY0" fmla="*/ 0 h 3133266"/>
                  <a:gd name="connsiteX1" fmla="*/ 2731090 w 4845043"/>
                  <a:gd name="connsiteY1" fmla="*/ 418416 h 3133266"/>
                  <a:gd name="connsiteX2" fmla="*/ 3538309 w 4845043"/>
                  <a:gd name="connsiteY2" fmla="*/ 396134 h 3133266"/>
                  <a:gd name="connsiteX3" fmla="*/ 3861308 w 4845043"/>
                  <a:gd name="connsiteY3" fmla="*/ 958323 h 3133266"/>
                  <a:gd name="connsiteX4" fmla="*/ 4844988 w 4845043"/>
                  <a:gd name="connsiteY4" fmla="*/ 1975126 h 3133266"/>
                  <a:gd name="connsiteX5" fmla="*/ 3834082 w 4845043"/>
                  <a:gd name="connsiteY5" fmla="*/ 3132830 h 3133266"/>
                  <a:gd name="connsiteX6" fmla="*/ 1034788 w 4845043"/>
                  <a:gd name="connsiteY6" fmla="*/ 3132830 h 3133266"/>
                  <a:gd name="connsiteX7" fmla="*/ 0 w 4845043"/>
                  <a:gd name="connsiteY7" fmla="*/ 2200829 h 3133266"/>
                  <a:gd name="connsiteX8" fmla="*/ 851544 w 4845043"/>
                  <a:gd name="connsiteY8" fmla="*/ 1392604 h 3133266"/>
                  <a:gd name="connsiteX9" fmla="*/ 1899155 w 484504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1308 w 4847123"/>
                  <a:gd name="connsiteY3" fmla="*/ 958323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155 w 4847123"/>
                  <a:gd name="connsiteY0" fmla="*/ 0 h 3133266"/>
                  <a:gd name="connsiteX1" fmla="*/ 2731090 w 4847123"/>
                  <a:gd name="connsiteY1" fmla="*/ 418416 h 3133266"/>
                  <a:gd name="connsiteX2" fmla="*/ 3538309 w 4847123"/>
                  <a:gd name="connsiteY2" fmla="*/ 396134 h 3133266"/>
                  <a:gd name="connsiteX3" fmla="*/ 3868649 w 4847123"/>
                  <a:gd name="connsiteY3" fmla="*/ 973005 h 3133266"/>
                  <a:gd name="connsiteX4" fmla="*/ 4844988 w 4847123"/>
                  <a:gd name="connsiteY4" fmla="*/ 1975126 h 3133266"/>
                  <a:gd name="connsiteX5" fmla="*/ 3834082 w 4847123"/>
                  <a:gd name="connsiteY5" fmla="*/ 3132830 h 3133266"/>
                  <a:gd name="connsiteX6" fmla="*/ 1034788 w 4847123"/>
                  <a:gd name="connsiteY6" fmla="*/ 3132830 h 3133266"/>
                  <a:gd name="connsiteX7" fmla="*/ 0 w 4847123"/>
                  <a:gd name="connsiteY7" fmla="*/ 2200829 h 3133266"/>
                  <a:gd name="connsiteX8" fmla="*/ 851544 w 4847123"/>
                  <a:gd name="connsiteY8" fmla="*/ 1392604 h 3133266"/>
                  <a:gd name="connsiteX9" fmla="*/ 1899155 w 4847123"/>
                  <a:gd name="connsiteY9" fmla="*/ 0 h 3133266"/>
                  <a:gd name="connsiteX0" fmla="*/ 1899907 w 4847875"/>
                  <a:gd name="connsiteY0" fmla="*/ 0 h 3133108"/>
                  <a:gd name="connsiteX1" fmla="*/ 2731842 w 4847875"/>
                  <a:gd name="connsiteY1" fmla="*/ 418416 h 3133108"/>
                  <a:gd name="connsiteX2" fmla="*/ 3539061 w 4847875"/>
                  <a:gd name="connsiteY2" fmla="*/ 396134 h 3133108"/>
                  <a:gd name="connsiteX3" fmla="*/ 3869401 w 4847875"/>
                  <a:gd name="connsiteY3" fmla="*/ 973005 h 3133108"/>
                  <a:gd name="connsiteX4" fmla="*/ 4845740 w 4847875"/>
                  <a:gd name="connsiteY4" fmla="*/ 1975126 h 3133108"/>
                  <a:gd name="connsiteX5" fmla="*/ 3834834 w 4847875"/>
                  <a:gd name="connsiteY5" fmla="*/ 3132830 h 3133108"/>
                  <a:gd name="connsiteX6" fmla="*/ 1035540 w 4847875"/>
                  <a:gd name="connsiteY6" fmla="*/ 3132830 h 3133108"/>
                  <a:gd name="connsiteX7" fmla="*/ 752 w 4847875"/>
                  <a:gd name="connsiteY7" fmla="*/ 2200829 h 3133108"/>
                  <a:gd name="connsiteX8" fmla="*/ 852296 w 4847875"/>
                  <a:gd name="connsiteY8" fmla="*/ 1392604 h 3133108"/>
                  <a:gd name="connsiteX9" fmla="*/ 1899907 w 4847875"/>
                  <a:gd name="connsiteY9" fmla="*/ 0 h 3133108"/>
                  <a:gd name="connsiteX0" fmla="*/ 1899832 w 4847800"/>
                  <a:gd name="connsiteY0" fmla="*/ 0 h 3140212"/>
                  <a:gd name="connsiteX1" fmla="*/ 2731767 w 4847800"/>
                  <a:gd name="connsiteY1" fmla="*/ 418416 h 3140212"/>
                  <a:gd name="connsiteX2" fmla="*/ 3538986 w 4847800"/>
                  <a:gd name="connsiteY2" fmla="*/ 396134 h 3140212"/>
                  <a:gd name="connsiteX3" fmla="*/ 3869326 w 4847800"/>
                  <a:gd name="connsiteY3" fmla="*/ 973005 h 3140212"/>
                  <a:gd name="connsiteX4" fmla="*/ 4845665 w 4847800"/>
                  <a:gd name="connsiteY4" fmla="*/ 1975126 h 3140212"/>
                  <a:gd name="connsiteX5" fmla="*/ 3834759 w 4847800"/>
                  <a:gd name="connsiteY5" fmla="*/ 3132830 h 3140212"/>
                  <a:gd name="connsiteX6" fmla="*/ 1035465 w 4847800"/>
                  <a:gd name="connsiteY6" fmla="*/ 3132830 h 3140212"/>
                  <a:gd name="connsiteX7" fmla="*/ 677 w 4847800"/>
                  <a:gd name="connsiteY7" fmla="*/ 2200829 h 3140212"/>
                  <a:gd name="connsiteX8" fmla="*/ 852221 w 4847800"/>
                  <a:gd name="connsiteY8" fmla="*/ 1392604 h 3140212"/>
                  <a:gd name="connsiteX9" fmla="*/ 1899832 w 4847800"/>
                  <a:gd name="connsiteY9" fmla="*/ 0 h 3140212"/>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0279"/>
                  <a:gd name="connsiteX1" fmla="*/ 2717121 w 4833154"/>
                  <a:gd name="connsiteY1" fmla="*/ 418416 h 3140279"/>
                  <a:gd name="connsiteX2" fmla="*/ 3524340 w 4833154"/>
                  <a:gd name="connsiteY2" fmla="*/ 396134 h 3140279"/>
                  <a:gd name="connsiteX3" fmla="*/ 3854680 w 4833154"/>
                  <a:gd name="connsiteY3" fmla="*/ 973005 h 3140279"/>
                  <a:gd name="connsiteX4" fmla="*/ 4831019 w 4833154"/>
                  <a:gd name="connsiteY4" fmla="*/ 1975126 h 3140279"/>
                  <a:gd name="connsiteX5" fmla="*/ 3820113 w 4833154"/>
                  <a:gd name="connsiteY5" fmla="*/ 3132830 h 3140279"/>
                  <a:gd name="connsiteX6" fmla="*/ 1020819 w 4833154"/>
                  <a:gd name="connsiteY6" fmla="*/ 3132830 h 3140279"/>
                  <a:gd name="connsiteX7" fmla="*/ 713 w 4833154"/>
                  <a:gd name="connsiteY7" fmla="*/ 2208170 h 3140279"/>
                  <a:gd name="connsiteX8" fmla="*/ 837575 w 4833154"/>
                  <a:gd name="connsiteY8" fmla="*/ 1392604 h 3140279"/>
                  <a:gd name="connsiteX9" fmla="*/ 1885186 w 4833154"/>
                  <a:gd name="connsiteY9" fmla="*/ 0 h 3140279"/>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24340 w 4833154"/>
                  <a:gd name="connsiteY2" fmla="*/ 396134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1975126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3154"/>
                  <a:gd name="connsiteY0" fmla="*/ 0 h 3141003"/>
                  <a:gd name="connsiteX1" fmla="*/ 2717121 w 4833154"/>
                  <a:gd name="connsiteY1" fmla="*/ 418416 h 3141003"/>
                  <a:gd name="connsiteX2" fmla="*/ 3516999 w 4833154"/>
                  <a:gd name="connsiteY2" fmla="*/ 410815 h 3141003"/>
                  <a:gd name="connsiteX3" fmla="*/ 3854680 w 4833154"/>
                  <a:gd name="connsiteY3" fmla="*/ 973005 h 3141003"/>
                  <a:gd name="connsiteX4" fmla="*/ 4831019 w 4833154"/>
                  <a:gd name="connsiteY4" fmla="*/ 2070554 h 3141003"/>
                  <a:gd name="connsiteX5" fmla="*/ 3820113 w 4833154"/>
                  <a:gd name="connsiteY5" fmla="*/ 3132830 h 3141003"/>
                  <a:gd name="connsiteX6" fmla="*/ 1020819 w 4833154"/>
                  <a:gd name="connsiteY6" fmla="*/ 3132830 h 3141003"/>
                  <a:gd name="connsiteX7" fmla="*/ 713 w 4833154"/>
                  <a:gd name="connsiteY7" fmla="*/ 2208170 h 3141003"/>
                  <a:gd name="connsiteX8" fmla="*/ 837575 w 4833154"/>
                  <a:gd name="connsiteY8" fmla="*/ 1392604 h 3141003"/>
                  <a:gd name="connsiteX9" fmla="*/ 1885186 w 4833154"/>
                  <a:gd name="connsiteY9" fmla="*/ 0 h 3141003"/>
                  <a:gd name="connsiteX0" fmla="*/ 1885186 w 4831448"/>
                  <a:gd name="connsiteY0" fmla="*/ 0 h 3141003"/>
                  <a:gd name="connsiteX1" fmla="*/ 2717121 w 4831448"/>
                  <a:gd name="connsiteY1" fmla="*/ 418416 h 3141003"/>
                  <a:gd name="connsiteX2" fmla="*/ 3516999 w 4831448"/>
                  <a:gd name="connsiteY2" fmla="*/ 410815 h 3141003"/>
                  <a:gd name="connsiteX3" fmla="*/ 3854680 w 4831448"/>
                  <a:gd name="connsiteY3" fmla="*/ 973005 h 3141003"/>
                  <a:gd name="connsiteX4" fmla="*/ 4831019 w 4831448"/>
                  <a:gd name="connsiteY4" fmla="*/ 2070554 h 3141003"/>
                  <a:gd name="connsiteX5" fmla="*/ 3820113 w 4831448"/>
                  <a:gd name="connsiteY5" fmla="*/ 3132830 h 3141003"/>
                  <a:gd name="connsiteX6" fmla="*/ 1020819 w 4831448"/>
                  <a:gd name="connsiteY6" fmla="*/ 3132830 h 3141003"/>
                  <a:gd name="connsiteX7" fmla="*/ 713 w 4831448"/>
                  <a:gd name="connsiteY7" fmla="*/ 2208170 h 3141003"/>
                  <a:gd name="connsiteX8" fmla="*/ 837575 w 4831448"/>
                  <a:gd name="connsiteY8" fmla="*/ 1392604 h 3141003"/>
                  <a:gd name="connsiteX9" fmla="*/ 1885186 w 4831448"/>
                  <a:gd name="connsiteY9" fmla="*/ 0 h 3141003"/>
                  <a:gd name="connsiteX0" fmla="*/ 1885186 w 4831521"/>
                  <a:gd name="connsiteY0" fmla="*/ 0 h 3141003"/>
                  <a:gd name="connsiteX1" fmla="*/ 2717121 w 4831521"/>
                  <a:gd name="connsiteY1" fmla="*/ 418416 h 3141003"/>
                  <a:gd name="connsiteX2" fmla="*/ 3516999 w 4831521"/>
                  <a:gd name="connsiteY2" fmla="*/ 410815 h 3141003"/>
                  <a:gd name="connsiteX3" fmla="*/ 3854680 w 4831521"/>
                  <a:gd name="connsiteY3" fmla="*/ 973005 h 3141003"/>
                  <a:gd name="connsiteX4" fmla="*/ 4831019 w 4831521"/>
                  <a:gd name="connsiteY4" fmla="*/ 2070554 h 3141003"/>
                  <a:gd name="connsiteX5" fmla="*/ 3820113 w 4831521"/>
                  <a:gd name="connsiteY5" fmla="*/ 3132830 h 3141003"/>
                  <a:gd name="connsiteX6" fmla="*/ 1020819 w 4831521"/>
                  <a:gd name="connsiteY6" fmla="*/ 3132830 h 3141003"/>
                  <a:gd name="connsiteX7" fmla="*/ 713 w 4831521"/>
                  <a:gd name="connsiteY7" fmla="*/ 2208170 h 3141003"/>
                  <a:gd name="connsiteX8" fmla="*/ 837575 w 4831521"/>
                  <a:gd name="connsiteY8" fmla="*/ 1392604 h 3141003"/>
                  <a:gd name="connsiteX9" fmla="*/ 1885186 w 4831521"/>
                  <a:gd name="connsiteY9" fmla="*/ 0 h 314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31521" h="3141003">
                    <a:moveTo>
                      <a:pt x="1885186" y="0"/>
                    </a:moveTo>
                    <a:cubicBezTo>
                      <a:pt x="2507520" y="14681"/>
                      <a:pt x="2579286" y="315648"/>
                      <a:pt x="2717121" y="418416"/>
                    </a:cubicBezTo>
                    <a:cubicBezTo>
                      <a:pt x="3147693" y="227473"/>
                      <a:pt x="3365380" y="322814"/>
                      <a:pt x="3516999" y="410815"/>
                    </a:cubicBezTo>
                    <a:cubicBezTo>
                      <a:pt x="3771484" y="583531"/>
                      <a:pt x="3813082" y="829653"/>
                      <a:pt x="3854680" y="973005"/>
                    </a:cubicBezTo>
                    <a:cubicBezTo>
                      <a:pt x="4674414" y="1135764"/>
                      <a:pt x="4840807" y="1849071"/>
                      <a:pt x="4831019" y="2070554"/>
                    </a:cubicBezTo>
                    <a:cubicBezTo>
                      <a:pt x="4853753" y="2999662"/>
                      <a:pt x="4098355" y="3121303"/>
                      <a:pt x="3820113" y="3132830"/>
                    </a:cubicBezTo>
                    <a:cubicBezTo>
                      <a:pt x="2734839" y="3121466"/>
                      <a:pt x="2901294" y="3132830"/>
                      <a:pt x="1020819" y="3132830"/>
                    </a:cubicBezTo>
                    <a:cubicBezTo>
                      <a:pt x="233764" y="3222186"/>
                      <a:pt x="-15238" y="2556933"/>
                      <a:pt x="713" y="2208170"/>
                    </a:cubicBezTo>
                    <a:cubicBezTo>
                      <a:pt x="42312" y="1439598"/>
                      <a:pt x="678522" y="1412430"/>
                      <a:pt x="837575" y="1392604"/>
                    </a:cubicBezTo>
                    <a:cubicBezTo>
                      <a:pt x="819734" y="40184"/>
                      <a:pt x="1778232" y="23763"/>
                      <a:pt x="1885186" y="0"/>
                    </a:cubicBezTo>
                    <a:close/>
                  </a:path>
                </a:pathLst>
              </a:custGeom>
              <a:solidFill>
                <a:srgbClr val="F37821"/>
              </a:solidFill>
              <a:ln w="38100" cap="flat" cmpd="sng" algn="ctr">
                <a:solidFill>
                  <a:srgbClr val="F37821"/>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219057" eaLnBrk="1" fontAlgn="base" latinLnBrk="0" hangingPunct="0">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Trade Gothic LT Std"/>
                  <a:ea typeface="ＭＳ Ｐゴシック"/>
                  <a:cs typeface="Trade Gothic LT Std"/>
                  <a:sym typeface="Helvetica Light" charset="0"/>
                </a:endParaRPr>
              </a:p>
            </p:txBody>
          </p:sp>
          <p:sp>
            <p:nvSpPr>
              <p:cNvPr id="223" name="TextBox 222"/>
              <p:cNvSpPr txBox="1"/>
              <p:nvPr/>
            </p:nvSpPr>
            <p:spPr>
              <a:xfrm>
                <a:off x="763192" y="2256280"/>
                <a:ext cx="915334" cy="243852"/>
              </a:xfrm>
              <a:prstGeom prst="rect">
                <a:avLst/>
              </a:prstGeom>
              <a:ln>
                <a:noFill/>
              </a:ln>
            </p:spPr>
            <p:txBody>
              <a:bodyPr wrap="square" lIns="0" tIns="0" rIns="0" bIns="0" rtlCol="0">
                <a:no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050" b="0" i="0" u="none" strike="noStrike" kern="0" cap="none" spc="0" normalizeH="0" baseline="0" noProof="0" dirty="0" smtClean="0">
                    <a:ln>
                      <a:noFill/>
                    </a:ln>
                    <a:solidFill>
                      <a:srgbClr val="FFFFFF"/>
                    </a:solidFill>
                    <a:effectLst/>
                    <a:uLnTx/>
                    <a:uFillTx/>
                    <a:latin typeface="Franklin Gothic Medium"/>
                  </a:rPr>
                  <a:t>Global Network </a:t>
                </a:r>
                <a:r>
                  <a:rPr kumimoji="0" lang="en-US" sz="900" b="0" i="0" u="none" strike="noStrike" kern="0" cap="none" spc="0" normalizeH="0" baseline="0" noProof="0" dirty="0" smtClean="0">
                    <a:ln>
                      <a:noFill/>
                    </a:ln>
                    <a:solidFill>
                      <a:srgbClr val="FFFFFF"/>
                    </a:solidFill>
                    <a:effectLst/>
                    <a:uLnTx/>
                    <a:uFillTx/>
                    <a:latin typeface="Franklin Gothic Book"/>
                  </a:rPr>
                  <a:t>208.67.222.222</a:t>
                </a:r>
              </a:p>
            </p:txBody>
          </p:sp>
          <p:pic>
            <p:nvPicPr>
              <p:cNvPr id="224" name="Picture 223" descr="OpenDNS_Logo TextOnly.pdf"/>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76996" y="1947659"/>
                <a:ext cx="872183" cy="343154"/>
              </a:xfrm>
              <a:prstGeom prst="rect">
                <a:avLst/>
              </a:prstGeom>
            </p:spPr>
          </p:pic>
        </p:grpSp>
        <p:sp>
          <p:nvSpPr>
            <p:cNvPr id="210" name="Rectangle 209"/>
            <p:cNvSpPr/>
            <p:nvPr/>
          </p:nvSpPr>
          <p:spPr>
            <a:xfrm>
              <a:off x="4893666" y="1746111"/>
              <a:ext cx="849727" cy="351891"/>
            </a:xfrm>
            <a:prstGeom prst="rect">
              <a:avLst/>
            </a:prstGeom>
          </p:spPr>
          <p:txBody>
            <a:bodyPr wrap="square" lIns="0" tIns="0" rIns="0" bIns="0">
              <a:spAutoFit/>
            </a:bodyPr>
            <a:lstStyle/>
            <a:p>
              <a:pPr marL="0" marR="0" lvl="0" indent="0" algn="ctr" defTabSz="914400" eaLnBrk="1" fontAlgn="auto" latinLnBrk="0" hangingPunct="1">
                <a:lnSpc>
                  <a:spcPct val="8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7F7F7F">
                      <a:lumMod val="40000"/>
                      <a:lumOff val="60000"/>
                    </a:srgbClr>
                  </a:solidFill>
                  <a:effectLst/>
                  <a:uLnTx/>
                  <a:uFillTx/>
                  <a:latin typeface="Franklin Gothic Medium"/>
                </a:rPr>
                <a:t>YOUR DNS SERVER</a:t>
              </a:r>
            </a:p>
          </p:txBody>
        </p:sp>
        <p:sp>
          <p:nvSpPr>
            <p:cNvPr id="211" name="Rounded Rectangle 210"/>
            <p:cNvSpPr/>
            <p:nvPr/>
          </p:nvSpPr>
          <p:spPr bwMode="auto">
            <a:xfrm>
              <a:off x="5054779" y="2101512"/>
              <a:ext cx="511047" cy="171387"/>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FFFFFF"/>
                </a:solidFill>
                <a:effectLst/>
                <a:uLnTx/>
                <a:uFillTx/>
                <a:latin typeface="Franklin Gothic Book"/>
                <a:ea typeface="新細明體" charset="0"/>
                <a:cs typeface="新細明體" charset="0"/>
              </a:endParaRPr>
            </a:p>
          </p:txBody>
        </p:sp>
        <p:sp>
          <p:nvSpPr>
            <p:cNvPr id="212" name="Rounded Rectangle 211"/>
            <p:cNvSpPr/>
            <p:nvPr/>
          </p:nvSpPr>
          <p:spPr bwMode="auto">
            <a:xfrm>
              <a:off x="5051894" y="2301583"/>
              <a:ext cx="511047" cy="171387"/>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FFFFFF"/>
                </a:solidFill>
                <a:effectLst/>
                <a:uLnTx/>
                <a:uFillTx/>
                <a:latin typeface="Franklin Gothic Book"/>
                <a:ea typeface="新細明體" charset="0"/>
                <a:cs typeface="新細明體" charset="0"/>
              </a:endParaRPr>
            </a:p>
          </p:txBody>
        </p:sp>
        <p:grpSp>
          <p:nvGrpSpPr>
            <p:cNvPr id="213" name="Group 10"/>
            <p:cNvGrpSpPr>
              <a:grpSpLocks noChangeAspect="1"/>
            </p:cNvGrpSpPr>
            <p:nvPr/>
          </p:nvGrpSpPr>
          <p:grpSpPr bwMode="auto">
            <a:xfrm>
              <a:off x="5051908" y="2101520"/>
              <a:ext cx="516789" cy="468983"/>
              <a:chOff x="-1133" y="418"/>
              <a:chExt cx="720" cy="654"/>
            </a:xfrm>
            <a:solidFill>
              <a:srgbClr val="CCCCCC"/>
            </a:solidFill>
          </p:grpSpPr>
          <p:sp>
            <p:nvSpPr>
              <p:cNvPr id="214" name="Freeform 11"/>
              <p:cNvSpPr>
                <a:spLocks noEditPoints="1"/>
              </p:cNvSpPr>
              <p:nvPr/>
            </p:nvSpPr>
            <p:spPr bwMode="auto">
              <a:xfrm>
                <a:off x="-1133" y="697"/>
                <a:ext cx="720" cy="375"/>
              </a:xfrm>
              <a:custGeom>
                <a:avLst/>
                <a:gdLst>
                  <a:gd name="T0" fmla="*/ 295 w 305"/>
                  <a:gd name="T1" fmla="*/ 0 h 159"/>
                  <a:gd name="T2" fmla="*/ 10 w 305"/>
                  <a:gd name="T3" fmla="*/ 0 h 159"/>
                  <a:gd name="T4" fmla="*/ 0 w 305"/>
                  <a:gd name="T5" fmla="*/ 11 h 159"/>
                  <a:gd name="T6" fmla="*/ 0 w 305"/>
                  <a:gd name="T7" fmla="*/ 91 h 159"/>
                  <a:gd name="T8" fmla="*/ 10 w 305"/>
                  <a:gd name="T9" fmla="*/ 102 h 159"/>
                  <a:gd name="T10" fmla="*/ 142 w 305"/>
                  <a:gd name="T11" fmla="*/ 102 h 159"/>
                  <a:gd name="T12" fmla="*/ 142 w 305"/>
                  <a:gd name="T13" fmla="*/ 129 h 159"/>
                  <a:gd name="T14" fmla="*/ 136 w 305"/>
                  <a:gd name="T15" fmla="*/ 142 h 159"/>
                  <a:gd name="T16" fmla="*/ 153 w 305"/>
                  <a:gd name="T17" fmla="*/ 159 h 159"/>
                  <a:gd name="T18" fmla="*/ 170 w 305"/>
                  <a:gd name="T19" fmla="*/ 142 h 159"/>
                  <a:gd name="T20" fmla="*/ 163 w 305"/>
                  <a:gd name="T21" fmla="*/ 129 h 159"/>
                  <a:gd name="T22" fmla="*/ 163 w 305"/>
                  <a:gd name="T23" fmla="*/ 102 h 159"/>
                  <a:gd name="T24" fmla="*/ 295 w 305"/>
                  <a:gd name="T25" fmla="*/ 102 h 159"/>
                  <a:gd name="T26" fmla="*/ 305 w 305"/>
                  <a:gd name="T27" fmla="*/ 91 h 159"/>
                  <a:gd name="T28" fmla="*/ 305 w 305"/>
                  <a:gd name="T29" fmla="*/ 11 h 159"/>
                  <a:gd name="T30" fmla="*/ 295 w 305"/>
                  <a:gd name="T31" fmla="*/ 0 h 159"/>
                  <a:gd name="T32" fmla="*/ 284 w 305"/>
                  <a:gd name="T33" fmla="*/ 81 h 159"/>
                  <a:gd name="T34" fmla="*/ 21 w 305"/>
                  <a:gd name="T35" fmla="*/ 81 h 159"/>
                  <a:gd name="T36" fmla="*/ 21 w 305"/>
                  <a:gd name="T37" fmla="*/ 22 h 159"/>
                  <a:gd name="T38" fmla="*/ 284 w 305"/>
                  <a:gd name="T39" fmla="*/ 22 h 159"/>
                  <a:gd name="T40" fmla="*/ 284 w 305"/>
                  <a:gd name="T41" fmla="*/ 8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5" h="159">
                    <a:moveTo>
                      <a:pt x="295" y="0"/>
                    </a:moveTo>
                    <a:cubicBezTo>
                      <a:pt x="10" y="0"/>
                      <a:pt x="10" y="0"/>
                      <a:pt x="10" y="0"/>
                    </a:cubicBezTo>
                    <a:cubicBezTo>
                      <a:pt x="4" y="0"/>
                      <a:pt x="0" y="5"/>
                      <a:pt x="0" y="11"/>
                    </a:cubicBezTo>
                    <a:cubicBezTo>
                      <a:pt x="0" y="91"/>
                      <a:pt x="0" y="91"/>
                      <a:pt x="0" y="91"/>
                    </a:cubicBezTo>
                    <a:cubicBezTo>
                      <a:pt x="0" y="97"/>
                      <a:pt x="4" y="102"/>
                      <a:pt x="10" y="102"/>
                    </a:cubicBezTo>
                    <a:cubicBezTo>
                      <a:pt x="142" y="102"/>
                      <a:pt x="142" y="102"/>
                      <a:pt x="142" y="102"/>
                    </a:cubicBezTo>
                    <a:cubicBezTo>
                      <a:pt x="142" y="129"/>
                      <a:pt x="142" y="129"/>
                      <a:pt x="142" y="129"/>
                    </a:cubicBezTo>
                    <a:cubicBezTo>
                      <a:pt x="138" y="132"/>
                      <a:pt x="136" y="137"/>
                      <a:pt x="136" y="142"/>
                    </a:cubicBezTo>
                    <a:cubicBezTo>
                      <a:pt x="136" y="151"/>
                      <a:pt x="143" y="159"/>
                      <a:pt x="153" y="159"/>
                    </a:cubicBezTo>
                    <a:cubicBezTo>
                      <a:pt x="162" y="159"/>
                      <a:pt x="170" y="151"/>
                      <a:pt x="170" y="142"/>
                    </a:cubicBezTo>
                    <a:cubicBezTo>
                      <a:pt x="170" y="137"/>
                      <a:pt x="167" y="132"/>
                      <a:pt x="163" y="129"/>
                    </a:cubicBezTo>
                    <a:cubicBezTo>
                      <a:pt x="163" y="102"/>
                      <a:pt x="163" y="102"/>
                      <a:pt x="163" y="102"/>
                    </a:cubicBezTo>
                    <a:cubicBezTo>
                      <a:pt x="295" y="102"/>
                      <a:pt x="295" y="102"/>
                      <a:pt x="295" y="102"/>
                    </a:cubicBezTo>
                    <a:cubicBezTo>
                      <a:pt x="300" y="102"/>
                      <a:pt x="305" y="97"/>
                      <a:pt x="305" y="91"/>
                    </a:cubicBezTo>
                    <a:cubicBezTo>
                      <a:pt x="305" y="11"/>
                      <a:pt x="305" y="11"/>
                      <a:pt x="305" y="11"/>
                    </a:cubicBezTo>
                    <a:cubicBezTo>
                      <a:pt x="305" y="5"/>
                      <a:pt x="300" y="0"/>
                      <a:pt x="295" y="0"/>
                    </a:cubicBezTo>
                    <a:moveTo>
                      <a:pt x="284" y="81"/>
                    </a:moveTo>
                    <a:cubicBezTo>
                      <a:pt x="21" y="81"/>
                      <a:pt x="21" y="81"/>
                      <a:pt x="21" y="81"/>
                    </a:cubicBezTo>
                    <a:cubicBezTo>
                      <a:pt x="21" y="22"/>
                      <a:pt x="21" y="22"/>
                      <a:pt x="21" y="22"/>
                    </a:cubicBezTo>
                    <a:cubicBezTo>
                      <a:pt x="284" y="22"/>
                      <a:pt x="284" y="22"/>
                      <a:pt x="284" y="22"/>
                    </a:cubicBezTo>
                    <a:lnTo>
                      <a:pt x="284"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15" name="Freeform 12"/>
              <p:cNvSpPr>
                <a:spLocks noEditPoints="1"/>
              </p:cNvSpPr>
              <p:nvPr/>
            </p:nvSpPr>
            <p:spPr bwMode="auto">
              <a:xfrm>
                <a:off x="-588" y="777"/>
                <a:ext cx="81" cy="83"/>
              </a:xfrm>
              <a:custGeom>
                <a:avLst/>
                <a:gdLst>
                  <a:gd name="T0" fmla="*/ 17 w 34"/>
                  <a:gd name="T1" fmla="*/ 35 h 35"/>
                  <a:gd name="T2" fmla="*/ 34 w 34"/>
                  <a:gd name="T3" fmla="*/ 18 h 35"/>
                  <a:gd name="T4" fmla="*/ 17 w 34"/>
                  <a:gd name="T5" fmla="*/ 0 h 35"/>
                  <a:gd name="T6" fmla="*/ 0 w 34"/>
                  <a:gd name="T7" fmla="*/ 18 h 35"/>
                  <a:gd name="T8" fmla="*/ 17 w 34"/>
                  <a:gd name="T9" fmla="*/ 35 h 35"/>
                  <a:gd name="T10" fmla="*/ 17 w 34"/>
                  <a:gd name="T11" fmla="*/ 13 h 35"/>
                  <a:gd name="T12" fmla="*/ 22 w 34"/>
                  <a:gd name="T13" fmla="*/ 18 h 35"/>
                  <a:gd name="T14" fmla="*/ 17 w 34"/>
                  <a:gd name="T15" fmla="*/ 22 h 35"/>
                  <a:gd name="T16" fmla="*/ 13 w 34"/>
                  <a:gd name="T17" fmla="*/ 18 h 35"/>
                  <a:gd name="T18" fmla="*/ 17 w 34"/>
                  <a:gd name="T1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5">
                    <a:moveTo>
                      <a:pt x="17" y="35"/>
                    </a:moveTo>
                    <a:cubicBezTo>
                      <a:pt x="27" y="35"/>
                      <a:pt x="34" y="27"/>
                      <a:pt x="34" y="18"/>
                    </a:cubicBezTo>
                    <a:cubicBezTo>
                      <a:pt x="34" y="8"/>
                      <a:pt x="27" y="0"/>
                      <a:pt x="17" y="0"/>
                    </a:cubicBezTo>
                    <a:cubicBezTo>
                      <a:pt x="8" y="0"/>
                      <a:pt x="0" y="8"/>
                      <a:pt x="0" y="18"/>
                    </a:cubicBezTo>
                    <a:cubicBezTo>
                      <a:pt x="0" y="27"/>
                      <a:pt x="8" y="35"/>
                      <a:pt x="17" y="35"/>
                    </a:cubicBezTo>
                    <a:moveTo>
                      <a:pt x="17" y="13"/>
                    </a:moveTo>
                    <a:cubicBezTo>
                      <a:pt x="20" y="13"/>
                      <a:pt x="22" y="15"/>
                      <a:pt x="22" y="18"/>
                    </a:cubicBezTo>
                    <a:cubicBezTo>
                      <a:pt x="22" y="20"/>
                      <a:pt x="20" y="22"/>
                      <a:pt x="17" y="22"/>
                    </a:cubicBezTo>
                    <a:cubicBezTo>
                      <a:pt x="15" y="22"/>
                      <a:pt x="13" y="20"/>
                      <a:pt x="13" y="18"/>
                    </a:cubicBezTo>
                    <a:cubicBezTo>
                      <a:pt x="13" y="15"/>
                      <a:pt x="15" y="13"/>
                      <a:pt x="1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16" name="Freeform 13"/>
              <p:cNvSpPr>
                <a:spLocks noEditPoints="1"/>
              </p:cNvSpPr>
              <p:nvPr/>
            </p:nvSpPr>
            <p:spPr bwMode="auto">
              <a:xfrm>
                <a:off x="-1133" y="418"/>
                <a:ext cx="720" cy="239"/>
              </a:xfrm>
              <a:custGeom>
                <a:avLst/>
                <a:gdLst>
                  <a:gd name="T0" fmla="*/ 295 w 305"/>
                  <a:gd name="T1" fmla="*/ 0 h 101"/>
                  <a:gd name="T2" fmla="*/ 10 w 305"/>
                  <a:gd name="T3" fmla="*/ 0 h 101"/>
                  <a:gd name="T4" fmla="*/ 0 w 305"/>
                  <a:gd name="T5" fmla="*/ 10 h 101"/>
                  <a:gd name="T6" fmla="*/ 0 w 305"/>
                  <a:gd name="T7" fmla="*/ 91 h 101"/>
                  <a:gd name="T8" fmla="*/ 10 w 305"/>
                  <a:gd name="T9" fmla="*/ 101 h 101"/>
                  <a:gd name="T10" fmla="*/ 295 w 305"/>
                  <a:gd name="T11" fmla="*/ 101 h 101"/>
                  <a:gd name="T12" fmla="*/ 305 w 305"/>
                  <a:gd name="T13" fmla="*/ 91 h 101"/>
                  <a:gd name="T14" fmla="*/ 305 w 305"/>
                  <a:gd name="T15" fmla="*/ 10 h 101"/>
                  <a:gd name="T16" fmla="*/ 295 w 305"/>
                  <a:gd name="T17" fmla="*/ 0 h 101"/>
                  <a:gd name="T18" fmla="*/ 284 w 305"/>
                  <a:gd name="T19" fmla="*/ 80 h 101"/>
                  <a:gd name="T20" fmla="*/ 21 w 305"/>
                  <a:gd name="T21" fmla="*/ 80 h 101"/>
                  <a:gd name="T22" fmla="*/ 21 w 305"/>
                  <a:gd name="T23" fmla="*/ 21 h 101"/>
                  <a:gd name="T24" fmla="*/ 284 w 305"/>
                  <a:gd name="T25" fmla="*/ 21 h 101"/>
                  <a:gd name="T26" fmla="*/ 284 w 305"/>
                  <a:gd name="T27" fmla="*/ 8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5" h="101">
                    <a:moveTo>
                      <a:pt x="295" y="0"/>
                    </a:moveTo>
                    <a:cubicBezTo>
                      <a:pt x="10" y="0"/>
                      <a:pt x="10" y="0"/>
                      <a:pt x="10" y="0"/>
                    </a:cubicBezTo>
                    <a:cubicBezTo>
                      <a:pt x="4" y="0"/>
                      <a:pt x="0" y="5"/>
                      <a:pt x="0" y="10"/>
                    </a:cubicBezTo>
                    <a:cubicBezTo>
                      <a:pt x="0" y="91"/>
                      <a:pt x="0" y="91"/>
                      <a:pt x="0" y="91"/>
                    </a:cubicBezTo>
                    <a:cubicBezTo>
                      <a:pt x="0" y="97"/>
                      <a:pt x="4" y="101"/>
                      <a:pt x="10" y="101"/>
                    </a:cubicBezTo>
                    <a:cubicBezTo>
                      <a:pt x="295" y="101"/>
                      <a:pt x="295" y="101"/>
                      <a:pt x="295" y="101"/>
                    </a:cubicBezTo>
                    <a:cubicBezTo>
                      <a:pt x="300" y="101"/>
                      <a:pt x="305" y="97"/>
                      <a:pt x="305" y="91"/>
                    </a:cubicBezTo>
                    <a:cubicBezTo>
                      <a:pt x="305" y="10"/>
                      <a:pt x="305" y="10"/>
                      <a:pt x="305" y="10"/>
                    </a:cubicBezTo>
                    <a:cubicBezTo>
                      <a:pt x="305" y="5"/>
                      <a:pt x="300" y="0"/>
                      <a:pt x="295" y="0"/>
                    </a:cubicBezTo>
                    <a:moveTo>
                      <a:pt x="284" y="80"/>
                    </a:moveTo>
                    <a:cubicBezTo>
                      <a:pt x="21" y="80"/>
                      <a:pt x="21" y="80"/>
                      <a:pt x="21" y="80"/>
                    </a:cubicBezTo>
                    <a:cubicBezTo>
                      <a:pt x="21" y="21"/>
                      <a:pt x="21" y="21"/>
                      <a:pt x="21" y="21"/>
                    </a:cubicBezTo>
                    <a:cubicBezTo>
                      <a:pt x="284" y="21"/>
                      <a:pt x="284" y="21"/>
                      <a:pt x="284" y="21"/>
                    </a:cubicBezTo>
                    <a:lnTo>
                      <a:pt x="28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17" name="Freeform 14"/>
              <p:cNvSpPr>
                <a:spLocks noEditPoints="1"/>
              </p:cNvSpPr>
              <p:nvPr/>
            </p:nvSpPr>
            <p:spPr bwMode="auto">
              <a:xfrm>
                <a:off x="-588" y="498"/>
                <a:ext cx="81" cy="81"/>
              </a:xfrm>
              <a:custGeom>
                <a:avLst/>
                <a:gdLst>
                  <a:gd name="T0" fmla="*/ 17 w 34"/>
                  <a:gd name="T1" fmla="*/ 34 h 34"/>
                  <a:gd name="T2" fmla="*/ 34 w 34"/>
                  <a:gd name="T3" fmla="*/ 17 h 34"/>
                  <a:gd name="T4" fmla="*/ 17 w 34"/>
                  <a:gd name="T5" fmla="*/ 0 h 34"/>
                  <a:gd name="T6" fmla="*/ 0 w 34"/>
                  <a:gd name="T7" fmla="*/ 17 h 34"/>
                  <a:gd name="T8" fmla="*/ 17 w 34"/>
                  <a:gd name="T9" fmla="*/ 34 h 34"/>
                  <a:gd name="T10" fmla="*/ 17 w 34"/>
                  <a:gd name="T11" fmla="*/ 13 h 34"/>
                  <a:gd name="T12" fmla="*/ 22 w 34"/>
                  <a:gd name="T13" fmla="*/ 17 h 34"/>
                  <a:gd name="T14" fmla="*/ 17 w 34"/>
                  <a:gd name="T15" fmla="*/ 21 h 34"/>
                  <a:gd name="T16" fmla="*/ 13 w 34"/>
                  <a:gd name="T17" fmla="*/ 17 h 34"/>
                  <a:gd name="T18" fmla="*/ 17 w 34"/>
                  <a:gd name="T19"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27" y="34"/>
                      <a:pt x="34" y="27"/>
                      <a:pt x="34" y="17"/>
                    </a:cubicBezTo>
                    <a:cubicBezTo>
                      <a:pt x="34" y="8"/>
                      <a:pt x="27" y="0"/>
                      <a:pt x="17" y="0"/>
                    </a:cubicBezTo>
                    <a:cubicBezTo>
                      <a:pt x="8" y="0"/>
                      <a:pt x="0" y="8"/>
                      <a:pt x="0" y="17"/>
                    </a:cubicBezTo>
                    <a:cubicBezTo>
                      <a:pt x="0" y="27"/>
                      <a:pt x="8" y="34"/>
                      <a:pt x="17" y="34"/>
                    </a:cubicBezTo>
                    <a:moveTo>
                      <a:pt x="17" y="13"/>
                    </a:moveTo>
                    <a:cubicBezTo>
                      <a:pt x="20" y="13"/>
                      <a:pt x="22" y="15"/>
                      <a:pt x="22" y="17"/>
                    </a:cubicBezTo>
                    <a:cubicBezTo>
                      <a:pt x="22" y="20"/>
                      <a:pt x="20" y="21"/>
                      <a:pt x="17" y="21"/>
                    </a:cubicBezTo>
                    <a:cubicBezTo>
                      <a:pt x="15" y="21"/>
                      <a:pt x="13" y="20"/>
                      <a:pt x="13" y="17"/>
                    </a:cubicBezTo>
                    <a:cubicBezTo>
                      <a:pt x="13" y="15"/>
                      <a:pt x="15" y="13"/>
                      <a:pt x="17" y="1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18" name="Freeform 15"/>
              <p:cNvSpPr>
                <a:spLocks/>
              </p:cNvSpPr>
              <p:nvPr/>
            </p:nvSpPr>
            <p:spPr bwMode="auto">
              <a:xfrm>
                <a:off x="-529" y="1006"/>
                <a:ext cx="112" cy="52"/>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19" name="Freeform 16"/>
              <p:cNvSpPr>
                <a:spLocks/>
              </p:cNvSpPr>
              <p:nvPr/>
            </p:nvSpPr>
            <p:spPr bwMode="auto">
              <a:xfrm>
                <a:off x="-677" y="1006"/>
                <a:ext cx="108" cy="52"/>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20" name="Freeform 17"/>
              <p:cNvSpPr>
                <a:spLocks/>
              </p:cNvSpPr>
              <p:nvPr/>
            </p:nvSpPr>
            <p:spPr bwMode="auto">
              <a:xfrm>
                <a:off x="-980" y="1006"/>
                <a:ext cx="111" cy="52"/>
              </a:xfrm>
              <a:custGeom>
                <a:avLst/>
                <a:gdLst>
                  <a:gd name="T0" fmla="*/ 36 w 47"/>
                  <a:gd name="T1" fmla="*/ 0 h 22"/>
                  <a:gd name="T2" fmla="*/ 11 w 47"/>
                  <a:gd name="T3" fmla="*/ 0 h 22"/>
                  <a:gd name="T4" fmla="*/ 0 w 47"/>
                  <a:gd name="T5" fmla="*/ 11 h 22"/>
                  <a:gd name="T6" fmla="*/ 11 w 47"/>
                  <a:gd name="T7" fmla="*/ 22 h 22"/>
                  <a:gd name="T8" fmla="*/ 36 w 47"/>
                  <a:gd name="T9" fmla="*/ 22 h 22"/>
                  <a:gd name="T10" fmla="*/ 47 w 47"/>
                  <a:gd name="T11" fmla="*/ 11 h 22"/>
                  <a:gd name="T12" fmla="*/ 36 w 4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7" h="22">
                    <a:moveTo>
                      <a:pt x="36" y="0"/>
                    </a:moveTo>
                    <a:cubicBezTo>
                      <a:pt x="11" y="0"/>
                      <a:pt x="11" y="0"/>
                      <a:pt x="11" y="0"/>
                    </a:cubicBezTo>
                    <a:cubicBezTo>
                      <a:pt x="5" y="0"/>
                      <a:pt x="0" y="5"/>
                      <a:pt x="0" y="11"/>
                    </a:cubicBezTo>
                    <a:cubicBezTo>
                      <a:pt x="0" y="17"/>
                      <a:pt x="5" y="22"/>
                      <a:pt x="11" y="22"/>
                    </a:cubicBezTo>
                    <a:cubicBezTo>
                      <a:pt x="36" y="22"/>
                      <a:pt x="36" y="22"/>
                      <a:pt x="36" y="22"/>
                    </a:cubicBezTo>
                    <a:cubicBezTo>
                      <a:pt x="42" y="22"/>
                      <a:pt x="47" y="17"/>
                      <a:pt x="47" y="11"/>
                    </a:cubicBezTo>
                    <a:cubicBezTo>
                      <a:pt x="47"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sp>
            <p:nvSpPr>
              <p:cNvPr id="221" name="Freeform 18"/>
              <p:cNvSpPr>
                <a:spLocks/>
              </p:cNvSpPr>
              <p:nvPr/>
            </p:nvSpPr>
            <p:spPr bwMode="auto">
              <a:xfrm>
                <a:off x="-1129" y="1006"/>
                <a:ext cx="109" cy="52"/>
              </a:xfrm>
              <a:custGeom>
                <a:avLst/>
                <a:gdLst>
                  <a:gd name="T0" fmla="*/ 36 w 46"/>
                  <a:gd name="T1" fmla="*/ 0 h 22"/>
                  <a:gd name="T2" fmla="*/ 10 w 46"/>
                  <a:gd name="T3" fmla="*/ 0 h 22"/>
                  <a:gd name="T4" fmla="*/ 0 w 46"/>
                  <a:gd name="T5" fmla="*/ 11 h 22"/>
                  <a:gd name="T6" fmla="*/ 10 w 46"/>
                  <a:gd name="T7" fmla="*/ 22 h 22"/>
                  <a:gd name="T8" fmla="*/ 36 w 46"/>
                  <a:gd name="T9" fmla="*/ 22 h 22"/>
                  <a:gd name="T10" fmla="*/ 46 w 46"/>
                  <a:gd name="T11" fmla="*/ 11 h 22"/>
                  <a:gd name="T12" fmla="*/ 36 w 4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6" h="22">
                    <a:moveTo>
                      <a:pt x="36" y="0"/>
                    </a:moveTo>
                    <a:cubicBezTo>
                      <a:pt x="10" y="0"/>
                      <a:pt x="10" y="0"/>
                      <a:pt x="10" y="0"/>
                    </a:cubicBezTo>
                    <a:cubicBezTo>
                      <a:pt x="4" y="0"/>
                      <a:pt x="0" y="5"/>
                      <a:pt x="0" y="11"/>
                    </a:cubicBezTo>
                    <a:cubicBezTo>
                      <a:pt x="0" y="17"/>
                      <a:pt x="4" y="22"/>
                      <a:pt x="10" y="22"/>
                    </a:cubicBezTo>
                    <a:cubicBezTo>
                      <a:pt x="36" y="22"/>
                      <a:pt x="36" y="22"/>
                      <a:pt x="36" y="22"/>
                    </a:cubicBezTo>
                    <a:cubicBezTo>
                      <a:pt x="42" y="22"/>
                      <a:pt x="46" y="17"/>
                      <a:pt x="46" y="11"/>
                    </a:cubicBezTo>
                    <a:cubicBezTo>
                      <a:pt x="46" y="5"/>
                      <a:pt x="42" y="0"/>
                      <a:pt x="3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defTabSz="91437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B2B2B2"/>
                  </a:solidFill>
                  <a:effectLst/>
                  <a:uLnTx/>
                  <a:uFillTx/>
                </a:endParaRPr>
              </a:p>
            </p:txBody>
          </p:sp>
        </p:grpSp>
      </p:grpSp>
      <p:sp>
        <p:nvSpPr>
          <p:cNvPr id="229" name="Title 248"/>
          <p:cNvSpPr txBox="1">
            <a:spLocks/>
          </p:cNvSpPr>
          <p:nvPr/>
        </p:nvSpPr>
        <p:spPr bwMode="auto">
          <a:xfrm>
            <a:off x="343932" y="60929"/>
            <a:ext cx="7961868"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b" anchorCtr="0" compatLnSpc="1">
            <a:prstTxWarp prst="textNoShape">
              <a:avLst/>
            </a:prstTxWarp>
            <a:normAutofit/>
          </a:bodyPr>
          <a:lstStyle>
            <a:lvl1pPr algn="l" rtl="0" eaLnBrk="1" fontAlgn="base" hangingPunct="1">
              <a:lnSpc>
                <a:spcPct val="85000"/>
              </a:lnSpc>
              <a:spcBef>
                <a:spcPct val="0"/>
              </a:spcBef>
              <a:spcAft>
                <a:spcPct val="0"/>
              </a:spcAft>
              <a:defRPr kumimoji="1" lang="en-US" altLang="zh-TW" sz="2400" b="0" kern="1200" dirty="0">
                <a:solidFill>
                  <a:schemeClr val="tx1"/>
                </a:solidFill>
                <a:latin typeface="Franklin Gothic Medium" panose="020B0603020102020204" pitchFamily="34" charset="0"/>
                <a:ea typeface="PMingLiU" pitchFamily="18" charset="-120"/>
                <a:cs typeface="+mn-cs"/>
              </a:defRPr>
            </a:lvl1pPr>
            <a:lvl2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2pPr>
            <a:lvl3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3pPr>
            <a:lvl4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4pPr>
            <a:lvl5pPr algn="ctr" rtl="0" eaLnBrk="1" fontAlgn="base" hangingPunct="1">
              <a:spcBef>
                <a:spcPct val="0"/>
              </a:spcBef>
              <a:spcAft>
                <a:spcPct val="0"/>
              </a:spcAft>
              <a:defRPr kumimoji="1" sz="4400">
                <a:solidFill>
                  <a:srgbClr val="00B9F2"/>
                </a:solidFill>
                <a:latin typeface="Calibri" charset="0"/>
                <a:ea typeface="PMingLiU" pitchFamily="18" charset="-120"/>
                <a:cs typeface="新細明體" charset="0"/>
              </a:defRPr>
            </a:lvl5pPr>
            <a:lvl6pPr marL="4572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6pPr>
            <a:lvl7pPr marL="9144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7pPr>
            <a:lvl8pPr marL="13716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8pPr>
            <a:lvl9pPr marL="1828800" algn="ctr" rtl="0" eaLnBrk="1" fontAlgn="base" hangingPunct="1">
              <a:spcBef>
                <a:spcPct val="0"/>
              </a:spcBef>
              <a:spcAft>
                <a:spcPct val="0"/>
              </a:spcAft>
              <a:defRPr kumimoji="1" sz="4400">
                <a:solidFill>
                  <a:srgbClr val="00B9F2"/>
                </a:solidFill>
                <a:latin typeface="Calibri" charset="0"/>
                <a:ea typeface="新細明體" charset="0"/>
                <a:cs typeface="新細明體" charset="0"/>
              </a:defRPr>
            </a:lvl9pPr>
          </a:lstStyle>
          <a:p>
            <a:pPr marL="0" marR="0" lvl="0" indent="0" algn="l" defTabSz="914400" rtl="0" eaLnBrk="1" fontAlgn="base" latinLnBrk="0" hangingPunct="1">
              <a:lnSpc>
                <a:spcPct val="85000"/>
              </a:lnSpc>
              <a:spcBef>
                <a:spcPct val="0"/>
              </a:spcBef>
              <a:spcAft>
                <a:spcPct val="0"/>
              </a:spcAft>
              <a:buClrTx/>
              <a:buSzTx/>
              <a:buFontTx/>
              <a:buNone/>
              <a:tabLst/>
              <a:defRPr/>
            </a:pPr>
            <a:r>
              <a:rPr kumimoji="1" lang="en-US" altLang="zh-TW" sz="2400" b="0" i="0" u="none" strike="noStrike" kern="1200" cap="none" spc="0" normalizeH="0" baseline="0" noProof="0" dirty="0" smtClean="0">
                <a:ln>
                  <a:noFill/>
                </a:ln>
                <a:solidFill>
                  <a:srgbClr val="000000"/>
                </a:solidFill>
                <a:effectLst/>
                <a:uLnTx/>
                <a:uFillTx/>
                <a:latin typeface="Franklin Gothic Medium" panose="020B0603020102020204" pitchFamily="34" charset="0"/>
                <a:ea typeface="PMingLiU" pitchFamily="18" charset="-120"/>
                <a:cs typeface="新細明體"/>
              </a:rPr>
              <a:t>OFF-Production-NET:</a:t>
            </a:r>
            <a:r>
              <a:rPr kumimoji="1" lang="en-US" altLang="zh-TW" sz="2400" b="0" i="0" u="none" strike="noStrike" kern="1200" cap="none" spc="0" normalizeH="0" noProof="0" dirty="0" smtClean="0">
                <a:ln>
                  <a:noFill/>
                </a:ln>
                <a:solidFill>
                  <a:srgbClr val="000000"/>
                </a:solidFill>
                <a:effectLst/>
                <a:uLnTx/>
                <a:uFillTx/>
                <a:latin typeface="Franklin Gothic Medium" panose="020B0603020102020204" pitchFamily="34" charset="0"/>
                <a:ea typeface="PMingLiU" pitchFamily="18" charset="-120"/>
                <a:cs typeface="新細明體"/>
              </a:rPr>
              <a:t> </a:t>
            </a:r>
            <a:r>
              <a:rPr kumimoji="1" lang="en-US" altLang="ja-JP"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DNS</a:t>
            </a:r>
            <a:r>
              <a:rPr kumimoji="1" lang="ja-JP" altLang="en-US" sz="2400" b="0" i="0" u="none" strike="noStrike" kern="1200" cap="none" spc="0" normalizeH="0" baseline="0" noProof="0" dirty="0" smtClean="0">
                <a:ln>
                  <a:noFill/>
                </a:ln>
                <a:solidFill>
                  <a:srgbClr val="000000"/>
                </a:solidFill>
                <a:effectLst/>
                <a:uLnTx/>
                <a:uFillTx/>
                <a:latin typeface="ヒラギノ角ゴ Pro W3"/>
                <a:ea typeface="ヒラギノ角ゴ Pro W3"/>
                <a:cs typeface="ヒラギノ角ゴ Pro W3"/>
              </a:rPr>
              <a:t>レイヤを制御する方法</a:t>
            </a:r>
            <a:endParaRPr kumimoji="1" lang="en-US" altLang="zh-TW" sz="1200" b="0" i="0" u="none" strike="noStrike" kern="1200" cap="none" spc="0" normalizeH="0" baseline="0" noProof="0" dirty="0">
              <a:ln>
                <a:noFill/>
              </a:ln>
              <a:solidFill>
                <a:srgbClr val="000000"/>
              </a:solidFill>
              <a:effectLst/>
              <a:uLnTx/>
              <a:uFillTx/>
              <a:latin typeface="ヒラギノ角ゴ Pro W3"/>
              <a:ea typeface="ヒラギノ角ゴ Pro W3"/>
              <a:cs typeface="ヒラギノ角ゴ Pro W3"/>
            </a:endParaRPr>
          </a:p>
        </p:txBody>
      </p:sp>
      <p:cxnSp>
        <p:nvCxnSpPr>
          <p:cNvPr id="230" name="Elbow Connector 229"/>
          <p:cNvCxnSpPr/>
          <p:nvPr/>
        </p:nvCxnSpPr>
        <p:spPr bwMode="auto">
          <a:xfrm rot="16200000" flipH="1" flipV="1">
            <a:off x="7305049" y="2169531"/>
            <a:ext cx="520726" cy="1316736"/>
          </a:xfrm>
          <a:prstGeom prst="bentConnector3">
            <a:avLst>
              <a:gd name="adj1" fmla="val 54864"/>
            </a:avLst>
          </a:prstGeom>
          <a:solidFill>
            <a:srgbClr val="F37821"/>
          </a:solidFill>
          <a:ln w="19050" cap="rnd" cmpd="sng" algn="ctr">
            <a:solidFill>
              <a:srgbClr val="7F7F7F"/>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31" name="Group 230"/>
          <p:cNvGrpSpPr/>
          <p:nvPr/>
        </p:nvGrpSpPr>
        <p:grpSpPr>
          <a:xfrm>
            <a:off x="3219850" y="2548013"/>
            <a:ext cx="772483" cy="500895"/>
            <a:chOff x="3219843" y="2550369"/>
            <a:chExt cx="772483" cy="501359"/>
          </a:xfrm>
        </p:grpSpPr>
        <p:cxnSp>
          <p:nvCxnSpPr>
            <p:cNvPr id="232" name="Straight Arrow Connector 231"/>
            <p:cNvCxnSpPr/>
            <p:nvPr/>
          </p:nvCxnSpPr>
          <p:spPr bwMode="auto">
            <a:xfrm flipV="1">
              <a:off x="3992326" y="2550369"/>
              <a:ext cx="0" cy="501359"/>
            </a:xfrm>
            <a:prstGeom prst="straightConnector1">
              <a:avLst/>
            </a:prstGeom>
            <a:solidFill>
              <a:srgbClr val="F37821"/>
            </a:solidFill>
            <a:ln w="19050" cap="rnd" cmpd="sng" algn="ctr">
              <a:solidFill>
                <a:srgbClr val="F37821"/>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33" name="TextBox 232"/>
            <p:cNvSpPr txBox="1"/>
            <p:nvPr/>
          </p:nvSpPr>
          <p:spPr>
            <a:xfrm>
              <a:off x="3219843" y="2634131"/>
              <a:ext cx="715084" cy="369144"/>
            </a:xfrm>
            <a:prstGeom prst="rect">
              <a:avLst/>
            </a:prstGeom>
          </p:spPr>
          <p:txBody>
            <a:bodyPr wrap="square" lIns="0" tIns="0" rIns="0" bIns="0" rtlCol="0">
              <a:noAutofit/>
            </a:bodyPr>
            <a:lstStyle/>
            <a:p>
              <a:pPr marL="0" marR="0" lvl="0" indent="0" algn="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encrypted EDNS request w/device ID</a:t>
              </a:r>
            </a:p>
          </p:txBody>
        </p:sp>
      </p:grpSp>
      <p:grpSp>
        <p:nvGrpSpPr>
          <p:cNvPr id="234" name="Group 233"/>
          <p:cNvGrpSpPr/>
          <p:nvPr/>
        </p:nvGrpSpPr>
        <p:grpSpPr>
          <a:xfrm>
            <a:off x="6054851" y="2541593"/>
            <a:ext cx="1943823" cy="520726"/>
            <a:chOff x="6054844" y="2543947"/>
            <a:chExt cx="1943823" cy="521208"/>
          </a:xfrm>
        </p:grpSpPr>
        <p:cxnSp>
          <p:nvCxnSpPr>
            <p:cNvPr id="235" name="Elbow Connector 234"/>
            <p:cNvCxnSpPr/>
            <p:nvPr/>
          </p:nvCxnSpPr>
          <p:spPr bwMode="auto">
            <a:xfrm rot="5400000" flipH="1" flipV="1">
              <a:off x="7125415" y="2191903"/>
              <a:ext cx="521208" cy="1225296"/>
            </a:xfrm>
            <a:prstGeom prst="bentConnector3">
              <a:avLst>
                <a:gd name="adj1" fmla="val 64709"/>
              </a:avLst>
            </a:prstGeom>
            <a:solidFill>
              <a:srgbClr val="F37821"/>
            </a:solidFill>
            <a:ln w="19050" cap="rnd" cmpd="sng" algn="ctr">
              <a:solidFill>
                <a:srgbClr val="7F7F7F"/>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36" name="TextBox 235"/>
            <p:cNvSpPr txBox="1"/>
            <p:nvPr/>
          </p:nvSpPr>
          <p:spPr>
            <a:xfrm>
              <a:off x="6054844" y="2631587"/>
              <a:ext cx="651100" cy="369144"/>
            </a:xfrm>
            <a:prstGeom prst="rect">
              <a:avLst/>
            </a:prstGeom>
          </p:spPr>
          <p:txBody>
            <a:bodyPr wrap="square" lIns="0" tIns="0" rIns="0" bIns="0" rtlCol="0">
              <a:noAutofit/>
            </a:bodyPr>
            <a:lstStyle/>
            <a:p>
              <a:pPr marL="0" marR="0" lvl="0" indent="0" algn="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forwards </a:t>
              </a:r>
              <a:br>
                <a:rPr kumimoji="0" lang="en-US" sz="900" b="0" i="0" u="none" strike="noStrike" kern="0" cap="none" spc="0" normalizeH="0" baseline="0" noProof="0" dirty="0" smtClean="0">
                  <a:ln>
                    <a:noFill/>
                  </a:ln>
                  <a:solidFill>
                    <a:srgbClr val="7F7F7F"/>
                  </a:solidFill>
                  <a:effectLst/>
                  <a:uLnTx/>
                  <a:uFillTx/>
                  <a:latin typeface="Franklin Gothic Book"/>
                </a:rPr>
              </a:br>
              <a:r>
                <a:rPr kumimoji="0" lang="en-US" sz="900" b="0" i="0" u="none" strike="noStrike" kern="0" cap="none" spc="0" normalizeH="0" baseline="0" noProof="0" dirty="0" smtClean="0">
                  <a:ln>
                    <a:noFill/>
                  </a:ln>
                  <a:solidFill>
                    <a:srgbClr val="7F7F7F"/>
                  </a:solidFill>
                  <a:effectLst/>
                  <a:uLnTx/>
                  <a:uFillTx/>
                  <a:latin typeface="Franklin Gothic Book"/>
                </a:rPr>
                <a:t>the identical </a:t>
              </a:r>
              <a:br>
                <a:rPr kumimoji="0" lang="en-US" sz="900" b="0" i="0" u="none" strike="noStrike" kern="0" cap="none" spc="0" normalizeH="0" baseline="0" noProof="0" dirty="0" smtClean="0">
                  <a:ln>
                    <a:noFill/>
                  </a:ln>
                  <a:solidFill>
                    <a:srgbClr val="7F7F7F"/>
                  </a:solidFill>
                  <a:effectLst/>
                  <a:uLnTx/>
                  <a:uFillTx/>
                  <a:latin typeface="Franklin Gothic Book"/>
                </a:rPr>
              </a:br>
              <a:r>
                <a:rPr kumimoji="0" lang="en-US" sz="900" b="0" i="0" u="none" strike="noStrike" kern="0" cap="none" spc="0" normalizeH="0" baseline="0" noProof="0" dirty="0" smtClean="0">
                  <a:ln>
                    <a:noFill/>
                  </a:ln>
                  <a:solidFill>
                    <a:srgbClr val="7F7F7F"/>
                  </a:solidFill>
                  <a:effectLst/>
                  <a:uLnTx/>
                  <a:uFillTx/>
                  <a:latin typeface="Franklin Gothic Book"/>
                </a:rPr>
                <a:t>DNS request</a:t>
              </a:r>
            </a:p>
          </p:txBody>
        </p:sp>
      </p:grpSp>
      <p:grpSp>
        <p:nvGrpSpPr>
          <p:cNvPr id="237" name="Group 236"/>
          <p:cNvGrpSpPr/>
          <p:nvPr/>
        </p:nvGrpSpPr>
        <p:grpSpPr>
          <a:xfrm>
            <a:off x="4125999" y="2567536"/>
            <a:ext cx="1171212" cy="500894"/>
            <a:chOff x="4125999" y="2569914"/>
            <a:chExt cx="1171212" cy="501358"/>
          </a:xfrm>
        </p:grpSpPr>
        <p:cxnSp>
          <p:nvCxnSpPr>
            <p:cNvPr id="238" name="Straight Arrow Connector 237"/>
            <p:cNvCxnSpPr/>
            <p:nvPr/>
          </p:nvCxnSpPr>
          <p:spPr bwMode="auto">
            <a:xfrm>
              <a:off x="4125999" y="2569914"/>
              <a:ext cx="0" cy="501358"/>
            </a:xfrm>
            <a:prstGeom prst="straightConnector1">
              <a:avLst/>
            </a:prstGeom>
            <a:solidFill>
              <a:srgbClr val="F37821"/>
            </a:solidFill>
            <a:ln w="19050" cap="rnd" cmpd="sng" algn="ctr">
              <a:solidFill>
                <a:srgbClr val="F37821"/>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39" name="TextBox 238"/>
            <p:cNvSpPr txBox="1"/>
            <p:nvPr/>
          </p:nvSpPr>
          <p:spPr>
            <a:xfrm>
              <a:off x="4182470" y="2627057"/>
              <a:ext cx="1114741" cy="369144"/>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37821"/>
                  </a:solidFill>
                  <a:effectLst/>
                  <a:uLnTx/>
                  <a:uFillTx/>
                  <a:latin typeface="Franklin Gothic Book"/>
                </a:rPr>
                <a:t>enforces security </a:t>
              </a:r>
              <a:br>
                <a:rPr kumimoji="0" lang="en-US" sz="900" b="0" i="0" u="none" strike="noStrike" kern="0" cap="none" spc="0" normalizeH="0" baseline="0" noProof="0" dirty="0" smtClean="0">
                  <a:ln>
                    <a:noFill/>
                  </a:ln>
                  <a:solidFill>
                    <a:srgbClr val="F37821"/>
                  </a:solidFill>
                  <a:effectLst/>
                  <a:uLnTx/>
                  <a:uFillTx/>
                  <a:latin typeface="Franklin Gothic Book"/>
                </a:rPr>
              </a:br>
              <a:r>
                <a:rPr kumimoji="0" lang="en-US" sz="900" b="0" i="0" u="none" strike="noStrike" kern="0" cap="none" spc="0" normalizeH="0" baseline="0" noProof="0" dirty="0" smtClean="0">
                  <a:ln>
                    <a:noFill/>
                  </a:ln>
                  <a:solidFill>
                    <a:srgbClr val="F37821"/>
                  </a:solidFill>
                  <a:effectLst/>
                  <a:uLnTx/>
                  <a:uFillTx/>
                  <a:latin typeface="Franklin Gothic Book"/>
                </a:rPr>
                <a:t>policy based on </a:t>
              </a:r>
              <a:br>
                <a:rPr kumimoji="0" lang="en-US" sz="900" b="0" i="0" u="none" strike="noStrike" kern="0" cap="none" spc="0" normalizeH="0" baseline="0" noProof="0" dirty="0" smtClean="0">
                  <a:ln>
                    <a:noFill/>
                  </a:ln>
                  <a:solidFill>
                    <a:srgbClr val="F37821"/>
                  </a:solidFill>
                  <a:effectLst/>
                  <a:uLnTx/>
                  <a:uFillTx/>
                  <a:latin typeface="Franklin Gothic Book"/>
                </a:rPr>
              </a:br>
              <a:r>
                <a:rPr kumimoji="0" lang="en-US" sz="900" b="0" i="0" u="none" strike="noStrike" kern="0" cap="none" spc="0" normalizeH="0" baseline="0" noProof="0" dirty="0" smtClean="0">
                  <a:ln>
                    <a:noFill/>
                  </a:ln>
                  <a:solidFill>
                    <a:srgbClr val="F37821"/>
                  </a:solidFill>
                  <a:effectLst/>
                  <a:uLnTx/>
                  <a:uFillTx/>
                  <a:latin typeface="Franklin Gothic Book"/>
                </a:rPr>
                <a:t>threat intel &amp; device ID</a:t>
              </a:r>
              <a:endParaRPr kumimoji="0" lang="en-US" sz="900" b="0" i="0" u="none" strike="noStrike" kern="0" cap="none" spc="0" normalizeH="0" baseline="0" noProof="0" dirty="0" smtClean="0">
                <a:ln>
                  <a:noFill/>
                </a:ln>
                <a:solidFill>
                  <a:srgbClr val="F37821"/>
                </a:solidFill>
                <a:effectLst/>
                <a:uLnTx/>
                <a:uFillTx/>
                <a:latin typeface="Franklin Gothic Medium"/>
              </a:endParaRPr>
            </a:p>
          </p:txBody>
        </p:sp>
      </p:grpSp>
      <p:grpSp>
        <p:nvGrpSpPr>
          <p:cNvPr id="240" name="Group 239"/>
          <p:cNvGrpSpPr/>
          <p:nvPr/>
        </p:nvGrpSpPr>
        <p:grpSpPr>
          <a:xfrm>
            <a:off x="6907044" y="3838578"/>
            <a:ext cx="707576" cy="483043"/>
            <a:chOff x="6907044" y="3842133"/>
            <a:chExt cx="707576" cy="483490"/>
          </a:xfrm>
        </p:grpSpPr>
        <p:cxnSp>
          <p:nvCxnSpPr>
            <p:cNvPr id="241" name="Elbow Connector 240"/>
            <p:cNvCxnSpPr/>
            <p:nvPr/>
          </p:nvCxnSpPr>
          <p:spPr bwMode="auto">
            <a:xfrm>
              <a:off x="6907044" y="3842133"/>
              <a:ext cx="707576" cy="483490"/>
            </a:xfrm>
            <a:prstGeom prst="bentConnector3">
              <a:avLst>
                <a:gd name="adj1" fmla="val 144"/>
              </a:avLst>
            </a:prstGeom>
            <a:solidFill>
              <a:srgbClr val="F37821"/>
            </a:solidFill>
            <a:ln w="19050" cap="rnd" cmpd="sng" algn="ctr">
              <a:solidFill>
                <a:srgbClr val="7F7F7F"/>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42" name="TextBox 241"/>
            <p:cNvSpPr txBox="1"/>
            <p:nvPr/>
          </p:nvSpPr>
          <p:spPr>
            <a:xfrm>
              <a:off x="6967406" y="3947216"/>
              <a:ext cx="601148" cy="365572"/>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response from your DNS server</a:t>
              </a:r>
            </a:p>
          </p:txBody>
        </p:sp>
      </p:grpSp>
      <p:grpSp>
        <p:nvGrpSpPr>
          <p:cNvPr id="243" name="Group 242"/>
          <p:cNvGrpSpPr/>
          <p:nvPr/>
        </p:nvGrpSpPr>
        <p:grpSpPr>
          <a:xfrm>
            <a:off x="4125999" y="3838578"/>
            <a:ext cx="1030892" cy="483043"/>
            <a:chOff x="4125999" y="3842133"/>
            <a:chExt cx="1030892" cy="483490"/>
          </a:xfrm>
        </p:grpSpPr>
        <p:cxnSp>
          <p:nvCxnSpPr>
            <p:cNvPr id="244" name="Elbow Connector 243"/>
            <p:cNvCxnSpPr/>
            <p:nvPr/>
          </p:nvCxnSpPr>
          <p:spPr bwMode="auto">
            <a:xfrm>
              <a:off x="4125999" y="3842133"/>
              <a:ext cx="707576" cy="483490"/>
            </a:xfrm>
            <a:prstGeom prst="bentConnector3">
              <a:avLst>
                <a:gd name="adj1" fmla="val 144"/>
              </a:avLst>
            </a:prstGeom>
            <a:solidFill>
              <a:srgbClr val="F37821"/>
            </a:solidFill>
            <a:ln w="19050" cap="rnd" cmpd="sng" algn="ctr">
              <a:solidFill>
                <a:srgbClr val="F37821"/>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45" name="TextBox 244"/>
            <p:cNvSpPr txBox="1"/>
            <p:nvPr/>
          </p:nvSpPr>
          <p:spPr>
            <a:xfrm>
              <a:off x="4188028" y="3854962"/>
              <a:ext cx="968863" cy="470661"/>
            </a:xfrm>
            <a:prstGeom prst="rect">
              <a:avLst/>
            </a:prstGeom>
          </p:spPr>
          <p:txBody>
            <a:bodyPr wrap="square" lIns="0" tIns="0" rIns="0" bIns="0" rtlCol="0">
              <a:noAutofit/>
            </a:bodyPr>
            <a:lstStyle/>
            <a:p>
              <a:pPr marL="0" marR="0" lvl="0" indent="0"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returns IP to </a:t>
              </a:r>
              <a:r>
                <a:rPr kumimoji="0" lang="en-US" sz="900" b="0" i="0" u="none" strike="noStrike" kern="0" cap="none" spc="0" normalizeH="0" baseline="0" noProof="0" dirty="0" smtClean="0">
                  <a:ln>
                    <a:noFill/>
                  </a:ln>
                  <a:solidFill>
                    <a:srgbClr val="7CBA2B"/>
                  </a:solidFill>
                  <a:effectLst/>
                  <a:uLnTx/>
                  <a:uFillTx/>
                  <a:latin typeface="Franklin Gothic Medium"/>
                </a:rPr>
                <a:t>requested domain</a:t>
              </a:r>
              <a:r>
                <a:rPr kumimoji="0" lang="en-US" sz="900" b="0" i="0" u="none" strike="noStrike" kern="0" cap="none" spc="0" normalizeH="0" baseline="0" noProof="0" dirty="0" smtClean="0">
                  <a:ln>
                    <a:noFill/>
                  </a:ln>
                  <a:solidFill>
                    <a:srgbClr val="7F7F7F"/>
                  </a:solidFill>
                  <a:effectLst/>
                  <a:uLnTx/>
                  <a:uFillTx/>
                  <a:latin typeface="Franklin Gothic Book"/>
                </a:rPr>
                <a:t>, </a:t>
              </a:r>
              <a:br>
                <a:rPr kumimoji="0" lang="en-US" sz="900" b="0" i="0" u="none" strike="noStrike" kern="0" cap="none" spc="0" normalizeH="0" baseline="0" noProof="0" dirty="0" smtClean="0">
                  <a:ln>
                    <a:noFill/>
                  </a:ln>
                  <a:solidFill>
                    <a:srgbClr val="7F7F7F"/>
                  </a:solidFill>
                  <a:effectLst/>
                  <a:uLnTx/>
                  <a:uFillTx/>
                  <a:latin typeface="Franklin Gothic Book"/>
                </a:rPr>
              </a:br>
              <a:r>
                <a:rPr kumimoji="0" lang="en-US" sz="900" b="0" i="0" u="none" strike="noStrike" kern="0" cap="none" spc="0" normalizeH="0" baseline="0" noProof="0" dirty="0" smtClean="0">
                  <a:ln>
                    <a:noFill/>
                  </a:ln>
                  <a:solidFill>
                    <a:srgbClr val="88021C">
                      <a:lumMod val="60000"/>
                      <a:lumOff val="40000"/>
                    </a:srgbClr>
                  </a:solidFill>
                  <a:effectLst/>
                  <a:uLnTx/>
                  <a:uFillTx/>
                  <a:latin typeface="Franklin Gothic Medium"/>
                </a:rPr>
                <a:t>block page</a:t>
              </a:r>
              <a:r>
                <a:rPr kumimoji="0" lang="en-US" sz="900" b="0" i="0" u="none" strike="noStrike" kern="0" cap="none" spc="0" normalizeH="0" baseline="0" noProof="0" dirty="0" smtClean="0">
                  <a:ln>
                    <a:noFill/>
                  </a:ln>
                  <a:solidFill>
                    <a:srgbClr val="7F7F7F"/>
                  </a:solidFill>
                  <a:effectLst/>
                  <a:uLnTx/>
                  <a:uFillTx/>
                  <a:latin typeface="Franklin Gothic Book"/>
                </a:rPr>
                <a:t>, or </a:t>
              </a:r>
              <a:r>
                <a:rPr kumimoji="0" lang="en-US" sz="900" b="0" i="0" u="none" strike="noStrike" kern="0" cap="none" spc="0" normalizeH="0" baseline="0" noProof="0" dirty="0" smtClean="0">
                  <a:ln>
                    <a:noFill/>
                  </a:ln>
                  <a:solidFill>
                    <a:srgbClr val="3C4E9A"/>
                  </a:solidFill>
                  <a:effectLst/>
                  <a:uLnTx/>
                  <a:uFillTx/>
                  <a:latin typeface="Franklin Gothic Medium"/>
                </a:rPr>
                <a:t>proxy</a:t>
              </a:r>
            </a:p>
          </p:txBody>
        </p:sp>
      </p:grpSp>
      <p:grpSp>
        <p:nvGrpSpPr>
          <p:cNvPr id="246" name="Group 245"/>
          <p:cNvGrpSpPr/>
          <p:nvPr/>
        </p:nvGrpSpPr>
        <p:grpSpPr>
          <a:xfrm>
            <a:off x="6200394" y="3845116"/>
            <a:ext cx="1435240" cy="814763"/>
            <a:chOff x="6200394" y="3848673"/>
            <a:chExt cx="1435240" cy="815517"/>
          </a:xfrm>
        </p:grpSpPr>
        <p:cxnSp>
          <p:nvCxnSpPr>
            <p:cNvPr id="247" name="Elbow Connector 246"/>
            <p:cNvCxnSpPr/>
            <p:nvPr/>
          </p:nvCxnSpPr>
          <p:spPr bwMode="auto">
            <a:xfrm rot="10800000">
              <a:off x="6773371" y="3848673"/>
              <a:ext cx="841248" cy="667512"/>
            </a:xfrm>
            <a:prstGeom prst="bentConnector2">
              <a:avLst/>
            </a:prstGeom>
            <a:solidFill>
              <a:srgbClr val="F37821"/>
            </a:solidFill>
            <a:ln w="19050" cap="rnd" cmpd="sng" algn="ctr">
              <a:solidFill>
                <a:srgbClr val="7F7F7F"/>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48" name="TextBox 247"/>
            <p:cNvSpPr txBox="1"/>
            <p:nvPr/>
          </p:nvSpPr>
          <p:spPr>
            <a:xfrm>
              <a:off x="6200394" y="4098514"/>
              <a:ext cx="517678" cy="462577"/>
            </a:xfrm>
            <a:prstGeom prst="rect">
              <a:avLst/>
            </a:prstGeom>
          </p:spPr>
          <p:txBody>
            <a:bodyPr wrap="square" lIns="0" tIns="0" rIns="0" bIns="0" rtlCol="0">
              <a:noAutofit/>
            </a:bodyPr>
            <a:lstStyle/>
            <a:p>
              <a:pPr marL="0" marR="0" lvl="0" indent="0" algn="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DNS requests to </a:t>
              </a:r>
              <a:r>
                <a:rPr kumimoji="0" lang="en-US" sz="900" b="0" i="0" u="sng" strike="noStrike" kern="0" cap="none" spc="0" normalizeH="0" baseline="0" noProof="0" dirty="0" smtClean="0">
                  <a:ln>
                    <a:noFill/>
                  </a:ln>
                  <a:solidFill>
                    <a:srgbClr val="7F7F7F"/>
                  </a:solidFill>
                  <a:effectLst/>
                  <a:uLnTx/>
                  <a:uFillTx/>
                  <a:latin typeface="Franklin Gothic Medium"/>
                </a:rPr>
                <a:t>internal</a:t>
              </a:r>
              <a:r>
                <a:rPr kumimoji="0" lang="en-US" sz="900" b="0" i="0" u="none" strike="noStrike" kern="0" cap="none" spc="0" normalizeH="0" baseline="0" noProof="0" dirty="0" smtClean="0">
                  <a:ln>
                    <a:noFill/>
                  </a:ln>
                  <a:solidFill>
                    <a:srgbClr val="7F7F7F"/>
                  </a:solidFill>
                  <a:effectLst/>
                  <a:uLnTx/>
                  <a:uFillTx/>
                  <a:latin typeface="Franklin Gothic Book"/>
                </a:rPr>
                <a:t> domains</a:t>
              </a:r>
            </a:p>
          </p:txBody>
        </p:sp>
        <p:grpSp>
          <p:nvGrpSpPr>
            <p:cNvPr id="249" name="Group 248"/>
            <p:cNvGrpSpPr/>
            <p:nvPr/>
          </p:nvGrpSpPr>
          <p:grpSpPr>
            <a:xfrm>
              <a:off x="6857863" y="4381023"/>
              <a:ext cx="777771" cy="283167"/>
              <a:chOff x="6967405" y="4205439"/>
              <a:chExt cx="668225" cy="283167"/>
            </a:xfrm>
          </p:grpSpPr>
          <p:sp>
            <p:nvSpPr>
              <p:cNvPr id="250" name="Pentagon 249"/>
              <p:cNvSpPr/>
              <p:nvPr/>
            </p:nvSpPr>
            <p:spPr bwMode="auto">
              <a:xfrm flipH="1">
                <a:off x="6967405" y="4238686"/>
                <a:ext cx="668225" cy="209723"/>
              </a:xfrm>
              <a:prstGeom prst="homePlate">
                <a:avLst/>
              </a:prstGeom>
              <a:solidFill>
                <a:srgbClr val="FFB50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251" name="Rectangle 250"/>
              <p:cNvSpPr/>
              <p:nvPr/>
            </p:nvSpPr>
            <p:spPr bwMode="auto">
              <a:xfrm>
                <a:off x="6979997" y="4205439"/>
                <a:ext cx="613089" cy="283167"/>
              </a:xfrm>
              <a:prstGeom prst="rect">
                <a:avLst/>
              </a:prstGeom>
              <a:no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r" defTabSz="914400" rtl="0" eaLnBrk="1" fontAlgn="base" latinLnBrk="0" hangingPunct="1">
                  <a:lnSpc>
                    <a:spcPct val="80000"/>
                  </a:lnSpc>
                  <a:spcBef>
                    <a:spcPct val="0"/>
                  </a:spcBef>
                  <a:spcAft>
                    <a:spcPct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START HERE!</a:t>
                </a:r>
                <a:endParaRPr kumimoji="1" lang="en-US" sz="9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endParaRPr>
              </a:p>
            </p:txBody>
          </p:sp>
        </p:grpSp>
      </p:grpSp>
      <p:grpSp>
        <p:nvGrpSpPr>
          <p:cNvPr id="252" name="Group 251"/>
          <p:cNvGrpSpPr/>
          <p:nvPr/>
        </p:nvGrpSpPr>
        <p:grpSpPr>
          <a:xfrm>
            <a:off x="3408675" y="3845116"/>
            <a:ext cx="1429192" cy="814763"/>
            <a:chOff x="3408675" y="3848673"/>
            <a:chExt cx="1429192" cy="815517"/>
          </a:xfrm>
        </p:grpSpPr>
        <p:sp>
          <p:nvSpPr>
            <p:cNvPr id="253" name="TextBox 252"/>
            <p:cNvSpPr txBox="1"/>
            <p:nvPr/>
          </p:nvSpPr>
          <p:spPr>
            <a:xfrm>
              <a:off x="3408675" y="4098514"/>
              <a:ext cx="517678" cy="462577"/>
            </a:xfrm>
            <a:prstGeom prst="rect">
              <a:avLst/>
            </a:prstGeom>
          </p:spPr>
          <p:txBody>
            <a:bodyPr wrap="square" lIns="0" tIns="0" rIns="0" bIns="0" rtlCol="0">
              <a:noAutofit/>
            </a:bodyPr>
            <a:lstStyle/>
            <a:p>
              <a:pPr marL="0" marR="0" lvl="0" indent="0" algn="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7F7F7F"/>
                  </a:solidFill>
                  <a:effectLst/>
                  <a:uLnTx/>
                  <a:uFillTx/>
                  <a:latin typeface="Franklin Gothic Book"/>
                </a:rPr>
                <a:t>DNS requests to </a:t>
              </a:r>
              <a:r>
                <a:rPr kumimoji="0" lang="en-US" sz="900" b="0" i="0" u="sng" strike="noStrike" kern="0" cap="none" spc="0" normalizeH="0" baseline="0" noProof="0" dirty="0" smtClean="0">
                  <a:ln>
                    <a:noFill/>
                  </a:ln>
                  <a:solidFill>
                    <a:srgbClr val="7F7F7F"/>
                  </a:solidFill>
                  <a:effectLst/>
                  <a:uLnTx/>
                  <a:uFillTx/>
                  <a:latin typeface="Franklin Gothic Medium"/>
                </a:rPr>
                <a:t>Internet</a:t>
              </a:r>
              <a:r>
                <a:rPr kumimoji="0" lang="en-US" sz="900" b="0" i="0" u="none" strike="noStrike" kern="0" cap="none" spc="0" normalizeH="0" baseline="0" noProof="0" dirty="0" smtClean="0">
                  <a:ln>
                    <a:noFill/>
                  </a:ln>
                  <a:solidFill>
                    <a:srgbClr val="7F7F7F"/>
                  </a:solidFill>
                  <a:effectLst/>
                  <a:uLnTx/>
                  <a:uFillTx/>
                  <a:latin typeface="Franklin Gothic Book"/>
                </a:rPr>
                <a:t> domains</a:t>
              </a:r>
            </a:p>
          </p:txBody>
        </p:sp>
        <p:cxnSp>
          <p:nvCxnSpPr>
            <p:cNvPr id="254" name="Elbow Connector 253"/>
            <p:cNvCxnSpPr/>
            <p:nvPr/>
          </p:nvCxnSpPr>
          <p:spPr bwMode="auto">
            <a:xfrm rot="10800000">
              <a:off x="3992326" y="3848673"/>
              <a:ext cx="841248" cy="667512"/>
            </a:xfrm>
            <a:prstGeom prst="bentConnector2">
              <a:avLst/>
            </a:prstGeom>
            <a:solidFill>
              <a:srgbClr val="F37821"/>
            </a:solidFill>
            <a:ln w="19050" cap="rnd" cmpd="sng" algn="ctr">
              <a:solidFill>
                <a:srgbClr val="7F7F7F"/>
              </a:solidFill>
              <a:prstDash val="solid"/>
              <a:round/>
              <a:headEnd type="none" w="med" len="med"/>
              <a:tailEnd type="arrow" w="lg"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55" name="Group 254"/>
            <p:cNvGrpSpPr/>
            <p:nvPr/>
          </p:nvGrpSpPr>
          <p:grpSpPr>
            <a:xfrm>
              <a:off x="4060096" y="4381023"/>
              <a:ext cx="777771" cy="283167"/>
              <a:chOff x="6967405" y="4205439"/>
              <a:chExt cx="668225" cy="283167"/>
            </a:xfrm>
          </p:grpSpPr>
          <p:sp>
            <p:nvSpPr>
              <p:cNvPr id="256" name="Pentagon 255"/>
              <p:cNvSpPr/>
              <p:nvPr/>
            </p:nvSpPr>
            <p:spPr bwMode="auto">
              <a:xfrm flipH="1">
                <a:off x="6967405" y="4238686"/>
                <a:ext cx="668225" cy="209723"/>
              </a:xfrm>
              <a:prstGeom prst="homePlate">
                <a:avLst/>
              </a:prstGeom>
              <a:solidFill>
                <a:srgbClr val="FFB50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sz="1800" b="0" i="0" u="none" strike="noStrike" kern="0" cap="none" spc="0" normalizeH="0" baseline="0" noProof="0" dirty="0" err="1" smtClean="0">
                  <a:ln>
                    <a:noFill/>
                  </a:ln>
                  <a:solidFill>
                    <a:srgbClr val="000000"/>
                  </a:solidFill>
                  <a:effectLst/>
                  <a:uLnTx/>
                  <a:uFillTx/>
                  <a:latin typeface="Franklin Gothic Book"/>
                  <a:ea typeface="新細明體" charset="0"/>
                  <a:cs typeface="新細明體" charset="0"/>
                </a:endParaRPr>
              </a:p>
            </p:txBody>
          </p:sp>
          <p:sp>
            <p:nvSpPr>
              <p:cNvPr id="257" name="Rectangle 256"/>
              <p:cNvSpPr/>
              <p:nvPr/>
            </p:nvSpPr>
            <p:spPr bwMode="auto">
              <a:xfrm>
                <a:off x="7023089" y="4205439"/>
                <a:ext cx="569278" cy="283167"/>
              </a:xfrm>
              <a:prstGeom prst="rect">
                <a:avLst/>
              </a:prstGeom>
              <a:noFill/>
              <a:ln w="9525" cap="flat" cmpd="sng" algn="ctr">
                <a:noFill/>
                <a:prstDash val="solid"/>
                <a:round/>
                <a:headEnd type="none" w="med" len="med"/>
                <a:tailEnd type="none" w="med" len="med"/>
              </a:ln>
              <a:effectLst/>
              <a:extLst/>
            </p:spPr>
            <p:txBody>
              <a:bodyPr vert="horz" wrap="square" lIns="0" tIns="0" rIns="0" bIns="0" numCol="1" rtlCol="0" anchor="ctr" anchorCtr="0" compatLnSpc="1">
                <a:prstTxWarp prst="textNoShape">
                  <a:avLst/>
                </a:prstTxWarp>
              </a:bodyPr>
              <a:lstStyle/>
              <a:p>
                <a:pPr marL="0" marR="0" lvl="0" indent="0" algn="r" defTabSz="914400" eaLnBrk="1" fontAlgn="auto" latinLnBrk="0" hangingPunct="1">
                  <a:lnSpc>
                    <a:spcPct val="8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FFFFFF"/>
                    </a:solidFill>
                    <a:effectLst/>
                    <a:uLnTx/>
                    <a:uFillTx/>
                    <a:latin typeface="Franklin Gothic Book"/>
                    <a:ea typeface="新細明體" charset="0"/>
                    <a:cs typeface="新細明體" charset="0"/>
                  </a:rPr>
                  <a:t>START HERE!</a:t>
                </a:r>
                <a:endParaRPr kumimoji="0" lang="en-US" sz="900" b="0" i="0" u="none" strike="noStrike" kern="0" cap="none" spc="0" normalizeH="0" baseline="0" noProof="0" dirty="0">
                  <a:ln>
                    <a:noFill/>
                  </a:ln>
                  <a:solidFill>
                    <a:srgbClr val="FFFFFF"/>
                  </a:solidFill>
                  <a:effectLst/>
                  <a:uLnTx/>
                  <a:uFillTx/>
                  <a:latin typeface="Franklin Gothic Book"/>
                  <a:ea typeface="新細明體" charset="0"/>
                  <a:cs typeface="新細明體" charset="0"/>
                </a:endParaRPr>
              </a:p>
            </p:txBody>
          </p:sp>
        </p:grpSp>
      </p:grpSp>
    </p:spTree>
    <p:extLst>
      <p:ext uri="{BB962C8B-B14F-4D97-AF65-F5344CB8AC3E}">
        <p14:creationId xmlns:p14="http://schemas.microsoft.com/office/powerpoint/2010/main" val="26603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4"/>
                                        </p:tgtEl>
                                        <p:attrNameLst>
                                          <p:attrName>style.visibility</p:attrName>
                                        </p:attrNameLst>
                                      </p:cBhvr>
                                      <p:to>
                                        <p:strVal val="visible"/>
                                      </p:to>
                                    </p:set>
                                    <p:animEffect transition="in" filter="fade">
                                      <p:cBhvr>
                                        <p:cTn id="11" dur="500"/>
                                        <p:tgtEl>
                                          <p:spTgt spid="134"/>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nodeType="clickEffect">
                                  <p:stCondLst>
                                    <p:cond delay="0"/>
                                  </p:stCondLst>
                                  <p:childTnLst>
                                    <p:set>
                                      <p:cBhvr>
                                        <p:cTn id="15" dur="1" fill="hold">
                                          <p:stCondLst>
                                            <p:cond delay="0"/>
                                          </p:stCondLst>
                                        </p:cTn>
                                        <p:tgtEl>
                                          <p:spTgt spid="160"/>
                                        </p:tgtEl>
                                        <p:attrNameLst>
                                          <p:attrName>style.visibility</p:attrName>
                                        </p:attrNameLst>
                                      </p:cBhvr>
                                      <p:to>
                                        <p:strVal val="visible"/>
                                      </p:to>
                                    </p:set>
                                    <p:animEffect transition="in" filter="wipe(up)">
                                      <p:cBhvr>
                                        <p:cTn id="16" dur="500"/>
                                        <p:tgtEl>
                                          <p:spTgt spid="160"/>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163"/>
                                        </p:tgtEl>
                                        <p:attrNameLst>
                                          <p:attrName>style.visibility</p:attrName>
                                        </p:attrNameLst>
                                      </p:cBhvr>
                                      <p:to>
                                        <p:strVal val="visible"/>
                                      </p:to>
                                    </p:set>
                                    <p:animEffect transition="in" filter="wipe(left)">
                                      <p:cBhvr>
                                        <p:cTn id="20" dur="500"/>
                                        <p:tgtEl>
                                          <p:spTgt spid="163"/>
                                        </p:tgtEl>
                                      </p:cBhvr>
                                    </p:animEffect>
                                  </p:childTnLst>
                                </p:cTn>
                              </p:par>
                            </p:childTnLst>
                          </p:cTn>
                        </p:par>
                        <p:par>
                          <p:cTn id="21" fill="hold">
                            <p:stCondLst>
                              <p:cond delay="1000"/>
                            </p:stCondLst>
                            <p:childTnLst>
                              <p:par>
                                <p:cTn id="22" presetID="22" presetClass="entr" presetSubtype="1" fill="hold" nodeType="afterEffect">
                                  <p:stCondLst>
                                    <p:cond delay="0"/>
                                  </p:stCondLst>
                                  <p:childTnLst>
                                    <p:set>
                                      <p:cBhvr>
                                        <p:cTn id="23" dur="1" fill="hold">
                                          <p:stCondLst>
                                            <p:cond delay="0"/>
                                          </p:stCondLst>
                                        </p:cTn>
                                        <p:tgtEl>
                                          <p:spTgt spid="166"/>
                                        </p:tgtEl>
                                        <p:attrNameLst>
                                          <p:attrName>style.visibility</p:attrName>
                                        </p:attrNameLst>
                                      </p:cBhvr>
                                      <p:to>
                                        <p:strVal val="visible"/>
                                      </p:to>
                                    </p:set>
                                    <p:animEffect transition="in" filter="wipe(up)">
                                      <p:cBhvr>
                                        <p:cTn id="24" dur="500"/>
                                        <p:tgtEl>
                                          <p:spTgt spid="166"/>
                                        </p:tgtEl>
                                      </p:cBhvr>
                                    </p:animEffect>
                                  </p:childTnLst>
                                </p:cTn>
                              </p:par>
                            </p:childTnLst>
                          </p:cTn>
                        </p:par>
                      </p:childTnLst>
                    </p:cTn>
                  </p:par>
                  <p:par>
                    <p:cTn id="25" fill="hold">
                      <p:stCondLst>
                        <p:cond delay="indefinite"/>
                      </p:stCondLst>
                      <p:childTnLst>
                        <p:par>
                          <p:cTn id="26" fill="hold">
                            <p:stCondLst>
                              <p:cond delay="0"/>
                            </p:stCondLst>
                            <p:childTnLst>
                              <p:par>
                                <p:cTn id="27" presetID="9" presetClass="emph" presetSubtype="0" nodeType="clickEffect">
                                  <p:stCondLst>
                                    <p:cond delay="0"/>
                                  </p:stCondLst>
                                  <p:childTnLst>
                                    <p:set>
                                      <p:cBhvr rctx="PPT">
                                        <p:cTn id="28" dur="indefinite"/>
                                        <p:tgtEl>
                                          <p:spTgt spid="131"/>
                                        </p:tgtEl>
                                        <p:attrNameLst>
                                          <p:attrName>style.opacity</p:attrName>
                                        </p:attrNameLst>
                                      </p:cBhvr>
                                      <p:to>
                                        <p:strVal val="0.25"/>
                                      </p:to>
                                    </p:set>
                                    <p:animEffect filter="image" prLst="opacity: 0.25">
                                      <p:cBhvr rctx="IE">
                                        <p:cTn id="29" dur="indefinite"/>
                                        <p:tgtEl>
                                          <p:spTgt spid="131"/>
                                        </p:tgtEl>
                                      </p:cBhvr>
                                    </p:animEffect>
                                  </p:childTnLst>
                                </p:cTn>
                              </p:par>
                              <p:par>
                                <p:cTn id="30" presetID="9" presetClass="emph" presetSubtype="0" nodeType="withEffect">
                                  <p:stCondLst>
                                    <p:cond delay="0"/>
                                  </p:stCondLst>
                                  <p:childTnLst>
                                    <p:set>
                                      <p:cBhvr rctx="PPT">
                                        <p:cTn id="31" dur="indefinite"/>
                                        <p:tgtEl>
                                          <p:spTgt spid="134"/>
                                        </p:tgtEl>
                                        <p:attrNameLst>
                                          <p:attrName>style.opacity</p:attrName>
                                        </p:attrNameLst>
                                      </p:cBhvr>
                                      <p:to>
                                        <p:strVal val="0.25"/>
                                      </p:to>
                                    </p:set>
                                    <p:animEffect filter="image" prLst="opacity: 0.25">
                                      <p:cBhvr rctx="IE">
                                        <p:cTn id="32" dur="indefinite"/>
                                        <p:tgtEl>
                                          <p:spTgt spid="134"/>
                                        </p:tgtEl>
                                      </p:cBhvr>
                                    </p:animEffect>
                                  </p:childTnLst>
                                </p:cTn>
                              </p:par>
                              <p:par>
                                <p:cTn id="33" presetID="9" presetClass="emph" presetSubtype="0" nodeType="withEffect">
                                  <p:stCondLst>
                                    <p:cond delay="0"/>
                                  </p:stCondLst>
                                  <p:childTnLst>
                                    <p:set>
                                      <p:cBhvr rctx="PPT">
                                        <p:cTn id="34" dur="indefinite"/>
                                        <p:tgtEl>
                                          <p:spTgt spid="160"/>
                                        </p:tgtEl>
                                        <p:attrNameLst>
                                          <p:attrName>style.opacity</p:attrName>
                                        </p:attrNameLst>
                                      </p:cBhvr>
                                      <p:to>
                                        <p:strVal val="0.25"/>
                                      </p:to>
                                    </p:set>
                                    <p:animEffect filter="image" prLst="opacity: 0.25">
                                      <p:cBhvr rctx="IE">
                                        <p:cTn id="35" dur="indefinite"/>
                                        <p:tgtEl>
                                          <p:spTgt spid="160"/>
                                        </p:tgtEl>
                                      </p:cBhvr>
                                    </p:animEffect>
                                  </p:childTnLst>
                                </p:cTn>
                              </p:par>
                              <p:par>
                                <p:cTn id="36" presetID="9" presetClass="emph" presetSubtype="0" nodeType="withEffect">
                                  <p:stCondLst>
                                    <p:cond delay="0"/>
                                  </p:stCondLst>
                                  <p:childTnLst>
                                    <p:set>
                                      <p:cBhvr rctx="PPT">
                                        <p:cTn id="37" dur="indefinite"/>
                                        <p:tgtEl>
                                          <p:spTgt spid="163"/>
                                        </p:tgtEl>
                                        <p:attrNameLst>
                                          <p:attrName>style.opacity</p:attrName>
                                        </p:attrNameLst>
                                      </p:cBhvr>
                                      <p:to>
                                        <p:strVal val="0.25"/>
                                      </p:to>
                                    </p:set>
                                    <p:animEffect filter="image" prLst="opacity: 0.25">
                                      <p:cBhvr rctx="IE">
                                        <p:cTn id="38" dur="indefinite"/>
                                        <p:tgtEl>
                                          <p:spTgt spid="163"/>
                                        </p:tgtEl>
                                      </p:cBhvr>
                                    </p:animEffect>
                                  </p:childTnLst>
                                </p:cTn>
                              </p:par>
                              <p:par>
                                <p:cTn id="39" presetID="9" presetClass="emph" presetSubtype="0" nodeType="withEffect">
                                  <p:stCondLst>
                                    <p:cond delay="0"/>
                                  </p:stCondLst>
                                  <p:childTnLst>
                                    <p:set>
                                      <p:cBhvr rctx="PPT">
                                        <p:cTn id="40" dur="indefinite"/>
                                        <p:tgtEl>
                                          <p:spTgt spid="166"/>
                                        </p:tgtEl>
                                        <p:attrNameLst>
                                          <p:attrName>style.opacity</p:attrName>
                                        </p:attrNameLst>
                                      </p:cBhvr>
                                      <p:to>
                                        <p:strVal val="0.25"/>
                                      </p:to>
                                    </p:set>
                                    <p:animEffect filter="image" prLst="opacity: 0.25">
                                      <p:cBhvr rctx="IE">
                                        <p:cTn id="41" dur="indefinite"/>
                                        <p:tgtEl>
                                          <p:spTgt spid="166"/>
                                        </p:tgtEl>
                                      </p:cBhvr>
                                    </p:animEffect>
                                  </p:childTnLst>
                                </p:cTn>
                              </p:par>
                              <p:par>
                                <p:cTn id="42" presetID="10" presetClass="entr" presetSubtype="0" fill="hold" nodeType="withEffect">
                                  <p:stCondLst>
                                    <p:cond delay="0"/>
                                  </p:stCondLst>
                                  <p:childTnLst>
                                    <p:set>
                                      <p:cBhvr>
                                        <p:cTn id="43" dur="1" fill="hold">
                                          <p:stCondLst>
                                            <p:cond delay="0"/>
                                          </p:stCondLst>
                                        </p:cTn>
                                        <p:tgtEl>
                                          <p:spTgt spid="169"/>
                                        </p:tgtEl>
                                        <p:attrNameLst>
                                          <p:attrName>style.visibility</p:attrName>
                                        </p:attrNameLst>
                                      </p:cBhvr>
                                      <p:to>
                                        <p:strVal val="visible"/>
                                      </p:to>
                                    </p:set>
                                    <p:animEffect transition="in" filter="fade">
                                      <p:cBhvr>
                                        <p:cTn id="44" dur="500"/>
                                        <p:tgtEl>
                                          <p:spTgt spid="16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204"/>
                                        </p:tgtEl>
                                        <p:attrNameLst>
                                          <p:attrName>style.visibility</p:attrName>
                                        </p:attrNameLst>
                                      </p:cBhvr>
                                      <p:to>
                                        <p:strVal val="visible"/>
                                      </p:to>
                                    </p:set>
                                    <p:animEffect transition="in" filter="fade">
                                      <p:cBhvr>
                                        <p:cTn id="49" dur="500"/>
                                        <p:tgtEl>
                                          <p:spTgt spid="204"/>
                                        </p:tgtEl>
                                      </p:cBhvr>
                                    </p:animEffect>
                                  </p:childTnLst>
                                </p:cTn>
                              </p:par>
                            </p:childTnLst>
                          </p:cTn>
                        </p:par>
                        <p:par>
                          <p:cTn id="50" fill="hold">
                            <p:stCondLst>
                              <p:cond delay="500"/>
                            </p:stCondLst>
                            <p:childTnLst>
                              <p:par>
                                <p:cTn id="51" presetID="22" presetClass="entr" presetSubtype="2" fill="hold" nodeType="afterEffect">
                                  <p:stCondLst>
                                    <p:cond delay="0"/>
                                  </p:stCondLst>
                                  <p:childTnLst>
                                    <p:set>
                                      <p:cBhvr>
                                        <p:cTn id="52" dur="1" fill="hold">
                                          <p:stCondLst>
                                            <p:cond delay="0"/>
                                          </p:stCondLst>
                                        </p:cTn>
                                        <p:tgtEl>
                                          <p:spTgt spid="252"/>
                                        </p:tgtEl>
                                        <p:attrNameLst>
                                          <p:attrName>style.visibility</p:attrName>
                                        </p:attrNameLst>
                                      </p:cBhvr>
                                      <p:to>
                                        <p:strVal val="visible"/>
                                      </p:to>
                                    </p:set>
                                    <p:animEffect transition="in" filter="wipe(right)">
                                      <p:cBhvr>
                                        <p:cTn id="53" dur="500"/>
                                        <p:tgtEl>
                                          <p:spTgt spid="252"/>
                                        </p:tgtEl>
                                      </p:cBhvr>
                                    </p:animEffect>
                                  </p:childTnLst>
                                </p:cTn>
                              </p:par>
                            </p:childTnLst>
                          </p:cTn>
                        </p:par>
                        <p:par>
                          <p:cTn id="54" fill="hold">
                            <p:stCondLst>
                              <p:cond delay="1000"/>
                            </p:stCondLst>
                            <p:childTnLst>
                              <p:par>
                                <p:cTn id="55" presetID="22" presetClass="entr" presetSubtype="4" fill="hold" nodeType="afterEffect">
                                  <p:stCondLst>
                                    <p:cond delay="0"/>
                                  </p:stCondLst>
                                  <p:childTnLst>
                                    <p:set>
                                      <p:cBhvr>
                                        <p:cTn id="56" dur="1" fill="hold">
                                          <p:stCondLst>
                                            <p:cond delay="0"/>
                                          </p:stCondLst>
                                        </p:cTn>
                                        <p:tgtEl>
                                          <p:spTgt spid="231"/>
                                        </p:tgtEl>
                                        <p:attrNameLst>
                                          <p:attrName>style.visibility</p:attrName>
                                        </p:attrNameLst>
                                      </p:cBhvr>
                                      <p:to>
                                        <p:strVal val="visible"/>
                                      </p:to>
                                    </p:set>
                                    <p:animEffect transition="in" filter="wipe(down)">
                                      <p:cBhvr>
                                        <p:cTn id="57" dur="500"/>
                                        <p:tgtEl>
                                          <p:spTgt spid="231"/>
                                        </p:tgtEl>
                                      </p:cBhvr>
                                    </p:animEffect>
                                  </p:childTnLst>
                                </p:cTn>
                              </p:par>
                            </p:childTnLst>
                          </p:cTn>
                        </p:par>
                        <p:par>
                          <p:cTn id="58" fill="hold">
                            <p:stCondLst>
                              <p:cond delay="1500"/>
                            </p:stCondLst>
                            <p:childTnLst>
                              <p:par>
                                <p:cTn id="59" presetID="22" presetClass="entr" presetSubtype="1" fill="hold" nodeType="afterEffect">
                                  <p:stCondLst>
                                    <p:cond delay="0"/>
                                  </p:stCondLst>
                                  <p:childTnLst>
                                    <p:set>
                                      <p:cBhvr>
                                        <p:cTn id="60" dur="1" fill="hold">
                                          <p:stCondLst>
                                            <p:cond delay="0"/>
                                          </p:stCondLst>
                                        </p:cTn>
                                        <p:tgtEl>
                                          <p:spTgt spid="237"/>
                                        </p:tgtEl>
                                        <p:attrNameLst>
                                          <p:attrName>style.visibility</p:attrName>
                                        </p:attrNameLst>
                                      </p:cBhvr>
                                      <p:to>
                                        <p:strVal val="visible"/>
                                      </p:to>
                                    </p:set>
                                    <p:animEffect transition="in" filter="wipe(up)">
                                      <p:cBhvr>
                                        <p:cTn id="61" dur="500"/>
                                        <p:tgtEl>
                                          <p:spTgt spid="237"/>
                                        </p:tgtEl>
                                      </p:cBhvr>
                                    </p:animEffect>
                                  </p:childTnLst>
                                </p:cTn>
                              </p:par>
                            </p:childTnLst>
                          </p:cTn>
                        </p:par>
                        <p:par>
                          <p:cTn id="62" fill="hold">
                            <p:stCondLst>
                              <p:cond delay="2000"/>
                            </p:stCondLst>
                            <p:childTnLst>
                              <p:par>
                                <p:cTn id="63" presetID="22" presetClass="entr" presetSubtype="1" fill="hold" nodeType="afterEffect">
                                  <p:stCondLst>
                                    <p:cond delay="0"/>
                                  </p:stCondLst>
                                  <p:childTnLst>
                                    <p:set>
                                      <p:cBhvr>
                                        <p:cTn id="64" dur="1" fill="hold">
                                          <p:stCondLst>
                                            <p:cond delay="0"/>
                                          </p:stCondLst>
                                        </p:cTn>
                                        <p:tgtEl>
                                          <p:spTgt spid="243"/>
                                        </p:tgtEl>
                                        <p:attrNameLst>
                                          <p:attrName>style.visibility</p:attrName>
                                        </p:attrNameLst>
                                      </p:cBhvr>
                                      <p:to>
                                        <p:strVal val="visible"/>
                                      </p:to>
                                    </p:set>
                                    <p:animEffect transition="in" filter="wipe(up)">
                                      <p:cBhvr>
                                        <p:cTn id="65" dur="500"/>
                                        <p:tgtEl>
                                          <p:spTgt spid="243"/>
                                        </p:tgtEl>
                                      </p:cBhvr>
                                    </p:animEffect>
                                  </p:childTnLst>
                                </p:cTn>
                              </p:par>
                            </p:childTnLst>
                          </p:cTn>
                        </p:par>
                      </p:childTnLst>
                    </p:cTn>
                  </p:par>
                  <p:par>
                    <p:cTn id="66" fill="hold">
                      <p:stCondLst>
                        <p:cond delay="indefinite"/>
                      </p:stCondLst>
                      <p:childTnLst>
                        <p:par>
                          <p:cTn id="67" fill="hold">
                            <p:stCondLst>
                              <p:cond delay="0"/>
                            </p:stCondLst>
                            <p:childTnLst>
                              <p:par>
                                <p:cTn id="68" presetID="9" presetClass="emph" presetSubtype="0" nodeType="clickEffect">
                                  <p:stCondLst>
                                    <p:cond delay="0"/>
                                  </p:stCondLst>
                                  <p:childTnLst>
                                    <p:set>
                                      <p:cBhvr rctx="PPT">
                                        <p:cTn id="69" dur="indefinite"/>
                                        <p:tgtEl>
                                          <p:spTgt spid="204"/>
                                        </p:tgtEl>
                                        <p:attrNameLst>
                                          <p:attrName>style.opacity</p:attrName>
                                        </p:attrNameLst>
                                      </p:cBhvr>
                                      <p:to>
                                        <p:strVal val="0.25"/>
                                      </p:to>
                                    </p:set>
                                    <p:animEffect filter="image" prLst="opacity: 0.25">
                                      <p:cBhvr rctx="IE">
                                        <p:cTn id="70" dur="indefinite"/>
                                        <p:tgtEl>
                                          <p:spTgt spid="204"/>
                                        </p:tgtEl>
                                      </p:cBhvr>
                                    </p:animEffect>
                                  </p:childTnLst>
                                </p:cTn>
                              </p:par>
                              <p:par>
                                <p:cTn id="71" presetID="9" presetClass="emph" presetSubtype="0" nodeType="withEffect">
                                  <p:stCondLst>
                                    <p:cond delay="0"/>
                                  </p:stCondLst>
                                  <p:childTnLst>
                                    <p:set>
                                      <p:cBhvr rctx="PPT">
                                        <p:cTn id="72" dur="indefinite"/>
                                        <p:tgtEl>
                                          <p:spTgt spid="231"/>
                                        </p:tgtEl>
                                        <p:attrNameLst>
                                          <p:attrName>style.opacity</p:attrName>
                                        </p:attrNameLst>
                                      </p:cBhvr>
                                      <p:to>
                                        <p:strVal val="0.25"/>
                                      </p:to>
                                    </p:set>
                                    <p:animEffect filter="image" prLst="opacity: 0.25">
                                      <p:cBhvr rctx="IE">
                                        <p:cTn id="73" dur="indefinite"/>
                                        <p:tgtEl>
                                          <p:spTgt spid="231"/>
                                        </p:tgtEl>
                                      </p:cBhvr>
                                    </p:animEffect>
                                  </p:childTnLst>
                                </p:cTn>
                              </p:par>
                              <p:par>
                                <p:cTn id="74" presetID="9" presetClass="emph" presetSubtype="0" nodeType="withEffect">
                                  <p:stCondLst>
                                    <p:cond delay="0"/>
                                  </p:stCondLst>
                                  <p:childTnLst>
                                    <p:set>
                                      <p:cBhvr rctx="PPT">
                                        <p:cTn id="75" dur="indefinite"/>
                                        <p:tgtEl>
                                          <p:spTgt spid="237"/>
                                        </p:tgtEl>
                                        <p:attrNameLst>
                                          <p:attrName>style.opacity</p:attrName>
                                        </p:attrNameLst>
                                      </p:cBhvr>
                                      <p:to>
                                        <p:strVal val="0.25"/>
                                      </p:to>
                                    </p:set>
                                    <p:animEffect filter="image" prLst="opacity: 0.25">
                                      <p:cBhvr rctx="IE">
                                        <p:cTn id="76" dur="indefinite"/>
                                        <p:tgtEl>
                                          <p:spTgt spid="237"/>
                                        </p:tgtEl>
                                      </p:cBhvr>
                                    </p:animEffect>
                                  </p:childTnLst>
                                </p:cTn>
                              </p:par>
                              <p:par>
                                <p:cTn id="77" presetID="9" presetClass="emph" presetSubtype="0" nodeType="withEffect">
                                  <p:stCondLst>
                                    <p:cond delay="0"/>
                                  </p:stCondLst>
                                  <p:childTnLst>
                                    <p:set>
                                      <p:cBhvr rctx="PPT">
                                        <p:cTn id="78" dur="indefinite"/>
                                        <p:tgtEl>
                                          <p:spTgt spid="243"/>
                                        </p:tgtEl>
                                        <p:attrNameLst>
                                          <p:attrName>style.opacity</p:attrName>
                                        </p:attrNameLst>
                                      </p:cBhvr>
                                      <p:to>
                                        <p:strVal val="0.25"/>
                                      </p:to>
                                    </p:set>
                                    <p:animEffect filter="image" prLst="opacity: 0.25">
                                      <p:cBhvr rctx="IE">
                                        <p:cTn id="79" dur="indefinite"/>
                                        <p:tgtEl>
                                          <p:spTgt spid="243"/>
                                        </p:tgtEl>
                                      </p:cBhvr>
                                    </p:animEffect>
                                  </p:childTnLst>
                                </p:cTn>
                              </p:par>
                              <p:par>
                                <p:cTn id="80" presetID="9" presetClass="emph" presetSubtype="0" nodeType="withEffect">
                                  <p:stCondLst>
                                    <p:cond delay="0"/>
                                  </p:stCondLst>
                                  <p:childTnLst>
                                    <p:set>
                                      <p:cBhvr rctx="PPT">
                                        <p:cTn id="81" dur="indefinite"/>
                                        <p:tgtEl>
                                          <p:spTgt spid="252"/>
                                        </p:tgtEl>
                                        <p:attrNameLst>
                                          <p:attrName>style.opacity</p:attrName>
                                        </p:attrNameLst>
                                      </p:cBhvr>
                                      <p:to>
                                        <p:strVal val="0.25"/>
                                      </p:to>
                                    </p:set>
                                    <p:animEffect filter="image" prLst="opacity: 0.25">
                                      <p:cBhvr rctx="IE">
                                        <p:cTn id="82" dur="indefinite"/>
                                        <p:tgtEl>
                                          <p:spTgt spid="252"/>
                                        </p:tgtEl>
                                      </p:cBhvr>
                                    </p:animEffect>
                                  </p:childTnLst>
                                </p:cTn>
                              </p:par>
                              <p:par>
                                <p:cTn id="83" presetID="10" presetClass="entr" presetSubtype="0" fill="hold" nodeType="withEffect">
                                  <p:stCondLst>
                                    <p:cond delay="0"/>
                                  </p:stCondLst>
                                  <p:childTnLst>
                                    <p:set>
                                      <p:cBhvr>
                                        <p:cTn id="84" dur="1" fill="hold">
                                          <p:stCondLst>
                                            <p:cond delay="0"/>
                                          </p:stCondLst>
                                        </p:cTn>
                                        <p:tgtEl>
                                          <p:spTgt spid="178"/>
                                        </p:tgtEl>
                                        <p:attrNameLst>
                                          <p:attrName>style.visibility</p:attrName>
                                        </p:attrNameLst>
                                      </p:cBhvr>
                                      <p:to>
                                        <p:strVal val="visible"/>
                                      </p:to>
                                    </p:set>
                                    <p:animEffect transition="in" filter="fade">
                                      <p:cBhvr>
                                        <p:cTn id="85" dur="500"/>
                                        <p:tgtEl>
                                          <p:spTgt spid="178"/>
                                        </p:tgtEl>
                                      </p:cBhvr>
                                    </p:animEffect>
                                  </p:childTnLst>
                                </p:cTn>
                              </p:par>
                            </p:childTnLst>
                          </p:cTn>
                        </p:par>
                        <p:par>
                          <p:cTn id="86" fill="hold">
                            <p:stCondLst>
                              <p:cond delay="500"/>
                            </p:stCondLst>
                            <p:childTnLst>
                              <p:par>
                                <p:cTn id="87" presetID="22" presetClass="entr" presetSubtype="2" fill="hold" nodeType="afterEffect">
                                  <p:stCondLst>
                                    <p:cond delay="0"/>
                                  </p:stCondLst>
                                  <p:childTnLst>
                                    <p:set>
                                      <p:cBhvr>
                                        <p:cTn id="88" dur="1" fill="hold">
                                          <p:stCondLst>
                                            <p:cond delay="0"/>
                                          </p:stCondLst>
                                        </p:cTn>
                                        <p:tgtEl>
                                          <p:spTgt spid="246"/>
                                        </p:tgtEl>
                                        <p:attrNameLst>
                                          <p:attrName>style.visibility</p:attrName>
                                        </p:attrNameLst>
                                      </p:cBhvr>
                                      <p:to>
                                        <p:strVal val="visible"/>
                                      </p:to>
                                    </p:set>
                                    <p:animEffect transition="in" filter="wipe(right)">
                                      <p:cBhvr>
                                        <p:cTn id="89" dur="500"/>
                                        <p:tgtEl>
                                          <p:spTgt spid="24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234"/>
                                        </p:tgtEl>
                                        <p:attrNameLst>
                                          <p:attrName>style.visibility</p:attrName>
                                        </p:attrNameLst>
                                      </p:cBhvr>
                                      <p:to>
                                        <p:strVal val="visible"/>
                                      </p:to>
                                    </p:set>
                                    <p:animEffect transition="in" filter="wipe(left)">
                                      <p:cBhvr>
                                        <p:cTn id="93" dur="500"/>
                                        <p:tgtEl>
                                          <p:spTgt spid="234"/>
                                        </p:tgtEl>
                                      </p:cBhvr>
                                    </p:animEffect>
                                  </p:childTnLst>
                                </p:cTn>
                              </p:par>
                            </p:childTnLst>
                          </p:cTn>
                        </p:par>
                        <p:par>
                          <p:cTn id="94" fill="hold">
                            <p:stCondLst>
                              <p:cond delay="1500"/>
                            </p:stCondLst>
                            <p:childTnLst>
                              <p:par>
                                <p:cTn id="95" presetID="22" presetClass="entr" presetSubtype="2" fill="hold" nodeType="afterEffect">
                                  <p:stCondLst>
                                    <p:cond delay="0"/>
                                  </p:stCondLst>
                                  <p:childTnLst>
                                    <p:set>
                                      <p:cBhvr>
                                        <p:cTn id="96" dur="1" fill="hold">
                                          <p:stCondLst>
                                            <p:cond delay="0"/>
                                          </p:stCondLst>
                                        </p:cTn>
                                        <p:tgtEl>
                                          <p:spTgt spid="230"/>
                                        </p:tgtEl>
                                        <p:attrNameLst>
                                          <p:attrName>style.visibility</p:attrName>
                                        </p:attrNameLst>
                                      </p:cBhvr>
                                      <p:to>
                                        <p:strVal val="visible"/>
                                      </p:to>
                                    </p:set>
                                    <p:animEffect transition="in" filter="wipe(right)">
                                      <p:cBhvr>
                                        <p:cTn id="97" dur="500"/>
                                        <p:tgtEl>
                                          <p:spTgt spid="230"/>
                                        </p:tgtEl>
                                      </p:cBhvr>
                                    </p:animEffect>
                                  </p:childTnLst>
                                </p:cTn>
                              </p:par>
                            </p:childTnLst>
                          </p:cTn>
                        </p:par>
                        <p:par>
                          <p:cTn id="98" fill="hold">
                            <p:stCondLst>
                              <p:cond delay="2000"/>
                            </p:stCondLst>
                            <p:childTnLst>
                              <p:par>
                                <p:cTn id="99" presetID="22" presetClass="entr" presetSubtype="1" fill="hold" nodeType="afterEffect">
                                  <p:stCondLst>
                                    <p:cond delay="0"/>
                                  </p:stCondLst>
                                  <p:childTnLst>
                                    <p:set>
                                      <p:cBhvr>
                                        <p:cTn id="100" dur="1" fill="hold">
                                          <p:stCondLst>
                                            <p:cond delay="0"/>
                                          </p:stCondLst>
                                        </p:cTn>
                                        <p:tgtEl>
                                          <p:spTgt spid="240"/>
                                        </p:tgtEl>
                                        <p:attrNameLst>
                                          <p:attrName>style.visibility</p:attrName>
                                        </p:attrNameLst>
                                      </p:cBhvr>
                                      <p:to>
                                        <p:strVal val="visible"/>
                                      </p:to>
                                    </p:set>
                                    <p:animEffect transition="in" filter="wipe(up)">
                                      <p:cBhvr>
                                        <p:cTn id="101" dur="500"/>
                                        <p:tgtEl>
                                          <p:spTgt spid="2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 name="Oval 241"/>
          <p:cNvSpPr/>
          <p:nvPr/>
        </p:nvSpPr>
        <p:spPr>
          <a:xfrm>
            <a:off x="5806236" y="1265948"/>
            <a:ext cx="1023800" cy="1033497"/>
          </a:xfrm>
          <a:prstGeom prst="ellipse">
            <a:avLst/>
          </a:prstGeom>
          <a:solidFill>
            <a:srgbClr val="19285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914362" rIns="0" bIns="0" rtlCol="0" anchor="b"/>
          <a:lstStyle/>
          <a:p>
            <a:pPr algn="ctr"/>
            <a:endParaRPr lang="en-US" sz="800" dirty="0">
              <a:solidFill>
                <a:schemeClr val="bg1"/>
              </a:solidFill>
              <a:cs typeface="CiscoSansTT Light"/>
            </a:endParaRPr>
          </a:p>
          <a:p>
            <a:pPr algn="ctr"/>
            <a:r>
              <a:rPr lang="en-US" sz="800" dirty="0">
                <a:solidFill>
                  <a:schemeClr val="bg1"/>
                </a:solidFill>
                <a:cs typeface="CiscoSansTT Light"/>
              </a:rPr>
              <a:t>Threat</a:t>
            </a:r>
            <a:br>
              <a:rPr lang="en-US" sz="800" dirty="0">
                <a:solidFill>
                  <a:schemeClr val="bg1"/>
                </a:solidFill>
                <a:cs typeface="CiscoSansTT Light"/>
              </a:rPr>
            </a:br>
            <a:r>
              <a:rPr lang="en-US" sz="800" dirty="0">
                <a:solidFill>
                  <a:schemeClr val="bg1"/>
                </a:solidFill>
                <a:cs typeface="CiscoSansTT Light"/>
              </a:rPr>
              <a:t>Protection</a:t>
            </a:r>
          </a:p>
        </p:txBody>
      </p:sp>
      <p:grpSp>
        <p:nvGrpSpPr>
          <p:cNvPr id="27" name="Group 26"/>
          <p:cNvGrpSpPr/>
          <p:nvPr/>
        </p:nvGrpSpPr>
        <p:grpSpPr>
          <a:xfrm>
            <a:off x="641734" y="2407192"/>
            <a:ext cx="7930561" cy="987879"/>
            <a:chOff x="641733" y="2407191"/>
            <a:chExt cx="7930561" cy="987879"/>
          </a:xfrm>
        </p:grpSpPr>
        <p:sp>
          <p:nvSpPr>
            <p:cNvPr id="18" name="Trapezoid 17"/>
            <p:cNvSpPr/>
            <p:nvPr/>
          </p:nvSpPr>
          <p:spPr>
            <a:xfrm rot="10800000">
              <a:off x="641733" y="2407191"/>
              <a:ext cx="7930561" cy="634632"/>
            </a:xfrm>
            <a:prstGeom prst="trapezoid">
              <a:avLst>
                <a:gd name="adj" fmla="val 1121847"/>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2" name="Trapezoid 261"/>
            <p:cNvSpPr/>
            <p:nvPr/>
          </p:nvSpPr>
          <p:spPr>
            <a:xfrm>
              <a:off x="641733" y="3041511"/>
              <a:ext cx="7879202" cy="353559"/>
            </a:xfrm>
            <a:prstGeom prst="trapezoid">
              <a:avLst>
                <a:gd name="adj" fmla="val 1259348"/>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Cisco AnyConnect</a:t>
              </a:r>
            </a:p>
          </p:txBody>
        </p:sp>
      </p:grpSp>
      <p:sp>
        <p:nvSpPr>
          <p:cNvPr id="74" name="Title 73"/>
          <p:cNvSpPr>
            <a:spLocks noGrp="1"/>
          </p:cNvSpPr>
          <p:nvPr>
            <p:ph type="title"/>
          </p:nvPr>
        </p:nvSpPr>
        <p:spPr/>
        <p:txBody>
          <a:bodyPr/>
          <a:lstStyle/>
          <a:p>
            <a:r>
              <a:rPr lang="en-US" dirty="0" smtClean="0">
                <a:solidFill>
                  <a:srgbClr val="666666"/>
                </a:solidFill>
              </a:rPr>
              <a:t>AnyConnect – Way more than VPN</a:t>
            </a:r>
            <a:endParaRPr lang="en-US" dirty="0">
              <a:solidFill>
                <a:srgbClr val="666666"/>
              </a:solidFill>
            </a:endParaRPr>
          </a:p>
        </p:txBody>
      </p:sp>
      <p:grpSp>
        <p:nvGrpSpPr>
          <p:cNvPr id="2" name="Group 1"/>
          <p:cNvGrpSpPr/>
          <p:nvPr/>
        </p:nvGrpSpPr>
        <p:grpSpPr>
          <a:xfrm>
            <a:off x="101485" y="1287102"/>
            <a:ext cx="1004296" cy="1004300"/>
            <a:chOff x="641736" y="1277624"/>
            <a:chExt cx="1004296" cy="1004300"/>
          </a:xfrm>
        </p:grpSpPr>
        <p:sp>
          <p:nvSpPr>
            <p:cNvPr id="142" name="Oval 141"/>
            <p:cNvSpPr/>
            <p:nvPr/>
          </p:nvSpPr>
          <p:spPr>
            <a:xfrm>
              <a:off x="641736" y="1277624"/>
              <a:ext cx="1004296" cy="1004300"/>
            </a:xfrm>
            <a:prstGeom prst="ellipse">
              <a:avLst/>
            </a:prstGeom>
            <a:solidFill>
              <a:srgbClr val="19285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31520" rIns="0" bIns="0" rtlCol="0" anchor="b"/>
            <a:lstStyle/>
            <a:p>
              <a:pPr algn="ctr"/>
              <a:r>
                <a:rPr lang="en-US" sz="800" dirty="0">
                  <a:solidFill>
                    <a:schemeClr val="bg1"/>
                  </a:solidFill>
                  <a:cs typeface="CiscoSansTT Light"/>
                </a:rPr>
                <a:t>Basic VPN</a:t>
              </a:r>
            </a:p>
          </p:txBody>
        </p:sp>
        <p:sp>
          <p:nvSpPr>
            <p:cNvPr id="154" name="Freeform 29"/>
            <p:cNvSpPr>
              <a:spLocks noEditPoints="1"/>
            </p:cNvSpPr>
            <p:nvPr/>
          </p:nvSpPr>
          <p:spPr bwMode="auto">
            <a:xfrm>
              <a:off x="908756" y="1384121"/>
              <a:ext cx="201247" cy="282061"/>
            </a:xfrm>
            <a:custGeom>
              <a:avLst/>
              <a:gdLst>
                <a:gd name="T0" fmla="*/ 63 w 72"/>
                <a:gd name="T1" fmla="*/ 27 h 101"/>
                <a:gd name="T2" fmla="*/ 36 w 72"/>
                <a:gd name="T3" fmla="*/ 0 h 101"/>
                <a:gd name="T4" fmla="*/ 9 w 72"/>
                <a:gd name="T5" fmla="*/ 27 h 101"/>
                <a:gd name="T6" fmla="*/ 9 w 72"/>
                <a:gd name="T7" fmla="*/ 41 h 101"/>
                <a:gd name="T8" fmla="*/ 1 w 72"/>
                <a:gd name="T9" fmla="*/ 41 h 101"/>
                <a:gd name="T10" fmla="*/ 0 w 72"/>
                <a:gd name="T11" fmla="*/ 42 h 101"/>
                <a:gd name="T12" fmla="*/ 0 w 72"/>
                <a:gd name="T13" fmla="*/ 99 h 101"/>
                <a:gd name="T14" fmla="*/ 1 w 72"/>
                <a:gd name="T15" fmla="*/ 101 h 101"/>
                <a:gd name="T16" fmla="*/ 9 w 72"/>
                <a:gd name="T17" fmla="*/ 101 h 101"/>
                <a:gd name="T18" fmla="*/ 16 w 72"/>
                <a:gd name="T19" fmla="*/ 101 h 101"/>
                <a:gd name="T20" fmla="*/ 41 w 72"/>
                <a:gd name="T21" fmla="*/ 101 h 101"/>
                <a:gd name="T22" fmla="*/ 43 w 72"/>
                <a:gd name="T23" fmla="*/ 101 h 101"/>
                <a:gd name="T24" fmla="*/ 70 w 72"/>
                <a:gd name="T25" fmla="*/ 101 h 101"/>
                <a:gd name="T26" fmla="*/ 72 w 72"/>
                <a:gd name="T27" fmla="*/ 99 h 101"/>
                <a:gd name="T28" fmla="*/ 72 w 72"/>
                <a:gd name="T29" fmla="*/ 95 h 101"/>
                <a:gd name="T30" fmla="*/ 72 w 72"/>
                <a:gd name="T31" fmla="*/ 90 h 101"/>
                <a:gd name="T32" fmla="*/ 72 w 72"/>
                <a:gd name="T33" fmla="*/ 71 h 101"/>
                <a:gd name="T34" fmla="*/ 72 w 72"/>
                <a:gd name="T35" fmla="*/ 65 h 101"/>
                <a:gd name="T36" fmla="*/ 72 w 72"/>
                <a:gd name="T37" fmla="*/ 58 h 101"/>
                <a:gd name="T38" fmla="*/ 72 w 72"/>
                <a:gd name="T39" fmla="*/ 55 h 101"/>
                <a:gd name="T40" fmla="*/ 72 w 72"/>
                <a:gd name="T41" fmla="*/ 44 h 101"/>
                <a:gd name="T42" fmla="*/ 72 w 72"/>
                <a:gd name="T43" fmla="*/ 42 h 101"/>
                <a:gd name="T44" fmla="*/ 70 w 72"/>
                <a:gd name="T45" fmla="*/ 41 h 101"/>
                <a:gd name="T46" fmla="*/ 63 w 72"/>
                <a:gd name="T47" fmla="*/ 41 h 101"/>
                <a:gd name="T48" fmla="*/ 63 w 72"/>
                <a:gd name="T49" fmla="*/ 39 h 101"/>
                <a:gd name="T50" fmla="*/ 63 w 72"/>
                <a:gd name="T51" fmla="*/ 27 h 101"/>
                <a:gd name="T52" fmla="*/ 40 w 72"/>
                <a:gd name="T53" fmla="*/ 69 h 101"/>
                <a:gd name="T54" fmla="*/ 40 w 72"/>
                <a:gd name="T55" fmla="*/ 71 h 101"/>
                <a:gd name="T56" fmla="*/ 40 w 72"/>
                <a:gd name="T57" fmla="*/ 77 h 101"/>
                <a:gd name="T58" fmla="*/ 36 w 72"/>
                <a:gd name="T59" fmla="*/ 81 h 101"/>
                <a:gd name="T60" fmla="*/ 31 w 72"/>
                <a:gd name="T61" fmla="*/ 77 h 101"/>
                <a:gd name="T62" fmla="*/ 31 w 72"/>
                <a:gd name="T63" fmla="*/ 73 h 101"/>
                <a:gd name="T64" fmla="*/ 31 w 72"/>
                <a:gd name="T65" fmla="*/ 71 h 101"/>
                <a:gd name="T66" fmla="*/ 31 w 72"/>
                <a:gd name="T67" fmla="*/ 69 h 101"/>
                <a:gd name="T68" fmla="*/ 31 w 72"/>
                <a:gd name="T69" fmla="*/ 65 h 101"/>
                <a:gd name="T70" fmla="*/ 36 w 72"/>
                <a:gd name="T71" fmla="*/ 60 h 101"/>
                <a:gd name="T72" fmla="*/ 39 w 72"/>
                <a:gd name="T73" fmla="*/ 62 h 101"/>
                <a:gd name="T74" fmla="*/ 39 w 72"/>
                <a:gd name="T75" fmla="*/ 62 h 101"/>
                <a:gd name="T76" fmla="*/ 39 w 72"/>
                <a:gd name="T77" fmla="*/ 62 h 101"/>
                <a:gd name="T78" fmla="*/ 39 w 72"/>
                <a:gd name="T79" fmla="*/ 62 h 101"/>
                <a:gd name="T80" fmla="*/ 39 w 72"/>
                <a:gd name="T81" fmla="*/ 62 h 101"/>
                <a:gd name="T82" fmla="*/ 40 w 72"/>
                <a:gd name="T83" fmla="*/ 65 h 101"/>
                <a:gd name="T84" fmla="*/ 40 w 72"/>
                <a:gd name="T85" fmla="*/ 69 h 101"/>
                <a:gd name="T86" fmla="*/ 54 w 72"/>
                <a:gd name="T87" fmla="*/ 41 h 101"/>
                <a:gd name="T88" fmla="*/ 18 w 72"/>
                <a:gd name="T89" fmla="*/ 41 h 101"/>
                <a:gd name="T90" fmla="*/ 18 w 72"/>
                <a:gd name="T91" fmla="*/ 27 h 101"/>
                <a:gd name="T92" fmla="*/ 36 w 72"/>
                <a:gd name="T93" fmla="*/ 9 h 101"/>
                <a:gd name="T94" fmla="*/ 54 w 72"/>
                <a:gd name="T95" fmla="*/ 27 h 101"/>
                <a:gd name="T96" fmla="*/ 54 w 72"/>
                <a:gd name="T97" fmla="*/ 4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101">
                  <a:moveTo>
                    <a:pt x="63" y="27"/>
                  </a:moveTo>
                  <a:cubicBezTo>
                    <a:pt x="63" y="13"/>
                    <a:pt x="51" y="0"/>
                    <a:pt x="36" y="0"/>
                  </a:cubicBezTo>
                  <a:cubicBezTo>
                    <a:pt x="21" y="0"/>
                    <a:pt x="9" y="13"/>
                    <a:pt x="9" y="27"/>
                  </a:cubicBezTo>
                  <a:cubicBezTo>
                    <a:pt x="9" y="41"/>
                    <a:pt x="9" y="41"/>
                    <a:pt x="9" y="41"/>
                  </a:cubicBezTo>
                  <a:cubicBezTo>
                    <a:pt x="1" y="41"/>
                    <a:pt x="1" y="41"/>
                    <a:pt x="1" y="41"/>
                  </a:cubicBezTo>
                  <a:cubicBezTo>
                    <a:pt x="0" y="41"/>
                    <a:pt x="0" y="41"/>
                    <a:pt x="0" y="42"/>
                  </a:cubicBezTo>
                  <a:cubicBezTo>
                    <a:pt x="0" y="99"/>
                    <a:pt x="0" y="99"/>
                    <a:pt x="0" y="99"/>
                  </a:cubicBezTo>
                  <a:cubicBezTo>
                    <a:pt x="0" y="100"/>
                    <a:pt x="0" y="101"/>
                    <a:pt x="1" y="101"/>
                  </a:cubicBezTo>
                  <a:cubicBezTo>
                    <a:pt x="9" y="101"/>
                    <a:pt x="9" y="101"/>
                    <a:pt x="9" y="101"/>
                  </a:cubicBezTo>
                  <a:cubicBezTo>
                    <a:pt x="11" y="101"/>
                    <a:pt x="14" y="101"/>
                    <a:pt x="16" y="101"/>
                  </a:cubicBezTo>
                  <a:cubicBezTo>
                    <a:pt x="41" y="101"/>
                    <a:pt x="41" y="101"/>
                    <a:pt x="41" y="101"/>
                  </a:cubicBezTo>
                  <a:cubicBezTo>
                    <a:pt x="42" y="101"/>
                    <a:pt x="43" y="101"/>
                    <a:pt x="43" y="101"/>
                  </a:cubicBezTo>
                  <a:cubicBezTo>
                    <a:pt x="70" y="101"/>
                    <a:pt x="70" y="101"/>
                    <a:pt x="70" y="101"/>
                  </a:cubicBezTo>
                  <a:cubicBezTo>
                    <a:pt x="71" y="101"/>
                    <a:pt x="72" y="100"/>
                    <a:pt x="72" y="99"/>
                  </a:cubicBezTo>
                  <a:cubicBezTo>
                    <a:pt x="72" y="95"/>
                    <a:pt x="72" y="95"/>
                    <a:pt x="72" y="95"/>
                  </a:cubicBezTo>
                  <a:cubicBezTo>
                    <a:pt x="72" y="93"/>
                    <a:pt x="72" y="91"/>
                    <a:pt x="72" y="90"/>
                  </a:cubicBezTo>
                  <a:cubicBezTo>
                    <a:pt x="72" y="71"/>
                    <a:pt x="72" y="71"/>
                    <a:pt x="72" y="71"/>
                  </a:cubicBezTo>
                  <a:cubicBezTo>
                    <a:pt x="72" y="69"/>
                    <a:pt x="72" y="67"/>
                    <a:pt x="72" y="65"/>
                  </a:cubicBezTo>
                  <a:cubicBezTo>
                    <a:pt x="72" y="58"/>
                    <a:pt x="72" y="58"/>
                    <a:pt x="72" y="58"/>
                  </a:cubicBezTo>
                  <a:cubicBezTo>
                    <a:pt x="72" y="57"/>
                    <a:pt x="72" y="56"/>
                    <a:pt x="72" y="55"/>
                  </a:cubicBezTo>
                  <a:cubicBezTo>
                    <a:pt x="72" y="44"/>
                    <a:pt x="72" y="44"/>
                    <a:pt x="72" y="44"/>
                  </a:cubicBezTo>
                  <a:cubicBezTo>
                    <a:pt x="72" y="42"/>
                    <a:pt x="72" y="42"/>
                    <a:pt x="72" y="42"/>
                  </a:cubicBezTo>
                  <a:cubicBezTo>
                    <a:pt x="72" y="41"/>
                    <a:pt x="71" y="41"/>
                    <a:pt x="70" y="41"/>
                  </a:cubicBezTo>
                  <a:cubicBezTo>
                    <a:pt x="63" y="41"/>
                    <a:pt x="63" y="41"/>
                    <a:pt x="63" y="41"/>
                  </a:cubicBezTo>
                  <a:cubicBezTo>
                    <a:pt x="63" y="40"/>
                    <a:pt x="63" y="40"/>
                    <a:pt x="63" y="39"/>
                  </a:cubicBezTo>
                  <a:cubicBezTo>
                    <a:pt x="63" y="27"/>
                    <a:pt x="63" y="27"/>
                    <a:pt x="63" y="27"/>
                  </a:cubicBezTo>
                  <a:close/>
                  <a:moveTo>
                    <a:pt x="40" y="69"/>
                  </a:moveTo>
                  <a:cubicBezTo>
                    <a:pt x="40" y="71"/>
                    <a:pt x="40" y="71"/>
                    <a:pt x="40" y="71"/>
                  </a:cubicBezTo>
                  <a:cubicBezTo>
                    <a:pt x="40" y="77"/>
                    <a:pt x="40" y="77"/>
                    <a:pt x="40" y="77"/>
                  </a:cubicBezTo>
                  <a:cubicBezTo>
                    <a:pt x="40" y="79"/>
                    <a:pt x="38" y="81"/>
                    <a:pt x="36" y="81"/>
                  </a:cubicBezTo>
                  <a:cubicBezTo>
                    <a:pt x="33" y="81"/>
                    <a:pt x="31" y="79"/>
                    <a:pt x="31" y="77"/>
                  </a:cubicBezTo>
                  <a:cubicBezTo>
                    <a:pt x="31" y="73"/>
                    <a:pt x="31" y="73"/>
                    <a:pt x="31" y="73"/>
                  </a:cubicBezTo>
                  <a:cubicBezTo>
                    <a:pt x="31" y="71"/>
                    <a:pt x="31" y="71"/>
                    <a:pt x="31" y="71"/>
                  </a:cubicBezTo>
                  <a:cubicBezTo>
                    <a:pt x="31" y="69"/>
                    <a:pt x="31" y="69"/>
                    <a:pt x="31" y="69"/>
                  </a:cubicBezTo>
                  <a:cubicBezTo>
                    <a:pt x="31" y="65"/>
                    <a:pt x="31" y="65"/>
                    <a:pt x="31" y="65"/>
                  </a:cubicBezTo>
                  <a:cubicBezTo>
                    <a:pt x="31" y="62"/>
                    <a:pt x="33" y="60"/>
                    <a:pt x="36" y="60"/>
                  </a:cubicBezTo>
                  <a:cubicBezTo>
                    <a:pt x="37" y="60"/>
                    <a:pt x="38" y="61"/>
                    <a:pt x="39" y="62"/>
                  </a:cubicBezTo>
                  <a:cubicBezTo>
                    <a:pt x="39" y="62"/>
                    <a:pt x="39" y="62"/>
                    <a:pt x="39" y="62"/>
                  </a:cubicBezTo>
                  <a:cubicBezTo>
                    <a:pt x="39" y="62"/>
                    <a:pt x="39" y="62"/>
                    <a:pt x="39" y="62"/>
                  </a:cubicBezTo>
                  <a:cubicBezTo>
                    <a:pt x="39" y="62"/>
                    <a:pt x="39" y="62"/>
                    <a:pt x="39" y="62"/>
                  </a:cubicBezTo>
                  <a:cubicBezTo>
                    <a:pt x="39" y="62"/>
                    <a:pt x="39" y="62"/>
                    <a:pt x="39" y="62"/>
                  </a:cubicBezTo>
                  <a:cubicBezTo>
                    <a:pt x="40" y="63"/>
                    <a:pt x="40" y="64"/>
                    <a:pt x="40" y="65"/>
                  </a:cubicBezTo>
                  <a:lnTo>
                    <a:pt x="40" y="69"/>
                  </a:lnTo>
                  <a:close/>
                  <a:moveTo>
                    <a:pt x="54" y="41"/>
                  </a:moveTo>
                  <a:cubicBezTo>
                    <a:pt x="18" y="41"/>
                    <a:pt x="18" y="41"/>
                    <a:pt x="18" y="41"/>
                  </a:cubicBezTo>
                  <a:cubicBezTo>
                    <a:pt x="18" y="27"/>
                    <a:pt x="18" y="27"/>
                    <a:pt x="18" y="27"/>
                  </a:cubicBezTo>
                  <a:cubicBezTo>
                    <a:pt x="18" y="17"/>
                    <a:pt x="26" y="9"/>
                    <a:pt x="36" y="9"/>
                  </a:cubicBezTo>
                  <a:cubicBezTo>
                    <a:pt x="46" y="9"/>
                    <a:pt x="54" y="17"/>
                    <a:pt x="54" y="27"/>
                  </a:cubicBezTo>
                  <a:cubicBezTo>
                    <a:pt x="54" y="41"/>
                    <a:pt x="54" y="41"/>
                    <a:pt x="54"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grpSp>
      <p:grpSp>
        <p:nvGrpSpPr>
          <p:cNvPr id="5" name="Group 4"/>
          <p:cNvGrpSpPr/>
          <p:nvPr/>
        </p:nvGrpSpPr>
        <p:grpSpPr>
          <a:xfrm>
            <a:off x="1517447" y="1287101"/>
            <a:ext cx="1909604" cy="1004298"/>
            <a:chOff x="2057698" y="1277624"/>
            <a:chExt cx="1909604" cy="1004298"/>
          </a:xfrm>
        </p:grpSpPr>
        <p:sp>
          <p:nvSpPr>
            <p:cNvPr id="161" name="Freeform 29"/>
            <p:cNvSpPr>
              <a:spLocks noEditPoints="1"/>
            </p:cNvSpPr>
            <p:nvPr/>
          </p:nvSpPr>
          <p:spPr bwMode="auto">
            <a:xfrm>
              <a:off x="2057698" y="1328021"/>
              <a:ext cx="201248" cy="282061"/>
            </a:xfrm>
            <a:custGeom>
              <a:avLst/>
              <a:gdLst>
                <a:gd name="T0" fmla="*/ 63 w 72"/>
                <a:gd name="T1" fmla="*/ 27 h 101"/>
                <a:gd name="T2" fmla="*/ 36 w 72"/>
                <a:gd name="T3" fmla="*/ 0 h 101"/>
                <a:gd name="T4" fmla="*/ 9 w 72"/>
                <a:gd name="T5" fmla="*/ 27 h 101"/>
                <a:gd name="T6" fmla="*/ 9 w 72"/>
                <a:gd name="T7" fmla="*/ 41 h 101"/>
                <a:gd name="T8" fmla="*/ 1 w 72"/>
                <a:gd name="T9" fmla="*/ 41 h 101"/>
                <a:gd name="T10" fmla="*/ 0 w 72"/>
                <a:gd name="T11" fmla="*/ 42 h 101"/>
                <a:gd name="T12" fmla="*/ 0 w 72"/>
                <a:gd name="T13" fmla="*/ 99 h 101"/>
                <a:gd name="T14" fmla="*/ 1 w 72"/>
                <a:gd name="T15" fmla="*/ 101 h 101"/>
                <a:gd name="T16" fmla="*/ 9 w 72"/>
                <a:gd name="T17" fmla="*/ 101 h 101"/>
                <a:gd name="T18" fmla="*/ 16 w 72"/>
                <a:gd name="T19" fmla="*/ 101 h 101"/>
                <a:gd name="T20" fmla="*/ 41 w 72"/>
                <a:gd name="T21" fmla="*/ 101 h 101"/>
                <a:gd name="T22" fmla="*/ 43 w 72"/>
                <a:gd name="T23" fmla="*/ 101 h 101"/>
                <a:gd name="T24" fmla="*/ 70 w 72"/>
                <a:gd name="T25" fmla="*/ 101 h 101"/>
                <a:gd name="T26" fmla="*/ 72 w 72"/>
                <a:gd name="T27" fmla="*/ 99 h 101"/>
                <a:gd name="T28" fmla="*/ 72 w 72"/>
                <a:gd name="T29" fmla="*/ 95 h 101"/>
                <a:gd name="T30" fmla="*/ 72 w 72"/>
                <a:gd name="T31" fmla="*/ 90 h 101"/>
                <a:gd name="T32" fmla="*/ 72 w 72"/>
                <a:gd name="T33" fmla="*/ 71 h 101"/>
                <a:gd name="T34" fmla="*/ 72 w 72"/>
                <a:gd name="T35" fmla="*/ 65 h 101"/>
                <a:gd name="T36" fmla="*/ 72 w 72"/>
                <a:gd name="T37" fmla="*/ 58 h 101"/>
                <a:gd name="T38" fmla="*/ 72 w 72"/>
                <a:gd name="T39" fmla="*/ 55 h 101"/>
                <a:gd name="T40" fmla="*/ 72 w 72"/>
                <a:gd name="T41" fmla="*/ 44 h 101"/>
                <a:gd name="T42" fmla="*/ 72 w 72"/>
                <a:gd name="T43" fmla="*/ 42 h 101"/>
                <a:gd name="T44" fmla="*/ 70 w 72"/>
                <a:gd name="T45" fmla="*/ 41 h 101"/>
                <a:gd name="T46" fmla="*/ 63 w 72"/>
                <a:gd name="T47" fmla="*/ 41 h 101"/>
                <a:gd name="T48" fmla="*/ 63 w 72"/>
                <a:gd name="T49" fmla="*/ 39 h 101"/>
                <a:gd name="T50" fmla="*/ 63 w 72"/>
                <a:gd name="T51" fmla="*/ 27 h 101"/>
                <a:gd name="T52" fmla="*/ 40 w 72"/>
                <a:gd name="T53" fmla="*/ 69 h 101"/>
                <a:gd name="T54" fmla="*/ 40 w 72"/>
                <a:gd name="T55" fmla="*/ 71 h 101"/>
                <a:gd name="T56" fmla="*/ 40 w 72"/>
                <a:gd name="T57" fmla="*/ 77 h 101"/>
                <a:gd name="T58" fmla="*/ 36 w 72"/>
                <a:gd name="T59" fmla="*/ 81 h 101"/>
                <a:gd name="T60" fmla="*/ 31 w 72"/>
                <a:gd name="T61" fmla="*/ 77 h 101"/>
                <a:gd name="T62" fmla="*/ 31 w 72"/>
                <a:gd name="T63" fmla="*/ 73 h 101"/>
                <a:gd name="T64" fmla="*/ 31 w 72"/>
                <a:gd name="T65" fmla="*/ 71 h 101"/>
                <a:gd name="T66" fmla="*/ 31 w 72"/>
                <a:gd name="T67" fmla="*/ 69 h 101"/>
                <a:gd name="T68" fmla="*/ 31 w 72"/>
                <a:gd name="T69" fmla="*/ 65 h 101"/>
                <a:gd name="T70" fmla="*/ 36 w 72"/>
                <a:gd name="T71" fmla="*/ 60 h 101"/>
                <a:gd name="T72" fmla="*/ 39 w 72"/>
                <a:gd name="T73" fmla="*/ 62 h 101"/>
                <a:gd name="T74" fmla="*/ 39 w 72"/>
                <a:gd name="T75" fmla="*/ 62 h 101"/>
                <a:gd name="T76" fmla="*/ 39 w 72"/>
                <a:gd name="T77" fmla="*/ 62 h 101"/>
                <a:gd name="T78" fmla="*/ 39 w 72"/>
                <a:gd name="T79" fmla="*/ 62 h 101"/>
                <a:gd name="T80" fmla="*/ 39 w 72"/>
                <a:gd name="T81" fmla="*/ 62 h 101"/>
                <a:gd name="T82" fmla="*/ 40 w 72"/>
                <a:gd name="T83" fmla="*/ 65 h 101"/>
                <a:gd name="T84" fmla="*/ 40 w 72"/>
                <a:gd name="T85" fmla="*/ 69 h 101"/>
                <a:gd name="T86" fmla="*/ 54 w 72"/>
                <a:gd name="T87" fmla="*/ 41 h 101"/>
                <a:gd name="T88" fmla="*/ 18 w 72"/>
                <a:gd name="T89" fmla="*/ 41 h 101"/>
                <a:gd name="T90" fmla="*/ 18 w 72"/>
                <a:gd name="T91" fmla="*/ 27 h 101"/>
                <a:gd name="T92" fmla="*/ 36 w 72"/>
                <a:gd name="T93" fmla="*/ 9 h 101"/>
                <a:gd name="T94" fmla="*/ 54 w 72"/>
                <a:gd name="T95" fmla="*/ 27 h 101"/>
                <a:gd name="T96" fmla="*/ 54 w 72"/>
                <a:gd name="T97" fmla="*/ 4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101">
                  <a:moveTo>
                    <a:pt x="63" y="27"/>
                  </a:moveTo>
                  <a:cubicBezTo>
                    <a:pt x="63" y="13"/>
                    <a:pt x="51" y="0"/>
                    <a:pt x="36" y="0"/>
                  </a:cubicBezTo>
                  <a:cubicBezTo>
                    <a:pt x="21" y="0"/>
                    <a:pt x="9" y="13"/>
                    <a:pt x="9" y="27"/>
                  </a:cubicBezTo>
                  <a:cubicBezTo>
                    <a:pt x="9" y="41"/>
                    <a:pt x="9" y="41"/>
                    <a:pt x="9" y="41"/>
                  </a:cubicBezTo>
                  <a:cubicBezTo>
                    <a:pt x="1" y="41"/>
                    <a:pt x="1" y="41"/>
                    <a:pt x="1" y="41"/>
                  </a:cubicBezTo>
                  <a:cubicBezTo>
                    <a:pt x="0" y="41"/>
                    <a:pt x="0" y="41"/>
                    <a:pt x="0" y="42"/>
                  </a:cubicBezTo>
                  <a:cubicBezTo>
                    <a:pt x="0" y="99"/>
                    <a:pt x="0" y="99"/>
                    <a:pt x="0" y="99"/>
                  </a:cubicBezTo>
                  <a:cubicBezTo>
                    <a:pt x="0" y="100"/>
                    <a:pt x="0" y="101"/>
                    <a:pt x="1" y="101"/>
                  </a:cubicBezTo>
                  <a:cubicBezTo>
                    <a:pt x="9" y="101"/>
                    <a:pt x="9" y="101"/>
                    <a:pt x="9" y="101"/>
                  </a:cubicBezTo>
                  <a:cubicBezTo>
                    <a:pt x="11" y="101"/>
                    <a:pt x="14" y="101"/>
                    <a:pt x="16" y="101"/>
                  </a:cubicBezTo>
                  <a:cubicBezTo>
                    <a:pt x="41" y="101"/>
                    <a:pt x="41" y="101"/>
                    <a:pt x="41" y="101"/>
                  </a:cubicBezTo>
                  <a:cubicBezTo>
                    <a:pt x="42" y="101"/>
                    <a:pt x="43" y="101"/>
                    <a:pt x="43" y="101"/>
                  </a:cubicBezTo>
                  <a:cubicBezTo>
                    <a:pt x="70" y="101"/>
                    <a:pt x="70" y="101"/>
                    <a:pt x="70" y="101"/>
                  </a:cubicBezTo>
                  <a:cubicBezTo>
                    <a:pt x="71" y="101"/>
                    <a:pt x="72" y="100"/>
                    <a:pt x="72" y="99"/>
                  </a:cubicBezTo>
                  <a:cubicBezTo>
                    <a:pt x="72" y="95"/>
                    <a:pt x="72" y="95"/>
                    <a:pt x="72" y="95"/>
                  </a:cubicBezTo>
                  <a:cubicBezTo>
                    <a:pt x="72" y="93"/>
                    <a:pt x="72" y="91"/>
                    <a:pt x="72" y="90"/>
                  </a:cubicBezTo>
                  <a:cubicBezTo>
                    <a:pt x="72" y="71"/>
                    <a:pt x="72" y="71"/>
                    <a:pt x="72" y="71"/>
                  </a:cubicBezTo>
                  <a:cubicBezTo>
                    <a:pt x="72" y="69"/>
                    <a:pt x="72" y="67"/>
                    <a:pt x="72" y="65"/>
                  </a:cubicBezTo>
                  <a:cubicBezTo>
                    <a:pt x="72" y="58"/>
                    <a:pt x="72" y="58"/>
                    <a:pt x="72" y="58"/>
                  </a:cubicBezTo>
                  <a:cubicBezTo>
                    <a:pt x="72" y="57"/>
                    <a:pt x="72" y="56"/>
                    <a:pt x="72" y="55"/>
                  </a:cubicBezTo>
                  <a:cubicBezTo>
                    <a:pt x="72" y="44"/>
                    <a:pt x="72" y="44"/>
                    <a:pt x="72" y="44"/>
                  </a:cubicBezTo>
                  <a:cubicBezTo>
                    <a:pt x="72" y="42"/>
                    <a:pt x="72" y="42"/>
                    <a:pt x="72" y="42"/>
                  </a:cubicBezTo>
                  <a:cubicBezTo>
                    <a:pt x="72" y="41"/>
                    <a:pt x="71" y="41"/>
                    <a:pt x="70" y="41"/>
                  </a:cubicBezTo>
                  <a:cubicBezTo>
                    <a:pt x="63" y="41"/>
                    <a:pt x="63" y="41"/>
                    <a:pt x="63" y="41"/>
                  </a:cubicBezTo>
                  <a:cubicBezTo>
                    <a:pt x="63" y="40"/>
                    <a:pt x="63" y="40"/>
                    <a:pt x="63" y="39"/>
                  </a:cubicBezTo>
                  <a:cubicBezTo>
                    <a:pt x="63" y="27"/>
                    <a:pt x="63" y="27"/>
                    <a:pt x="63" y="27"/>
                  </a:cubicBezTo>
                  <a:close/>
                  <a:moveTo>
                    <a:pt x="40" y="69"/>
                  </a:moveTo>
                  <a:cubicBezTo>
                    <a:pt x="40" y="71"/>
                    <a:pt x="40" y="71"/>
                    <a:pt x="40" y="71"/>
                  </a:cubicBezTo>
                  <a:cubicBezTo>
                    <a:pt x="40" y="77"/>
                    <a:pt x="40" y="77"/>
                    <a:pt x="40" y="77"/>
                  </a:cubicBezTo>
                  <a:cubicBezTo>
                    <a:pt x="40" y="79"/>
                    <a:pt x="38" y="81"/>
                    <a:pt x="36" y="81"/>
                  </a:cubicBezTo>
                  <a:cubicBezTo>
                    <a:pt x="33" y="81"/>
                    <a:pt x="31" y="79"/>
                    <a:pt x="31" y="77"/>
                  </a:cubicBezTo>
                  <a:cubicBezTo>
                    <a:pt x="31" y="73"/>
                    <a:pt x="31" y="73"/>
                    <a:pt x="31" y="73"/>
                  </a:cubicBezTo>
                  <a:cubicBezTo>
                    <a:pt x="31" y="71"/>
                    <a:pt x="31" y="71"/>
                    <a:pt x="31" y="71"/>
                  </a:cubicBezTo>
                  <a:cubicBezTo>
                    <a:pt x="31" y="69"/>
                    <a:pt x="31" y="69"/>
                    <a:pt x="31" y="69"/>
                  </a:cubicBezTo>
                  <a:cubicBezTo>
                    <a:pt x="31" y="65"/>
                    <a:pt x="31" y="65"/>
                    <a:pt x="31" y="65"/>
                  </a:cubicBezTo>
                  <a:cubicBezTo>
                    <a:pt x="31" y="62"/>
                    <a:pt x="33" y="60"/>
                    <a:pt x="36" y="60"/>
                  </a:cubicBezTo>
                  <a:cubicBezTo>
                    <a:pt x="37" y="60"/>
                    <a:pt x="38" y="61"/>
                    <a:pt x="39" y="62"/>
                  </a:cubicBezTo>
                  <a:cubicBezTo>
                    <a:pt x="39" y="62"/>
                    <a:pt x="39" y="62"/>
                    <a:pt x="39" y="62"/>
                  </a:cubicBezTo>
                  <a:cubicBezTo>
                    <a:pt x="39" y="62"/>
                    <a:pt x="39" y="62"/>
                    <a:pt x="39" y="62"/>
                  </a:cubicBezTo>
                  <a:cubicBezTo>
                    <a:pt x="39" y="62"/>
                    <a:pt x="39" y="62"/>
                    <a:pt x="39" y="62"/>
                  </a:cubicBezTo>
                  <a:cubicBezTo>
                    <a:pt x="39" y="62"/>
                    <a:pt x="39" y="62"/>
                    <a:pt x="39" y="62"/>
                  </a:cubicBezTo>
                  <a:cubicBezTo>
                    <a:pt x="40" y="63"/>
                    <a:pt x="40" y="64"/>
                    <a:pt x="40" y="65"/>
                  </a:cubicBezTo>
                  <a:lnTo>
                    <a:pt x="40" y="69"/>
                  </a:lnTo>
                  <a:close/>
                  <a:moveTo>
                    <a:pt x="54" y="41"/>
                  </a:moveTo>
                  <a:cubicBezTo>
                    <a:pt x="18" y="41"/>
                    <a:pt x="18" y="41"/>
                    <a:pt x="18" y="41"/>
                  </a:cubicBezTo>
                  <a:cubicBezTo>
                    <a:pt x="18" y="27"/>
                    <a:pt x="18" y="27"/>
                    <a:pt x="18" y="27"/>
                  </a:cubicBezTo>
                  <a:cubicBezTo>
                    <a:pt x="18" y="17"/>
                    <a:pt x="26" y="9"/>
                    <a:pt x="36" y="9"/>
                  </a:cubicBezTo>
                  <a:cubicBezTo>
                    <a:pt x="46" y="9"/>
                    <a:pt x="54" y="17"/>
                    <a:pt x="54" y="27"/>
                  </a:cubicBezTo>
                  <a:cubicBezTo>
                    <a:pt x="54" y="41"/>
                    <a:pt x="54" y="41"/>
                    <a:pt x="54"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sp>
          <p:nvSpPr>
            <p:cNvPr id="198" name="Oval 197"/>
            <p:cNvSpPr/>
            <p:nvPr/>
          </p:nvSpPr>
          <p:spPr>
            <a:xfrm>
              <a:off x="2963004" y="1277624"/>
              <a:ext cx="1004298" cy="1004298"/>
            </a:xfrm>
            <a:prstGeom prst="ellipse">
              <a:avLst/>
            </a:prstGeom>
            <a:solidFill>
              <a:srgbClr val="19285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822960" rIns="0" bIns="0" rtlCol="0" anchor="b"/>
            <a:lstStyle/>
            <a:p>
              <a:pPr algn="ctr"/>
              <a:r>
                <a:rPr lang="en-US" sz="800" dirty="0">
                  <a:solidFill>
                    <a:schemeClr val="bg1"/>
                  </a:solidFill>
                  <a:cs typeface="CiscoSansTT Light"/>
                </a:rPr>
                <a:t>Endpoint Compliance</a:t>
              </a:r>
            </a:p>
          </p:txBody>
        </p:sp>
      </p:grpSp>
      <p:grpSp>
        <p:nvGrpSpPr>
          <p:cNvPr id="216" name="Group 215"/>
          <p:cNvGrpSpPr/>
          <p:nvPr/>
        </p:nvGrpSpPr>
        <p:grpSpPr>
          <a:xfrm>
            <a:off x="2779496" y="1393815"/>
            <a:ext cx="361588" cy="519240"/>
            <a:chOff x="5870939" y="444486"/>
            <a:chExt cx="292596" cy="420168"/>
          </a:xfrm>
          <a:solidFill>
            <a:schemeClr val="bg1"/>
          </a:solidFill>
        </p:grpSpPr>
        <p:sp>
          <p:nvSpPr>
            <p:cNvPr id="217" name="Freeform 579"/>
            <p:cNvSpPr>
              <a:spLocks/>
            </p:cNvSpPr>
            <p:nvPr/>
          </p:nvSpPr>
          <p:spPr bwMode="auto">
            <a:xfrm>
              <a:off x="5998822" y="449658"/>
              <a:ext cx="31199" cy="15175"/>
            </a:xfrm>
            <a:custGeom>
              <a:avLst/>
              <a:gdLst>
                <a:gd name="T0" fmla="*/ 32 w 115"/>
                <a:gd name="T1" fmla="*/ 0 h 56"/>
                <a:gd name="T2" fmla="*/ 72 w 115"/>
                <a:gd name="T3" fmla="*/ 0 h 56"/>
                <a:gd name="T4" fmla="*/ 0 w 115"/>
                <a:gd name="T5" fmla="*/ 24 h 56"/>
                <a:gd name="T6" fmla="*/ 32 w 115"/>
                <a:gd name="T7" fmla="*/ 0 h 56"/>
                <a:gd name="T8" fmla="*/ 0 60000 65536"/>
                <a:gd name="T9" fmla="*/ 0 60000 65536"/>
                <a:gd name="T10" fmla="*/ 0 60000 65536"/>
                <a:gd name="T11" fmla="*/ 0 60000 65536"/>
                <a:gd name="T12" fmla="*/ 0 w 115"/>
                <a:gd name="T13" fmla="*/ 0 h 56"/>
                <a:gd name="T14" fmla="*/ 115 w 115"/>
                <a:gd name="T15" fmla="*/ 56 h 56"/>
              </a:gdLst>
              <a:ahLst/>
              <a:cxnLst>
                <a:cxn ang="T8">
                  <a:pos x="T0" y="T1"/>
                </a:cxn>
                <a:cxn ang="T9">
                  <a:pos x="T2" y="T3"/>
                </a:cxn>
                <a:cxn ang="T10">
                  <a:pos x="T4" y="T5"/>
                </a:cxn>
                <a:cxn ang="T11">
                  <a:pos x="T6" y="T7"/>
                </a:cxn>
              </a:cxnLst>
              <a:rect l="T12" t="T13" r="T14" b="T15"/>
              <a:pathLst>
                <a:path w="115" h="56">
                  <a:moveTo>
                    <a:pt x="32" y="0"/>
                  </a:moveTo>
                  <a:cubicBezTo>
                    <a:pt x="45" y="0"/>
                    <a:pt x="59" y="0"/>
                    <a:pt x="72" y="0"/>
                  </a:cubicBezTo>
                  <a:cubicBezTo>
                    <a:pt x="115" y="34"/>
                    <a:pt x="15" y="56"/>
                    <a:pt x="0" y="24"/>
                  </a:cubicBezTo>
                  <a:cubicBezTo>
                    <a:pt x="0" y="5"/>
                    <a:pt x="22" y="8"/>
                    <a:pt x="3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18" name="Freeform 580"/>
            <p:cNvSpPr>
              <a:spLocks/>
            </p:cNvSpPr>
            <p:nvPr/>
          </p:nvSpPr>
          <p:spPr bwMode="auto">
            <a:xfrm>
              <a:off x="5953285" y="444486"/>
              <a:ext cx="149571" cy="56214"/>
            </a:xfrm>
            <a:custGeom>
              <a:avLst/>
              <a:gdLst>
                <a:gd name="T0" fmla="*/ 376 w 552"/>
                <a:gd name="T1" fmla="*/ 75 h 207"/>
                <a:gd name="T2" fmla="*/ 308 w 552"/>
                <a:gd name="T3" fmla="*/ 79 h 207"/>
                <a:gd name="T4" fmla="*/ 452 w 552"/>
                <a:gd name="T5" fmla="*/ 123 h 207"/>
                <a:gd name="T6" fmla="*/ 552 w 552"/>
                <a:gd name="T7" fmla="*/ 207 h 207"/>
                <a:gd name="T8" fmla="*/ 428 w 552"/>
                <a:gd name="T9" fmla="*/ 155 h 207"/>
                <a:gd name="T10" fmla="*/ 200 w 552"/>
                <a:gd name="T11" fmla="*/ 127 h 207"/>
                <a:gd name="T12" fmla="*/ 124 w 552"/>
                <a:gd name="T13" fmla="*/ 111 h 207"/>
                <a:gd name="T14" fmla="*/ 0 w 552"/>
                <a:gd name="T15" fmla="*/ 131 h 207"/>
                <a:gd name="T16" fmla="*/ 224 w 552"/>
                <a:gd name="T17" fmla="*/ 71 h 207"/>
                <a:gd name="T18" fmla="*/ 376 w 552"/>
                <a:gd name="T19" fmla="*/ 75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2"/>
                <a:gd name="T31" fmla="*/ 0 h 207"/>
                <a:gd name="T32" fmla="*/ 552 w 552"/>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2" h="207">
                  <a:moveTo>
                    <a:pt x="376" y="75"/>
                  </a:moveTo>
                  <a:cubicBezTo>
                    <a:pt x="349" y="75"/>
                    <a:pt x="328" y="67"/>
                    <a:pt x="308" y="79"/>
                  </a:cubicBezTo>
                  <a:cubicBezTo>
                    <a:pt x="347" y="104"/>
                    <a:pt x="405" y="105"/>
                    <a:pt x="452" y="123"/>
                  </a:cubicBezTo>
                  <a:cubicBezTo>
                    <a:pt x="494" y="139"/>
                    <a:pt x="548" y="155"/>
                    <a:pt x="552" y="207"/>
                  </a:cubicBezTo>
                  <a:cubicBezTo>
                    <a:pt x="510" y="197"/>
                    <a:pt x="473" y="171"/>
                    <a:pt x="428" y="155"/>
                  </a:cubicBezTo>
                  <a:cubicBezTo>
                    <a:pt x="359" y="130"/>
                    <a:pt x="295" y="137"/>
                    <a:pt x="200" y="127"/>
                  </a:cubicBezTo>
                  <a:cubicBezTo>
                    <a:pt x="174" y="124"/>
                    <a:pt x="150" y="111"/>
                    <a:pt x="124" y="111"/>
                  </a:cubicBezTo>
                  <a:cubicBezTo>
                    <a:pt x="77" y="112"/>
                    <a:pt x="41" y="154"/>
                    <a:pt x="0" y="131"/>
                  </a:cubicBezTo>
                  <a:cubicBezTo>
                    <a:pt x="17" y="48"/>
                    <a:pt x="142" y="83"/>
                    <a:pt x="224" y="71"/>
                  </a:cubicBezTo>
                  <a:cubicBezTo>
                    <a:pt x="275" y="64"/>
                    <a:pt x="359" y="0"/>
                    <a:pt x="376" y="7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19" name="Freeform 581"/>
            <p:cNvSpPr>
              <a:spLocks/>
            </p:cNvSpPr>
            <p:nvPr/>
          </p:nvSpPr>
          <p:spPr bwMode="auto">
            <a:xfrm>
              <a:off x="6062825" y="457016"/>
              <a:ext cx="23284" cy="20117"/>
            </a:xfrm>
            <a:custGeom>
              <a:avLst/>
              <a:gdLst>
                <a:gd name="T0" fmla="*/ 80 w 86"/>
                <a:gd name="T1" fmla="*/ 65 h 74"/>
                <a:gd name="T2" fmla="*/ 0 w 86"/>
                <a:gd name="T3" fmla="*/ 41 h 74"/>
                <a:gd name="T4" fmla="*/ 80 w 86"/>
                <a:gd name="T5" fmla="*/ 65 h 74"/>
                <a:gd name="T6" fmla="*/ 0 60000 65536"/>
                <a:gd name="T7" fmla="*/ 0 60000 65536"/>
                <a:gd name="T8" fmla="*/ 0 60000 65536"/>
                <a:gd name="T9" fmla="*/ 0 w 86"/>
                <a:gd name="T10" fmla="*/ 0 h 74"/>
                <a:gd name="T11" fmla="*/ 86 w 86"/>
                <a:gd name="T12" fmla="*/ 74 h 74"/>
              </a:gdLst>
              <a:ahLst/>
              <a:cxnLst>
                <a:cxn ang="T6">
                  <a:pos x="T0" y="T1"/>
                </a:cxn>
                <a:cxn ang="T7">
                  <a:pos x="T2" y="T3"/>
                </a:cxn>
                <a:cxn ang="T8">
                  <a:pos x="T4" y="T5"/>
                </a:cxn>
              </a:cxnLst>
              <a:rect l="T9" t="T10" r="T11" b="T12"/>
              <a:pathLst>
                <a:path w="86" h="74">
                  <a:moveTo>
                    <a:pt x="80" y="65"/>
                  </a:moveTo>
                  <a:cubicBezTo>
                    <a:pt x="52" y="74"/>
                    <a:pt x="18" y="55"/>
                    <a:pt x="0" y="41"/>
                  </a:cubicBezTo>
                  <a:cubicBezTo>
                    <a:pt x="8" y="0"/>
                    <a:pt x="86" y="28"/>
                    <a:pt x="80" y="6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0" name="Freeform 582"/>
            <p:cNvSpPr>
              <a:spLocks/>
            </p:cNvSpPr>
            <p:nvPr/>
          </p:nvSpPr>
          <p:spPr bwMode="auto">
            <a:xfrm>
              <a:off x="5903734" y="478973"/>
              <a:ext cx="247067" cy="118404"/>
            </a:xfrm>
            <a:custGeom>
              <a:avLst/>
              <a:gdLst>
                <a:gd name="T0" fmla="*/ 895 w 912"/>
                <a:gd name="T1" fmla="*/ 436 h 436"/>
                <a:gd name="T2" fmla="*/ 831 w 912"/>
                <a:gd name="T3" fmla="*/ 336 h 436"/>
                <a:gd name="T4" fmla="*/ 759 w 912"/>
                <a:gd name="T5" fmla="*/ 248 h 436"/>
                <a:gd name="T6" fmla="*/ 747 w 912"/>
                <a:gd name="T7" fmla="*/ 184 h 436"/>
                <a:gd name="T8" fmla="*/ 491 w 912"/>
                <a:gd name="T9" fmla="*/ 64 h 436"/>
                <a:gd name="T10" fmla="*/ 295 w 912"/>
                <a:gd name="T11" fmla="*/ 44 h 436"/>
                <a:gd name="T12" fmla="*/ 479 w 912"/>
                <a:gd name="T13" fmla="*/ 84 h 436"/>
                <a:gd name="T14" fmla="*/ 727 w 912"/>
                <a:gd name="T15" fmla="*/ 220 h 436"/>
                <a:gd name="T16" fmla="*/ 471 w 912"/>
                <a:gd name="T17" fmla="*/ 120 h 436"/>
                <a:gd name="T18" fmla="*/ 363 w 912"/>
                <a:gd name="T19" fmla="*/ 120 h 436"/>
                <a:gd name="T20" fmla="*/ 275 w 912"/>
                <a:gd name="T21" fmla="*/ 92 h 436"/>
                <a:gd name="T22" fmla="*/ 7 w 912"/>
                <a:gd name="T23" fmla="*/ 216 h 436"/>
                <a:gd name="T24" fmla="*/ 99 w 912"/>
                <a:gd name="T25" fmla="*/ 132 h 436"/>
                <a:gd name="T26" fmla="*/ 251 w 912"/>
                <a:gd name="T27" fmla="*/ 24 h 436"/>
                <a:gd name="T28" fmla="*/ 387 w 912"/>
                <a:gd name="T29" fmla="*/ 24 h 436"/>
                <a:gd name="T30" fmla="*/ 503 w 912"/>
                <a:gd name="T31" fmla="*/ 28 h 436"/>
                <a:gd name="T32" fmla="*/ 779 w 912"/>
                <a:gd name="T33" fmla="*/ 148 h 436"/>
                <a:gd name="T34" fmla="*/ 803 w 912"/>
                <a:gd name="T35" fmla="*/ 228 h 436"/>
                <a:gd name="T36" fmla="*/ 847 w 912"/>
                <a:gd name="T37" fmla="*/ 276 h 436"/>
                <a:gd name="T38" fmla="*/ 895 w 912"/>
                <a:gd name="T39" fmla="*/ 436 h 4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2"/>
                <a:gd name="T61" fmla="*/ 0 h 436"/>
                <a:gd name="T62" fmla="*/ 912 w 912"/>
                <a:gd name="T63" fmla="*/ 436 h 4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2" h="436">
                  <a:moveTo>
                    <a:pt x="895" y="436"/>
                  </a:moveTo>
                  <a:cubicBezTo>
                    <a:pt x="864" y="406"/>
                    <a:pt x="854" y="371"/>
                    <a:pt x="831" y="336"/>
                  </a:cubicBezTo>
                  <a:cubicBezTo>
                    <a:pt x="811" y="305"/>
                    <a:pt x="772" y="280"/>
                    <a:pt x="759" y="248"/>
                  </a:cubicBezTo>
                  <a:cubicBezTo>
                    <a:pt x="752" y="230"/>
                    <a:pt x="756" y="204"/>
                    <a:pt x="747" y="184"/>
                  </a:cubicBezTo>
                  <a:cubicBezTo>
                    <a:pt x="721" y="123"/>
                    <a:pt x="586" y="71"/>
                    <a:pt x="491" y="64"/>
                  </a:cubicBezTo>
                  <a:cubicBezTo>
                    <a:pt x="413" y="58"/>
                    <a:pt x="362" y="58"/>
                    <a:pt x="295" y="44"/>
                  </a:cubicBezTo>
                  <a:cubicBezTo>
                    <a:pt x="321" y="92"/>
                    <a:pt x="409" y="79"/>
                    <a:pt x="479" y="84"/>
                  </a:cubicBezTo>
                  <a:cubicBezTo>
                    <a:pt x="591" y="92"/>
                    <a:pt x="712" y="133"/>
                    <a:pt x="727" y="220"/>
                  </a:cubicBezTo>
                  <a:cubicBezTo>
                    <a:pt x="646" y="185"/>
                    <a:pt x="577" y="128"/>
                    <a:pt x="471" y="120"/>
                  </a:cubicBezTo>
                  <a:cubicBezTo>
                    <a:pt x="437" y="117"/>
                    <a:pt x="399" y="124"/>
                    <a:pt x="363" y="120"/>
                  </a:cubicBezTo>
                  <a:cubicBezTo>
                    <a:pt x="333" y="116"/>
                    <a:pt x="305" y="94"/>
                    <a:pt x="275" y="92"/>
                  </a:cubicBezTo>
                  <a:cubicBezTo>
                    <a:pt x="165" y="84"/>
                    <a:pt x="112" y="218"/>
                    <a:pt x="7" y="216"/>
                  </a:cubicBezTo>
                  <a:cubicBezTo>
                    <a:pt x="0" y="168"/>
                    <a:pt x="63" y="154"/>
                    <a:pt x="99" y="132"/>
                  </a:cubicBezTo>
                  <a:cubicBezTo>
                    <a:pt x="142" y="106"/>
                    <a:pt x="199" y="55"/>
                    <a:pt x="251" y="24"/>
                  </a:cubicBezTo>
                  <a:cubicBezTo>
                    <a:pt x="292" y="0"/>
                    <a:pt x="338" y="16"/>
                    <a:pt x="387" y="24"/>
                  </a:cubicBezTo>
                  <a:cubicBezTo>
                    <a:pt x="425" y="30"/>
                    <a:pt x="464" y="25"/>
                    <a:pt x="503" y="28"/>
                  </a:cubicBezTo>
                  <a:cubicBezTo>
                    <a:pt x="592" y="34"/>
                    <a:pt x="736" y="87"/>
                    <a:pt x="779" y="148"/>
                  </a:cubicBezTo>
                  <a:cubicBezTo>
                    <a:pt x="796" y="173"/>
                    <a:pt x="793" y="202"/>
                    <a:pt x="803" y="228"/>
                  </a:cubicBezTo>
                  <a:cubicBezTo>
                    <a:pt x="811" y="248"/>
                    <a:pt x="831" y="256"/>
                    <a:pt x="847" y="276"/>
                  </a:cubicBezTo>
                  <a:cubicBezTo>
                    <a:pt x="880" y="315"/>
                    <a:pt x="912" y="375"/>
                    <a:pt x="895" y="43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1" name="Freeform 583"/>
            <p:cNvSpPr>
              <a:spLocks/>
            </p:cNvSpPr>
            <p:nvPr/>
          </p:nvSpPr>
          <p:spPr bwMode="auto">
            <a:xfrm>
              <a:off x="5923004" y="484951"/>
              <a:ext cx="29249" cy="22301"/>
            </a:xfrm>
            <a:custGeom>
              <a:avLst/>
              <a:gdLst>
                <a:gd name="T0" fmla="*/ 108 w 108"/>
                <a:gd name="T1" fmla="*/ 10 h 82"/>
                <a:gd name="T2" fmla="*/ 0 w 108"/>
                <a:gd name="T3" fmla="*/ 82 h 82"/>
                <a:gd name="T4" fmla="*/ 108 w 108"/>
                <a:gd name="T5" fmla="*/ 10 h 82"/>
                <a:gd name="T6" fmla="*/ 0 60000 65536"/>
                <a:gd name="T7" fmla="*/ 0 60000 65536"/>
                <a:gd name="T8" fmla="*/ 0 60000 65536"/>
                <a:gd name="T9" fmla="*/ 0 w 108"/>
                <a:gd name="T10" fmla="*/ 0 h 82"/>
                <a:gd name="T11" fmla="*/ 108 w 108"/>
                <a:gd name="T12" fmla="*/ 82 h 82"/>
              </a:gdLst>
              <a:ahLst/>
              <a:cxnLst>
                <a:cxn ang="T6">
                  <a:pos x="T0" y="T1"/>
                </a:cxn>
                <a:cxn ang="T7">
                  <a:pos x="T2" y="T3"/>
                </a:cxn>
                <a:cxn ang="T8">
                  <a:pos x="T4" y="T5"/>
                </a:cxn>
              </a:cxnLst>
              <a:rect l="T9" t="T10" r="T11" b="T12"/>
              <a:pathLst>
                <a:path w="108" h="82">
                  <a:moveTo>
                    <a:pt x="108" y="10"/>
                  </a:moveTo>
                  <a:cubicBezTo>
                    <a:pt x="93" y="53"/>
                    <a:pt x="43" y="81"/>
                    <a:pt x="0" y="82"/>
                  </a:cubicBezTo>
                  <a:cubicBezTo>
                    <a:pt x="14" y="38"/>
                    <a:pt x="53" y="0"/>
                    <a:pt x="108" y="1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2" name="Freeform 584"/>
            <p:cNvSpPr>
              <a:spLocks/>
            </p:cNvSpPr>
            <p:nvPr/>
          </p:nvSpPr>
          <p:spPr bwMode="auto">
            <a:xfrm>
              <a:off x="5879646" y="504034"/>
              <a:ext cx="105067" cy="98747"/>
            </a:xfrm>
            <a:custGeom>
              <a:avLst/>
              <a:gdLst>
                <a:gd name="T0" fmla="*/ 388 w 388"/>
                <a:gd name="T1" fmla="*/ 36 h 364"/>
                <a:gd name="T2" fmla="*/ 220 w 388"/>
                <a:gd name="T3" fmla="*/ 148 h 364"/>
                <a:gd name="T4" fmla="*/ 192 w 388"/>
                <a:gd name="T5" fmla="*/ 200 h 364"/>
                <a:gd name="T6" fmla="*/ 96 w 388"/>
                <a:gd name="T7" fmla="*/ 276 h 364"/>
                <a:gd name="T8" fmla="*/ 12 w 388"/>
                <a:gd name="T9" fmla="*/ 364 h 364"/>
                <a:gd name="T10" fmla="*/ 88 w 388"/>
                <a:gd name="T11" fmla="*/ 232 h 364"/>
                <a:gd name="T12" fmla="*/ 160 w 388"/>
                <a:gd name="T13" fmla="*/ 184 h 364"/>
                <a:gd name="T14" fmla="*/ 208 w 388"/>
                <a:gd name="T15" fmla="*/ 104 h 364"/>
                <a:gd name="T16" fmla="*/ 388 w 388"/>
                <a:gd name="T17" fmla="*/ 36 h 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8"/>
                <a:gd name="T28" fmla="*/ 0 h 364"/>
                <a:gd name="T29" fmla="*/ 388 w 388"/>
                <a:gd name="T30" fmla="*/ 364 h 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8" h="364">
                  <a:moveTo>
                    <a:pt x="388" y="36"/>
                  </a:moveTo>
                  <a:cubicBezTo>
                    <a:pt x="327" y="76"/>
                    <a:pt x="262" y="93"/>
                    <a:pt x="220" y="148"/>
                  </a:cubicBezTo>
                  <a:cubicBezTo>
                    <a:pt x="208" y="164"/>
                    <a:pt x="205" y="185"/>
                    <a:pt x="192" y="200"/>
                  </a:cubicBezTo>
                  <a:cubicBezTo>
                    <a:pt x="166" y="229"/>
                    <a:pt x="126" y="246"/>
                    <a:pt x="96" y="276"/>
                  </a:cubicBezTo>
                  <a:cubicBezTo>
                    <a:pt x="66" y="306"/>
                    <a:pt x="53" y="347"/>
                    <a:pt x="12" y="364"/>
                  </a:cubicBezTo>
                  <a:cubicBezTo>
                    <a:pt x="0" y="307"/>
                    <a:pt x="48" y="268"/>
                    <a:pt x="88" y="232"/>
                  </a:cubicBezTo>
                  <a:cubicBezTo>
                    <a:pt x="110" y="212"/>
                    <a:pt x="142" y="202"/>
                    <a:pt x="160" y="184"/>
                  </a:cubicBezTo>
                  <a:cubicBezTo>
                    <a:pt x="179" y="165"/>
                    <a:pt x="187" y="127"/>
                    <a:pt x="208" y="104"/>
                  </a:cubicBezTo>
                  <a:cubicBezTo>
                    <a:pt x="245" y="65"/>
                    <a:pt x="341" y="0"/>
                    <a:pt x="388" y="3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3" name="Freeform 585"/>
            <p:cNvSpPr>
              <a:spLocks/>
            </p:cNvSpPr>
            <p:nvPr/>
          </p:nvSpPr>
          <p:spPr bwMode="auto">
            <a:xfrm>
              <a:off x="5943537" y="513230"/>
              <a:ext cx="219998" cy="216693"/>
            </a:xfrm>
            <a:custGeom>
              <a:avLst/>
              <a:gdLst>
                <a:gd name="T0" fmla="*/ 812 w 812"/>
                <a:gd name="T1" fmla="*/ 598 h 798"/>
                <a:gd name="T2" fmla="*/ 812 w 812"/>
                <a:gd name="T3" fmla="*/ 682 h 798"/>
                <a:gd name="T4" fmla="*/ 760 w 812"/>
                <a:gd name="T5" fmla="*/ 798 h 798"/>
                <a:gd name="T6" fmla="*/ 772 w 812"/>
                <a:gd name="T7" fmla="*/ 590 h 798"/>
                <a:gd name="T8" fmla="*/ 576 w 812"/>
                <a:gd name="T9" fmla="*/ 182 h 798"/>
                <a:gd name="T10" fmla="*/ 100 w 812"/>
                <a:gd name="T11" fmla="*/ 94 h 798"/>
                <a:gd name="T12" fmla="*/ 0 w 812"/>
                <a:gd name="T13" fmla="*/ 154 h 798"/>
                <a:gd name="T14" fmla="*/ 112 w 812"/>
                <a:gd name="T15" fmla="*/ 50 h 798"/>
                <a:gd name="T16" fmla="*/ 364 w 812"/>
                <a:gd name="T17" fmla="*/ 22 h 798"/>
                <a:gd name="T18" fmla="*/ 812 w 812"/>
                <a:gd name="T19" fmla="*/ 598 h 7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2"/>
                <a:gd name="T31" fmla="*/ 0 h 798"/>
                <a:gd name="T32" fmla="*/ 812 w 812"/>
                <a:gd name="T33" fmla="*/ 798 h 7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2" h="798">
                  <a:moveTo>
                    <a:pt x="812" y="598"/>
                  </a:moveTo>
                  <a:cubicBezTo>
                    <a:pt x="812" y="626"/>
                    <a:pt x="812" y="654"/>
                    <a:pt x="812" y="682"/>
                  </a:cubicBezTo>
                  <a:cubicBezTo>
                    <a:pt x="796" y="722"/>
                    <a:pt x="801" y="783"/>
                    <a:pt x="760" y="798"/>
                  </a:cubicBezTo>
                  <a:cubicBezTo>
                    <a:pt x="757" y="729"/>
                    <a:pt x="777" y="659"/>
                    <a:pt x="772" y="590"/>
                  </a:cubicBezTo>
                  <a:cubicBezTo>
                    <a:pt x="760" y="437"/>
                    <a:pt x="656" y="264"/>
                    <a:pt x="576" y="182"/>
                  </a:cubicBezTo>
                  <a:cubicBezTo>
                    <a:pt x="477" y="80"/>
                    <a:pt x="267" y="0"/>
                    <a:pt x="100" y="94"/>
                  </a:cubicBezTo>
                  <a:cubicBezTo>
                    <a:pt x="64" y="114"/>
                    <a:pt x="48" y="161"/>
                    <a:pt x="0" y="154"/>
                  </a:cubicBezTo>
                  <a:cubicBezTo>
                    <a:pt x="13" y="101"/>
                    <a:pt x="67" y="72"/>
                    <a:pt x="112" y="50"/>
                  </a:cubicBezTo>
                  <a:cubicBezTo>
                    <a:pt x="181" y="17"/>
                    <a:pt x="283" y="3"/>
                    <a:pt x="364" y="22"/>
                  </a:cubicBezTo>
                  <a:cubicBezTo>
                    <a:pt x="614" y="81"/>
                    <a:pt x="776" y="324"/>
                    <a:pt x="812" y="59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4" name="Freeform 586"/>
            <p:cNvSpPr>
              <a:spLocks/>
            </p:cNvSpPr>
            <p:nvPr/>
          </p:nvSpPr>
          <p:spPr bwMode="auto">
            <a:xfrm>
              <a:off x="5870939" y="533578"/>
              <a:ext cx="276088" cy="186574"/>
            </a:xfrm>
            <a:custGeom>
              <a:avLst/>
              <a:gdLst>
                <a:gd name="T0" fmla="*/ 0 w 1019"/>
                <a:gd name="T1" fmla="*/ 467 h 687"/>
                <a:gd name="T2" fmla="*/ 0 w 1019"/>
                <a:gd name="T3" fmla="*/ 435 h 687"/>
                <a:gd name="T4" fmla="*/ 220 w 1019"/>
                <a:gd name="T5" fmla="*/ 131 h 687"/>
                <a:gd name="T6" fmla="*/ 296 w 1019"/>
                <a:gd name="T7" fmla="*/ 103 h 687"/>
                <a:gd name="T8" fmla="*/ 380 w 1019"/>
                <a:gd name="T9" fmla="*/ 43 h 687"/>
                <a:gd name="T10" fmla="*/ 588 w 1019"/>
                <a:gd name="T11" fmla="*/ 3 h 687"/>
                <a:gd name="T12" fmla="*/ 844 w 1019"/>
                <a:gd name="T13" fmla="*/ 143 h 687"/>
                <a:gd name="T14" fmla="*/ 1012 w 1019"/>
                <a:gd name="T15" fmla="*/ 551 h 687"/>
                <a:gd name="T16" fmla="*/ 976 w 1019"/>
                <a:gd name="T17" fmla="*/ 687 h 687"/>
                <a:gd name="T18" fmla="*/ 968 w 1019"/>
                <a:gd name="T19" fmla="*/ 539 h 687"/>
                <a:gd name="T20" fmla="*/ 820 w 1019"/>
                <a:gd name="T21" fmla="*/ 187 h 687"/>
                <a:gd name="T22" fmla="*/ 412 w 1019"/>
                <a:gd name="T23" fmla="*/ 75 h 687"/>
                <a:gd name="T24" fmla="*/ 304 w 1019"/>
                <a:gd name="T25" fmla="*/ 151 h 687"/>
                <a:gd name="T26" fmla="*/ 232 w 1019"/>
                <a:gd name="T27" fmla="*/ 171 h 687"/>
                <a:gd name="T28" fmla="*/ 68 w 1019"/>
                <a:gd name="T29" fmla="*/ 371 h 687"/>
                <a:gd name="T30" fmla="*/ 0 w 1019"/>
                <a:gd name="T31" fmla="*/ 467 h 6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9"/>
                <a:gd name="T49" fmla="*/ 0 h 687"/>
                <a:gd name="T50" fmla="*/ 1019 w 1019"/>
                <a:gd name="T51" fmla="*/ 687 h 6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9" h="687">
                  <a:moveTo>
                    <a:pt x="0" y="467"/>
                  </a:moveTo>
                  <a:cubicBezTo>
                    <a:pt x="0" y="456"/>
                    <a:pt x="0" y="446"/>
                    <a:pt x="0" y="435"/>
                  </a:cubicBezTo>
                  <a:cubicBezTo>
                    <a:pt x="35" y="319"/>
                    <a:pt x="123" y="178"/>
                    <a:pt x="220" y="131"/>
                  </a:cubicBezTo>
                  <a:cubicBezTo>
                    <a:pt x="245" y="119"/>
                    <a:pt x="272" y="115"/>
                    <a:pt x="296" y="103"/>
                  </a:cubicBezTo>
                  <a:cubicBezTo>
                    <a:pt x="329" y="86"/>
                    <a:pt x="354" y="58"/>
                    <a:pt x="380" y="43"/>
                  </a:cubicBezTo>
                  <a:cubicBezTo>
                    <a:pt x="432" y="14"/>
                    <a:pt x="497" y="0"/>
                    <a:pt x="588" y="3"/>
                  </a:cubicBezTo>
                  <a:cubicBezTo>
                    <a:pt x="693" y="7"/>
                    <a:pt x="788" y="78"/>
                    <a:pt x="844" y="143"/>
                  </a:cubicBezTo>
                  <a:cubicBezTo>
                    <a:pt x="930" y="242"/>
                    <a:pt x="1012" y="387"/>
                    <a:pt x="1012" y="551"/>
                  </a:cubicBezTo>
                  <a:cubicBezTo>
                    <a:pt x="1012" y="598"/>
                    <a:pt x="1019" y="653"/>
                    <a:pt x="976" y="687"/>
                  </a:cubicBezTo>
                  <a:cubicBezTo>
                    <a:pt x="955" y="635"/>
                    <a:pt x="970" y="584"/>
                    <a:pt x="968" y="539"/>
                  </a:cubicBezTo>
                  <a:cubicBezTo>
                    <a:pt x="961" y="392"/>
                    <a:pt x="890" y="271"/>
                    <a:pt x="820" y="187"/>
                  </a:cubicBezTo>
                  <a:cubicBezTo>
                    <a:pt x="740" y="91"/>
                    <a:pt x="571" y="0"/>
                    <a:pt x="412" y="75"/>
                  </a:cubicBezTo>
                  <a:cubicBezTo>
                    <a:pt x="373" y="93"/>
                    <a:pt x="347" y="132"/>
                    <a:pt x="304" y="151"/>
                  </a:cubicBezTo>
                  <a:cubicBezTo>
                    <a:pt x="283" y="160"/>
                    <a:pt x="256" y="159"/>
                    <a:pt x="232" y="171"/>
                  </a:cubicBezTo>
                  <a:cubicBezTo>
                    <a:pt x="156" y="208"/>
                    <a:pt x="102" y="300"/>
                    <a:pt x="68" y="371"/>
                  </a:cubicBezTo>
                  <a:cubicBezTo>
                    <a:pt x="52" y="406"/>
                    <a:pt x="34" y="484"/>
                    <a:pt x="0" y="46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5" name="Freeform 587"/>
            <p:cNvSpPr>
              <a:spLocks/>
            </p:cNvSpPr>
            <p:nvPr/>
          </p:nvSpPr>
          <p:spPr bwMode="auto">
            <a:xfrm>
              <a:off x="5893421" y="538751"/>
              <a:ext cx="29593" cy="27129"/>
            </a:xfrm>
            <a:custGeom>
              <a:avLst/>
              <a:gdLst>
                <a:gd name="T0" fmla="*/ 109 w 109"/>
                <a:gd name="T1" fmla="*/ 0 h 100"/>
                <a:gd name="T2" fmla="*/ 1 w 109"/>
                <a:gd name="T3" fmla="*/ 100 h 100"/>
                <a:gd name="T4" fmla="*/ 109 w 109"/>
                <a:gd name="T5" fmla="*/ 0 h 100"/>
                <a:gd name="T6" fmla="*/ 0 60000 65536"/>
                <a:gd name="T7" fmla="*/ 0 60000 65536"/>
                <a:gd name="T8" fmla="*/ 0 60000 65536"/>
                <a:gd name="T9" fmla="*/ 0 w 109"/>
                <a:gd name="T10" fmla="*/ 0 h 100"/>
                <a:gd name="T11" fmla="*/ 109 w 109"/>
                <a:gd name="T12" fmla="*/ 100 h 100"/>
              </a:gdLst>
              <a:ahLst/>
              <a:cxnLst>
                <a:cxn ang="T6">
                  <a:pos x="T0" y="T1"/>
                </a:cxn>
                <a:cxn ang="T7">
                  <a:pos x="T2" y="T3"/>
                </a:cxn>
                <a:cxn ang="T8">
                  <a:pos x="T4" y="T5"/>
                </a:cxn>
              </a:cxnLst>
              <a:rect l="T9" t="T10" r="T11" b="T12"/>
              <a:pathLst>
                <a:path w="109" h="100">
                  <a:moveTo>
                    <a:pt x="109" y="0"/>
                  </a:moveTo>
                  <a:cubicBezTo>
                    <a:pt x="102" y="62"/>
                    <a:pt x="47" y="77"/>
                    <a:pt x="1" y="100"/>
                  </a:cubicBezTo>
                  <a:cubicBezTo>
                    <a:pt x="0" y="45"/>
                    <a:pt x="52" y="10"/>
                    <a:pt x="10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6" name="Freeform 588"/>
            <p:cNvSpPr>
              <a:spLocks/>
            </p:cNvSpPr>
            <p:nvPr/>
          </p:nvSpPr>
          <p:spPr bwMode="auto">
            <a:xfrm>
              <a:off x="5874724" y="552546"/>
              <a:ext cx="225963" cy="286011"/>
            </a:xfrm>
            <a:custGeom>
              <a:avLst/>
              <a:gdLst>
                <a:gd name="T0" fmla="*/ 386 w 834"/>
                <a:gd name="T1" fmla="*/ 105 h 1053"/>
                <a:gd name="T2" fmla="*/ 470 w 834"/>
                <a:gd name="T3" fmla="*/ 85 h 1053"/>
                <a:gd name="T4" fmla="*/ 834 w 834"/>
                <a:gd name="T5" fmla="*/ 397 h 1053"/>
                <a:gd name="T6" fmla="*/ 830 w 834"/>
                <a:gd name="T7" fmla="*/ 429 h 1053"/>
                <a:gd name="T8" fmla="*/ 694 w 834"/>
                <a:gd name="T9" fmla="*/ 869 h 1053"/>
                <a:gd name="T10" fmla="*/ 542 w 834"/>
                <a:gd name="T11" fmla="*/ 937 h 1053"/>
                <a:gd name="T12" fmla="*/ 434 w 834"/>
                <a:gd name="T13" fmla="*/ 1001 h 1053"/>
                <a:gd name="T14" fmla="*/ 302 w 834"/>
                <a:gd name="T15" fmla="*/ 1021 h 1053"/>
                <a:gd name="T16" fmla="*/ 222 w 834"/>
                <a:gd name="T17" fmla="*/ 1045 h 1053"/>
                <a:gd name="T18" fmla="*/ 390 w 834"/>
                <a:gd name="T19" fmla="*/ 965 h 1053"/>
                <a:gd name="T20" fmla="*/ 690 w 834"/>
                <a:gd name="T21" fmla="*/ 625 h 1053"/>
                <a:gd name="T22" fmla="*/ 714 w 834"/>
                <a:gd name="T23" fmla="*/ 521 h 1053"/>
                <a:gd name="T24" fmla="*/ 722 w 834"/>
                <a:gd name="T25" fmla="*/ 653 h 1053"/>
                <a:gd name="T26" fmla="*/ 622 w 834"/>
                <a:gd name="T27" fmla="*/ 861 h 1053"/>
                <a:gd name="T28" fmla="*/ 766 w 834"/>
                <a:gd name="T29" fmla="*/ 529 h 1053"/>
                <a:gd name="T30" fmla="*/ 778 w 834"/>
                <a:gd name="T31" fmla="*/ 361 h 1053"/>
                <a:gd name="T32" fmla="*/ 522 w 834"/>
                <a:gd name="T33" fmla="*/ 133 h 1053"/>
                <a:gd name="T34" fmla="*/ 326 w 834"/>
                <a:gd name="T35" fmla="*/ 205 h 1053"/>
                <a:gd name="T36" fmla="*/ 202 w 834"/>
                <a:gd name="T37" fmla="*/ 321 h 1053"/>
                <a:gd name="T38" fmla="*/ 114 w 834"/>
                <a:gd name="T39" fmla="*/ 505 h 1053"/>
                <a:gd name="T40" fmla="*/ 18 w 834"/>
                <a:gd name="T41" fmla="*/ 645 h 1053"/>
                <a:gd name="T42" fmla="*/ 78 w 834"/>
                <a:gd name="T43" fmla="*/ 477 h 1053"/>
                <a:gd name="T44" fmla="*/ 150 w 834"/>
                <a:gd name="T45" fmla="*/ 309 h 1053"/>
                <a:gd name="T46" fmla="*/ 266 w 834"/>
                <a:gd name="T47" fmla="*/ 185 h 1053"/>
                <a:gd name="T48" fmla="*/ 502 w 834"/>
                <a:gd name="T49" fmla="*/ 5 h 1053"/>
                <a:gd name="T50" fmla="*/ 574 w 834"/>
                <a:gd name="T51" fmla="*/ 25 h 1053"/>
                <a:gd name="T52" fmla="*/ 470 w 834"/>
                <a:gd name="T53" fmla="*/ 57 h 1053"/>
                <a:gd name="T54" fmla="*/ 386 w 834"/>
                <a:gd name="T55" fmla="*/ 105 h 10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4"/>
                <a:gd name="T85" fmla="*/ 0 h 1053"/>
                <a:gd name="T86" fmla="*/ 834 w 834"/>
                <a:gd name="T87" fmla="*/ 1053 h 10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4" h="1053">
                  <a:moveTo>
                    <a:pt x="386" y="105"/>
                  </a:moveTo>
                  <a:cubicBezTo>
                    <a:pt x="419" y="107"/>
                    <a:pt x="441" y="88"/>
                    <a:pt x="470" y="85"/>
                  </a:cubicBezTo>
                  <a:cubicBezTo>
                    <a:pt x="658" y="63"/>
                    <a:pt x="834" y="235"/>
                    <a:pt x="834" y="397"/>
                  </a:cubicBezTo>
                  <a:cubicBezTo>
                    <a:pt x="834" y="407"/>
                    <a:pt x="832" y="420"/>
                    <a:pt x="830" y="429"/>
                  </a:cubicBezTo>
                  <a:cubicBezTo>
                    <a:pt x="792" y="614"/>
                    <a:pt x="805" y="765"/>
                    <a:pt x="694" y="869"/>
                  </a:cubicBezTo>
                  <a:cubicBezTo>
                    <a:pt x="652" y="909"/>
                    <a:pt x="601" y="916"/>
                    <a:pt x="542" y="937"/>
                  </a:cubicBezTo>
                  <a:cubicBezTo>
                    <a:pt x="502" y="951"/>
                    <a:pt x="477" y="984"/>
                    <a:pt x="434" y="1001"/>
                  </a:cubicBezTo>
                  <a:cubicBezTo>
                    <a:pt x="395" y="1017"/>
                    <a:pt x="348" y="1010"/>
                    <a:pt x="302" y="1021"/>
                  </a:cubicBezTo>
                  <a:cubicBezTo>
                    <a:pt x="278" y="1027"/>
                    <a:pt x="256" y="1053"/>
                    <a:pt x="222" y="1045"/>
                  </a:cubicBezTo>
                  <a:cubicBezTo>
                    <a:pt x="220" y="972"/>
                    <a:pt x="328" y="988"/>
                    <a:pt x="390" y="965"/>
                  </a:cubicBezTo>
                  <a:cubicBezTo>
                    <a:pt x="533" y="914"/>
                    <a:pt x="657" y="786"/>
                    <a:pt x="690" y="625"/>
                  </a:cubicBezTo>
                  <a:cubicBezTo>
                    <a:pt x="697" y="593"/>
                    <a:pt x="685" y="552"/>
                    <a:pt x="714" y="521"/>
                  </a:cubicBezTo>
                  <a:cubicBezTo>
                    <a:pt x="764" y="541"/>
                    <a:pt x="733" y="611"/>
                    <a:pt x="722" y="653"/>
                  </a:cubicBezTo>
                  <a:cubicBezTo>
                    <a:pt x="700" y="737"/>
                    <a:pt x="671" y="808"/>
                    <a:pt x="622" y="861"/>
                  </a:cubicBezTo>
                  <a:cubicBezTo>
                    <a:pt x="735" y="819"/>
                    <a:pt x="755" y="678"/>
                    <a:pt x="766" y="529"/>
                  </a:cubicBezTo>
                  <a:cubicBezTo>
                    <a:pt x="771" y="467"/>
                    <a:pt x="790" y="414"/>
                    <a:pt x="778" y="361"/>
                  </a:cubicBezTo>
                  <a:cubicBezTo>
                    <a:pt x="753" y="251"/>
                    <a:pt x="651" y="135"/>
                    <a:pt x="522" y="133"/>
                  </a:cubicBezTo>
                  <a:cubicBezTo>
                    <a:pt x="442" y="132"/>
                    <a:pt x="378" y="164"/>
                    <a:pt x="326" y="205"/>
                  </a:cubicBezTo>
                  <a:cubicBezTo>
                    <a:pt x="288" y="236"/>
                    <a:pt x="235" y="283"/>
                    <a:pt x="202" y="321"/>
                  </a:cubicBezTo>
                  <a:cubicBezTo>
                    <a:pt x="166" y="363"/>
                    <a:pt x="144" y="445"/>
                    <a:pt x="114" y="505"/>
                  </a:cubicBezTo>
                  <a:cubicBezTo>
                    <a:pt x="89" y="556"/>
                    <a:pt x="74" y="622"/>
                    <a:pt x="18" y="645"/>
                  </a:cubicBezTo>
                  <a:cubicBezTo>
                    <a:pt x="0" y="588"/>
                    <a:pt x="50" y="534"/>
                    <a:pt x="78" y="477"/>
                  </a:cubicBezTo>
                  <a:cubicBezTo>
                    <a:pt x="104" y="424"/>
                    <a:pt x="119" y="359"/>
                    <a:pt x="150" y="309"/>
                  </a:cubicBezTo>
                  <a:cubicBezTo>
                    <a:pt x="177" y="264"/>
                    <a:pt x="229" y="225"/>
                    <a:pt x="266" y="185"/>
                  </a:cubicBezTo>
                  <a:cubicBezTo>
                    <a:pt x="341" y="106"/>
                    <a:pt x="369" y="17"/>
                    <a:pt x="502" y="5"/>
                  </a:cubicBezTo>
                  <a:cubicBezTo>
                    <a:pt x="524" y="3"/>
                    <a:pt x="572" y="0"/>
                    <a:pt x="574" y="25"/>
                  </a:cubicBezTo>
                  <a:cubicBezTo>
                    <a:pt x="577" y="58"/>
                    <a:pt x="501" y="50"/>
                    <a:pt x="470" y="57"/>
                  </a:cubicBezTo>
                  <a:cubicBezTo>
                    <a:pt x="435" y="65"/>
                    <a:pt x="401" y="77"/>
                    <a:pt x="386" y="10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7" name="Freeform 589"/>
            <p:cNvSpPr>
              <a:spLocks/>
            </p:cNvSpPr>
            <p:nvPr/>
          </p:nvSpPr>
          <p:spPr bwMode="auto">
            <a:xfrm>
              <a:off x="6034619" y="552892"/>
              <a:ext cx="93711" cy="167261"/>
            </a:xfrm>
            <a:custGeom>
              <a:avLst/>
              <a:gdLst>
                <a:gd name="T0" fmla="*/ 304 w 346"/>
                <a:gd name="T1" fmla="*/ 616 h 616"/>
                <a:gd name="T2" fmla="*/ 300 w 346"/>
                <a:gd name="T3" fmla="*/ 464 h 616"/>
                <a:gd name="T4" fmla="*/ 280 w 346"/>
                <a:gd name="T5" fmla="*/ 412 h 616"/>
                <a:gd name="T6" fmla="*/ 232 w 346"/>
                <a:gd name="T7" fmla="*/ 260 h 616"/>
                <a:gd name="T8" fmla="*/ 80 w 346"/>
                <a:gd name="T9" fmla="*/ 92 h 616"/>
                <a:gd name="T10" fmla="*/ 0 w 346"/>
                <a:gd name="T11" fmla="*/ 32 h 616"/>
                <a:gd name="T12" fmla="*/ 200 w 346"/>
                <a:gd name="T13" fmla="*/ 132 h 616"/>
                <a:gd name="T14" fmla="*/ 340 w 346"/>
                <a:gd name="T15" fmla="*/ 448 h 616"/>
                <a:gd name="T16" fmla="*/ 304 w 346"/>
                <a:gd name="T17" fmla="*/ 616 h 6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6"/>
                <a:gd name="T28" fmla="*/ 0 h 616"/>
                <a:gd name="T29" fmla="*/ 346 w 346"/>
                <a:gd name="T30" fmla="*/ 616 h 6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6" h="616">
                  <a:moveTo>
                    <a:pt x="304" y="616"/>
                  </a:moveTo>
                  <a:cubicBezTo>
                    <a:pt x="276" y="580"/>
                    <a:pt x="309" y="515"/>
                    <a:pt x="300" y="464"/>
                  </a:cubicBezTo>
                  <a:cubicBezTo>
                    <a:pt x="297" y="445"/>
                    <a:pt x="285" y="430"/>
                    <a:pt x="280" y="412"/>
                  </a:cubicBezTo>
                  <a:cubicBezTo>
                    <a:pt x="264" y="354"/>
                    <a:pt x="258" y="308"/>
                    <a:pt x="232" y="260"/>
                  </a:cubicBezTo>
                  <a:cubicBezTo>
                    <a:pt x="197" y="196"/>
                    <a:pt x="138" y="127"/>
                    <a:pt x="80" y="92"/>
                  </a:cubicBezTo>
                  <a:cubicBezTo>
                    <a:pt x="53" y="76"/>
                    <a:pt x="6" y="77"/>
                    <a:pt x="0" y="32"/>
                  </a:cubicBezTo>
                  <a:cubicBezTo>
                    <a:pt x="46" y="0"/>
                    <a:pt x="161" y="84"/>
                    <a:pt x="200" y="132"/>
                  </a:cubicBezTo>
                  <a:cubicBezTo>
                    <a:pt x="269" y="217"/>
                    <a:pt x="332" y="346"/>
                    <a:pt x="340" y="448"/>
                  </a:cubicBezTo>
                  <a:cubicBezTo>
                    <a:pt x="345" y="509"/>
                    <a:pt x="346" y="588"/>
                    <a:pt x="304" y="61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8" name="Freeform 590"/>
            <p:cNvSpPr>
              <a:spLocks/>
            </p:cNvSpPr>
            <p:nvPr/>
          </p:nvSpPr>
          <p:spPr bwMode="auto">
            <a:xfrm>
              <a:off x="5874256" y="581055"/>
              <a:ext cx="76047" cy="114152"/>
            </a:xfrm>
            <a:custGeom>
              <a:avLst/>
              <a:gdLst>
                <a:gd name="T0" fmla="*/ 276 w 281"/>
                <a:gd name="T1" fmla="*/ 0 h 420"/>
                <a:gd name="T2" fmla="*/ 184 w 281"/>
                <a:gd name="T3" fmla="*/ 116 h 420"/>
                <a:gd name="T4" fmla="*/ 100 w 281"/>
                <a:gd name="T5" fmla="*/ 244 h 420"/>
                <a:gd name="T6" fmla="*/ 8 w 281"/>
                <a:gd name="T7" fmla="*/ 420 h 420"/>
                <a:gd name="T8" fmla="*/ 48 w 281"/>
                <a:gd name="T9" fmla="*/ 268 h 420"/>
                <a:gd name="T10" fmla="*/ 108 w 281"/>
                <a:gd name="T11" fmla="*/ 128 h 420"/>
                <a:gd name="T12" fmla="*/ 268 w 281"/>
                <a:gd name="T13" fmla="*/ 0 h 420"/>
                <a:gd name="T14" fmla="*/ 276 w 281"/>
                <a:gd name="T15" fmla="*/ 0 h 420"/>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420"/>
                <a:gd name="T26" fmla="*/ 281 w 281"/>
                <a:gd name="T27" fmla="*/ 420 h 4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420">
                  <a:moveTo>
                    <a:pt x="276" y="0"/>
                  </a:moveTo>
                  <a:cubicBezTo>
                    <a:pt x="281" y="60"/>
                    <a:pt x="217" y="82"/>
                    <a:pt x="184" y="116"/>
                  </a:cubicBezTo>
                  <a:cubicBezTo>
                    <a:pt x="151" y="150"/>
                    <a:pt x="120" y="196"/>
                    <a:pt x="100" y="244"/>
                  </a:cubicBezTo>
                  <a:cubicBezTo>
                    <a:pt x="74" y="306"/>
                    <a:pt x="67" y="380"/>
                    <a:pt x="8" y="420"/>
                  </a:cubicBezTo>
                  <a:cubicBezTo>
                    <a:pt x="0" y="366"/>
                    <a:pt x="29" y="315"/>
                    <a:pt x="48" y="268"/>
                  </a:cubicBezTo>
                  <a:cubicBezTo>
                    <a:pt x="67" y="221"/>
                    <a:pt x="83" y="167"/>
                    <a:pt x="108" y="128"/>
                  </a:cubicBezTo>
                  <a:cubicBezTo>
                    <a:pt x="139" y="81"/>
                    <a:pt x="220" y="27"/>
                    <a:pt x="268" y="0"/>
                  </a:cubicBezTo>
                  <a:cubicBezTo>
                    <a:pt x="271" y="0"/>
                    <a:pt x="273" y="0"/>
                    <a:pt x="276"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29" name="Freeform 591"/>
            <p:cNvSpPr>
              <a:spLocks/>
            </p:cNvSpPr>
            <p:nvPr/>
          </p:nvSpPr>
          <p:spPr bwMode="auto">
            <a:xfrm>
              <a:off x="5898001" y="590022"/>
              <a:ext cx="187767" cy="225430"/>
            </a:xfrm>
            <a:custGeom>
              <a:avLst/>
              <a:gdLst>
                <a:gd name="T0" fmla="*/ 632 w 693"/>
                <a:gd name="T1" fmla="*/ 363 h 830"/>
                <a:gd name="T2" fmla="*/ 444 w 693"/>
                <a:gd name="T3" fmla="*/ 79 h 830"/>
                <a:gd name="T4" fmla="*/ 260 w 693"/>
                <a:gd name="T5" fmla="*/ 151 h 830"/>
                <a:gd name="T6" fmla="*/ 232 w 693"/>
                <a:gd name="T7" fmla="*/ 187 h 830"/>
                <a:gd name="T8" fmla="*/ 168 w 693"/>
                <a:gd name="T9" fmla="*/ 263 h 830"/>
                <a:gd name="T10" fmla="*/ 524 w 693"/>
                <a:gd name="T11" fmla="*/ 131 h 830"/>
                <a:gd name="T12" fmla="*/ 544 w 693"/>
                <a:gd name="T13" fmla="*/ 571 h 830"/>
                <a:gd name="T14" fmla="*/ 376 w 693"/>
                <a:gd name="T15" fmla="*/ 763 h 830"/>
                <a:gd name="T16" fmla="*/ 304 w 693"/>
                <a:gd name="T17" fmla="*/ 795 h 830"/>
                <a:gd name="T18" fmla="*/ 236 w 693"/>
                <a:gd name="T19" fmla="*/ 819 h 830"/>
                <a:gd name="T20" fmla="*/ 384 w 693"/>
                <a:gd name="T21" fmla="*/ 703 h 830"/>
                <a:gd name="T22" fmla="*/ 528 w 693"/>
                <a:gd name="T23" fmla="*/ 415 h 830"/>
                <a:gd name="T24" fmla="*/ 520 w 693"/>
                <a:gd name="T25" fmla="*/ 191 h 830"/>
                <a:gd name="T26" fmla="*/ 340 w 693"/>
                <a:gd name="T27" fmla="*/ 167 h 830"/>
                <a:gd name="T28" fmla="*/ 260 w 693"/>
                <a:gd name="T29" fmla="*/ 255 h 830"/>
                <a:gd name="T30" fmla="*/ 200 w 693"/>
                <a:gd name="T31" fmla="*/ 307 h 830"/>
                <a:gd name="T32" fmla="*/ 184 w 693"/>
                <a:gd name="T33" fmla="*/ 431 h 830"/>
                <a:gd name="T34" fmla="*/ 116 w 693"/>
                <a:gd name="T35" fmla="*/ 571 h 830"/>
                <a:gd name="T36" fmla="*/ 0 w 693"/>
                <a:gd name="T37" fmla="*/ 651 h 830"/>
                <a:gd name="T38" fmla="*/ 84 w 693"/>
                <a:gd name="T39" fmla="*/ 527 h 830"/>
                <a:gd name="T40" fmla="*/ 124 w 693"/>
                <a:gd name="T41" fmla="*/ 355 h 830"/>
                <a:gd name="T42" fmla="*/ 124 w 693"/>
                <a:gd name="T43" fmla="*/ 223 h 830"/>
                <a:gd name="T44" fmla="*/ 248 w 693"/>
                <a:gd name="T45" fmla="*/ 103 h 830"/>
                <a:gd name="T46" fmla="*/ 644 w 693"/>
                <a:gd name="T47" fmla="*/ 171 h 830"/>
                <a:gd name="T48" fmla="*/ 632 w 693"/>
                <a:gd name="T49" fmla="*/ 363 h 8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3"/>
                <a:gd name="T76" fmla="*/ 0 h 830"/>
                <a:gd name="T77" fmla="*/ 693 w 693"/>
                <a:gd name="T78" fmla="*/ 830 h 8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3" h="830">
                  <a:moveTo>
                    <a:pt x="632" y="363"/>
                  </a:moveTo>
                  <a:cubicBezTo>
                    <a:pt x="628" y="214"/>
                    <a:pt x="580" y="83"/>
                    <a:pt x="444" y="79"/>
                  </a:cubicBezTo>
                  <a:cubicBezTo>
                    <a:pt x="376" y="77"/>
                    <a:pt x="304" y="110"/>
                    <a:pt x="260" y="151"/>
                  </a:cubicBezTo>
                  <a:cubicBezTo>
                    <a:pt x="249" y="161"/>
                    <a:pt x="244" y="175"/>
                    <a:pt x="232" y="187"/>
                  </a:cubicBezTo>
                  <a:cubicBezTo>
                    <a:pt x="209" y="209"/>
                    <a:pt x="160" y="222"/>
                    <a:pt x="168" y="263"/>
                  </a:cubicBezTo>
                  <a:cubicBezTo>
                    <a:pt x="253" y="221"/>
                    <a:pt x="372" y="31"/>
                    <a:pt x="524" y="131"/>
                  </a:cubicBezTo>
                  <a:cubicBezTo>
                    <a:pt x="621" y="195"/>
                    <a:pt x="594" y="461"/>
                    <a:pt x="544" y="571"/>
                  </a:cubicBezTo>
                  <a:cubicBezTo>
                    <a:pt x="509" y="649"/>
                    <a:pt x="440" y="726"/>
                    <a:pt x="376" y="763"/>
                  </a:cubicBezTo>
                  <a:cubicBezTo>
                    <a:pt x="354" y="776"/>
                    <a:pt x="327" y="783"/>
                    <a:pt x="304" y="795"/>
                  </a:cubicBezTo>
                  <a:cubicBezTo>
                    <a:pt x="283" y="806"/>
                    <a:pt x="262" y="830"/>
                    <a:pt x="236" y="819"/>
                  </a:cubicBezTo>
                  <a:cubicBezTo>
                    <a:pt x="260" y="744"/>
                    <a:pt x="331" y="743"/>
                    <a:pt x="384" y="703"/>
                  </a:cubicBezTo>
                  <a:cubicBezTo>
                    <a:pt x="465" y="641"/>
                    <a:pt x="514" y="548"/>
                    <a:pt x="528" y="415"/>
                  </a:cubicBezTo>
                  <a:cubicBezTo>
                    <a:pt x="536" y="339"/>
                    <a:pt x="562" y="251"/>
                    <a:pt x="520" y="191"/>
                  </a:cubicBezTo>
                  <a:cubicBezTo>
                    <a:pt x="484" y="140"/>
                    <a:pt x="396" y="135"/>
                    <a:pt x="340" y="167"/>
                  </a:cubicBezTo>
                  <a:cubicBezTo>
                    <a:pt x="309" y="184"/>
                    <a:pt x="293" y="221"/>
                    <a:pt x="260" y="255"/>
                  </a:cubicBezTo>
                  <a:cubicBezTo>
                    <a:pt x="243" y="273"/>
                    <a:pt x="213" y="285"/>
                    <a:pt x="200" y="307"/>
                  </a:cubicBezTo>
                  <a:cubicBezTo>
                    <a:pt x="179" y="343"/>
                    <a:pt x="192" y="380"/>
                    <a:pt x="184" y="431"/>
                  </a:cubicBezTo>
                  <a:cubicBezTo>
                    <a:pt x="177" y="476"/>
                    <a:pt x="142" y="534"/>
                    <a:pt x="116" y="571"/>
                  </a:cubicBezTo>
                  <a:cubicBezTo>
                    <a:pt x="90" y="608"/>
                    <a:pt x="55" y="652"/>
                    <a:pt x="0" y="651"/>
                  </a:cubicBezTo>
                  <a:cubicBezTo>
                    <a:pt x="5" y="592"/>
                    <a:pt x="59" y="569"/>
                    <a:pt x="84" y="527"/>
                  </a:cubicBezTo>
                  <a:cubicBezTo>
                    <a:pt x="107" y="489"/>
                    <a:pt x="132" y="426"/>
                    <a:pt x="124" y="355"/>
                  </a:cubicBezTo>
                  <a:cubicBezTo>
                    <a:pt x="119" y="309"/>
                    <a:pt x="103" y="267"/>
                    <a:pt x="124" y="223"/>
                  </a:cubicBezTo>
                  <a:cubicBezTo>
                    <a:pt x="145" y="180"/>
                    <a:pt x="204" y="139"/>
                    <a:pt x="248" y="103"/>
                  </a:cubicBezTo>
                  <a:cubicBezTo>
                    <a:pt x="376" y="0"/>
                    <a:pt x="568" y="10"/>
                    <a:pt x="644" y="171"/>
                  </a:cubicBezTo>
                  <a:cubicBezTo>
                    <a:pt x="664" y="213"/>
                    <a:pt x="693" y="346"/>
                    <a:pt x="632" y="363"/>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0" name="Freeform 592"/>
            <p:cNvSpPr>
              <a:spLocks/>
            </p:cNvSpPr>
            <p:nvPr/>
          </p:nvSpPr>
          <p:spPr bwMode="auto">
            <a:xfrm>
              <a:off x="6007197" y="629222"/>
              <a:ext cx="35213" cy="24600"/>
            </a:xfrm>
            <a:custGeom>
              <a:avLst/>
              <a:gdLst>
                <a:gd name="T0" fmla="*/ 101 w 130"/>
                <a:gd name="T1" fmla="*/ 91 h 91"/>
                <a:gd name="T2" fmla="*/ 17 w 130"/>
                <a:gd name="T3" fmla="*/ 67 h 91"/>
                <a:gd name="T4" fmla="*/ 101 w 130"/>
                <a:gd name="T5" fmla="*/ 91 h 91"/>
                <a:gd name="T6" fmla="*/ 0 60000 65536"/>
                <a:gd name="T7" fmla="*/ 0 60000 65536"/>
                <a:gd name="T8" fmla="*/ 0 60000 65536"/>
                <a:gd name="T9" fmla="*/ 0 w 130"/>
                <a:gd name="T10" fmla="*/ 0 h 91"/>
                <a:gd name="T11" fmla="*/ 130 w 130"/>
                <a:gd name="T12" fmla="*/ 91 h 91"/>
              </a:gdLst>
              <a:ahLst/>
              <a:cxnLst>
                <a:cxn ang="T6">
                  <a:pos x="T0" y="T1"/>
                </a:cxn>
                <a:cxn ang="T7">
                  <a:pos x="T2" y="T3"/>
                </a:cxn>
                <a:cxn ang="T8">
                  <a:pos x="T4" y="T5"/>
                </a:cxn>
              </a:cxnLst>
              <a:rect l="T9" t="T10" r="T11" b="T12"/>
              <a:pathLst>
                <a:path w="130" h="91">
                  <a:moveTo>
                    <a:pt x="101" y="91"/>
                  </a:moveTo>
                  <a:cubicBezTo>
                    <a:pt x="75" y="81"/>
                    <a:pt x="51" y="69"/>
                    <a:pt x="17" y="67"/>
                  </a:cubicBezTo>
                  <a:cubicBezTo>
                    <a:pt x="0" y="0"/>
                    <a:pt x="130" y="39"/>
                    <a:pt x="101" y="91"/>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1" name="Freeform 593"/>
            <p:cNvSpPr>
              <a:spLocks/>
            </p:cNvSpPr>
            <p:nvPr/>
          </p:nvSpPr>
          <p:spPr bwMode="auto">
            <a:xfrm>
              <a:off x="5947322" y="630256"/>
              <a:ext cx="60677" cy="71388"/>
            </a:xfrm>
            <a:custGeom>
              <a:avLst/>
              <a:gdLst>
                <a:gd name="T0" fmla="*/ 222 w 224"/>
                <a:gd name="T1" fmla="*/ 47 h 263"/>
                <a:gd name="T2" fmla="*/ 182 w 224"/>
                <a:gd name="T3" fmla="*/ 79 h 263"/>
                <a:gd name="T4" fmla="*/ 86 w 224"/>
                <a:gd name="T5" fmla="*/ 179 h 263"/>
                <a:gd name="T6" fmla="*/ 34 w 224"/>
                <a:gd name="T7" fmla="*/ 263 h 263"/>
                <a:gd name="T8" fmla="*/ 118 w 224"/>
                <a:gd name="T9" fmla="*/ 91 h 263"/>
                <a:gd name="T10" fmla="*/ 222 w 224"/>
                <a:gd name="T11" fmla="*/ 47 h 263"/>
                <a:gd name="T12" fmla="*/ 0 60000 65536"/>
                <a:gd name="T13" fmla="*/ 0 60000 65536"/>
                <a:gd name="T14" fmla="*/ 0 60000 65536"/>
                <a:gd name="T15" fmla="*/ 0 60000 65536"/>
                <a:gd name="T16" fmla="*/ 0 60000 65536"/>
                <a:gd name="T17" fmla="*/ 0 60000 65536"/>
                <a:gd name="T18" fmla="*/ 0 w 224"/>
                <a:gd name="T19" fmla="*/ 0 h 263"/>
                <a:gd name="T20" fmla="*/ 224 w 224"/>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224" h="263">
                  <a:moveTo>
                    <a:pt x="222" y="47"/>
                  </a:moveTo>
                  <a:cubicBezTo>
                    <a:pt x="224" y="73"/>
                    <a:pt x="195" y="68"/>
                    <a:pt x="182" y="79"/>
                  </a:cubicBezTo>
                  <a:cubicBezTo>
                    <a:pt x="162" y="122"/>
                    <a:pt x="115" y="143"/>
                    <a:pt x="86" y="179"/>
                  </a:cubicBezTo>
                  <a:cubicBezTo>
                    <a:pt x="65" y="205"/>
                    <a:pt x="68" y="245"/>
                    <a:pt x="34" y="263"/>
                  </a:cubicBezTo>
                  <a:cubicBezTo>
                    <a:pt x="0" y="195"/>
                    <a:pt x="79" y="136"/>
                    <a:pt x="118" y="91"/>
                  </a:cubicBezTo>
                  <a:cubicBezTo>
                    <a:pt x="141" y="65"/>
                    <a:pt x="176" y="0"/>
                    <a:pt x="222" y="4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2" name="Freeform 594"/>
            <p:cNvSpPr>
              <a:spLocks/>
            </p:cNvSpPr>
            <p:nvPr/>
          </p:nvSpPr>
          <p:spPr bwMode="auto">
            <a:xfrm>
              <a:off x="5906717" y="648994"/>
              <a:ext cx="130645" cy="172204"/>
            </a:xfrm>
            <a:custGeom>
              <a:avLst/>
              <a:gdLst>
                <a:gd name="T0" fmla="*/ 52 w 482"/>
                <a:gd name="T1" fmla="*/ 614 h 634"/>
                <a:gd name="T2" fmla="*/ 120 w 482"/>
                <a:gd name="T3" fmla="*/ 562 h 634"/>
                <a:gd name="T4" fmla="*/ 236 w 482"/>
                <a:gd name="T5" fmla="*/ 454 h 634"/>
                <a:gd name="T6" fmla="*/ 300 w 482"/>
                <a:gd name="T7" fmla="*/ 430 h 634"/>
                <a:gd name="T8" fmla="*/ 432 w 482"/>
                <a:gd name="T9" fmla="*/ 206 h 634"/>
                <a:gd name="T10" fmla="*/ 428 w 482"/>
                <a:gd name="T11" fmla="*/ 162 h 634"/>
                <a:gd name="T12" fmla="*/ 400 w 482"/>
                <a:gd name="T13" fmla="*/ 58 h 634"/>
                <a:gd name="T14" fmla="*/ 332 w 482"/>
                <a:gd name="T15" fmla="*/ 130 h 634"/>
                <a:gd name="T16" fmla="*/ 64 w 482"/>
                <a:gd name="T17" fmla="*/ 490 h 634"/>
                <a:gd name="T18" fmla="*/ 0 w 482"/>
                <a:gd name="T19" fmla="*/ 506 h 634"/>
                <a:gd name="T20" fmla="*/ 76 w 482"/>
                <a:gd name="T21" fmla="*/ 426 h 634"/>
                <a:gd name="T22" fmla="*/ 240 w 482"/>
                <a:gd name="T23" fmla="*/ 146 h 634"/>
                <a:gd name="T24" fmla="*/ 292 w 482"/>
                <a:gd name="T25" fmla="*/ 102 h 634"/>
                <a:gd name="T26" fmla="*/ 340 w 482"/>
                <a:gd name="T27" fmla="*/ 38 h 634"/>
                <a:gd name="T28" fmla="*/ 480 w 482"/>
                <a:gd name="T29" fmla="*/ 90 h 634"/>
                <a:gd name="T30" fmla="*/ 468 w 482"/>
                <a:gd name="T31" fmla="*/ 166 h 634"/>
                <a:gd name="T32" fmla="*/ 468 w 482"/>
                <a:gd name="T33" fmla="*/ 250 h 634"/>
                <a:gd name="T34" fmla="*/ 356 w 482"/>
                <a:gd name="T35" fmla="*/ 450 h 634"/>
                <a:gd name="T36" fmla="*/ 264 w 482"/>
                <a:gd name="T37" fmla="*/ 494 h 634"/>
                <a:gd name="T38" fmla="*/ 52 w 482"/>
                <a:gd name="T39" fmla="*/ 614 h 6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634"/>
                <a:gd name="T62" fmla="*/ 482 w 482"/>
                <a:gd name="T63" fmla="*/ 634 h 6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634">
                  <a:moveTo>
                    <a:pt x="52" y="614"/>
                  </a:moveTo>
                  <a:cubicBezTo>
                    <a:pt x="63" y="583"/>
                    <a:pt x="91" y="582"/>
                    <a:pt x="120" y="562"/>
                  </a:cubicBezTo>
                  <a:cubicBezTo>
                    <a:pt x="162" y="533"/>
                    <a:pt x="194" y="478"/>
                    <a:pt x="236" y="454"/>
                  </a:cubicBezTo>
                  <a:cubicBezTo>
                    <a:pt x="255" y="443"/>
                    <a:pt x="279" y="442"/>
                    <a:pt x="300" y="430"/>
                  </a:cubicBezTo>
                  <a:cubicBezTo>
                    <a:pt x="368" y="392"/>
                    <a:pt x="428" y="289"/>
                    <a:pt x="432" y="206"/>
                  </a:cubicBezTo>
                  <a:cubicBezTo>
                    <a:pt x="433" y="191"/>
                    <a:pt x="427" y="176"/>
                    <a:pt x="428" y="162"/>
                  </a:cubicBezTo>
                  <a:cubicBezTo>
                    <a:pt x="430" y="121"/>
                    <a:pt x="449" y="65"/>
                    <a:pt x="400" y="58"/>
                  </a:cubicBezTo>
                  <a:cubicBezTo>
                    <a:pt x="355" y="51"/>
                    <a:pt x="343" y="93"/>
                    <a:pt x="332" y="130"/>
                  </a:cubicBezTo>
                  <a:cubicBezTo>
                    <a:pt x="229" y="219"/>
                    <a:pt x="186" y="413"/>
                    <a:pt x="64" y="490"/>
                  </a:cubicBezTo>
                  <a:cubicBezTo>
                    <a:pt x="48" y="500"/>
                    <a:pt x="23" y="512"/>
                    <a:pt x="0" y="506"/>
                  </a:cubicBezTo>
                  <a:cubicBezTo>
                    <a:pt x="0" y="456"/>
                    <a:pt x="46" y="452"/>
                    <a:pt x="76" y="426"/>
                  </a:cubicBezTo>
                  <a:cubicBezTo>
                    <a:pt x="154" y="358"/>
                    <a:pt x="171" y="230"/>
                    <a:pt x="240" y="146"/>
                  </a:cubicBezTo>
                  <a:cubicBezTo>
                    <a:pt x="253" y="131"/>
                    <a:pt x="276" y="120"/>
                    <a:pt x="292" y="102"/>
                  </a:cubicBezTo>
                  <a:cubicBezTo>
                    <a:pt x="311" y="81"/>
                    <a:pt x="322" y="51"/>
                    <a:pt x="340" y="38"/>
                  </a:cubicBezTo>
                  <a:cubicBezTo>
                    <a:pt x="395" y="0"/>
                    <a:pt x="476" y="32"/>
                    <a:pt x="480" y="90"/>
                  </a:cubicBezTo>
                  <a:cubicBezTo>
                    <a:pt x="482" y="116"/>
                    <a:pt x="470" y="144"/>
                    <a:pt x="468" y="166"/>
                  </a:cubicBezTo>
                  <a:cubicBezTo>
                    <a:pt x="466" y="195"/>
                    <a:pt x="471" y="223"/>
                    <a:pt x="468" y="250"/>
                  </a:cubicBezTo>
                  <a:cubicBezTo>
                    <a:pt x="459" y="329"/>
                    <a:pt x="412" y="407"/>
                    <a:pt x="356" y="450"/>
                  </a:cubicBezTo>
                  <a:cubicBezTo>
                    <a:pt x="330" y="470"/>
                    <a:pt x="294" y="476"/>
                    <a:pt x="264" y="494"/>
                  </a:cubicBezTo>
                  <a:cubicBezTo>
                    <a:pt x="198" y="533"/>
                    <a:pt x="151" y="634"/>
                    <a:pt x="52" y="61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3" name="Freeform 595"/>
            <p:cNvSpPr>
              <a:spLocks noEditPoints="1"/>
            </p:cNvSpPr>
            <p:nvPr/>
          </p:nvSpPr>
          <p:spPr bwMode="auto">
            <a:xfrm>
              <a:off x="5909929" y="671296"/>
              <a:ext cx="112752" cy="138752"/>
            </a:xfrm>
            <a:custGeom>
              <a:avLst/>
              <a:gdLst>
                <a:gd name="T0" fmla="*/ 388 w 416"/>
                <a:gd name="T1" fmla="*/ 0 h 511"/>
                <a:gd name="T2" fmla="*/ 380 w 416"/>
                <a:gd name="T3" fmla="*/ 76 h 511"/>
                <a:gd name="T4" fmla="*/ 308 w 416"/>
                <a:gd name="T5" fmla="*/ 296 h 511"/>
                <a:gd name="T6" fmla="*/ 160 w 416"/>
                <a:gd name="T7" fmla="*/ 392 h 511"/>
                <a:gd name="T8" fmla="*/ 0 w 416"/>
                <a:gd name="T9" fmla="*/ 476 h 511"/>
                <a:gd name="T10" fmla="*/ 76 w 416"/>
                <a:gd name="T11" fmla="*/ 420 h 511"/>
                <a:gd name="T12" fmla="*/ 208 w 416"/>
                <a:gd name="T13" fmla="*/ 276 h 511"/>
                <a:gd name="T14" fmla="*/ 344 w 416"/>
                <a:gd name="T15" fmla="*/ 60 h 511"/>
                <a:gd name="T16" fmla="*/ 380 w 416"/>
                <a:gd name="T17" fmla="*/ 0 h 511"/>
                <a:gd name="T18" fmla="*/ 388 w 416"/>
                <a:gd name="T19" fmla="*/ 0 h 511"/>
                <a:gd name="T20" fmla="*/ 260 w 416"/>
                <a:gd name="T21" fmla="*/ 264 h 511"/>
                <a:gd name="T22" fmla="*/ 344 w 416"/>
                <a:gd name="T23" fmla="*/ 120 h 511"/>
                <a:gd name="T24" fmla="*/ 332 w 416"/>
                <a:gd name="T25" fmla="*/ 116 h 511"/>
                <a:gd name="T26" fmla="*/ 260 w 416"/>
                <a:gd name="T27" fmla="*/ 264 h 5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6"/>
                <a:gd name="T43" fmla="*/ 0 h 511"/>
                <a:gd name="T44" fmla="*/ 416 w 416"/>
                <a:gd name="T45" fmla="*/ 511 h 5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6" h="511">
                  <a:moveTo>
                    <a:pt x="388" y="0"/>
                  </a:moveTo>
                  <a:cubicBezTo>
                    <a:pt x="408" y="22"/>
                    <a:pt x="388" y="57"/>
                    <a:pt x="380" y="76"/>
                  </a:cubicBezTo>
                  <a:cubicBezTo>
                    <a:pt x="416" y="121"/>
                    <a:pt x="361" y="271"/>
                    <a:pt x="308" y="296"/>
                  </a:cubicBezTo>
                  <a:cubicBezTo>
                    <a:pt x="246" y="325"/>
                    <a:pt x="203" y="342"/>
                    <a:pt x="160" y="392"/>
                  </a:cubicBezTo>
                  <a:cubicBezTo>
                    <a:pt x="130" y="426"/>
                    <a:pt x="60" y="511"/>
                    <a:pt x="0" y="476"/>
                  </a:cubicBezTo>
                  <a:cubicBezTo>
                    <a:pt x="17" y="440"/>
                    <a:pt x="50" y="439"/>
                    <a:pt x="76" y="420"/>
                  </a:cubicBezTo>
                  <a:cubicBezTo>
                    <a:pt x="106" y="399"/>
                    <a:pt x="194" y="313"/>
                    <a:pt x="208" y="276"/>
                  </a:cubicBezTo>
                  <a:cubicBezTo>
                    <a:pt x="239" y="199"/>
                    <a:pt x="278" y="107"/>
                    <a:pt x="344" y="60"/>
                  </a:cubicBezTo>
                  <a:cubicBezTo>
                    <a:pt x="351" y="35"/>
                    <a:pt x="355" y="6"/>
                    <a:pt x="380" y="0"/>
                  </a:cubicBezTo>
                  <a:cubicBezTo>
                    <a:pt x="383" y="0"/>
                    <a:pt x="385" y="0"/>
                    <a:pt x="388" y="0"/>
                  </a:cubicBezTo>
                  <a:close/>
                  <a:moveTo>
                    <a:pt x="260" y="264"/>
                  </a:moveTo>
                  <a:cubicBezTo>
                    <a:pt x="312" y="258"/>
                    <a:pt x="349" y="183"/>
                    <a:pt x="344" y="120"/>
                  </a:cubicBezTo>
                  <a:cubicBezTo>
                    <a:pt x="339" y="120"/>
                    <a:pt x="339" y="115"/>
                    <a:pt x="332" y="116"/>
                  </a:cubicBezTo>
                  <a:cubicBezTo>
                    <a:pt x="312" y="169"/>
                    <a:pt x="283" y="213"/>
                    <a:pt x="260" y="26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4" name="Freeform 596"/>
            <p:cNvSpPr>
              <a:spLocks/>
            </p:cNvSpPr>
            <p:nvPr/>
          </p:nvSpPr>
          <p:spPr bwMode="auto">
            <a:xfrm>
              <a:off x="6095516" y="675549"/>
              <a:ext cx="18696" cy="40235"/>
            </a:xfrm>
            <a:custGeom>
              <a:avLst/>
              <a:gdLst>
                <a:gd name="T0" fmla="*/ 39 w 69"/>
                <a:gd name="T1" fmla="*/ 0 h 148"/>
                <a:gd name="T2" fmla="*/ 15 w 69"/>
                <a:gd name="T3" fmla="*/ 148 h 148"/>
                <a:gd name="T4" fmla="*/ 39 w 69"/>
                <a:gd name="T5" fmla="*/ 0 h 148"/>
                <a:gd name="T6" fmla="*/ 0 60000 65536"/>
                <a:gd name="T7" fmla="*/ 0 60000 65536"/>
                <a:gd name="T8" fmla="*/ 0 60000 65536"/>
                <a:gd name="T9" fmla="*/ 0 w 69"/>
                <a:gd name="T10" fmla="*/ 0 h 148"/>
                <a:gd name="T11" fmla="*/ 69 w 69"/>
                <a:gd name="T12" fmla="*/ 148 h 148"/>
              </a:gdLst>
              <a:ahLst/>
              <a:cxnLst>
                <a:cxn ang="T6">
                  <a:pos x="T0" y="T1"/>
                </a:cxn>
                <a:cxn ang="T7">
                  <a:pos x="T2" y="T3"/>
                </a:cxn>
                <a:cxn ang="T8">
                  <a:pos x="T4" y="T5"/>
                </a:cxn>
              </a:cxnLst>
              <a:rect l="T9" t="T10" r="T11" b="T12"/>
              <a:pathLst>
                <a:path w="69" h="148">
                  <a:moveTo>
                    <a:pt x="39" y="0"/>
                  </a:moveTo>
                  <a:cubicBezTo>
                    <a:pt x="69" y="30"/>
                    <a:pt x="53" y="134"/>
                    <a:pt x="15" y="148"/>
                  </a:cubicBezTo>
                  <a:cubicBezTo>
                    <a:pt x="13" y="103"/>
                    <a:pt x="0" y="16"/>
                    <a:pt x="3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5" name="Freeform 597"/>
            <p:cNvSpPr>
              <a:spLocks/>
            </p:cNvSpPr>
            <p:nvPr/>
          </p:nvSpPr>
          <p:spPr bwMode="auto">
            <a:xfrm>
              <a:off x="5884001" y="679689"/>
              <a:ext cx="43013" cy="70813"/>
            </a:xfrm>
            <a:custGeom>
              <a:avLst/>
              <a:gdLst>
                <a:gd name="T0" fmla="*/ 140 w 159"/>
                <a:gd name="T1" fmla="*/ 5 h 261"/>
                <a:gd name="T2" fmla="*/ 112 w 159"/>
                <a:gd name="T3" fmla="*/ 157 h 261"/>
                <a:gd name="T4" fmla="*/ 20 w 159"/>
                <a:gd name="T5" fmla="*/ 261 h 261"/>
                <a:gd name="T6" fmla="*/ 120 w 159"/>
                <a:gd name="T7" fmla="*/ 13 h 261"/>
                <a:gd name="T8" fmla="*/ 128 w 159"/>
                <a:gd name="T9" fmla="*/ 1 h 261"/>
                <a:gd name="T10" fmla="*/ 140 w 159"/>
                <a:gd name="T11" fmla="*/ 5 h 261"/>
                <a:gd name="T12" fmla="*/ 0 60000 65536"/>
                <a:gd name="T13" fmla="*/ 0 60000 65536"/>
                <a:gd name="T14" fmla="*/ 0 60000 65536"/>
                <a:gd name="T15" fmla="*/ 0 60000 65536"/>
                <a:gd name="T16" fmla="*/ 0 60000 65536"/>
                <a:gd name="T17" fmla="*/ 0 60000 65536"/>
                <a:gd name="T18" fmla="*/ 0 w 159"/>
                <a:gd name="T19" fmla="*/ 0 h 261"/>
                <a:gd name="T20" fmla="*/ 159 w 159"/>
                <a:gd name="T21" fmla="*/ 261 h 261"/>
              </a:gdLst>
              <a:ahLst/>
              <a:cxnLst>
                <a:cxn ang="T12">
                  <a:pos x="T0" y="T1"/>
                </a:cxn>
                <a:cxn ang="T13">
                  <a:pos x="T2" y="T3"/>
                </a:cxn>
                <a:cxn ang="T14">
                  <a:pos x="T4" y="T5"/>
                </a:cxn>
                <a:cxn ang="T15">
                  <a:pos x="T6" y="T7"/>
                </a:cxn>
                <a:cxn ang="T16">
                  <a:pos x="T8" y="T9"/>
                </a:cxn>
                <a:cxn ang="T17">
                  <a:pos x="T10" y="T11"/>
                </a:cxn>
              </a:cxnLst>
              <a:rect l="T18" t="T19" r="T20" b="T21"/>
              <a:pathLst>
                <a:path w="159" h="261">
                  <a:moveTo>
                    <a:pt x="140" y="5"/>
                  </a:moveTo>
                  <a:cubicBezTo>
                    <a:pt x="159" y="62"/>
                    <a:pt x="137" y="118"/>
                    <a:pt x="112" y="157"/>
                  </a:cubicBezTo>
                  <a:cubicBezTo>
                    <a:pt x="87" y="195"/>
                    <a:pt x="54" y="238"/>
                    <a:pt x="20" y="261"/>
                  </a:cubicBezTo>
                  <a:cubicBezTo>
                    <a:pt x="0" y="156"/>
                    <a:pt x="106" y="110"/>
                    <a:pt x="120" y="13"/>
                  </a:cubicBezTo>
                  <a:cubicBezTo>
                    <a:pt x="122" y="8"/>
                    <a:pt x="127" y="7"/>
                    <a:pt x="128" y="1"/>
                  </a:cubicBezTo>
                  <a:cubicBezTo>
                    <a:pt x="135" y="0"/>
                    <a:pt x="135" y="5"/>
                    <a:pt x="140" y="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6" name="Freeform 598"/>
            <p:cNvSpPr>
              <a:spLocks/>
            </p:cNvSpPr>
            <p:nvPr/>
          </p:nvSpPr>
          <p:spPr bwMode="auto">
            <a:xfrm>
              <a:off x="5970601" y="725557"/>
              <a:ext cx="137413" cy="139097"/>
            </a:xfrm>
            <a:custGeom>
              <a:avLst/>
              <a:gdLst>
                <a:gd name="T0" fmla="*/ 492 w 507"/>
                <a:gd name="T1" fmla="*/ 0 h 512"/>
                <a:gd name="T2" fmla="*/ 444 w 507"/>
                <a:gd name="T3" fmla="*/ 188 h 512"/>
                <a:gd name="T4" fmla="*/ 328 w 507"/>
                <a:gd name="T5" fmla="*/ 324 h 512"/>
                <a:gd name="T6" fmla="*/ 160 w 507"/>
                <a:gd name="T7" fmla="*/ 396 h 512"/>
                <a:gd name="T8" fmla="*/ 316 w 507"/>
                <a:gd name="T9" fmla="*/ 360 h 512"/>
                <a:gd name="T10" fmla="*/ 124 w 507"/>
                <a:gd name="T11" fmla="*/ 444 h 512"/>
                <a:gd name="T12" fmla="*/ 0 w 507"/>
                <a:gd name="T13" fmla="*/ 496 h 512"/>
                <a:gd name="T14" fmla="*/ 56 w 507"/>
                <a:gd name="T15" fmla="*/ 444 h 512"/>
                <a:gd name="T16" fmla="*/ 136 w 507"/>
                <a:gd name="T17" fmla="*/ 356 h 512"/>
                <a:gd name="T18" fmla="*/ 332 w 507"/>
                <a:gd name="T19" fmla="*/ 272 h 512"/>
                <a:gd name="T20" fmla="*/ 472 w 507"/>
                <a:gd name="T21" fmla="*/ 16 h 512"/>
                <a:gd name="T22" fmla="*/ 480 w 507"/>
                <a:gd name="T23" fmla="*/ 0 h 512"/>
                <a:gd name="T24" fmla="*/ 492 w 507"/>
                <a:gd name="T25" fmla="*/ 0 h 5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7"/>
                <a:gd name="T40" fmla="*/ 0 h 512"/>
                <a:gd name="T41" fmla="*/ 507 w 507"/>
                <a:gd name="T42" fmla="*/ 512 h 5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7" h="512">
                  <a:moveTo>
                    <a:pt x="492" y="0"/>
                  </a:moveTo>
                  <a:cubicBezTo>
                    <a:pt x="507" y="67"/>
                    <a:pt x="473" y="136"/>
                    <a:pt x="444" y="188"/>
                  </a:cubicBezTo>
                  <a:cubicBezTo>
                    <a:pt x="415" y="240"/>
                    <a:pt x="380" y="296"/>
                    <a:pt x="328" y="324"/>
                  </a:cubicBezTo>
                  <a:cubicBezTo>
                    <a:pt x="274" y="354"/>
                    <a:pt x="207" y="350"/>
                    <a:pt x="160" y="396"/>
                  </a:cubicBezTo>
                  <a:cubicBezTo>
                    <a:pt x="219" y="409"/>
                    <a:pt x="271" y="361"/>
                    <a:pt x="316" y="360"/>
                  </a:cubicBezTo>
                  <a:cubicBezTo>
                    <a:pt x="311" y="453"/>
                    <a:pt x="194" y="419"/>
                    <a:pt x="124" y="444"/>
                  </a:cubicBezTo>
                  <a:cubicBezTo>
                    <a:pt x="78" y="460"/>
                    <a:pt x="50" y="512"/>
                    <a:pt x="0" y="496"/>
                  </a:cubicBezTo>
                  <a:cubicBezTo>
                    <a:pt x="5" y="460"/>
                    <a:pt x="37" y="460"/>
                    <a:pt x="56" y="444"/>
                  </a:cubicBezTo>
                  <a:cubicBezTo>
                    <a:pt x="87" y="419"/>
                    <a:pt x="107" y="378"/>
                    <a:pt x="136" y="356"/>
                  </a:cubicBezTo>
                  <a:cubicBezTo>
                    <a:pt x="198" y="310"/>
                    <a:pt x="277" y="314"/>
                    <a:pt x="332" y="272"/>
                  </a:cubicBezTo>
                  <a:cubicBezTo>
                    <a:pt x="418" y="206"/>
                    <a:pt x="424" y="122"/>
                    <a:pt x="472" y="16"/>
                  </a:cubicBezTo>
                  <a:cubicBezTo>
                    <a:pt x="474" y="12"/>
                    <a:pt x="475" y="5"/>
                    <a:pt x="480" y="0"/>
                  </a:cubicBezTo>
                  <a:cubicBezTo>
                    <a:pt x="484" y="0"/>
                    <a:pt x="488" y="0"/>
                    <a:pt x="4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7" name="Freeform 599"/>
            <p:cNvSpPr>
              <a:spLocks/>
            </p:cNvSpPr>
            <p:nvPr/>
          </p:nvSpPr>
          <p:spPr bwMode="auto">
            <a:xfrm>
              <a:off x="6061678" y="727742"/>
              <a:ext cx="82700" cy="99898"/>
            </a:xfrm>
            <a:custGeom>
              <a:avLst/>
              <a:gdLst>
                <a:gd name="T0" fmla="*/ 288 w 305"/>
                <a:gd name="T1" fmla="*/ 4 h 368"/>
                <a:gd name="T2" fmla="*/ 220 w 305"/>
                <a:gd name="T3" fmla="*/ 196 h 368"/>
                <a:gd name="T4" fmla="*/ 152 w 305"/>
                <a:gd name="T5" fmla="*/ 236 h 368"/>
                <a:gd name="T6" fmla="*/ 0 w 305"/>
                <a:gd name="T7" fmla="*/ 348 h 368"/>
                <a:gd name="T8" fmla="*/ 52 w 305"/>
                <a:gd name="T9" fmla="*/ 292 h 368"/>
                <a:gd name="T10" fmla="*/ 172 w 305"/>
                <a:gd name="T11" fmla="*/ 76 h 368"/>
                <a:gd name="T12" fmla="*/ 208 w 305"/>
                <a:gd name="T13" fmla="*/ 4 h 368"/>
                <a:gd name="T14" fmla="*/ 176 w 305"/>
                <a:gd name="T15" fmla="*/ 164 h 368"/>
                <a:gd name="T16" fmla="*/ 276 w 305"/>
                <a:gd name="T17" fmla="*/ 0 h 368"/>
                <a:gd name="T18" fmla="*/ 288 w 305"/>
                <a:gd name="T19" fmla="*/ 4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5"/>
                <a:gd name="T31" fmla="*/ 0 h 368"/>
                <a:gd name="T32" fmla="*/ 305 w 305"/>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5" h="368">
                  <a:moveTo>
                    <a:pt x="288" y="4"/>
                  </a:moveTo>
                  <a:cubicBezTo>
                    <a:pt x="305" y="75"/>
                    <a:pt x="265" y="155"/>
                    <a:pt x="220" y="196"/>
                  </a:cubicBezTo>
                  <a:cubicBezTo>
                    <a:pt x="202" y="213"/>
                    <a:pt x="173" y="218"/>
                    <a:pt x="152" y="236"/>
                  </a:cubicBezTo>
                  <a:cubicBezTo>
                    <a:pt x="106" y="276"/>
                    <a:pt x="76" y="368"/>
                    <a:pt x="0" y="348"/>
                  </a:cubicBezTo>
                  <a:cubicBezTo>
                    <a:pt x="0" y="310"/>
                    <a:pt x="31" y="310"/>
                    <a:pt x="52" y="292"/>
                  </a:cubicBezTo>
                  <a:cubicBezTo>
                    <a:pt x="106" y="246"/>
                    <a:pt x="151" y="153"/>
                    <a:pt x="172" y="76"/>
                  </a:cubicBezTo>
                  <a:cubicBezTo>
                    <a:pt x="179" y="52"/>
                    <a:pt x="177" y="14"/>
                    <a:pt x="208" y="4"/>
                  </a:cubicBezTo>
                  <a:cubicBezTo>
                    <a:pt x="247" y="48"/>
                    <a:pt x="187" y="118"/>
                    <a:pt x="176" y="164"/>
                  </a:cubicBezTo>
                  <a:cubicBezTo>
                    <a:pt x="233" y="149"/>
                    <a:pt x="235" y="44"/>
                    <a:pt x="276" y="0"/>
                  </a:cubicBezTo>
                  <a:cubicBezTo>
                    <a:pt x="279" y="2"/>
                    <a:pt x="283" y="4"/>
                    <a:pt x="288" y="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8" name="Freeform 600"/>
            <p:cNvSpPr>
              <a:spLocks/>
            </p:cNvSpPr>
            <p:nvPr/>
          </p:nvSpPr>
          <p:spPr bwMode="auto">
            <a:xfrm>
              <a:off x="6043326" y="779934"/>
              <a:ext cx="90385" cy="70583"/>
            </a:xfrm>
            <a:custGeom>
              <a:avLst/>
              <a:gdLst>
                <a:gd name="T0" fmla="*/ 328 w 334"/>
                <a:gd name="T1" fmla="*/ 0 h 260"/>
                <a:gd name="T2" fmla="*/ 252 w 334"/>
                <a:gd name="T3" fmla="*/ 100 h 260"/>
                <a:gd name="T4" fmla="*/ 288 w 334"/>
                <a:gd name="T5" fmla="*/ 92 h 260"/>
                <a:gd name="T6" fmla="*/ 252 w 334"/>
                <a:gd name="T7" fmla="*/ 148 h 260"/>
                <a:gd name="T8" fmla="*/ 0 w 334"/>
                <a:gd name="T9" fmla="*/ 260 h 260"/>
                <a:gd name="T10" fmla="*/ 92 w 334"/>
                <a:gd name="T11" fmla="*/ 188 h 260"/>
                <a:gd name="T12" fmla="*/ 196 w 334"/>
                <a:gd name="T13" fmla="*/ 120 h 260"/>
                <a:gd name="T14" fmla="*/ 316 w 334"/>
                <a:gd name="T15" fmla="*/ 0 h 260"/>
                <a:gd name="T16" fmla="*/ 328 w 334"/>
                <a:gd name="T17" fmla="*/ 0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260"/>
                <a:gd name="T29" fmla="*/ 334 w 334"/>
                <a:gd name="T30" fmla="*/ 260 h 2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260">
                  <a:moveTo>
                    <a:pt x="328" y="0"/>
                  </a:moveTo>
                  <a:cubicBezTo>
                    <a:pt x="334" y="49"/>
                    <a:pt x="277" y="69"/>
                    <a:pt x="252" y="100"/>
                  </a:cubicBezTo>
                  <a:cubicBezTo>
                    <a:pt x="263" y="112"/>
                    <a:pt x="269" y="85"/>
                    <a:pt x="288" y="92"/>
                  </a:cubicBezTo>
                  <a:cubicBezTo>
                    <a:pt x="289" y="123"/>
                    <a:pt x="264" y="129"/>
                    <a:pt x="252" y="148"/>
                  </a:cubicBezTo>
                  <a:cubicBezTo>
                    <a:pt x="148" y="163"/>
                    <a:pt x="101" y="255"/>
                    <a:pt x="0" y="260"/>
                  </a:cubicBezTo>
                  <a:cubicBezTo>
                    <a:pt x="16" y="222"/>
                    <a:pt x="60" y="207"/>
                    <a:pt x="92" y="188"/>
                  </a:cubicBezTo>
                  <a:cubicBezTo>
                    <a:pt x="126" y="168"/>
                    <a:pt x="168" y="148"/>
                    <a:pt x="196" y="120"/>
                  </a:cubicBezTo>
                  <a:cubicBezTo>
                    <a:pt x="235" y="82"/>
                    <a:pt x="259" y="24"/>
                    <a:pt x="316" y="0"/>
                  </a:cubicBezTo>
                  <a:cubicBezTo>
                    <a:pt x="320" y="0"/>
                    <a:pt x="324" y="0"/>
                    <a:pt x="328"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39" name="Freeform 601"/>
            <p:cNvSpPr>
              <a:spLocks/>
            </p:cNvSpPr>
            <p:nvPr/>
          </p:nvSpPr>
          <p:spPr bwMode="auto">
            <a:xfrm>
              <a:off x="5947898" y="832823"/>
              <a:ext cx="36819" cy="24141"/>
            </a:xfrm>
            <a:custGeom>
              <a:avLst/>
              <a:gdLst>
                <a:gd name="T0" fmla="*/ 136 w 136"/>
                <a:gd name="T1" fmla="*/ 9 h 89"/>
                <a:gd name="T2" fmla="*/ 0 w 136"/>
                <a:gd name="T3" fmla="*/ 53 h 89"/>
                <a:gd name="T4" fmla="*/ 136 w 136"/>
                <a:gd name="T5" fmla="*/ 9 h 89"/>
                <a:gd name="T6" fmla="*/ 0 60000 65536"/>
                <a:gd name="T7" fmla="*/ 0 60000 65536"/>
                <a:gd name="T8" fmla="*/ 0 60000 65536"/>
                <a:gd name="T9" fmla="*/ 0 w 136"/>
                <a:gd name="T10" fmla="*/ 0 h 89"/>
                <a:gd name="T11" fmla="*/ 136 w 136"/>
                <a:gd name="T12" fmla="*/ 89 h 89"/>
              </a:gdLst>
              <a:ahLst/>
              <a:cxnLst>
                <a:cxn ang="T6">
                  <a:pos x="T0" y="T1"/>
                </a:cxn>
                <a:cxn ang="T7">
                  <a:pos x="T2" y="T3"/>
                </a:cxn>
                <a:cxn ang="T8">
                  <a:pos x="T4" y="T5"/>
                </a:cxn>
              </a:cxnLst>
              <a:rect l="T9" t="T10" r="T11" b="T12"/>
              <a:pathLst>
                <a:path w="136" h="89">
                  <a:moveTo>
                    <a:pt x="136" y="9"/>
                  </a:moveTo>
                  <a:cubicBezTo>
                    <a:pt x="122" y="49"/>
                    <a:pt x="38" y="89"/>
                    <a:pt x="0" y="53"/>
                  </a:cubicBezTo>
                  <a:cubicBezTo>
                    <a:pt x="9" y="6"/>
                    <a:pt x="98" y="0"/>
                    <a:pt x="136" y="9"/>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240" name="Freeform 602"/>
            <p:cNvSpPr>
              <a:spLocks/>
            </p:cNvSpPr>
            <p:nvPr/>
          </p:nvSpPr>
          <p:spPr bwMode="auto">
            <a:xfrm>
              <a:off x="5989873" y="845019"/>
              <a:ext cx="38196" cy="17474"/>
            </a:xfrm>
            <a:custGeom>
              <a:avLst/>
              <a:gdLst>
                <a:gd name="T0" fmla="*/ 77 w 141"/>
                <a:gd name="T1" fmla="*/ 64 h 64"/>
                <a:gd name="T2" fmla="*/ 37 w 141"/>
                <a:gd name="T3" fmla="*/ 64 h 64"/>
                <a:gd name="T4" fmla="*/ 141 w 141"/>
                <a:gd name="T5" fmla="*/ 24 h 64"/>
                <a:gd name="T6" fmla="*/ 77 w 141"/>
                <a:gd name="T7" fmla="*/ 64 h 64"/>
                <a:gd name="T8" fmla="*/ 0 60000 65536"/>
                <a:gd name="T9" fmla="*/ 0 60000 65536"/>
                <a:gd name="T10" fmla="*/ 0 60000 65536"/>
                <a:gd name="T11" fmla="*/ 0 60000 65536"/>
                <a:gd name="T12" fmla="*/ 0 w 141"/>
                <a:gd name="T13" fmla="*/ 0 h 64"/>
                <a:gd name="T14" fmla="*/ 141 w 141"/>
                <a:gd name="T15" fmla="*/ 64 h 64"/>
              </a:gdLst>
              <a:ahLst/>
              <a:cxnLst>
                <a:cxn ang="T8">
                  <a:pos x="T0" y="T1"/>
                </a:cxn>
                <a:cxn ang="T9">
                  <a:pos x="T2" y="T3"/>
                </a:cxn>
                <a:cxn ang="T10">
                  <a:pos x="T4" y="T5"/>
                </a:cxn>
                <a:cxn ang="T11">
                  <a:pos x="T6" y="T7"/>
                </a:cxn>
              </a:cxnLst>
              <a:rect l="T12" t="T13" r="T14" b="T15"/>
              <a:pathLst>
                <a:path w="141" h="64">
                  <a:moveTo>
                    <a:pt x="77" y="64"/>
                  </a:moveTo>
                  <a:cubicBezTo>
                    <a:pt x="64" y="64"/>
                    <a:pt x="50" y="64"/>
                    <a:pt x="37" y="64"/>
                  </a:cubicBezTo>
                  <a:cubicBezTo>
                    <a:pt x="0" y="28"/>
                    <a:pt x="107" y="0"/>
                    <a:pt x="141" y="24"/>
                  </a:cubicBezTo>
                  <a:cubicBezTo>
                    <a:pt x="135" y="53"/>
                    <a:pt x="101" y="53"/>
                    <a:pt x="77" y="6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grpSp>
      <p:sp>
        <p:nvSpPr>
          <p:cNvPr id="177" name="Oval 176"/>
          <p:cNvSpPr/>
          <p:nvPr/>
        </p:nvSpPr>
        <p:spPr>
          <a:xfrm>
            <a:off x="4703917" y="1287102"/>
            <a:ext cx="1004296" cy="1004300"/>
          </a:xfrm>
          <a:prstGeom prst="ellipse">
            <a:avLst/>
          </a:prstGeom>
          <a:solidFill>
            <a:srgbClr val="19285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822926" rIns="0" bIns="0" rtlCol="0" anchor="b"/>
          <a:lstStyle/>
          <a:p>
            <a:pPr algn="ctr"/>
            <a:r>
              <a:rPr lang="en-US" sz="800" dirty="0">
                <a:solidFill>
                  <a:schemeClr val="bg1"/>
                </a:solidFill>
                <a:cs typeface="CiscoSansTT Light"/>
              </a:rPr>
              <a:t>Enterprise Access</a:t>
            </a:r>
          </a:p>
        </p:txBody>
      </p:sp>
      <p:grpSp>
        <p:nvGrpSpPr>
          <p:cNvPr id="17" name="Group 16"/>
          <p:cNvGrpSpPr/>
          <p:nvPr/>
        </p:nvGrpSpPr>
        <p:grpSpPr>
          <a:xfrm>
            <a:off x="3567681" y="1287102"/>
            <a:ext cx="1004296" cy="1004300"/>
            <a:chOff x="4107931" y="1277624"/>
            <a:chExt cx="1004296" cy="1004300"/>
          </a:xfrm>
        </p:grpSpPr>
        <p:sp>
          <p:nvSpPr>
            <p:cNvPr id="170" name="Oval 169"/>
            <p:cNvSpPr/>
            <p:nvPr/>
          </p:nvSpPr>
          <p:spPr>
            <a:xfrm>
              <a:off x="4107931" y="1277624"/>
              <a:ext cx="1004296" cy="1004300"/>
            </a:xfrm>
            <a:prstGeom prst="ellipse">
              <a:avLst/>
            </a:prstGeom>
            <a:solidFill>
              <a:srgbClr val="19285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822960" rIns="0" bIns="0" rtlCol="0" anchor="b"/>
            <a:lstStyle/>
            <a:p>
              <a:pPr algn="ctr"/>
              <a:r>
                <a:rPr lang="en-US" sz="800" dirty="0">
                  <a:solidFill>
                    <a:schemeClr val="bg1"/>
                  </a:solidFill>
                  <a:cs typeface="CiscoSansTT Light"/>
                </a:rPr>
                <a:t>Inspection Service</a:t>
              </a:r>
            </a:p>
          </p:txBody>
        </p:sp>
        <p:sp>
          <p:nvSpPr>
            <p:cNvPr id="205" name="Freeform 48"/>
            <p:cNvSpPr>
              <a:spLocks/>
            </p:cNvSpPr>
            <p:nvPr/>
          </p:nvSpPr>
          <p:spPr bwMode="auto">
            <a:xfrm>
              <a:off x="4288995" y="1446074"/>
              <a:ext cx="652677" cy="404331"/>
            </a:xfrm>
            <a:custGeom>
              <a:avLst/>
              <a:gdLst>
                <a:gd name="T0" fmla="*/ 361 w 432"/>
                <a:gd name="T1" fmla="*/ 121 h 268"/>
                <a:gd name="T2" fmla="*/ 364 w 432"/>
                <a:gd name="T3" fmla="*/ 96 h 268"/>
                <a:gd name="T4" fmla="*/ 268 w 432"/>
                <a:gd name="T5" fmla="*/ 0 h 268"/>
                <a:gd name="T6" fmla="*/ 175 w 432"/>
                <a:gd name="T7" fmla="*/ 71 h 268"/>
                <a:gd name="T8" fmla="*/ 138 w 432"/>
                <a:gd name="T9" fmla="*/ 62 h 268"/>
                <a:gd name="T10" fmla="*/ 54 w 432"/>
                <a:gd name="T11" fmla="*/ 146 h 268"/>
                <a:gd name="T12" fmla="*/ 55 w 432"/>
                <a:gd name="T13" fmla="*/ 156 h 268"/>
                <a:gd name="T14" fmla="*/ 54 w 432"/>
                <a:gd name="T15" fmla="*/ 156 h 268"/>
                <a:gd name="T16" fmla="*/ 0 w 432"/>
                <a:gd name="T17" fmla="*/ 212 h 268"/>
                <a:gd name="T18" fmla="*/ 54 w 432"/>
                <a:gd name="T19" fmla="*/ 268 h 268"/>
                <a:gd name="T20" fmla="*/ 360 w 432"/>
                <a:gd name="T21" fmla="*/ 268 h 268"/>
                <a:gd name="T22" fmla="*/ 432 w 432"/>
                <a:gd name="T23" fmla="*/ 194 h 268"/>
                <a:gd name="T24" fmla="*/ 361 w 432"/>
                <a:gd name="T25" fmla="*/ 1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268">
                  <a:moveTo>
                    <a:pt x="361" y="121"/>
                  </a:moveTo>
                  <a:cubicBezTo>
                    <a:pt x="363" y="113"/>
                    <a:pt x="364" y="104"/>
                    <a:pt x="364" y="96"/>
                  </a:cubicBezTo>
                  <a:cubicBezTo>
                    <a:pt x="364" y="43"/>
                    <a:pt x="321" y="0"/>
                    <a:pt x="268" y="0"/>
                  </a:cubicBezTo>
                  <a:cubicBezTo>
                    <a:pt x="224" y="0"/>
                    <a:pt x="186" y="30"/>
                    <a:pt x="175" y="71"/>
                  </a:cubicBezTo>
                  <a:cubicBezTo>
                    <a:pt x="164" y="65"/>
                    <a:pt x="151" y="62"/>
                    <a:pt x="138" y="62"/>
                  </a:cubicBezTo>
                  <a:cubicBezTo>
                    <a:pt x="92" y="62"/>
                    <a:pt x="54" y="100"/>
                    <a:pt x="54" y="146"/>
                  </a:cubicBezTo>
                  <a:cubicBezTo>
                    <a:pt x="54" y="149"/>
                    <a:pt x="54" y="153"/>
                    <a:pt x="55" y="156"/>
                  </a:cubicBezTo>
                  <a:cubicBezTo>
                    <a:pt x="54" y="156"/>
                    <a:pt x="54" y="156"/>
                    <a:pt x="54" y="156"/>
                  </a:cubicBezTo>
                  <a:cubicBezTo>
                    <a:pt x="24" y="156"/>
                    <a:pt x="0" y="182"/>
                    <a:pt x="0" y="212"/>
                  </a:cubicBezTo>
                  <a:cubicBezTo>
                    <a:pt x="0" y="242"/>
                    <a:pt x="24" y="268"/>
                    <a:pt x="54" y="268"/>
                  </a:cubicBezTo>
                  <a:cubicBezTo>
                    <a:pt x="360" y="268"/>
                    <a:pt x="360" y="268"/>
                    <a:pt x="360" y="268"/>
                  </a:cubicBezTo>
                  <a:cubicBezTo>
                    <a:pt x="400" y="268"/>
                    <a:pt x="432" y="234"/>
                    <a:pt x="432" y="194"/>
                  </a:cubicBezTo>
                  <a:cubicBezTo>
                    <a:pt x="432" y="155"/>
                    <a:pt x="400" y="121"/>
                    <a:pt x="361" y="121"/>
                  </a:cubicBezTo>
                  <a:close/>
                </a:path>
              </a:pathLst>
            </a:custGeom>
            <a:solidFill>
              <a:schemeClr val="bg1"/>
            </a:solidFill>
            <a:ln w="25400" cap="flat" cmpd="sng" algn="ctr">
              <a:noFill/>
              <a:prstDash val="solid"/>
            </a:ln>
            <a:effectLst/>
          </p:spPr>
          <p:txBody>
            <a:bodyPr lIns="91396" tIns="45698" rIns="91396" bIns="45698" rtlCol="0" anchor="ctr"/>
            <a:lstStyle/>
            <a:p>
              <a:pPr algn="ctr" defTabSz="684462">
                <a:defRPr/>
              </a:pPr>
              <a:endParaRPr lang="en-US" kern="0" dirty="0" smtClean="0">
                <a:solidFill>
                  <a:srgbClr val="FFFFFF"/>
                </a:solidFill>
                <a:latin typeface="CiscoSansTT Light"/>
                <a:cs typeface="CiscoSansTT Light"/>
              </a:endParaRPr>
            </a:p>
          </p:txBody>
        </p:sp>
        <p:grpSp>
          <p:nvGrpSpPr>
            <p:cNvPr id="206" name="Group 205"/>
            <p:cNvGrpSpPr/>
            <p:nvPr/>
          </p:nvGrpSpPr>
          <p:grpSpPr>
            <a:xfrm>
              <a:off x="4375329" y="1647867"/>
              <a:ext cx="455525" cy="129453"/>
              <a:chOff x="691827" y="3506031"/>
              <a:chExt cx="2666757" cy="755693"/>
            </a:xfrm>
            <a:solidFill>
              <a:schemeClr val="tx1"/>
            </a:solidFill>
          </p:grpSpPr>
          <p:grpSp>
            <p:nvGrpSpPr>
              <p:cNvPr id="207" name="Group 206"/>
              <p:cNvGrpSpPr>
                <a:grpSpLocks noChangeAspect="1"/>
              </p:cNvGrpSpPr>
              <p:nvPr/>
            </p:nvGrpSpPr>
            <p:grpSpPr>
              <a:xfrm rot="20679101">
                <a:off x="691827" y="3506031"/>
                <a:ext cx="758555" cy="755693"/>
                <a:chOff x="7798595" y="7042151"/>
                <a:chExt cx="420688" cy="419100"/>
              </a:xfrm>
              <a:grpFill/>
            </p:grpSpPr>
            <p:sp>
              <p:nvSpPr>
                <p:cNvPr id="212" name="Freeform 22"/>
                <p:cNvSpPr>
                  <a:spLocks/>
                </p:cNvSpPr>
                <p:nvPr/>
              </p:nvSpPr>
              <p:spPr bwMode="auto">
                <a:xfrm>
                  <a:off x="7933533" y="7042151"/>
                  <a:ext cx="285750" cy="303213"/>
                </a:xfrm>
                <a:custGeom>
                  <a:avLst/>
                  <a:gdLst>
                    <a:gd name="T0" fmla="*/ 34 w 1254"/>
                    <a:gd name="T1" fmla="*/ 1136 h 1337"/>
                    <a:gd name="T2" fmla="*/ 124 w 1254"/>
                    <a:gd name="T3" fmla="*/ 963 h 1337"/>
                    <a:gd name="T4" fmla="*/ 162 w 1254"/>
                    <a:gd name="T5" fmla="*/ 938 h 1337"/>
                    <a:gd name="T6" fmla="*/ 207 w 1254"/>
                    <a:gd name="T7" fmla="*/ 929 h 1337"/>
                    <a:gd name="T8" fmla="*/ 252 w 1254"/>
                    <a:gd name="T9" fmla="*/ 938 h 1337"/>
                    <a:gd name="T10" fmla="*/ 291 w 1254"/>
                    <a:gd name="T11" fmla="*/ 963 h 1337"/>
                    <a:gd name="T12" fmla="*/ 346 w 1254"/>
                    <a:gd name="T13" fmla="*/ 1004 h 1337"/>
                    <a:gd name="T14" fmla="*/ 429 w 1254"/>
                    <a:gd name="T15" fmla="*/ 1029 h 1337"/>
                    <a:gd name="T16" fmla="*/ 516 w 1254"/>
                    <a:gd name="T17" fmla="*/ 1021 h 1337"/>
                    <a:gd name="T18" fmla="*/ 595 w 1254"/>
                    <a:gd name="T19" fmla="*/ 980 h 1337"/>
                    <a:gd name="T20" fmla="*/ 897 w 1254"/>
                    <a:gd name="T21" fmla="*/ 678 h 1337"/>
                    <a:gd name="T22" fmla="*/ 938 w 1254"/>
                    <a:gd name="T23" fmla="*/ 599 h 1337"/>
                    <a:gd name="T24" fmla="*/ 946 w 1254"/>
                    <a:gd name="T25" fmla="*/ 513 h 1337"/>
                    <a:gd name="T26" fmla="*/ 921 w 1254"/>
                    <a:gd name="T27" fmla="*/ 429 h 1337"/>
                    <a:gd name="T28" fmla="*/ 881 w 1254"/>
                    <a:gd name="T29" fmla="*/ 374 h 1337"/>
                    <a:gd name="T30" fmla="*/ 806 w 1254"/>
                    <a:gd name="T31" fmla="*/ 324 h 1337"/>
                    <a:gd name="T32" fmla="*/ 720 w 1254"/>
                    <a:gd name="T33" fmla="*/ 308 h 1337"/>
                    <a:gd name="T34" fmla="*/ 634 w 1254"/>
                    <a:gd name="T35" fmla="*/ 324 h 1337"/>
                    <a:gd name="T36" fmla="*/ 560 w 1254"/>
                    <a:gd name="T37" fmla="*/ 374 h 1337"/>
                    <a:gd name="T38" fmla="*/ 423 w 1254"/>
                    <a:gd name="T39" fmla="*/ 443 h 1337"/>
                    <a:gd name="T40" fmla="*/ 327 w 1254"/>
                    <a:gd name="T41" fmla="*/ 418 h 1337"/>
                    <a:gd name="T42" fmla="*/ 229 w 1254"/>
                    <a:gd name="T43" fmla="*/ 406 h 1337"/>
                    <a:gd name="T44" fmla="*/ 130 w 1254"/>
                    <a:gd name="T45" fmla="*/ 412 h 1337"/>
                    <a:gd name="T46" fmla="*/ 343 w 1254"/>
                    <a:gd name="T47" fmla="*/ 157 h 1337"/>
                    <a:gd name="T48" fmla="*/ 426 w 1254"/>
                    <a:gd name="T49" fmla="*/ 88 h 1337"/>
                    <a:gd name="T50" fmla="*/ 519 w 1254"/>
                    <a:gd name="T51" fmla="*/ 39 h 1337"/>
                    <a:gd name="T52" fmla="*/ 618 w 1254"/>
                    <a:gd name="T53" fmla="*/ 10 h 1337"/>
                    <a:gd name="T54" fmla="*/ 720 w 1254"/>
                    <a:gd name="T55" fmla="*/ 0 h 1337"/>
                    <a:gd name="T56" fmla="*/ 822 w 1254"/>
                    <a:gd name="T57" fmla="*/ 10 h 1337"/>
                    <a:gd name="T58" fmla="*/ 921 w 1254"/>
                    <a:gd name="T59" fmla="*/ 39 h 1337"/>
                    <a:gd name="T60" fmla="*/ 1014 w 1254"/>
                    <a:gd name="T61" fmla="*/ 88 h 1337"/>
                    <a:gd name="T62" fmla="*/ 1098 w 1254"/>
                    <a:gd name="T63" fmla="*/ 157 h 1337"/>
                    <a:gd name="T64" fmla="*/ 1151 w 1254"/>
                    <a:gd name="T65" fmla="*/ 219 h 1337"/>
                    <a:gd name="T66" fmla="*/ 1204 w 1254"/>
                    <a:gd name="T67" fmla="*/ 310 h 1337"/>
                    <a:gd name="T68" fmla="*/ 1239 w 1254"/>
                    <a:gd name="T69" fmla="*/ 407 h 1337"/>
                    <a:gd name="T70" fmla="*/ 1253 w 1254"/>
                    <a:gd name="T71" fmla="*/ 508 h 1337"/>
                    <a:gd name="T72" fmla="*/ 1248 w 1254"/>
                    <a:gd name="T73" fmla="*/ 611 h 1337"/>
                    <a:gd name="T74" fmla="*/ 1224 w 1254"/>
                    <a:gd name="T75" fmla="*/ 711 h 1337"/>
                    <a:gd name="T76" fmla="*/ 1180 w 1254"/>
                    <a:gd name="T77" fmla="*/ 805 h 1337"/>
                    <a:gd name="T78" fmla="*/ 1117 w 1254"/>
                    <a:gd name="T79" fmla="*/ 892 h 1337"/>
                    <a:gd name="T80" fmla="*/ 809 w 1254"/>
                    <a:gd name="T81" fmla="*/ 1200 h 1337"/>
                    <a:gd name="T82" fmla="*/ 723 w 1254"/>
                    <a:gd name="T83" fmla="*/ 1263 h 1337"/>
                    <a:gd name="T84" fmla="*/ 628 w 1254"/>
                    <a:gd name="T85" fmla="*/ 1307 h 1337"/>
                    <a:gd name="T86" fmla="*/ 528 w 1254"/>
                    <a:gd name="T87" fmla="*/ 1332 h 1337"/>
                    <a:gd name="T88" fmla="*/ 426 w 1254"/>
                    <a:gd name="T89" fmla="*/ 1337 h 1337"/>
                    <a:gd name="T90" fmla="*/ 324 w 1254"/>
                    <a:gd name="T91" fmla="*/ 1321 h 1337"/>
                    <a:gd name="T92" fmla="*/ 227 w 1254"/>
                    <a:gd name="T93" fmla="*/ 1288 h 1337"/>
                    <a:gd name="T94" fmla="*/ 136 w 1254"/>
                    <a:gd name="T95" fmla="*/ 1234 h 1337"/>
                    <a:gd name="T96" fmla="*/ 74 w 1254"/>
                    <a:gd name="T97" fmla="*/ 1181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4" h="1337">
                      <a:moveTo>
                        <a:pt x="74" y="1181"/>
                      </a:moveTo>
                      <a:lnTo>
                        <a:pt x="74" y="1181"/>
                      </a:lnTo>
                      <a:lnTo>
                        <a:pt x="53" y="1158"/>
                      </a:lnTo>
                      <a:lnTo>
                        <a:pt x="34" y="1136"/>
                      </a:lnTo>
                      <a:lnTo>
                        <a:pt x="16" y="1112"/>
                      </a:lnTo>
                      <a:lnTo>
                        <a:pt x="0" y="1087"/>
                      </a:lnTo>
                      <a:lnTo>
                        <a:pt x="124" y="963"/>
                      </a:lnTo>
                      <a:lnTo>
                        <a:pt x="124" y="963"/>
                      </a:lnTo>
                      <a:lnTo>
                        <a:pt x="133" y="955"/>
                      </a:lnTo>
                      <a:lnTo>
                        <a:pt x="142" y="948"/>
                      </a:lnTo>
                      <a:lnTo>
                        <a:pt x="152" y="943"/>
                      </a:lnTo>
                      <a:lnTo>
                        <a:pt x="162" y="938"/>
                      </a:lnTo>
                      <a:lnTo>
                        <a:pt x="173" y="934"/>
                      </a:lnTo>
                      <a:lnTo>
                        <a:pt x="185" y="931"/>
                      </a:lnTo>
                      <a:lnTo>
                        <a:pt x="196" y="930"/>
                      </a:lnTo>
                      <a:lnTo>
                        <a:pt x="207" y="929"/>
                      </a:lnTo>
                      <a:lnTo>
                        <a:pt x="218" y="930"/>
                      </a:lnTo>
                      <a:lnTo>
                        <a:pt x="230" y="931"/>
                      </a:lnTo>
                      <a:lnTo>
                        <a:pt x="241" y="934"/>
                      </a:lnTo>
                      <a:lnTo>
                        <a:pt x="252" y="938"/>
                      </a:lnTo>
                      <a:lnTo>
                        <a:pt x="262" y="943"/>
                      </a:lnTo>
                      <a:lnTo>
                        <a:pt x="272" y="948"/>
                      </a:lnTo>
                      <a:lnTo>
                        <a:pt x="282" y="955"/>
                      </a:lnTo>
                      <a:lnTo>
                        <a:pt x="291" y="963"/>
                      </a:lnTo>
                      <a:lnTo>
                        <a:pt x="291" y="963"/>
                      </a:lnTo>
                      <a:lnTo>
                        <a:pt x="308" y="980"/>
                      </a:lnTo>
                      <a:lnTo>
                        <a:pt x="326" y="993"/>
                      </a:lnTo>
                      <a:lnTo>
                        <a:pt x="346" y="1004"/>
                      </a:lnTo>
                      <a:lnTo>
                        <a:pt x="366" y="1013"/>
                      </a:lnTo>
                      <a:lnTo>
                        <a:pt x="387" y="1021"/>
                      </a:lnTo>
                      <a:lnTo>
                        <a:pt x="408" y="1026"/>
                      </a:lnTo>
                      <a:lnTo>
                        <a:pt x="429" y="1029"/>
                      </a:lnTo>
                      <a:lnTo>
                        <a:pt x="452" y="1030"/>
                      </a:lnTo>
                      <a:lnTo>
                        <a:pt x="473" y="1029"/>
                      </a:lnTo>
                      <a:lnTo>
                        <a:pt x="495" y="1026"/>
                      </a:lnTo>
                      <a:lnTo>
                        <a:pt x="516" y="1021"/>
                      </a:lnTo>
                      <a:lnTo>
                        <a:pt x="538" y="1013"/>
                      </a:lnTo>
                      <a:lnTo>
                        <a:pt x="557" y="1004"/>
                      </a:lnTo>
                      <a:lnTo>
                        <a:pt x="576" y="993"/>
                      </a:lnTo>
                      <a:lnTo>
                        <a:pt x="595" y="980"/>
                      </a:lnTo>
                      <a:lnTo>
                        <a:pt x="612" y="963"/>
                      </a:lnTo>
                      <a:lnTo>
                        <a:pt x="881" y="695"/>
                      </a:lnTo>
                      <a:lnTo>
                        <a:pt x="881" y="695"/>
                      </a:lnTo>
                      <a:lnTo>
                        <a:pt x="897" y="678"/>
                      </a:lnTo>
                      <a:lnTo>
                        <a:pt x="910" y="659"/>
                      </a:lnTo>
                      <a:lnTo>
                        <a:pt x="921" y="640"/>
                      </a:lnTo>
                      <a:lnTo>
                        <a:pt x="931" y="620"/>
                      </a:lnTo>
                      <a:lnTo>
                        <a:pt x="938" y="599"/>
                      </a:lnTo>
                      <a:lnTo>
                        <a:pt x="943" y="578"/>
                      </a:lnTo>
                      <a:lnTo>
                        <a:pt x="946" y="556"/>
                      </a:lnTo>
                      <a:lnTo>
                        <a:pt x="947" y="534"/>
                      </a:lnTo>
                      <a:lnTo>
                        <a:pt x="946" y="513"/>
                      </a:lnTo>
                      <a:lnTo>
                        <a:pt x="943" y="491"/>
                      </a:lnTo>
                      <a:lnTo>
                        <a:pt x="938" y="470"/>
                      </a:lnTo>
                      <a:lnTo>
                        <a:pt x="931" y="448"/>
                      </a:lnTo>
                      <a:lnTo>
                        <a:pt x="921" y="429"/>
                      </a:lnTo>
                      <a:lnTo>
                        <a:pt x="910" y="410"/>
                      </a:lnTo>
                      <a:lnTo>
                        <a:pt x="897" y="391"/>
                      </a:lnTo>
                      <a:lnTo>
                        <a:pt x="881" y="374"/>
                      </a:lnTo>
                      <a:lnTo>
                        <a:pt x="881" y="374"/>
                      </a:lnTo>
                      <a:lnTo>
                        <a:pt x="864" y="359"/>
                      </a:lnTo>
                      <a:lnTo>
                        <a:pt x="846" y="344"/>
                      </a:lnTo>
                      <a:lnTo>
                        <a:pt x="826" y="333"/>
                      </a:lnTo>
                      <a:lnTo>
                        <a:pt x="806" y="324"/>
                      </a:lnTo>
                      <a:lnTo>
                        <a:pt x="785" y="317"/>
                      </a:lnTo>
                      <a:lnTo>
                        <a:pt x="764" y="312"/>
                      </a:lnTo>
                      <a:lnTo>
                        <a:pt x="743" y="309"/>
                      </a:lnTo>
                      <a:lnTo>
                        <a:pt x="720" y="308"/>
                      </a:lnTo>
                      <a:lnTo>
                        <a:pt x="699" y="309"/>
                      </a:lnTo>
                      <a:lnTo>
                        <a:pt x="677" y="312"/>
                      </a:lnTo>
                      <a:lnTo>
                        <a:pt x="656" y="317"/>
                      </a:lnTo>
                      <a:lnTo>
                        <a:pt x="634" y="324"/>
                      </a:lnTo>
                      <a:lnTo>
                        <a:pt x="614" y="333"/>
                      </a:lnTo>
                      <a:lnTo>
                        <a:pt x="595" y="344"/>
                      </a:lnTo>
                      <a:lnTo>
                        <a:pt x="576" y="357"/>
                      </a:lnTo>
                      <a:lnTo>
                        <a:pt x="560" y="374"/>
                      </a:lnTo>
                      <a:lnTo>
                        <a:pt x="470" y="463"/>
                      </a:lnTo>
                      <a:lnTo>
                        <a:pt x="470" y="463"/>
                      </a:lnTo>
                      <a:lnTo>
                        <a:pt x="448" y="452"/>
                      </a:lnTo>
                      <a:lnTo>
                        <a:pt x="423" y="443"/>
                      </a:lnTo>
                      <a:lnTo>
                        <a:pt x="400" y="436"/>
                      </a:lnTo>
                      <a:lnTo>
                        <a:pt x="376" y="429"/>
                      </a:lnTo>
                      <a:lnTo>
                        <a:pt x="352" y="423"/>
                      </a:lnTo>
                      <a:lnTo>
                        <a:pt x="327" y="418"/>
                      </a:lnTo>
                      <a:lnTo>
                        <a:pt x="303" y="414"/>
                      </a:lnTo>
                      <a:lnTo>
                        <a:pt x="279" y="411"/>
                      </a:lnTo>
                      <a:lnTo>
                        <a:pt x="253" y="407"/>
                      </a:lnTo>
                      <a:lnTo>
                        <a:pt x="229" y="406"/>
                      </a:lnTo>
                      <a:lnTo>
                        <a:pt x="204" y="406"/>
                      </a:lnTo>
                      <a:lnTo>
                        <a:pt x="179" y="406"/>
                      </a:lnTo>
                      <a:lnTo>
                        <a:pt x="154" y="408"/>
                      </a:lnTo>
                      <a:lnTo>
                        <a:pt x="130" y="412"/>
                      </a:lnTo>
                      <a:lnTo>
                        <a:pt x="104" y="415"/>
                      </a:lnTo>
                      <a:lnTo>
                        <a:pt x="80" y="419"/>
                      </a:lnTo>
                      <a:lnTo>
                        <a:pt x="343" y="157"/>
                      </a:lnTo>
                      <a:lnTo>
                        <a:pt x="343" y="157"/>
                      </a:lnTo>
                      <a:lnTo>
                        <a:pt x="362" y="137"/>
                      </a:lnTo>
                      <a:lnTo>
                        <a:pt x="384" y="120"/>
                      </a:lnTo>
                      <a:lnTo>
                        <a:pt x="404" y="103"/>
                      </a:lnTo>
                      <a:lnTo>
                        <a:pt x="426" y="88"/>
                      </a:lnTo>
                      <a:lnTo>
                        <a:pt x="449" y="74"/>
                      </a:lnTo>
                      <a:lnTo>
                        <a:pt x="471" y="62"/>
                      </a:lnTo>
                      <a:lnTo>
                        <a:pt x="496" y="49"/>
                      </a:lnTo>
                      <a:lnTo>
                        <a:pt x="519" y="39"/>
                      </a:lnTo>
                      <a:lnTo>
                        <a:pt x="544" y="30"/>
                      </a:lnTo>
                      <a:lnTo>
                        <a:pt x="568" y="22"/>
                      </a:lnTo>
                      <a:lnTo>
                        <a:pt x="593" y="16"/>
                      </a:lnTo>
                      <a:lnTo>
                        <a:pt x="618" y="10"/>
                      </a:lnTo>
                      <a:lnTo>
                        <a:pt x="644" y="6"/>
                      </a:lnTo>
                      <a:lnTo>
                        <a:pt x="669" y="3"/>
                      </a:lnTo>
                      <a:lnTo>
                        <a:pt x="695" y="0"/>
                      </a:lnTo>
                      <a:lnTo>
                        <a:pt x="720" y="0"/>
                      </a:lnTo>
                      <a:lnTo>
                        <a:pt x="746" y="0"/>
                      </a:lnTo>
                      <a:lnTo>
                        <a:pt x="771" y="3"/>
                      </a:lnTo>
                      <a:lnTo>
                        <a:pt x="797" y="6"/>
                      </a:lnTo>
                      <a:lnTo>
                        <a:pt x="822" y="10"/>
                      </a:lnTo>
                      <a:lnTo>
                        <a:pt x="848" y="16"/>
                      </a:lnTo>
                      <a:lnTo>
                        <a:pt x="872" y="22"/>
                      </a:lnTo>
                      <a:lnTo>
                        <a:pt x="897" y="30"/>
                      </a:lnTo>
                      <a:lnTo>
                        <a:pt x="921" y="39"/>
                      </a:lnTo>
                      <a:lnTo>
                        <a:pt x="945" y="49"/>
                      </a:lnTo>
                      <a:lnTo>
                        <a:pt x="969" y="62"/>
                      </a:lnTo>
                      <a:lnTo>
                        <a:pt x="991" y="74"/>
                      </a:lnTo>
                      <a:lnTo>
                        <a:pt x="1014" y="88"/>
                      </a:lnTo>
                      <a:lnTo>
                        <a:pt x="1036" y="103"/>
                      </a:lnTo>
                      <a:lnTo>
                        <a:pt x="1058" y="120"/>
                      </a:lnTo>
                      <a:lnTo>
                        <a:pt x="1078" y="137"/>
                      </a:lnTo>
                      <a:lnTo>
                        <a:pt x="1098" y="157"/>
                      </a:lnTo>
                      <a:lnTo>
                        <a:pt x="1098" y="157"/>
                      </a:lnTo>
                      <a:lnTo>
                        <a:pt x="1117" y="177"/>
                      </a:lnTo>
                      <a:lnTo>
                        <a:pt x="1134" y="197"/>
                      </a:lnTo>
                      <a:lnTo>
                        <a:pt x="1151" y="219"/>
                      </a:lnTo>
                      <a:lnTo>
                        <a:pt x="1167" y="240"/>
                      </a:lnTo>
                      <a:lnTo>
                        <a:pt x="1180" y="263"/>
                      </a:lnTo>
                      <a:lnTo>
                        <a:pt x="1193" y="286"/>
                      </a:lnTo>
                      <a:lnTo>
                        <a:pt x="1204" y="310"/>
                      </a:lnTo>
                      <a:lnTo>
                        <a:pt x="1215" y="333"/>
                      </a:lnTo>
                      <a:lnTo>
                        <a:pt x="1224" y="357"/>
                      </a:lnTo>
                      <a:lnTo>
                        <a:pt x="1232" y="382"/>
                      </a:lnTo>
                      <a:lnTo>
                        <a:pt x="1239" y="407"/>
                      </a:lnTo>
                      <a:lnTo>
                        <a:pt x="1244" y="432"/>
                      </a:lnTo>
                      <a:lnTo>
                        <a:pt x="1248" y="457"/>
                      </a:lnTo>
                      <a:lnTo>
                        <a:pt x="1251" y="483"/>
                      </a:lnTo>
                      <a:lnTo>
                        <a:pt x="1253" y="508"/>
                      </a:lnTo>
                      <a:lnTo>
                        <a:pt x="1254" y="534"/>
                      </a:lnTo>
                      <a:lnTo>
                        <a:pt x="1253" y="559"/>
                      </a:lnTo>
                      <a:lnTo>
                        <a:pt x="1251" y="586"/>
                      </a:lnTo>
                      <a:lnTo>
                        <a:pt x="1248" y="611"/>
                      </a:lnTo>
                      <a:lnTo>
                        <a:pt x="1244" y="636"/>
                      </a:lnTo>
                      <a:lnTo>
                        <a:pt x="1239" y="661"/>
                      </a:lnTo>
                      <a:lnTo>
                        <a:pt x="1232" y="686"/>
                      </a:lnTo>
                      <a:lnTo>
                        <a:pt x="1224" y="711"/>
                      </a:lnTo>
                      <a:lnTo>
                        <a:pt x="1215" y="735"/>
                      </a:lnTo>
                      <a:lnTo>
                        <a:pt x="1204" y="759"/>
                      </a:lnTo>
                      <a:lnTo>
                        <a:pt x="1193" y="783"/>
                      </a:lnTo>
                      <a:lnTo>
                        <a:pt x="1180" y="805"/>
                      </a:lnTo>
                      <a:lnTo>
                        <a:pt x="1167" y="829"/>
                      </a:lnTo>
                      <a:lnTo>
                        <a:pt x="1151" y="850"/>
                      </a:lnTo>
                      <a:lnTo>
                        <a:pt x="1134" y="872"/>
                      </a:lnTo>
                      <a:lnTo>
                        <a:pt x="1117" y="892"/>
                      </a:lnTo>
                      <a:lnTo>
                        <a:pt x="1098" y="912"/>
                      </a:lnTo>
                      <a:lnTo>
                        <a:pt x="829" y="1181"/>
                      </a:lnTo>
                      <a:lnTo>
                        <a:pt x="829" y="1181"/>
                      </a:lnTo>
                      <a:lnTo>
                        <a:pt x="809" y="1200"/>
                      </a:lnTo>
                      <a:lnTo>
                        <a:pt x="788" y="1217"/>
                      </a:lnTo>
                      <a:lnTo>
                        <a:pt x="767" y="1234"/>
                      </a:lnTo>
                      <a:lnTo>
                        <a:pt x="746" y="1249"/>
                      </a:lnTo>
                      <a:lnTo>
                        <a:pt x="723" y="1263"/>
                      </a:lnTo>
                      <a:lnTo>
                        <a:pt x="700" y="1276"/>
                      </a:lnTo>
                      <a:lnTo>
                        <a:pt x="676" y="1288"/>
                      </a:lnTo>
                      <a:lnTo>
                        <a:pt x="653" y="1298"/>
                      </a:lnTo>
                      <a:lnTo>
                        <a:pt x="628" y="1307"/>
                      </a:lnTo>
                      <a:lnTo>
                        <a:pt x="604" y="1315"/>
                      </a:lnTo>
                      <a:lnTo>
                        <a:pt x="578" y="1321"/>
                      </a:lnTo>
                      <a:lnTo>
                        <a:pt x="554" y="1328"/>
                      </a:lnTo>
                      <a:lnTo>
                        <a:pt x="528" y="1332"/>
                      </a:lnTo>
                      <a:lnTo>
                        <a:pt x="503" y="1335"/>
                      </a:lnTo>
                      <a:lnTo>
                        <a:pt x="477" y="1337"/>
                      </a:lnTo>
                      <a:lnTo>
                        <a:pt x="452" y="1337"/>
                      </a:lnTo>
                      <a:lnTo>
                        <a:pt x="426" y="1337"/>
                      </a:lnTo>
                      <a:lnTo>
                        <a:pt x="400" y="1335"/>
                      </a:lnTo>
                      <a:lnTo>
                        <a:pt x="374" y="1332"/>
                      </a:lnTo>
                      <a:lnTo>
                        <a:pt x="350" y="1328"/>
                      </a:lnTo>
                      <a:lnTo>
                        <a:pt x="324" y="1321"/>
                      </a:lnTo>
                      <a:lnTo>
                        <a:pt x="299" y="1315"/>
                      </a:lnTo>
                      <a:lnTo>
                        <a:pt x="274" y="1307"/>
                      </a:lnTo>
                      <a:lnTo>
                        <a:pt x="250" y="1298"/>
                      </a:lnTo>
                      <a:lnTo>
                        <a:pt x="227" y="1288"/>
                      </a:lnTo>
                      <a:lnTo>
                        <a:pt x="203" y="1276"/>
                      </a:lnTo>
                      <a:lnTo>
                        <a:pt x="180" y="1263"/>
                      </a:lnTo>
                      <a:lnTo>
                        <a:pt x="157" y="1249"/>
                      </a:lnTo>
                      <a:lnTo>
                        <a:pt x="136" y="1234"/>
                      </a:lnTo>
                      <a:lnTo>
                        <a:pt x="114" y="1217"/>
                      </a:lnTo>
                      <a:lnTo>
                        <a:pt x="94" y="1200"/>
                      </a:lnTo>
                      <a:lnTo>
                        <a:pt x="74" y="1181"/>
                      </a:lnTo>
                      <a:lnTo>
                        <a:pt x="74" y="1181"/>
                      </a:lnTo>
                      <a:close/>
                    </a:path>
                  </a:pathLst>
                </a:custGeom>
                <a:solidFill>
                  <a:schemeClr val="accent1"/>
                </a:solidFill>
                <a:ln w="9525">
                  <a:noFill/>
                  <a:round/>
                  <a:headEnd/>
                  <a:tailEnd/>
                </a:ln>
                <a:extLst/>
              </p:spPr>
              <p:txBody>
                <a:bodyPr vert="horz" wrap="square" lIns="91392" tIns="45696" rIns="91392" bIns="45696" numCol="1" anchor="t" anchorCtr="0" compatLnSpc="1">
                  <a:prstTxWarp prst="textNoShape">
                    <a:avLst/>
                  </a:prstTxWarp>
                </a:bodyPr>
                <a:lstStyle/>
                <a:p>
                  <a:pPr defTabSz="914362"/>
                  <a:endParaRPr lang="en-US">
                    <a:solidFill>
                      <a:srgbClr val="FFFFFF"/>
                    </a:solidFill>
                    <a:latin typeface="Arial"/>
                  </a:endParaRPr>
                </a:p>
              </p:txBody>
            </p:sp>
            <p:sp>
              <p:nvSpPr>
                <p:cNvPr id="213" name="Freeform 23"/>
                <p:cNvSpPr>
                  <a:spLocks/>
                </p:cNvSpPr>
                <p:nvPr/>
              </p:nvSpPr>
              <p:spPr bwMode="auto">
                <a:xfrm>
                  <a:off x="7798595" y="7158038"/>
                  <a:ext cx="285750" cy="303213"/>
                </a:xfrm>
                <a:custGeom>
                  <a:avLst/>
                  <a:gdLst>
                    <a:gd name="T0" fmla="*/ 443 w 1254"/>
                    <a:gd name="T1" fmla="*/ 138 h 1334"/>
                    <a:gd name="T2" fmla="*/ 523 w 1254"/>
                    <a:gd name="T3" fmla="*/ 78 h 1334"/>
                    <a:gd name="T4" fmla="*/ 609 w 1254"/>
                    <a:gd name="T5" fmla="*/ 35 h 1334"/>
                    <a:gd name="T6" fmla="*/ 701 w 1254"/>
                    <a:gd name="T7" fmla="*/ 9 h 1334"/>
                    <a:gd name="T8" fmla="*/ 796 w 1254"/>
                    <a:gd name="T9" fmla="*/ 0 h 1334"/>
                    <a:gd name="T10" fmla="*/ 891 w 1254"/>
                    <a:gd name="T11" fmla="*/ 7 h 1334"/>
                    <a:gd name="T12" fmla="*/ 983 w 1254"/>
                    <a:gd name="T13" fmla="*/ 31 h 1334"/>
                    <a:gd name="T14" fmla="*/ 1071 w 1254"/>
                    <a:gd name="T15" fmla="*/ 72 h 1334"/>
                    <a:gd name="T16" fmla="*/ 1133 w 1254"/>
                    <a:gd name="T17" fmla="*/ 114 h 1334"/>
                    <a:gd name="T18" fmla="*/ 1179 w 1254"/>
                    <a:gd name="T19" fmla="*/ 156 h 1334"/>
                    <a:gd name="T20" fmla="*/ 1238 w 1254"/>
                    <a:gd name="T21" fmla="*/ 225 h 1334"/>
                    <a:gd name="T22" fmla="*/ 1121 w 1254"/>
                    <a:gd name="T23" fmla="*/ 381 h 1334"/>
                    <a:gd name="T24" fmla="*/ 1081 w 1254"/>
                    <a:gd name="T25" fmla="*/ 402 h 1334"/>
                    <a:gd name="T26" fmla="*/ 1035 w 1254"/>
                    <a:gd name="T27" fmla="*/ 407 h 1334"/>
                    <a:gd name="T28" fmla="*/ 992 w 1254"/>
                    <a:gd name="T29" fmla="*/ 394 h 1334"/>
                    <a:gd name="T30" fmla="*/ 963 w 1254"/>
                    <a:gd name="T31" fmla="*/ 373 h 1334"/>
                    <a:gd name="T32" fmla="*/ 888 w 1254"/>
                    <a:gd name="T33" fmla="*/ 323 h 1334"/>
                    <a:gd name="T34" fmla="*/ 802 w 1254"/>
                    <a:gd name="T35" fmla="*/ 307 h 1334"/>
                    <a:gd name="T36" fmla="*/ 716 w 1254"/>
                    <a:gd name="T37" fmla="*/ 323 h 1334"/>
                    <a:gd name="T38" fmla="*/ 641 w 1254"/>
                    <a:gd name="T39" fmla="*/ 373 h 1334"/>
                    <a:gd name="T40" fmla="*/ 344 w 1254"/>
                    <a:gd name="T41" fmla="*/ 677 h 1334"/>
                    <a:gd name="T42" fmla="*/ 311 w 1254"/>
                    <a:gd name="T43" fmla="*/ 758 h 1334"/>
                    <a:gd name="T44" fmla="*/ 311 w 1254"/>
                    <a:gd name="T45" fmla="*/ 845 h 1334"/>
                    <a:gd name="T46" fmla="*/ 344 w 1254"/>
                    <a:gd name="T47" fmla="*/ 927 h 1334"/>
                    <a:gd name="T48" fmla="*/ 384 w 1254"/>
                    <a:gd name="T49" fmla="*/ 973 h 1334"/>
                    <a:gd name="T50" fmla="*/ 431 w 1254"/>
                    <a:gd name="T51" fmla="*/ 1004 h 1334"/>
                    <a:gd name="T52" fmla="*/ 483 w 1254"/>
                    <a:gd name="T53" fmla="*/ 1023 h 1334"/>
                    <a:gd name="T54" fmla="*/ 538 w 1254"/>
                    <a:gd name="T55" fmla="*/ 1028 h 1334"/>
                    <a:gd name="T56" fmla="*/ 579 w 1254"/>
                    <a:gd name="T57" fmla="*/ 1023 h 1334"/>
                    <a:gd name="T58" fmla="*/ 625 w 1254"/>
                    <a:gd name="T59" fmla="*/ 1008 h 1334"/>
                    <a:gd name="T60" fmla="*/ 682 w 1254"/>
                    <a:gd name="T61" fmla="*/ 975 h 1334"/>
                    <a:gd name="T62" fmla="*/ 805 w 1254"/>
                    <a:gd name="T63" fmla="*/ 884 h 1334"/>
                    <a:gd name="T64" fmla="*/ 901 w 1254"/>
                    <a:gd name="T65" fmla="*/ 915 h 1334"/>
                    <a:gd name="T66" fmla="*/ 999 w 1254"/>
                    <a:gd name="T67" fmla="*/ 930 h 1334"/>
                    <a:gd name="T68" fmla="*/ 1098 w 1254"/>
                    <a:gd name="T69" fmla="*/ 930 h 1334"/>
                    <a:gd name="T70" fmla="*/ 1171 w 1254"/>
                    <a:gd name="T71" fmla="*/ 920 h 1334"/>
                    <a:gd name="T72" fmla="*/ 891 w 1254"/>
                    <a:gd name="T73" fmla="*/ 1198 h 1334"/>
                    <a:gd name="T74" fmla="*/ 813 w 1254"/>
                    <a:gd name="T75" fmla="*/ 1254 h 1334"/>
                    <a:gd name="T76" fmla="*/ 734 w 1254"/>
                    <a:gd name="T77" fmla="*/ 1294 h 1334"/>
                    <a:gd name="T78" fmla="*/ 649 w 1254"/>
                    <a:gd name="T79" fmla="*/ 1320 h 1334"/>
                    <a:gd name="T80" fmla="*/ 562 w 1254"/>
                    <a:gd name="T81" fmla="*/ 1333 h 1334"/>
                    <a:gd name="T82" fmla="*/ 475 w 1254"/>
                    <a:gd name="T83" fmla="*/ 1332 h 1334"/>
                    <a:gd name="T84" fmla="*/ 388 w 1254"/>
                    <a:gd name="T85" fmla="*/ 1315 h 1334"/>
                    <a:gd name="T86" fmla="*/ 306 w 1254"/>
                    <a:gd name="T87" fmla="*/ 1285 h 1334"/>
                    <a:gd name="T88" fmla="*/ 227 w 1254"/>
                    <a:gd name="T89" fmla="*/ 1240 h 1334"/>
                    <a:gd name="T90" fmla="*/ 156 w 1254"/>
                    <a:gd name="T91" fmla="*/ 1180 h 1334"/>
                    <a:gd name="T92" fmla="*/ 103 w 1254"/>
                    <a:gd name="T93" fmla="*/ 1119 h 1334"/>
                    <a:gd name="T94" fmla="*/ 49 w 1254"/>
                    <a:gd name="T95" fmla="*/ 1028 h 1334"/>
                    <a:gd name="T96" fmla="*/ 15 w 1254"/>
                    <a:gd name="T97" fmla="*/ 930 h 1334"/>
                    <a:gd name="T98" fmla="*/ 1 w 1254"/>
                    <a:gd name="T99" fmla="*/ 828 h 1334"/>
                    <a:gd name="T100" fmla="*/ 5 w 1254"/>
                    <a:gd name="T101" fmla="*/ 726 h 1334"/>
                    <a:gd name="T102" fmla="*/ 29 w 1254"/>
                    <a:gd name="T103" fmla="*/ 626 h 1334"/>
                    <a:gd name="T104" fmla="*/ 73 w 1254"/>
                    <a:gd name="T105" fmla="*/ 531 h 1334"/>
                    <a:gd name="T106" fmla="*/ 137 w 1254"/>
                    <a:gd name="T107" fmla="*/ 444 h 1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54" h="1334">
                      <a:moveTo>
                        <a:pt x="156" y="425"/>
                      </a:moveTo>
                      <a:lnTo>
                        <a:pt x="425" y="156"/>
                      </a:lnTo>
                      <a:lnTo>
                        <a:pt x="425" y="156"/>
                      </a:lnTo>
                      <a:lnTo>
                        <a:pt x="443" y="138"/>
                      </a:lnTo>
                      <a:lnTo>
                        <a:pt x="462" y="122"/>
                      </a:lnTo>
                      <a:lnTo>
                        <a:pt x="482" y="106"/>
                      </a:lnTo>
                      <a:lnTo>
                        <a:pt x="501" y="91"/>
                      </a:lnTo>
                      <a:lnTo>
                        <a:pt x="523" y="78"/>
                      </a:lnTo>
                      <a:lnTo>
                        <a:pt x="543" y="66"/>
                      </a:lnTo>
                      <a:lnTo>
                        <a:pt x="566" y="55"/>
                      </a:lnTo>
                      <a:lnTo>
                        <a:pt x="587" y="44"/>
                      </a:lnTo>
                      <a:lnTo>
                        <a:pt x="609" y="35"/>
                      </a:lnTo>
                      <a:lnTo>
                        <a:pt x="632" y="27"/>
                      </a:lnTo>
                      <a:lnTo>
                        <a:pt x="655" y="20"/>
                      </a:lnTo>
                      <a:lnTo>
                        <a:pt x="678" y="14"/>
                      </a:lnTo>
                      <a:lnTo>
                        <a:pt x="701" y="9"/>
                      </a:lnTo>
                      <a:lnTo>
                        <a:pt x="725" y="5"/>
                      </a:lnTo>
                      <a:lnTo>
                        <a:pt x="748" y="3"/>
                      </a:lnTo>
                      <a:lnTo>
                        <a:pt x="773" y="1"/>
                      </a:lnTo>
                      <a:lnTo>
                        <a:pt x="796" y="0"/>
                      </a:lnTo>
                      <a:lnTo>
                        <a:pt x="819" y="0"/>
                      </a:lnTo>
                      <a:lnTo>
                        <a:pt x="843" y="2"/>
                      </a:lnTo>
                      <a:lnTo>
                        <a:pt x="867" y="4"/>
                      </a:lnTo>
                      <a:lnTo>
                        <a:pt x="891" y="7"/>
                      </a:lnTo>
                      <a:lnTo>
                        <a:pt x="914" y="12"/>
                      </a:lnTo>
                      <a:lnTo>
                        <a:pt x="938" y="17"/>
                      </a:lnTo>
                      <a:lnTo>
                        <a:pt x="960" y="24"/>
                      </a:lnTo>
                      <a:lnTo>
                        <a:pt x="983" y="31"/>
                      </a:lnTo>
                      <a:lnTo>
                        <a:pt x="1006" y="39"/>
                      </a:lnTo>
                      <a:lnTo>
                        <a:pt x="1028" y="50"/>
                      </a:lnTo>
                      <a:lnTo>
                        <a:pt x="1050" y="61"/>
                      </a:lnTo>
                      <a:lnTo>
                        <a:pt x="1071" y="72"/>
                      </a:lnTo>
                      <a:lnTo>
                        <a:pt x="1092" y="85"/>
                      </a:lnTo>
                      <a:lnTo>
                        <a:pt x="1112" y="98"/>
                      </a:lnTo>
                      <a:lnTo>
                        <a:pt x="1133" y="114"/>
                      </a:lnTo>
                      <a:lnTo>
                        <a:pt x="1133" y="114"/>
                      </a:lnTo>
                      <a:lnTo>
                        <a:pt x="1136" y="116"/>
                      </a:lnTo>
                      <a:lnTo>
                        <a:pt x="1136" y="116"/>
                      </a:lnTo>
                      <a:lnTo>
                        <a:pt x="1158" y="135"/>
                      </a:lnTo>
                      <a:lnTo>
                        <a:pt x="1179" y="156"/>
                      </a:lnTo>
                      <a:lnTo>
                        <a:pt x="1179" y="156"/>
                      </a:lnTo>
                      <a:lnTo>
                        <a:pt x="1201" y="178"/>
                      </a:lnTo>
                      <a:lnTo>
                        <a:pt x="1220" y="200"/>
                      </a:lnTo>
                      <a:lnTo>
                        <a:pt x="1238" y="225"/>
                      </a:lnTo>
                      <a:lnTo>
                        <a:pt x="1254" y="249"/>
                      </a:lnTo>
                      <a:lnTo>
                        <a:pt x="1131" y="373"/>
                      </a:lnTo>
                      <a:lnTo>
                        <a:pt x="1131" y="373"/>
                      </a:lnTo>
                      <a:lnTo>
                        <a:pt x="1121" y="381"/>
                      </a:lnTo>
                      <a:lnTo>
                        <a:pt x="1112" y="388"/>
                      </a:lnTo>
                      <a:lnTo>
                        <a:pt x="1102" y="394"/>
                      </a:lnTo>
                      <a:lnTo>
                        <a:pt x="1091" y="398"/>
                      </a:lnTo>
                      <a:lnTo>
                        <a:pt x="1081" y="402"/>
                      </a:lnTo>
                      <a:lnTo>
                        <a:pt x="1069" y="406"/>
                      </a:lnTo>
                      <a:lnTo>
                        <a:pt x="1058" y="407"/>
                      </a:lnTo>
                      <a:lnTo>
                        <a:pt x="1047" y="408"/>
                      </a:lnTo>
                      <a:lnTo>
                        <a:pt x="1035" y="407"/>
                      </a:lnTo>
                      <a:lnTo>
                        <a:pt x="1023" y="406"/>
                      </a:lnTo>
                      <a:lnTo>
                        <a:pt x="1013" y="402"/>
                      </a:lnTo>
                      <a:lnTo>
                        <a:pt x="1002" y="398"/>
                      </a:lnTo>
                      <a:lnTo>
                        <a:pt x="992" y="394"/>
                      </a:lnTo>
                      <a:lnTo>
                        <a:pt x="982" y="388"/>
                      </a:lnTo>
                      <a:lnTo>
                        <a:pt x="971" y="381"/>
                      </a:lnTo>
                      <a:lnTo>
                        <a:pt x="963" y="373"/>
                      </a:lnTo>
                      <a:lnTo>
                        <a:pt x="963" y="373"/>
                      </a:lnTo>
                      <a:lnTo>
                        <a:pt x="946" y="358"/>
                      </a:lnTo>
                      <a:lnTo>
                        <a:pt x="928" y="343"/>
                      </a:lnTo>
                      <a:lnTo>
                        <a:pt x="908" y="332"/>
                      </a:lnTo>
                      <a:lnTo>
                        <a:pt x="888" y="323"/>
                      </a:lnTo>
                      <a:lnTo>
                        <a:pt x="866" y="316"/>
                      </a:lnTo>
                      <a:lnTo>
                        <a:pt x="846" y="311"/>
                      </a:lnTo>
                      <a:lnTo>
                        <a:pt x="824" y="308"/>
                      </a:lnTo>
                      <a:lnTo>
                        <a:pt x="802" y="307"/>
                      </a:lnTo>
                      <a:lnTo>
                        <a:pt x="781" y="308"/>
                      </a:lnTo>
                      <a:lnTo>
                        <a:pt x="758" y="311"/>
                      </a:lnTo>
                      <a:lnTo>
                        <a:pt x="738" y="316"/>
                      </a:lnTo>
                      <a:lnTo>
                        <a:pt x="716" y="323"/>
                      </a:lnTo>
                      <a:lnTo>
                        <a:pt x="696" y="332"/>
                      </a:lnTo>
                      <a:lnTo>
                        <a:pt x="677" y="343"/>
                      </a:lnTo>
                      <a:lnTo>
                        <a:pt x="658" y="358"/>
                      </a:lnTo>
                      <a:lnTo>
                        <a:pt x="641" y="373"/>
                      </a:lnTo>
                      <a:lnTo>
                        <a:pt x="373" y="641"/>
                      </a:lnTo>
                      <a:lnTo>
                        <a:pt x="373" y="641"/>
                      </a:lnTo>
                      <a:lnTo>
                        <a:pt x="358" y="658"/>
                      </a:lnTo>
                      <a:lnTo>
                        <a:pt x="344" y="677"/>
                      </a:lnTo>
                      <a:lnTo>
                        <a:pt x="332" y="696"/>
                      </a:lnTo>
                      <a:lnTo>
                        <a:pt x="323" y="717"/>
                      </a:lnTo>
                      <a:lnTo>
                        <a:pt x="316" y="737"/>
                      </a:lnTo>
                      <a:lnTo>
                        <a:pt x="311" y="758"/>
                      </a:lnTo>
                      <a:lnTo>
                        <a:pt x="308" y="780"/>
                      </a:lnTo>
                      <a:lnTo>
                        <a:pt x="307" y="802"/>
                      </a:lnTo>
                      <a:lnTo>
                        <a:pt x="308" y="824"/>
                      </a:lnTo>
                      <a:lnTo>
                        <a:pt x="311" y="845"/>
                      </a:lnTo>
                      <a:lnTo>
                        <a:pt x="316" y="867"/>
                      </a:lnTo>
                      <a:lnTo>
                        <a:pt x="323" y="888"/>
                      </a:lnTo>
                      <a:lnTo>
                        <a:pt x="332" y="907"/>
                      </a:lnTo>
                      <a:lnTo>
                        <a:pt x="344" y="927"/>
                      </a:lnTo>
                      <a:lnTo>
                        <a:pt x="358" y="945"/>
                      </a:lnTo>
                      <a:lnTo>
                        <a:pt x="373" y="962"/>
                      </a:lnTo>
                      <a:lnTo>
                        <a:pt x="373" y="962"/>
                      </a:lnTo>
                      <a:lnTo>
                        <a:pt x="384" y="973"/>
                      </a:lnTo>
                      <a:lnTo>
                        <a:pt x="395" y="982"/>
                      </a:lnTo>
                      <a:lnTo>
                        <a:pt x="406" y="990"/>
                      </a:lnTo>
                      <a:lnTo>
                        <a:pt x="419" y="998"/>
                      </a:lnTo>
                      <a:lnTo>
                        <a:pt x="431" y="1004"/>
                      </a:lnTo>
                      <a:lnTo>
                        <a:pt x="443" y="1010"/>
                      </a:lnTo>
                      <a:lnTo>
                        <a:pt x="456" y="1016"/>
                      </a:lnTo>
                      <a:lnTo>
                        <a:pt x="470" y="1020"/>
                      </a:lnTo>
                      <a:lnTo>
                        <a:pt x="483" y="1023"/>
                      </a:lnTo>
                      <a:lnTo>
                        <a:pt x="497" y="1026"/>
                      </a:lnTo>
                      <a:lnTo>
                        <a:pt x="510" y="1027"/>
                      </a:lnTo>
                      <a:lnTo>
                        <a:pt x="524" y="1028"/>
                      </a:lnTo>
                      <a:lnTo>
                        <a:pt x="538" y="1028"/>
                      </a:lnTo>
                      <a:lnTo>
                        <a:pt x="551" y="1028"/>
                      </a:lnTo>
                      <a:lnTo>
                        <a:pt x="566" y="1026"/>
                      </a:lnTo>
                      <a:lnTo>
                        <a:pt x="579" y="1024"/>
                      </a:lnTo>
                      <a:lnTo>
                        <a:pt x="579" y="1023"/>
                      </a:lnTo>
                      <a:lnTo>
                        <a:pt x="579" y="1023"/>
                      </a:lnTo>
                      <a:lnTo>
                        <a:pt x="594" y="1020"/>
                      </a:lnTo>
                      <a:lnTo>
                        <a:pt x="609" y="1014"/>
                      </a:lnTo>
                      <a:lnTo>
                        <a:pt x="625" y="1008"/>
                      </a:lnTo>
                      <a:lnTo>
                        <a:pt x="640" y="1002"/>
                      </a:lnTo>
                      <a:lnTo>
                        <a:pt x="654" y="994"/>
                      </a:lnTo>
                      <a:lnTo>
                        <a:pt x="669" y="985"/>
                      </a:lnTo>
                      <a:lnTo>
                        <a:pt x="682" y="975"/>
                      </a:lnTo>
                      <a:lnTo>
                        <a:pt x="694" y="962"/>
                      </a:lnTo>
                      <a:lnTo>
                        <a:pt x="783" y="875"/>
                      </a:lnTo>
                      <a:lnTo>
                        <a:pt x="783" y="875"/>
                      </a:lnTo>
                      <a:lnTo>
                        <a:pt x="805" y="884"/>
                      </a:lnTo>
                      <a:lnTo>
                        <a:pt x="829" y="893"/>
                      </a:lnTo>
                      <a:lnTo>
                        <a:pt x="853" y="901"/>
                      </a:lnTo>
                      <a:lnTo>
                        <a:pt x="877" y="908"/>
                      </a:lnTo>
                      <a:lnTo>
                        <a:pt x="901" y="915"/>
                      </a:lnTo>
                      <a:lnTo>
                        <a:pt x="926" y="920"/>
                      </a:lnTo>
                      <a:lnTo>
                        <a:pt x="950" y="924"/>
                      </a:lnTo>
                      <a:lnTo>
                        <a:pt x="974" y="928"/>
                      </a:lnTo>
                      <a:lnTo>
                        <a:pt x="999" y="930"/>
                      </a:lnTo>
                      <a:lnTo>
                        <a:pt x="1023" y="931"/>
                      </a:lnTo>
                      <a:lnTo>
                        <a:pt x="1048" y="932"/>
                      </a:lnTo>
                      <a:lnTo>
                        <a:pt x="1073" y="931"/>
                      </a:lnTo>
                      <a:lnTo>
                        <a:pt x="1098" y="930"/>
                      </a:lnTo>
                      <a:lnTo>
                        <a:pt x="1122" y="927"/>
                      </a:lnTo>
                      <a:lnTo>
                        <a:pt x="1147" y="924"/>
                      </a:lnTo>
                      <a:lnTo>
                        <a:pt x="1171" y="920"/>
                      </a:lnTo>
                      <a:lnTo>
                        <a:pt x="1171" y="920"/>
                      </a:lnTo>
                      <a:lnTo>
                        <a:pt x="1049" y="1042"/>
                      </a:lnTo>
                      <a:lnTo>
                        <a:pt x="911" y="1180"/>
                      </a:lnTo>
                      <a:lnTo>
                        <a:pt x="911" y="1180"/>
                      </a:lnTo>
                      <a:lnTo>
                        <a:pt x="891" y="1198"/>
                      </a:lnTo>
                      <a:lnTo>
                        <a:pt x="865" y="1218"/>
                      </a:lnTo>
                      <a:lnTo>
                        <a:pt x="838" y="1238"/>
                      </a:lnTo>
                      <a:lnTo>
                        <a:pt x="813" y="1254"/>
                      </a:lnTo>
                      <a:lnTo>
                        <a:pt x="813" y="1254"/>
                      </a:lnTo>
                      <a:lnTo>
                        <a:pt x="794" y="1265"/>
                      </a:lnTo>
                      <a:lnTo>
                        <a:pt x="775" y="1276"/>
                      </a:lnTo>
                      <a:lnTo>
                        <a:pt x="754" y="1286"/>
                      </a:lnTo>
                      <a:lnTo>
                        <a:pt x="734" y="1294"/>
                      </a:lnTo>
                      <a:lnTo>
                        <a:pt x="713" y="1302"/>
                      </a:lnTo>
                      <a:lnTo>
                        <a:pt x="692" y="1309"/>
                      </a:lnTo>
                      <a:lnTo>
                        <a:pt x="671" y="1315"/>
                      </a:lnTo>
                      <a:lnTo>
                        <a:pt x="649" y="1320"/>
                      </a:lnTo>
                      <a:lnTo>
                        <a:pt x="628" y="1326"/>
                      </a:lnTo>
                      <a:lnTo>
                        <a:pt x="606" y="1329"/>
                      </a:lnTo>
                      <a:lnTo>
                        <a:pt x="585" y="1332"/>
                      </a:lnTo>
                      <a:lnTo>
                        <a:pt x="562" y="1333"/>
                      </a:lnTo>
                      <a:lnTo>
                        <a:pt x="541" y="1334"/>
                      </a:lnTo>
                      <a:lnTo>
                        <a:pt x="519" y="1334"/>
                      </a:lnTo>
                      <a:lnTo>
                        <a:pt x="497" y="1333"/>
                      </a:lnTo>
                      <a:lnTo>
                        <a:pt x="475" y="1332"/>
                      </a:lnTo>
                      <a:lnTo>
                        <a:pt x="453" y="1329"/>
                      </a:lnTo>
                      <a:lnTo>
                        <a:pt x="431" y="1325"/>
                      </a:lnTo>
                      <a:lnTo>
                        <a:pt x="410" y="1320"/>
                      </a:lnTo>
                      <a:lnTo>
                        <a:pt x="388" y="1315"/>
                      </a:lnTo>
                      <a:lnTo>
                        <a:pt x="368" y="1309"/>
                      </a:lnTo>
                      <a:lnTo>
                        <a:pt x="346" y="1302"/>
                      </a:lnTo>
                      <a:lnTo>
                        <a:pt x="326" y="1294"/>
                      </a:lnTo>
                      <a:lnTo>
                        <a:pt x="306" y="1285"/>
                      </a:lnTo>
                      <a:lnTo>
                        <a:pt x="285" y="1275"/>
                      </a:lnTo>
                      <a:lnTo>
                        <a:pt x="266" y="1264"/>
                      </a:lnTo>
                      <a:lnTo>
                        <a:pt x="246" y="1252"/>
                      </a:lnTo>
                      <a:lnTo>
                        <a:pt x="227" y="1240"/>
                      </a:lnTo>
                      <a:lnTo>
                        <a:pt x="209" y="1226"/>
                      </a:lnTo>
                      <a:lnTo>
                        <a:pt x="190" y="1211"/>
                      </a:lnTo>
                      <a:lnTo>
                        <a:pt x="173" y="1196"/>
                      </a:lnTo>
                      <a:lnTo>
                        <a:pt x="156" y="1180"/>
                      </a:lnTo>
                      <a:lnTo>
                        <a:pt x="156" y="1180"/>
                      </a:lnTo>
                      <a:lnTo>
                        <a:pt x="137" y="1160"/>
                      </a:lnTo>
                      <a:lnTo>
                        <a:pt x="119" y="1140"/>
                      </a:lnTo>
                      <a:lnTo>
                        <a:pt x="103" y="1119"/>
                      </a:lnTo>
                      <a:lnTo>
                        <a:pt x="87" y="1096"/>
                      </a:lnTo>
                      <a:lnTo>
                        <a:pt x="73" y="1074"/>
                      </a:lnTo>
                      <a:lnTo>
                        <a:pt x="61" y="1051"/>
                      </a:lnTo>
                      <a:lnTo>
                        <a:pt x="49" y="1028"/>
                      </a:lnTo>
                      <a:lnTo>
                        <a:pt x="38" y="1003"/>
                      </a:lnTo>
                      <a:lnTo>
                        <a:pt x="29" y="979"/>
                      </a:lnTo>
                      <a:lnTo>
                        <a:pt x="22" y="954"/>
                      </a:lnTo>
                      <a:lnTo>
                        <a:pt x="15" y="930"/>
                      </a:lnTo>
                      <a:lnTo>
                        <a:pt x="10" y="904"/>
                      </a:lnTo>
                      <a:lnTo>
                        <a:pt x="5" y="879"/>
                      </a:lnTo>
                      <a:lnTo>
                        <a:pt x="2" y="853"/>
                      </a:lnTo>
                      <a:lnTo>
                        <a:pt x="1" y="828"/>
                      </a:lnTo>
                      <a:lnTo>
                        <a:pt x="0" y="802"/>
                      </a:lnTo>
                      <a:lnTo>
                        <a:pt x="1" y="777"/>
                      </a:lnTo>
                      <a:lnTo>
                        <a:pt x="2" y="751"/>
                      </a:lnTo>
                      <a:lnTo>
                        <a:pt x="5" y="726"/>
                      </a:lnTo>
                      <a:lnTo>
                        <a:pt x="10" y="700"/>
                      </a:lnTo>
                      <a:lnTo>
                        <a:pt x="15" y="675"/>
                      </a:lnTo>
                      <a:lnTo>
                        <a:pt x="22" y="650"/>
                      </a:lnTo>
                      <a:lnTo>
                        <a:pt x="29" y="626"/>
                      </a:lnTo>
                      <a:lnTo>
                        <a:pt x="38" y="601"/>
                      </a:lnTo>
                      <a:lnTo>
                        <a:pt x="49" y="577"/>
                      </a:lnTo>
                      <a:lnTo>
                        <a:pt x="61" y="553"/>
                      </a:lnTo>
                      <a:lnTo>
                        <a:pt x="73" y="531"/>
                      </a:lnTo>
                      <a:lnTo>
                        <a:pt x="87" y="509"/>
                      </a:lnTo>
                      <a:lnTo>
                        <a:pt x="103" y="486"/>
                      </a:lnTo>
                      <a:lnTo>
                        <a:pt x="119" y="465"/>
                      </a:lnTo>
                      <a:lnTo>
                        <a:pt x="137" y="444"/>
                      </a:lnTo>
                      <a:lnTo>
                        <a:pt x="156" y="425"/>
                      </a:lnTo>
                      <a:lnTo>
                        <a:pt x="156" y="425"/>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362"/>
                  <a:endParaRPr lang="en-US">
                    <a:solidFill>
                      <a:srgbClr val="FFFFFF"/>
                    </a:solidFill>
                    <a:latin typeface="Arial"/>
                  </a:endParaRPr>
                </a:p>
              </p:txBody>
            </p:sp>
          </p:grpSp>
          <p:grpSp>
            <p:nvGrpSpPr>
              <p:cNvPr id="208" name="Group 5"/>
              <p:cNvGrpSpPr>
                <a:grpSpLocks noChangeAspect="1"/>
              </p:cNvGrpSpPr>
              <p:nvPr/>
            </p:nvGrpSpPr>
            <p:grpSpPr bwMode="auto">
              <a:xfrm>
                <a:off x="1450697" y="3636763"/>
                <a:ext cx="1907887" cy="613019"/>
                <a:chOff x="-78" y="-1937"/>
                <a:chExt cx="7678" cy="2467"/>
              </a:xfrm>
              <a:grpFill/>
            </p:grpSpPr>
            <p:sp>
              <p:nvSpPr>
                <p:cNvPr id="209" name="Freeform 6"/>
                <p:cNvSpPr>
                  <a:spLocks/>
                </p:cNvSpPr>
                <p:nvPr/>
              </p:nvSpPr>
              <p:spPr bwMode="auto">
                <a:xfrm>
                  <a:off x="-78" y="-1937"/>
                  <a:ext cx="2297" cy="2467"/>
                </a:xfrm>
                <a:custGeom>
                  <a:avLst/>
                  <a:gdLst>
                    <a:gd name="T0" fmla="*/ 2288 w 2297"/>
                    <a:gd name="T1" fmla="*/ 1569 h 2467"/>
                    <a:gd name="T2" fmla="*/ 2234 w 2297"/>
                    <a:gd name="T3" fmla="*/ 1789 h 2467"/>
                    <a:gd name="T4" fmla="*/ 2153 w 2297"/>
                    <a:gd name="T5" fmla="*/ 1977 h 2467"/>
                    <a:gd name="T6" fmla="*/ 2041 w 2297"/>
                    <a:gd name="T7" fmla="*/ 2134 h 2467"/>
                    <a:gd name="T8" fmla="*/ 1904 w 2297"/>
                    <a:gd name="T9" fmla="*/ 2261 h 2467"/>
                    <a:gd name="T10" fmla="*/ 1738 w 2297"/>
                    <a:gd name="T11" fmla="*/ 2355 h 2467"/>
                    <a:gd name="T12" fmla="*/ 1548 w 2297"/>
                    <a:gd name="T13" fmla="*/ 2423 h 2467"/>
                    <a:gd name="T14" fmla="*/ 1332 w 2297"/>
                    <a:gd name="T15" fmla="*/ 2459 h 2467"/>
                    <a:gd name="T16" fmla="*/ 1154 w 2297"/>
                    <a:gd name="T17" fmla="*/ 2467 h 2467"/>
                    <a:gd name="T18" fmla="*/ 912 w 2297"/>
                    <a:gd name="T19" fmla="*/ 2448 h 2467"/>
                    <a:gd name="T20" fmla="*/ 688 w 2297"/>
                    <a:gd name="T21" fmla="*/ 2388 h 2467"/>
                    <a:gd name="T22" fmla="*/ 491 w 2297"/>
                    <a:gd name="T23" fmla="*/ 2290 h 2467"/>
                    <a:gd name="T24" fmla="*/ 324 w 2297"/>
                    <a:gd name="T25" fmla="*/ 2151 h 2467"/>
                    <a:gd name="T26" fmla="*/ 187 w 2297"/>
                    <a:gd name="T27" fmla="*/ 1976 h 2467"/>
                    <a:gd name="T28" fmla="*/ 85 w 2297"/>
                    <a:gd name="T29" fmla="*/ 1764 h 2467"/>
                    <a:gd name="T30" fmla="*/ 21 w 2297"/>
                    <a:gd name="T31" fmla="*/ 1513 h 2467"/>
                    <a:gd name="T32" fmla="*/ 0 w 2297"/>
                    <a:gd name="T33" fmla="*/ 1226 h 2467"/>
                    <a:gd name="T34" fmla="*/ 12 w 2297"/>
                    <a:gd name="T35" fmla="*/ 1014 h 2467"/>
                    <a:gd name="T36" fmla="*/ 64 w 2297"/>
                    <a:gd name="T37" fmla="*/ 759 h 2467"/>
                    <a:gd name="T38" fmla="*/ 152 w 2297"/>
                    <a:gd name="T39" fmla="*/ 540 h 2467"/>
                    <a:gd name="T40" fmla="*/ 279 w 2297"/>
                    <a:gd name="T41" fmla="*/ 357 h 2467"/>
                    <a:gd name="T42" fmla="*/ 441 w 2297"/>
                    <a:gd name="T43" fmla="*/ 210 h 2467"/>
                    <a:gd name="T44" fmla="*/ 636 w 2297"/>
                    <a:gd name="T45" fmla="*/ 100 h 2467"/>
                    <a:gd name="T46" fmla="*/ 860 w 2297"/>
                    <a:gd name="T47" fmla="*/ 31 h 2467"/>
                    <a:gd name="T48" fmla="*/ 1114 w 2297"/>
                    <a:gd name="T49" fmla="*/ 0 h 2467"/>
                    <a:gd name="T50" fmla="*/ 1287 w 2297"/>
                    <a:gd name="T51" fmla="*/ 4 h 2467"/>
                    <a:gd name="T52" fmla="*/ 1490 w 2297"/>
                    <a:gd name="T53" fmla="*/ 31 h 2467"/>
                    <a:gd name="T54" fmla="*/ 1675 w 2297"/>
                    <a:gd name="T55" fmla="*/ 87 h 2467"/>
                    <a:gd name="T56" fmla="*/ 1839 w 2297"/>
                    <a:gd name="T57" fmla="*/ 172 h 2467"/>
                    <a:gd name="T58" fmla="*/ 1981 w 2297"/>
                    <a:gd name="T59" fmla="*/ 281 h 2467"/>
                    <a:gd name="T60" fmla="*/ 2101 w 2297"/>
                    <a:gd name="T61" fmla="*/ 416 h 2467"/>
                    <a:gd name="T62" fmla="*/ 2193 w 2297"/>
                    <a:gd name="T63" fmla="*/ 578 h 2467"/>
                    <a:gd name="T64" fmla="*/ 2259 w 2297"/>
                    <a:gd name="T65" fmla="*/ 765 h 2467"/>
                    <a:gd name="T66" fmla="*/ 1596 w 2297"/>
                    <a:gd name="T67" fmla="*/ 867 h 2467"/>
                    <a:gd name="T68" fmla="*/ 1534 w 2297"/>
                    <a:gd name="T69" fmla="*/ 684 h 2467"/>
                    <a:gd name="T70" fmla="*/ 1440 w 2297"/>
                    <a:gd name="T71" fmla="*/ 561 h 2467"/>
                    <a:gd name="T72" fmla="*/ 1320 w 2297"/>
                    <a:gd name="T73" fmla="*/ 491 h 2467"/>
                    <a:gd name="T74" fmla="*/ 1181 w 2297"/>
                    <a:gd name="T75" fmla="*/ 470 h 2467"/>
                    <a:gd name="T76" fmla="*/ 1106 w 2297"/>
                    <a:gd name="T77" fmla="*/ 476 h 2467"/>
                    <a:gd name="T78" fmla="*/ 1014 w 2297"/>
                    <a:gd name="T79" fmla="*/ 501 h 2467"/>
                    <a:gd name="T80" fmla="*/ 931 w 2297"/>
                    <a:gd name="T81" fmla="*/ 551 h 2467"/>
                    <a:gd name="T82" fmla="*/ 860 w 2297"/>
                    <a:gd name="T83" fmla="*/ 623 h 2467"/>
                    <a:gd name="T84" fmla="*/ 800 w 2297"/>
                    <a:gd name="T85" fmla="*/ 721 h 2467"/>
                    <a:gd name="T86" fmla="*/ 755 w 2297"/>
                    <a:gd name="T87" fmla="*/ 844 h 2467"/>
                    <a:gd name="T88" fmla="*/ 725 w 2297"/>
                    <a:gd name="T89" fmla="*/ 996 h 2467"/>
                    <a:gd name="T90" fmla="*/ 711 w 2297"/>
                    <a:gd name="T91" fmla="*/ 1176 h 2467"/>
                    <a:gd name="T92" fmla="*/ 713 w 2297"/>
                    <a:gd name="T93" fmla="*/ 1326 h 2467"/>
                    <a:gd name="T94" fmla="*/ 730 w 2297"/>
                    <a:gd name="T95" fmla="*/ 1503 h 2467"/>
                    <a:gd name="T96" fmla="*/ 765 w 2297"/>
                    <a:gd name="T97" fmla="*/ 1650 h 2467"/>
                    <a:gd name="T98" fmla="*/ 815 w 2297"/>
                    <a:gd name="T99" fmla="*/ 1769 h 2467"/>
                    <a:gd name="T100" fmla="*/ 877 w 2297"/>
                    <a:gd name="T101" fmla="*/ 1862 h 2467"/>
                    <a:gd name="T102" fmla="*/ 948 w 2297"/>
                    <a:gd name="T103" fmla="*/ 1929 h 2467"/>
                    <a:gd name="T104" fmla="*/ 1029 w 2297"/>
                    <a:gd name="T105" fmla="*/ 1974 h 2467"/>
                    <a:gd name="T106" fmla="*/ 1118 w 2297"/>
                    <a:gd name="T107" fmla="*/ 1995 h 2467"/>
                    <a:gd name="T108" fmla="*/ 1210 w 2297"/>
                    <a:gd name="T109" fmla="*/ 1995 h 2467"/>
                    <a:gd name="T110" fmla="*/ 1372 w 2297"/>
                    <a:gd name="T111" fmla="*/ 1950 h 2467"/>
                    <a:gd name="T112" fmla="*/ 1467 w 2297"/>
                    <a:gd name="T113" fmla="*/ 1879 h 2467"/>
                    <a:gd name="T114" fmla="*/ 1557 w 2297"/>
                    <a:gd name="T115" fmla="*/ 1727 h 2467"/>
                    <a:gd name="T116" fmla="*/ 1602 w 2297"/>
                    <a:gd name="T117" fmla="*/ 1509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7" h="2467">
                      <a:moveTo>
                        <a:pt x="1602" y="1509"/>
                      </a:moveTo>
                      <a:lnTo>
                        <a:pt x="2297" y="1509"/>
                      </a:lnTo>
                      <a:lnTo>
                        <a:pt x="2297" y="1509"/>
                      </a:lnTo>
                      <a:lnTo>
                        <a:pt x="2288" y="1569"/>
                      </a:lnTo>
                      <a:lnTo>
                        <a:pt x="2278" y="1627"/>
                      </a:lnTo>
                      <a:lnTo>
                        <a:pt x="2264" y="1683"/>
                      </a:lnTo>
                      <a:lnTo>
                        <a:pt x="2251" y="1737"/>
                      </a:lnTo>
                      <a:lnTo>
                        <a:pt x="2234" y="1789"/>
                      </a:lnTo>
                      <a:lnTo>
                        <a:pt x="2216" y="1839"/>
                      </a:lnTo>
                      <a:lnTo>
                        <a:pt x="2197" y="1887"/>
                      </a:lnTo>
                      <a:lnTo>
                        <a:pt x="2176" y="1933"/>
                      </a:lnTo>
                      <a:lnTo>
                        <a:pt x="2153" y="1977"/>
                      </a:lnTo>
                      <a:lnTo>
                        <a:pt x="2128" y="2018"/>
                      </a:lnTo>
                      <a:lnTo>
                        <a:pt x="2101" y="2058"/>
                      </a:lnTo>
                      <a:lnTo>
                        <a:pt x="2072" y="2097"/>
                      </a:lnTo>
                      <a:lnTo>
                        <a:pt x="2041" y="2134"/>
                      </a:lnTo>
                      <a:lnTo>
                        <a:pt x="2010" y="2168"/>
                      </a:lnTo>
                      <a:lnTo>
                        <a:pt x="1975" y="2201"/>
                      </a:lnTo>
                      <a:lnTo>
                        <a:pt x="1941" y="2232"/>
                      </a:lnTo>
                      <a:lnTo>
                        <a:pt x="1904" y="2261"/>
                      </a:lnTo>
                      <a:lnTo>
                        <a:pt x="1864" y="2288"/>
                      </a:lnTo>
                      <a:lnTo>
                        <a:pt x="1825" y="2311"/>
                      </a:lnTo>
                      <a:lnTo>
                        <a:pt x="1783" y="2334"/>
                      </a:lnTo>
                      <a:lnTo>
                        <a:pt x="1738" y="2355"/>
                      </a:lnTo>
                      <a:lnTo>
                        <a:pt x="1694" y="2374"/>
                      </a:lnTo>
                      <a:lnTo>
                        <a:pt x="1646" y="2394"/>
                      </a:lnTo>
                      <a:lnTo>
                        <a:pt x="1598" y="2409"/>
                      </a:lnTo>
                      <a:lnTo>
                        <a:pt x="1548" y="2423"/>
                      </a:lnTo>
                      <a:lnTo>
                        <a:pt x="1496" y="2434"/>
                      </a:lnTo>
                      <a:lnTo>
                        <a:pt x="1443" y="2444"/>
                      </a:lnTo>
                      <a:lnTo>
                        <a:pt x="1390" y="2452"/>
                      </a:lnTo>
                      <a:lnTo>
                        <a:pt x="1332" y="2459"/>
                      </a:lnTo>
                      <a:lnTo>
                        <a:pt x="1274" y="2463"/>
                      </a:lnTo>
                      <a:lnTo>
                        <a:pt x="1216" y="2465"/>
                      </a:lnTo>
                      <a:lnTo>
                        <a:pt x="1154" y="2467"/>
                      </a:lnTo>
                      <a:lnTo>
                        <a:pt x="1154" y="2467"/>
                      </a:lnTo>
                      <a:lnTo>
                        <a:pt x="1093" y="2465"/>
                      </a:lnTo>
                      <a:lnTo>
                        <a:pt x="1031" y="2461"/>
                      </a:lnTo>
                      <a:lnTo>
                        <a:pt x="969" y="2455"/>
                      </a:lnTo>
                      <a:lnTo>
                        <a:pt x="912" y="2448"/>
                      </a:lnTo>
                      <a:lnTo>
                        <a:pt x="854" y="2436"/>
                      </a:lnTo>
                      <a:lnTo>
                        <a:pt x="796" y="2423"/>
                      </a:lnTo>
                      <a:lnTo>
                        <a:pt x="742" y="2405"/>
                      </a:lnTo>
                      <a:lnTo>
                        <a:pt x="688" y="2388"/>
                      </a:lnTo>
                      <a:lnTo>
                        <a:pt x="636" y="2367"/>
                      </a:lnTo>
                      <a:lnTo>
                        <a:pt x="586" y="2344"/>
                      </a:lnTo>
                      <a:lnTo>
                        <a:pt x="538" y="2317"/>
                      </a:lnTo>
                      <a:lnTo>
                        <a:pt x="491" y="2290"/>
                      </a:lnTo>
                      <a:lnTo>
                        <a:pt x="447" y="2259"/>
                      </a:lnTo>
                      <a:lnTo>
                        <a:pt x="405" y="2224"/>
                      </a:lnTo>
                      <a:lnTo>
                        <a:pt x="362" y="2189"/>
                      </a:lnTo>
                      <a:lnTo>
                        <a:pt x="324" y="2151"/>
                      </a:lnTo>
                      <a:lnTo>
                        <a:pt x="285" y="2110"/>
                      </a:lnTo>
                      <a:lnTo>
                        <a:pt x="251" y="2068"/>
                      </a:lnTo>
                      <a:lnTo>
                        <a:pt x="218" y="2024"/>
                      </a:lnTo>
                      <a:lnTo>
                        <a:pt x="187" y="1976"/>
                      </a:lnTo>
                      <a:lnTo>
                        <a:pt x="158" y="1927"/>
                      </a:lnTo>
                      <a:lnTo>
                        <a:pt x="131" y="1875"/>
                      </a:lnTo>
                      <a:lnTo>
                        <a:pt x="108" y="1819"/>
                      </a:lnTo>
                      <a:lnTo>
                        <a:pt x="85" y="1764"/>
                      </a:lnTo>
                      <a:lnTo>
                        <a:pt x="66" y="1704"/>
                      </a:lnTo>
                      <a:lnTo>
                        <a:pt x="48" y="1642"/>
                      </a:lnTo>
                      <a:lnTo>
                        <a:pt x="35" y="1578"/>
                      </a:lnTo>
                      <a:lnTo>
                        <a:pt x="21" y="1513"/>
                      </a:lnTo>
                      <a:lnTo>
                        <a:pt x="13" y="1446"/>
                      </a:lnTo>
                      <a:lnTo>
                        <a:pt x="6" y="1374"/>
                      </a:lnTo>
                      <a:lnTo>
                        <a:pt x="2" y="1301"/>
                      </a:lnTo>
                      <a:lnTo>
                        <a:pt x="0" y="1226"/>
                      </a:lnTo>
                      <a:lnTo>
                        <a:pt x="0" y="1226"/>
                      </a:lnTo>
                      <a:lnTo>
                        <a:pt x="2" y="1153"/>
                      </a:lnTo>
                      <a:lnTo>
                        <a:pt x="6" y="1081"/>
                      </a:lnTo>
                      <a:lnTo>
                        <a:pt x="12" y="1014"/>
                      </a:lnTo>
                      <a:lnTo>
                        <a:pt x="21" y="946"/>
                      </a:lnTo>
                      <a:lnTo>
                        <a:pt x="33" y="881"/>
                      </a:lnTo>
                      <a:lnTo>
                        <a:pt x="46" y="819"/>
                      </a:lnTo>
                      <a:lnTo>
                        <a:pt x="64" y="759"/>
                      </a:lnTo>
                      <a:lnTo>
                        <a:pt x="83" y="700"/>
                      </a:lnTo>
                      <a:lnTo>
                        <a:pt x="104" y="644"/>
                      </a:lnTo>
                      <a:lnTo>
                        <a:pt x="127" y="590"/>
                      </a:lnTo>
                      <a:lnTo>
                        <a:pt x="152" y="540"/>
                      </a:lnTo>
                      <a:lnTo>
                        <a:pt x="181" y="490"/>
                      </a:lnTo>
                      <a:lnTo>
                        <a:pt x="212" y="443"/>
                      </a:lnTo>
                      <a:lnTo>
                        <a:pt x="245" y="399"/>
                      </a:lnTo>
                      <a:lnTo>
                        <a:pt x="279" y="357"/>
                      </a:lnTo>
                      <a:lnTo>
                        <a:pt x="316" y="316"/>
                      </a:lnTo>
                      <a:lnTo>
                        <a:pt x="357" y="278"/>
                      </a:lnTo>
                      <a:lnTo>
                        <a:pt x="397" y="243"/>
                      </a:lnTo>
                      <a:lnTo>
                        <a:pt x="441" y="210"/>
                      </a:lnTo>
                      <a:lnTo>
                        <a:pt x="486" y="179"/>
                      </a:lnTo>
                      <a:lnTo>
                        <a:pt x="534" y="150"/>
                      </a:lnTo>
                      <a:lnTo>
                        <a:pt x="584" y="125"/>
                      </a:lnTo>
                      <a:lnTo>
                        <a:pt x="636" y="100"/>
                      </a:lnTo>
                      <a:lnTo>
                        <a:pt x="688" y="79"/>
                      </a:lnTo>
                      <a:lnTo>
                        <a:pt x="744" y="62"/>
                      </a:lnTo>
                      <a:lnTo>
                        <a:pt x="802" y="44"/>
                      </a:lnTo>
                      <a:lnTo>
                        <a:pt x="860" y="31"/>
                      </a:lnTo>
                      <a:lnTo>
                        <a:pt x="921" y="19"/>
                      </a:lnTo>
                      <a:lnTo>
                        <a:pt x="983" y="12"/>
                      </a:lnTo>
                      <a:lnTo>
                        <a:pt x="1048" y="4"/>
                      </a:lnTo>
                      <a:lnTo>
                        <a:pt x="1114" y="0"/>
                      </a:lnTo>
                      <a:lnTo>
                        <a:pt x="1181" y="0"/>
                      </a:lnTo>
                      <a:lnTo>
                        <a:pt x="1181" y="0"/>
                      </a:lnTo>
                      <a:lnTo>
                        <a:pt x="1235" y="0"/>
                      </a:lnTo>
                      <a:lnTo>
                        <a:pt x="1287" y="4"/>
                      </a:lnTo>
                      <a:lnTo>
                        <a:pt x="1339" y="8"/>
                      </a:lnTo>
                      <a:lnTo>
                        <a:pt x="1391" y="13"/>
                      </a:lnTo>
                      <a:lnTo>
                        <a:pt x="1442" y="21"/>
                      </a:lnTo>
                      <a:lnTo>
                        <a:pt x="1490" y="31"/>
                      </a:lnTo>
                      <a:lnTo>
                        <a:pt x="1538" y="42"/>
                      </a:lnTo>
                      <a:lnTo>
                        <a:pt x="1584" y="56"/>
                      </a:lnTo>
                      <a:lnTo>
                        <a:pt x="1630" y="71"/>
                      </a:lnTo>
                      <a:lnTo>
                        <a:pt x="1675" y="87"/>
                      </a:lnTo>
                      <a:lnTo>
                        <a:pt x="1717" y="106"/>
                      </a:lnTo>
                      <a:lnTo>
                        <a:pt x="1760" y="125"/>
                      </a:lnTo>
                      <a:lnTo>
                        <a:pt x="1800" y="148"/>
                      </a:lnTo>
                      <a:lnTo>
                        <a:pt x="1839" y="172"/>
                      </a:lnTo>
                      <a:lnTo>
                        <a:pt x="1877" y="197"/>
                      </a:lnTo>
                      <a:lnTo>
                        <a:pt x="1914" y="224"/>
                      </a:lnTo>
                      <a:lnTo>
                        <a:pt x="1948" y="251"/>
                      </a:lnTo>
                      <a:lnTo>
                        <a:pt x="1981" y="281"/>
                      </a:lnTo>
                      <a:lnTo>
                        <a:pt x="2014" y="312"/>
                      </a:lnTo>
                      <a:lnTo>
                        <a:pt x="2045" y="345"/>
                      </a:lnTo>
                      <a:lnTo>
                        <a:pt x="2074" y="382"/>
                      </a:lnTo>
                      <a:lnTo>
                        <a:pt x="2101" y="416"/>
                      </a:lnTo>
                      <a:lnTo>
                        <a:pt x="2128" y="455"/>
                      </a:lnTo>
                      <a:lnTo>
                        <a:pt x="2151" y="495"/>
                      </a:lnTo>
                      <a:lnTo>
                        <a:pt x="2174" y="536"/>
                      </a:lnTo>
                      <a:lnTo>
                        <a:pt x="2193" y="578"/>
                      </a:lnTo>
                      <a:lnTo>
                        <a:pt x="2212" y="623"/>
                      </a:lnTo>
                      <a:lnTo>
                        <a:pt x="2230" y="669"/>
                      </a:lnTo>
                      <a:lnTo>
                        <a:pt x="2245" y="717"/>
                      </a:lnTo>
                      <a:lnTo>
                        <a:pt x="2259" y="765"/>
                      </a:lnTo>
                      <a:lnTo>
                        <a:pt x="2270" y="815"/>
                      </a:lnTo>
                      <a:lnTo>
                        <a:pt x="2280" y="867"/>
                      </a:lnTo>
                      <a:lnTo>
                        <a:pt x="1596" y="867"/>
                      </a:lnTo>
                      <a:lnTo>
                        <a:pt x="1596" y="867"/>
                      </a:lnTo>
                      <a:lnTo>
                        <a:pt x="1584" y="817"/>
                      </a:lnTo>
                      <a:lnTo>
                        <a:pt x="1569" y="769"/>
                      </a:lnTo>
                      <a:lnTo>
                        <a:pt x="1553" y="725"/>
                      </a:lnTo>
                      <a:lnTo>
                        <a:pt x="1534" y="684"/>
                      </a:lnTo>
                      <a:lnTo>
                        <a:pt x="1513" y="650"/>
                      </a:lnTo>
                      <a:lnTo>
                        <a:pt x="1490" y="617"/>
                      </a:lnTo>
                      <a:lnTo>
                        <a:pt x="1467" y="588"/>
                      </a:lnTo>
                      <a:lnTo>
                        <a:pt x="1440" y="561"/>
                      </a:lnTo>
                      <a:lnTo>
                        <a:pt x="1413" y="540"/>
                      </a:lnTo>
                      <a:lnTo>
                        <a:pt x="1384" y="520"/>
                      </a:lnTo>
                      <a:lnTo>
                        <a:pt x="1353" y="505"/>
                      </a:lnTo>
                      <a:lnTo>
                        <a:pt x="1320" y="491"/>
                      </a:lnTo>
                      <a:lnTo>
                        <a:pt x="1287" y="482"/>
                      </a:lnTo>
                      <a:lnTo>
                        <a:pt x="1253" y="476"/>
                      </a:lnTo>
                      <a:lnTo>
                        <a:pt x="1218" y="470"/>
                      </a:lnTo>
                      <a:lnTo>
                        <a:pt x="1181" y="470"/>
                      </a:lnTo>
                      <a:lnTo>
                        <a:pt x="1181" y="470"/>
                      </a:lnTo>
                      <a:lnTo>
                        <a:pt x="1156" y="470"/>
                      </a:lnTo>
                      <a:lnTo>
                        <a:pt x="1131" y="472"/>
                      </a:lnTo>
                      <a:lnTo>
                        <a:pt x="1106" y="476"/>
                      </a:lnTo>
                      <a:lnTo>
                        <a:pt x="1083" y="480"/>
                      </a:lnTo>
                      <a:lnTo>
                        <a:pt x="1060" y="486"/>
                      </a:lnTo>
                      <a:lnTo>
                        <a:pt x="1037" y="493"/>
                      </a:lnTo>
                      <a:lnTo>
                        <a:pt x="1014" y="501"/>
                      </a:lnTo>
                      <a:lnTo>
                        <a:pt x="993" y="513"/>
                      </a:lnTo>
                      <a:lnTo>
                        <a:pt x="971" y="522"/>
                      </a:lnTo>
                      <a:lnTo>
                        <a:pt x="952" y="536"/>
                      </a:lnTo>
                      <a:lnTo>
                        <a:pt x="931" y="551"/>
                      </a:lnTo>
                      <a:lnTo>
                        <a:pt x="912" y="567"/>
                      </a:lnTo>
                      <a:lnTo>
                        <a:pt x="894" y="584"/>
                      </a:lnTo>
                      <a:lnTo>
                        <a:pt x="877" y="603"/>
                      </a:lnTo>
                      <a:lnTo>
                        <a:pt x="860" y="623"/>
                      </a:lnTo>
                      <a:lnTo>
                        <a:pt x="844" y="644"/>
                      </a:lnTo>
                      <a:lnTo>
                        <a:pt x="829" y="669"/>
                      </a:lnTo>
                      <a:lnTo>
                        <a:pt x="813" y="694"/>
                      </a:lnTo>
                      <a:lnTo>
                        <a:pt x="800" y="721"/>
                      </a:lnTo>
                      <a:lnTo>
                        <a:pt x="788" y="748"/>
                      </a:lnTo>
                      <a:lnTo>
                        <a:pt x="777" y="779"/>
                      </a:lnTo>
                      <a:lnTo>
                        <a:pt x="765" y="811"/>
                      </a:lnTo>
                      <a:lnTo>
                        <a:pt x="755" y="844"/>
                      </a:lnTo>
                      <a:lnTo>
                        <a:pt x="746" y="879"/>
                      </a:lnTo>
                      <a:lnTo>
                        <a:pt x="738" y="915"/>
                      </a:lnTo>
                      <a:lnTo>
                        <a:pt x="730" y="956"/>
                      </a:lnTo>
                      <a:lnTo>
                        <a:pt x="725" y="996"/>
                      </a:lnTo>
                      <a:lnTo>
                        <a:pt x="721" y="1039"/>
                      </a:lnTo>
                      <a:lnTo>
                        <a:pt x="715" y="1083"/>
                      </a:lnTo>
                      <a:lnTo>
                        <a:pt x="713" y="1129"/>
                      </a:lnTo>
                      <a:lnTo>
                        <a:pt x="711" y="1176"/>
                      </a:lnTo>
                      <a:lnTo>
                        <a:pt x="711" y="1226"/>
                      </a:lnTo>
                      <a:lnTo>
                        <a:pt x="711" y="1226"/>
                      </a:lnTo>
                      <a:lnTo>
                        <a:pt x="711" y="1278"/>
                      </a:lnTo>
                      <a:lnTo>
                        <a:pt x="713" y="1326"/>
                      </a:lnTo>
                      <a:lnTo>
                        <a:pt x="717" y="1374"/>
                      </a:lnTo>
                      <a:lnTo>
                        <a:pt x="721" y="1419"/>
                      </a:lnTo>
                      <a:lnTo>
                        <a:pt x="725" y="1461"/>
                      </a:lnTo>
                      <a:lnTo>
                        <a:pt x="730" y="1503"/>
                      </a:lnTo>
                      <a:lnTo>
                        <a:pt x="738" y="1542"/>
                      </a:lnTo>
                      <a:lnTo>
                        <a:pt x="746" y="1580"/>
                      </a:lnTo>
                      <a:lnTo>
                        <a:pt x="755" y="1615"/>
                      </a:lnTo>
                      <a:lnTo>
                        <a:pt x="765" y="1650"/>
                      </a:lnTo>
                      <a:lnTo>
                        <a:pt x="777" y="1683"/>
                      </a:lnTo>
                      <a:lnTo>
                        <a:pt x="788" y="1713"/>
                      </a:lnTo>
                      <a:lnTo>
                        <a:pt x="802" y="1742"/>
                      </a:lnTo>
                      <a:lnTo>
                        <a:pt x="815" y="1769"/>
                      </a:lnTo>
                      <a:lnTo>
                        <a:pt x="829" y="1794"/>
                      </a:lnTo>
                      <a:lnTo>
                        <a:pt x="844" y="1819"/>
                      </a:lnTo>
                      <a:lnTo>
                        <a:pt x="860" y="1841"/>
                      </a:lnTo>
                      <a:lnTo>
                        <a:pt x="877" y="1862"/>
                      </a:lnTo>
                      <a:lnTo>
                        <a:pt x="894" y="1881"/>
                      </a:lnTo>
                      <a:lnTo>
                        <a:pt x="912" y="1898"/>
                      </a:lnTo>
                      <a:lnTo>
                        <a:pt x="929" y="1914"/>
                      </a:lnTo>
                      <a:lnTo>
                        <a:pt x="948" y="1929"/>
                      </a:lnTo>
                      <a:lnTo>
                        <a:pt x="967" y="1943"/>
                      </a:lnTo>
                      <a:lnTo>
                        <a:pt x="989" y="1954"/>
                      </a:lnTo>
                      <a:lnTo>
                        <a:pt x="1010" y="1964"/>
                      </a:lnTo>
                      <a:lnTo>
                        <a:pt x="1029" y="1974"/>
                      </a:lnTo>
                      <a:lnTo>
                        <a:pt x="1052" y="1979"/>
                      </a:lnTo>
                      <a:lnTo>
                        <a:pt x="1073" y="1985"/>
                      </a:lnTo>
                      <a:lnTo>
                        <a:pt x="1097" y="1991"/>
                      </a:lnTo>
                      <a:lnTo>
                        <a:pt x="1118" y="1995"/>
                      </a:lnTo>
                      <a:lnTo>
                        <a:pt x="1141" y="1997"/>
                      </a:lnTo>
                      <a:lnTo>
                        <a:pt x="1164" y="1997"/>
                      </a:lnTo>
                      <a:lnTo>
                        <a:pt x="1164" y="1997"/>
                      </a:lnTo>
                      <a:lnTo>
                        <a:pt x="1210" y="1995"/>
                      </a:lnTo>
                      <a:lnTo>
                        <a:pt x="1255" y="1989"/>
                      </a:lnTo>
                      <a:lnTo>
                        <a:pt x="1295" y="1979"/>
                      </a:lnTo>
                      <a:lnTo>
                        <a:pt x="1336" y="1968"/>
                      </a:lnTo>
                      <a:lnTo>
                        <a:pt x="1372" y="1950"/>
                      </a:lnTo>
                      <a:lnTo>
                        <a:pt x="1407" y="1931"/>
                      </a:lnTo>
                      <a:lnTo>
                        <a:pt x="1438" y="1906"/>
                      </a:lnTo>
                      <a:lnTo>
                        <a:pt x="1453" y="1893"/>
                      </a:lnTo>
                      <a:lnTo>
                        <a:pt x="1467" y="1879"/>
                      </a:lnTo>
                      <a:lnTo>
                        <a:pt x="1494" y="1846"/>
                      </a:lnTo>
                      <a:lnTo>
                        <a:pt x="1519" y="1812"/>
                      </a:lnTo>
                      <a:lnTo>
                        <a:pt x="1540" y="1771"/>
                      </a:lnTo>
                      <a:lnTo>
                        <a:pt x="1557" y="1727"/>
                      </a:lnTo>
                      <a:lnTo>
                        <a:pt x="1575" y="1679"/>
                      </a:lnTo>
                      <a:lnTo>
                        <a:pt x="1586" y="1627"/>
                      </a:lnTo>
                      <a:lnTo>
                        <a:pt x="1596" y="1571"/>
                      </a:lnTo>
                      <a:lnTo>
                        <a:pt x="1602" y="1509"/>
                      </a:lnTo>
                      <a:lnTo>
                        <a:pt x="1602" y="150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362"/>
                  <a:endParaRPr lang="en-US">
                    <a:solidFill>
                      <a:srgbClr val="FFFFFF"/>
                    </a:solidFill>
                    <a:latin typeface="Arial"/>
                  </a:endParaRPr>
                </a:p>
              </p:txBody>
            </p:sp>
            <p:sp>
              <p:nvSpPr>
                <p:cNvPr id="210" name="Freeform 7"/>
                <p:cNvSpPr>
                  <a:spLocks/>
                </p:cNvSpPr>
                <p:nvPr/>
              </p:nvSpPr>
              <p:spPr bwMode="auto">
                <a:xfrm>
                  <a:off x="2175" y="-1889"/>
                  <a:ext cx="3353" cy="2369"/>
                </a:xfrm>
                <a:custGeom>
                  <a:avLst/>
                  <a:gdLst>
                    <a:gd name="T0" fmla="*/ 3353 w 3353"/>
                    <a:gd name="T1" fmla="*/ 0 h 2369"/>
                    <a:gd name="T2" fmla="*/ 2827 w 3353"/>
                    <a:gd name="T3" fmla="*/ 2369 h 2369"/>
                    <a:gd name="T4" fmla="*/ 2066 w 3353"/>
                    <a:gd name="T5" fmla="*/ 2369 h 2369"/>
                    <a:gd name="T6" fmla="*/ 1675 w 3353"/>
                    <a:gd name="T7" fmla="*/ 684 h 2369"/>
                    <a:gd name="T8" fmla="*/ 1303 w 3353"/>
                    <a:gd name="T9" fmla="*/ 2369 h 2369"/>
                    <a:gd name="T10" fmla="*/ 567 w 3353"/>
                    <a:gd name="T11" fmla="*/ 2369 h 2369"/>
                    <a:gd name="T12" fmla="*/ 0 w 3353"/>
                    <a:gd name="T13" fmla="*/ 0 h 2369"/>
                    <a:gd name="T14" fmla="*/ 707 w 3353"/>
                    <a:gd name="T15" fmla="*/ 0 h 2369"/>
                    <a:gd name="T16" fmla="*/ 989 w 3353"/>
                    <a:gd name="T17" fmla="*/ 1577 h 2369"/>
                    <a:gd name="T18" fmla="*/ 1343 w 3353"/>
                    <a:gd name="T19" fmla="*/ 0 h 2369"/>
                    <a:gd name="T20" fmla="*/ 2047 w 3353"/>
                    <a:gd name="T21" fmla="*/ 0 h 2369"/>
                    <a:gd name="T22" fmla="*/ 2428 w 3353"/>
                    <a:gd name="T23" fmla="*/ 1590 h 2369"/>
                    <a:gd name="T24" fmla="*/ 2694 w 3353"/>
                    <a:gd name="T25" fmla="*/ 0 h 2369"/>
                    <a:gd name="T26" fmla="*/ 3353 w 3353"/>
                    <a:gd name="T27"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53" h="2369">
                      <a:moveTo>
                        <a:pt x="3353" y="0"/>
                      </a:moveTo>
                      <a:lnTo>
                        <a:pt x="2827" y="2369"/>
                      </a:lnTo>
                      <a:lnTo>
                        <a:pt x="2066" y="2369"/>
                      </a:lnTo>
                      <a:lnTo>
                        <a:pt x="1675" y="684"/>
                      </a:lnTo>
                      <a:lnTo>
                        <a:pt x="1303" y="2369"/>
                      </a:lnTo>
                      <a:lnTo>
                        <a:pt x="567" y="2369"/>
                      </a:lnTo>
                      <a:lnTo>
                        <a:pt x="0" y="0"/>
                      </a:lnTo>
                      <a:lnTo>
                        <a:pt x="707" y="0"/>
                      </a:lnTo>
                      <a:lnTo>
                        <a:pt x="989" y="1577"/>
                      </a:lnTo>
                      <a:lnTo>
                        <a:pt x="1343" y="0"/>
                      </a:lnTo>
                      <a:lnTo>
                        <a:pt x="2047" y="0"/>
                      </a:lnTo>
                      <a:lnTo>
                        <a:pt x="2428" y="1590"/>
                      </a:lnTo>
                      <a:lnTo>
                        <a:pt x="2694" y="0"/>
                      </a:lnTo>
                      <a:lnTo>
                        <a:pt x="3353"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362"/>
                  <a:endParaRPr lang="en-US">
                    <a:solidFill>
                      <a:srgbClr val="FFFFFF"/>
                    </a:solidFill>
                    <a:latin typeface="Arial"/>
                  </a:endParaRPr>
                </a:p>
              </p:txBody>
            </p:sp>
            <p:sp>
              <p:nvSpPr>
                <p:cNvPr id="211" name="Freeform 8"/>
                <p:cNvSpPr>
                  <a:spLocks/>
                </p:cNvSpPr>
                <p:nvPr/>
              </p:nvSpPr>
              <p:spPr bwMode="auto">
                <a:xfrm>
                  <a:off x="5432" y="-1937"/>
                  <a:ext cx="2168" cy="2467"/>
                </a:xfrm>
                <a:custGeom>
                  <a:avLst/>
                  <a:gdLst>
                    <a:gd name="T0" fmla="*/ 684 w 2168"/>
                    <a:gd name="T1" fmla="*/ 1742 h 2467"/>
                    <a:gd name="T2" fmla="*/ 775 w 2168"/>
                    <a:gd name="T3" fmla="*/ 1887 h 2467"/>
                    <a:gd name="T4" fmla="*/ 933 w 2168"/>
                    <a:gd name="T5" fmla="*/ 1976 h 2467"/>
                    <a:gd name="T6" fmla="*/ 1110 w 2168"/>
                    <a:gd name="T7" fmla="*/ 2001 h 2467"/>
                    <a:gd name="T8" fmla="*/ 1307 w 2168"/>
                    <a:gd name="T9" fmla="*/ 1974 h 2467"/>
                    <a:gd name="T10" fmla="*/ 1428 w 2168"/>
                    <a:gd name="T11" fmla="*/ 1906 h 2467"/>
                    <a:gd name="T12" fmla="*/ 1476 w 2168"/>
                    <a:gd name="T13" fmla="*/ 1806 h 2467"/>
                    <a:gd name="T14" fmla="*/ 1463 w 2168"/>
                    <a:gd name="T15" fmla="*/ 1694 h 2467"/>
                    <a:gd name="T16" fmla="*/ 1359 w 2168"/>
                    <a:gd name="T17" fmla="*/ 1588 h 2467"/>
                    <a:gd name="T18" fmla="*/ 1141 w 2168"/>
                    <a:gd name="T19" fmla="*/ 1509 h 2467"/>
                    <a:gd name="T20" fmla="*/ 750 w 2168"/>
                    <a:gd name="T21" fmla="*/ 1415 h 2467"/>
                    <a:gd name="T22" fmla="*/ 466 w 2168"/>
                    <a:gd name="T23" fmla="*/ 1307 h 2467"/>
                    <a:gd name="T24" fmla="*/ 312 w 2168"/>
                    <a:gd name="T25" fmla="*/ 1208 h 2467"/>
                    <a:gd name="T26" fmla="*/ 195 w 2168"/>
                    <a:gd name="T27" fmla="*/ 1085 h 2467"/>
                    <a:gd name="T28" fmla="*/ 121 w 2168"/>
                    <a:gd name="T29" fmla="*/ 935 h 2467"/>
                    <a:gd name="T30" fmla="*/ 90 w 2168"/>
                    <a:gd name="T31" fmla="*/ 752 h 2467"/>
                    <a:gd name="T32" fmla="*/ 98 w 2168"/>
                    <a:gd name="T33" fmla="*/ 597 h 2467"/>
                    <a:gd name="T34" fmla="*/ 148 w 2168"/>
                    <a:gd name="T35" fmla="*/ 424 h 2467"/>
                    <a:gd name="T36" fmla="*/ 247 w 2168"/>
                    <a:gd name="T37" fmla="*/ 276 h 2467"/>
                    <a:gd name="T38" fmla="*/ 395 w 2168"/>
                    <a:gd name="T39" fmla="*/ 154 h 2467"/>
                    <a:gd name="T40" fmla="*/ 592 w 2168"/>
                    <a:gd name="T41" fmla="*/ 66 h 2467"/>
                    <a:gd name="T42" fmla="*/ 842 w 2168"/>
                    <a:gd name="T43" fmla="*/ 13 h 2467"/>
                    <a:gd name="T44" fmla="*/ 1079 w 2168"/>
                    <a:gd name="T45" fmla="*/ 0 h 2467"/>
                    <a:gd name="T46" fmla="*/ 1339 w 2168"/>
                    <a:gd name="T47" fmla="*/ 19 h 2467"/>
                    <a:gd name="T48" fmla="*/ 1565 w 2168"/>
                    <a:gd name="T49" fmla="*/ 79 h 2467"/>
                    <a:gd name="T50" fmla="*/ 1758 w 2168"/>
                    <a:gd name="T51" fmla="*/ 173 h 2467"/>
                    <a:gd name="T52" fmla="*/ 1912 w 2168"/>
                    <a:gd name="T53" fmla="*/ 303 h 2467"/>
                    <a:gd name="T54" fmla="*/ 2027 w 2168"/>
                    <a:gd name="T55" fmla="*/ 464 h 2467"/>
                    <a:gd name="T56" fmla="*/ 2102 w 2168"/>
                    <a:gd name="T57" fmla="*/ 655 h 2467"/>
                    <a:gd name="T58" fmla="*/ 1465 w 2168"/>
                    <a:gd name="T59" fmla="*/ 705 h 2467"/>
                    <a:gd name="T60" fmla="*/ 1387 w 2168"/>
                    <a:gd name="T61" fmla="*/ 570 h 2467"/>
                    <a:gd name="T62" fmla="*/ 1255 w 2168"/>
                    <a:gd name="T63" fmla="*/ 490 h 2467"/>
                    <a:gd name="T64" fmla="*/ 1073 w 2168"/>
                    <a:gd name="T65" fmla="*/ 463 h 2467"/>
                    <a:gd name="T66" fmla="*/ 944 w 2168"/>
                    <a:gd name="T67" fmla="*/ 476 h 2467"/>
                    <a:gd name="T68" fmla="*/ 836 w 2168"/>
                    <a:gd name="T69" fmla="*/ 528 h 2467"/>
                    <a:gd name="T70" fmla="*/ 784 w 2168"/>
                    <a:gd name="T71" fmla="*/ 609 h 2467"/>
                    <a:gd name="T72" fmla="*/ 786 w 2168"/>
                    <a:gd name="T73" fmla="*/ 696 h 2467"/>
                    <a:gd name="T74" fmla="*/ 852 w 2168"/>
                    <a:gd name="T75" fmla="*/ 786 h 2467"/>
                    <a:gd name="T76" fmla="*/ 1006 w 2168"/>
                    <a:gd name="T77" fmla="*/ 852 h 2467"/>
                    <a:gd name="T78" fmla="*/ 1316 w 2168"/>
                    <a:gd name="T79" fmla="*/ 921 h 2467"/>
                    <a:gd name="T80" fmla="*/ 1611 w 2168"/>
                    <a:gd name="T81" fmla="*/ 1014 h 2467"/>
                    <a:gd name="T82" fmla="*/ 1813 w 2168"/>
                    <a:gd name="T83" fmla="*/ 1114 h 2467"/>
                    <a:gd name="T84" fmla="*/ 1971 w 2168"/>
                    <a:gd name="T85" fmla="*/ 1237 h 2467"/>
                    <a:gd name="T86" fmla="*/ 2085 w 2168"/>
                    <a:gd name="T87" fmla="*/ 1386 h 2467"/>
                    <a:gd name="T88" fmla="*/ 2153 w 2168"/>
                    <a:gd name="T89" fmla="*/ 1561 h 2467"/>
                    <a:gd name="T90" fmla="*/ 2168 w 2168"/>
                    <a:gd name="T91" fmla="*/ 1723 h 2467"/>
                    <a:gd name="T92" fmla="*/ 2145 w 2168"/>
                    <a:gd name="T93" fmla="*/ 1902 h 2467"/>
                    <a:gd name="T94" fmla="*/ 2072 w 2168"/>
                    <a:gd name="T95" fmla="*/ 2070 h 2467"/>
                    <a:gd name="T96" fmla="*/ 1948 w 2168"/>
                    <a:gd name="T97" fmla="*/ 2216 h 2467"/>
                    <a:gd name="T98" fmla="*/ 1769 w 2168"/>
                    <a:gd name="T99" fmla="*/ 2334 h 2467"/>
                    <a:gd name="T100" fmla="*/ 1534 w 2168"/>
                    <a:gd name="T101" fmla="*/ 2419 h 2467"/>
                    <a:gd name="T102" fmla="*/ 1239 w 2168"/>
                    <a:gd name="T103" fmla="*/ 2463 h 2467"/>
                    <a:gd name="T104" fmla="*/ 969 w 2168"/>
                    <a:gd name="T105" fmla="*/ 2463 h 2467"/>
                    <a:gd name="T106" fmla="*/ 678 w 2168"/>
                    <a:gd name="T107" fmla="*/ 2415 h 2467"/>
                    <a:gd name="T108" fmla="*/ 445 w 2168"/>
                    <a:gd name="T109" fmla="*/ 2321 h 2467"/>
                    <a:gd name="T110" fmla="*/ 264 w 2168"/>
                    <a:gd name="T111" fmla="*/ 2191 h 2467"/>
                    <a:gd name="T112" fmla="*/ 133 w 2168"/>
                    <a:gd name="T113" fmla="*/ 2033 h 2467"/>
                    <a:gd name="T114" fmla="*/ 46 w 2168"/>
                    <a:gd name="T115" fmla="*/ 1856 h 2467"/>
                    <a:gd name="T116" fmla="*/ 0 w 2168"/>
                    <a:gd name="T117" fmla="*/ 1671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68" h="2467">
                      <a:moveTo>
                        <a:pt x="0" y="1671"/>
                      </a:moveTo>
                      <a:lnTo>
                        <a:pt x="665" y="1671"/>
                      </a:lnTo>
                      <a:lnTo>
                        <a:pt x="665" y="1671"/>
                      </a:lnTo>
                      <a:lnTo>
                        <a:pt x="672" y="1708"/>
                      </a:lnTo>
                      <a:lnTo>
                        <a:pt x="684" y="1742"/>
                      </a:lnTo>
                      <a:lnTo>
                        <a:pt x="698" y="1775"/>
                      </a:lnTo>
                      <a:lnTo>
                        <a:pt x="713" y="1806"/>
                      </a:lnTo>
                      <a:lnTo>
                        <a:pt x="730" y="1835"/>
                      </a:lnTo>
                      <a:lnTo>
                        <a:pt x="752" y="1862"/>
                      </a:lnTo>
                      <a:lnTo>
                        <a:pt x="775" y="1887"/>
                      </a:lnTo>
                      <a:lnTo>
                        <a:pt x="802" y="1910"/>
                      </a:lnTo>
                      <a:lnTo>
                        <a:pt x="831" y="1929"/>
                      </a:lnTo>
                      <a:lnTo>
                        <a:pt x="861" y="1949"/>
                      </a:lnTo>
                      <a:lnTo>
                        <a:pt x="896" y="1964"/>
                      </a:lnTo>
                      <a:lnTo>
                        <a:pt x="933" y="1976"/>
                      </a:lnTo>
                      <a:lnTo>
                        <a:pt x="973" y="1987"/>
                      </a:lnTo>
                      <a:lnTo>
                        <a:pt x="1016" y="1993"/>
                      </a:lnTo>
                      <a:lnTo>
                        <a:pt x="1062" y="1999"/>
                      </a:lnTo>
                      <a:lnTo>
                        <a:pt x="1110" y="2001"/>
                      </a:lnTo>
                      <a:lnTo>
                        <a:pt x="1110" y="2001"/>
                      </a:lnTo>
                      <a:lnTo>
                        <a:pt x="1154" y="1999"/>
                      </a:lnTo>
                      <a:lnTo>
                        <a:pt x="1197" y="1995"/>
                      </a:lnTo>
                      <a:lnTo>
                        <a:pt x="1237" y="1991"/>
                      </a:lnTo>
                      <a:lnTo>
                        <a:pt x="1272" y="1983"/>
                      </a:lnTo>
                      <a:lnTo>
                        <a:pt x="1307" y="1974"/>
                      </a:lnTo>
                      <a:lnTo>
                        <a:pt x="1335" y="1964"/>
                      </a:lnTo>
                      <a:lnTo>
                        <a:pt x="1362" y="1952"/>
                      </a:lnTo>
                      <a:lnTo>
                        <a:pt x="1387" y="1939"/>
                      </a:lnTo>
                      <a:lnTo>
                        <a:pt x="1409" y="1923"/>
                      </a:lnTo>
                      <a:lnTo>
                        <a:pt x="1428" y="1906"/>
                      </a:lnTo>
                      <a:lnTo>
                        <a:pt x="1443" y="1889"/>
                      </a:lnTo>
                      <a:lnTo>
                        <a:pt x="1455" y="1870"/>
                      </a:lnTo>
                      <a:lnTo>
                        <a:pt x="1465" y="1848"/>
                      </a:lnTo>
                      <a:lnTo>
                        <a:pt x="1472" y="1827"/>
                      </a:lnTo>
                      <a:lnTo>
                        <a:pt x="1476" y="1806"/>
                      </a:lnTo>
                      <a:lnTo>
                        <a:pt x="1478" y="1783"/>
                      </a:lnTo>
                      <a:lnTo>
                        <a:pt x="1478" y="1783"/>
                      </a:lnTo>
                      <a:lnTo>
                        <a:pt x="1476" y="1750"/>
                      </a:lnTo>
                      <a:lnTo>
                        <a:pt x="1470" y="1721"/>
                      </a:lnTo>
                      <a:lnTo>
                        <a:pt x="1463" y="1694"/>
                      </a:lnTo>
                      <a:lnTo>
                        <a:pt x="1449" y="1669"/>
                      </a:lnTo>
                      <a:lnTo>
                        <a:pt x="1434" y="1646"/>
                      </a:lnTo>
                      <a:lnTo>
                        <a:pt x="1413" y="1625"/>
                      </a:lnTo>
                      <a:lnTo>
                        <a:pt x="1389" y="1605"/>
                      </a:lnTo>
                      <a:lnTo>
                        <a:pt x="1359" y="1588"/>
                      </a:lnTo>
                      <a:lnTo>
                        <a:pt x="1326" y="1571"/>
                      </a:lnTo>
                      <a:lnTo>
                        <a:pt x="1287" y="1553"/>
                      </a:lnTo>
                      <a:lnTo>
                        <a:pt x="1243" y="1538"/>
                      </a:lnTo>
                      <a:lnTo>
                        <a:pt x="1195" y="1525"/>
                      </a:lnTo>
                      <a:lnTo>
                        <a:pt x="1141" y="1509"/>
                      </a:lnTo>
                      <a:lnTo>
                        <a:pt x="1081" y="1494"/>
                      </a:lnTo>
                      <a:lnTo>
                        <a:pt x="944" y="1463"/>
                      </a:lnTo>
                      <a:lnTo>
                        <a:pt x="944" y="1463"/>
                      </a:lnTo>
                      <a:lnTo>
                        <a:pt x="844" y="1440"/>
                      </a:lnTo>
                      <a:lnTo>
                        <a:pt x="750" y="1415"/>
                      </a:lnTo>
                      <a:lnTo>
                        <a:pt x="663" y="1388"/>
                      </a:lnTo>
                      <a:lnTo>
                        <a:pt x="580" y="1357"/>
                      </a:lnTo>
                      <a:lnTo>
                        <a:pt x="541" y="1341"/>
                      </a:lnTo>
                      <a:lnTo>
                        <a:pt x="503" y="1324"/>
                      </a:lnTo>
                      <a:lnTo>
                        <a:pt x="466" y="1307"/>
                      </a:lnTo>
                      <a:lnTo>
                        <a:pt x="434" y="1289"/>
                      </a:lnTo>
                      <a:lnTo>
                        <a:pt x="401" y="1270"/>
                      </a:lnTo>
                      <a:lnTo>
                        <a:pt x="368" y="1251"/>
                      </a:lnTo>
                      <a:lnTo>
                        <a:pt x="339" y="1230"/>
                      </a:lnTo>
                      <a:lnTo>
                        <a:pt x="312" y="1208"/>
                      </a:lnTo>
                      <a:lnTo>
                        <a:pt x="285" y="1185"/>
                      </a:lnTo>
                      <a:lnTo>
                        <a:pt x="260" y="1162"/>
                      </a:lnTo>
                      <a:lnTo>
                        <a:pt x="237" y="1137"/>
                      </a:lnTo>
                      <a:lnTo>
                        <a:pt x="216" y="1112"/>
                      </a:lnTo>
                      <a:lnTo>
                        <a:pt x="195" y="1085"/>
                      </a:lnTo>
                      <a:lnTo>
                        <a:pt x="177" y="1056"/>
                      </a:lnTo>
                      <a:lnTo>
                        <a:pt x="160" y="1027"/>
                      </a:lnTo>
                      <a:lnTo>
                        <a:pt x="146" y="998"/>
                      </a:lnTo>
                      <a:lnTo>
                        <a:pt x="133" y="968"/>
                      </a:lnTo>
                      <a:lnTo>
                        <a:pt x="121" y="935"/>
                      </a:lnTo>
                      <a:lnTo>
                        <a:pt x="112" y="900"/>
                      </a:lnTo>
                      <a:lnTo>
                        <a:pt x="104" y="865"/>
                      </a:lnTo>
                      <a:lnTo>
                        <a:pt x="98" y="829"/>
                      </a:lnTo>
                      <a:lnTo>
                        <a:pt x="92" y="790"/>
                      </a:lnTo>
                      <a:lnTo>
                        <a:pt x="90" y="752"/>
                      </a:lnTo>
                      <a:lnTo>
                        <a:pt x="90" y="709"/>
                      </a:lnTo>
                      <a:lnTo>
                        <a:pt x="90" y="709"/>
                      </a:lnTo>
                      <a:lnTo>
                        <a:pt x="90" y="671"/>
                      </a:lnTo>
                      <a:lnTo>
                        <a:pt x="92" y="634"/>
                      </a:lnTo>
                      <a:lnTo>
                        <a:pt x="98" y="597"/>
                      </a:lnTo>
                      <a:lnTo>
                        <a:pt x="104" y="561"/>
                      </a:lnTo>
                      <a:lnTo>
                        <a:pt x="112" y="524"/>
                      </a:lnTo>
                      <a:lnTo>
                        <a:pt x="123" y="491"/>
                      </a:lnTo>
                      <a:lnTo>
                        <a:pt x="135" y="457"/>
                      </a:lnTo>
                      <a:lnTo>
                        <a:pt x="148" y="424"/>
                      </a:lnTo>
                      <a:lnTo>
                        <a:pt x="164" y="393"/>
                      </a:lnTo>
                      <a:lnTo>
                        <a:pt x="183" y="362"/>
                      </a:lnTo>
                      <a:lnTo>
                        <a:pt x="202" y="332"/>
                      </a:lnTo>
                      <a:lnTo>
                        <a:pt x="223" y="303"/>
                      </a:lnTo>
                      <a:lnTo>
                        <a:pt x="247" y="276"/>
                      </a:lnTo>
                      <a:lnTo>
                        <a:pt x="272" y="249"/>
                      </a:lnTo>
                      <a:lnTo>
                        <a:pt x="301" y="224"/>
                      </a:lnTo>
                      <a:lnTo>
                        <a:pt x="329" y="199"/>
                      </a:lnTo>
                      <a:lnTo>
                        <a:pt x="360" y="175"/>
                      </a:lnTo>
                      <a:lnTo>
                        <a:pt x="395" y="154"/>
                      </a:lnTo>
                      <a:lnTo>
                        <a:pt x="430" y="135"/>
                      </a:lnTo>
                      <a:lnTo>
                        <a:pt x="466" y="116"/>
                      </a:lnTo>
                      <a:lnTo>
                        <a:pt x="507" y="96"/>
                      </a:lnTo>
                      <a:lnTo>
                        <a:pt x="549" y="81"/>
                      </a:lnTo>
                      <a:lnTo>
                        <a:pt x="592" y="66"/>
                      </a:lnTo>
                      <a:lnTo>
                        <a:pt x="638" y="52"/>
                      </a:lnTo>
                      <a:lnTo>
                        <a:pt x="686" y="40"/>
                      </a:lnTo>
                      <a:lnTo>
                        <a:pt x="736" y="29"/>
                      </a:lnTo>
                      <a:lnTo>
                        <a:pt x="788" y="21"/>
                      </a:lnTo>
                      <a:lnTo>
                        <a:pt x="842" y="13"/>
                      </a:lnTo>
                      <a:lnTo>
                        <a:pt x="898" y="8"/>
                      </a:lnTo>
                      <a:lnTo>
                        <a:pt x="956" y="2"/>
                      </a:lnTo>
                      <a:lnTo>
                        <a:pt x="1017" y="0"/>
                      </a:lnTo>
                      <a:lnTo>
                        <a:pt x="1079" y="0"/>
                      </a:lnTo>
                      <a:lnTo>
                        <a:pt x="1079" y="0"/>
                      </a:lnTo>
                      <a:lnTo>
                        <a:pt x="1135" y="0"/>
                      </a:lnTo>
                      <a:lnTo>
                        <a:pt x="1187" y="2"/>
                      </a:lnTo>
                      <a:lnTo>
                        <a:pt x="1239" y="6"/>
                      </a:lnTo>
                      <a:lnTo>
                        <a:pt x="1289" y="12"/>
                      </a:lnTo>
                      <a:lnTo>
                        <a:pt x="1339" y="19"/>
                      </a:lnTo>
                      <a:lnTo>
                        <a:pt x="1387" y="29"/>
                      </a:lnTo>
                      <a:lnTo>
                        <a:pt x="1434" y="39"/>
                      </a:lnTo>
                      <a:lnTo>
                        <a:pt x="1478" y="50"/>
                      </a:lnTo>
                      <a:lnTo>
                        <a:pt x="1522" y="64"/>
                      </a:lnTo>
                      <a:lnTo>
                        <a:pt x="1565" y="79"/>
                      </a:lnTo>
                      <a:lnTo>
                        <a:pt x="1607" y="94"/>
                      </a:lnTo>
                      <a:lnTo>
                        <a:pt x="1646" y="112"/>
                      </a:lnTo>
                      <a:lnTo>
                        <a:pt x="1684" y="131"/>
                      </a:lnTo>
                      <a:lnTo>
                        <a:pt x="1721" y="152"/>
                      </a:lnTo>
                      <a:lnTo>
                        <a:pt x="1758" y="173"/>
                      </a:lnTo>
                      <a:lnTo>
                        <a:pt x="1790" y="197"/>
                      </a:lnTo>
                      <a:lnTo>
                        <a:pt x="1823" y="222"/>
                      </a:lnTo>
                      <a:lnTo>
                        <a:pt x="1854" y="247"/>
                      </a:lnTo>
                      <a:lnTo>
                        <a:pt x="1883" y="274"/>
                      </a:lnTo>
                      <a:lnTo>
                        <a:pt x="1912" y="303"/>
                      </a:lnTo>
                      <a:lnTo>
                        <a:pt x="1939" y="333"/>
                      </a:lnTo>
                      <a:lnTo>
                        <a:pt x="1962" y="364"/>
                      </a:lnTo>
                      <a:lnTo>
                        <a:pt x="1985" y="397"/>
                      </a:lnTo>
                      <a:lnTo>
                        <a:pt x="2008" y="430"/>
                      </a:lnTo>
                      <a:lnTo>
                        <a:pt x="2027" y="464"/>
                      </a:lnTo>
                      <a:lnTo>
                        <a:pt x="2045" y="501"/>
                      </a:lnTo>
                      <a:lnTo>
                        <a:pt x="2062" y="538"/>
                      </a:lnTo>
                      <a:lnTo>
                        <a:pt x="2077" y="576"/>
                      </a:lnTo>
                      <a:lnTo>
                        <a:pt x="2091" y="615"/>
                      </a:lnTo>
                      <a:lnTo>
                        <a:pt x="2102" y="655"/>
                      </a:lnTo>
                      <a:lnTo>
                        <a:pt x="2112" y="698"/>
                      </a:lnTo>
                      <a:lnTo>
                        <a:pt x="2120" y="740"/>
                      </a:lnTo>
                      <a:lnTo>
                        <a:pt x="1470" y="740"/>
                      </a:lnTo>
                      <a:lnTo>
                        <a:pt x="1470" y="740"/>
                      </a:lnTo>
                      <a:lnTo>
                        <a:pt x="1465" y="705"/>
                      </a:lnTo>
                      <a:lnTo>
                        <a:pt x="1453" y="675"/>
                      </a:lnTo>
                      <a:lnTo>
                        <a:pt x="1441" y="644"/>
                      </a:lnTo>
                      <a:lnTo>
                        <a:pt x="1426" y="617"/>
                      </a:lnTo>
                      <a:lnTo>
                        <a:pt x="1409" y="592"/>
                      </a:lnTo>
                      <a:lnTo>
                        <a:pt x="1387" y="570"/>
                      </a:lnTo>
                      <a:lnTo>
                        <a:pt x="1366" y="549"/>
                      </a:lnTo>
                      <a:lnTo>
                        <a:pt x="1341" y="532"/>
                      </a:lnTo>
                      <a:lnTo>
                        <a:pt x="1314" y="515"/>
                      </a:lnTo>
                      <a:lnTo>
                        <a:pt x="1285" y="501"/>
                      </a:lnTo>
                      <a:lnTo>
                        <a:pt x="1255" y="490"/>
                      </a:lnTo>
                      <a:lnTo>
                        <a:pt x="1222" y="480"/>
                      </a:lnTo>
                      <a:lnTo>
                        <a:pt x="1187" y="472"/>
                      </a:lnTo>
                      <a:lnTo>
                        <a:pt x="1150" y="468"/>
                      </a:lnTo>
                      <a:lnTo>
                        <a:pt x="1114" y="464"/>
                      </a:lnTo>
                      <a:lnTo>
                        <a:pt x="1073" y="463"/>
                      </a:lnTo>
                      <a:lnTo>
                        <a:pt x="1073" y="463"/>
                      </a:lnTo>
                      <a:lnTo>
                        <a:pt x="1037" y="464"/>
                      </a:lnTo>
                      <a:lnTo>
                        <a:pt x="1004" y="466"/>
                      </a:lnTo>
                      <a:lnTo>
                        <a:pt x="973" y="470"/>
                      </a:lnTo>
                      <a:lnTo>
                        <a:pt x="944" y="476"/>
                      </a:lnTo>
                      <a:lnTo>
                        <a:pt x="917" y="484"/>
                      </a:lnTo>
                      <a:lnTo>
                        <a:pt x="894" y="493"/>
                      </a:lnTo>
                      <a:lnTo>
                        <a:pt x="873" y="503"/>
                      </a:lnTo>
                      <a:lnTo>
                        <a:pt x="854" y="515"/>
                      </a:lnTo>
                      <a:lnTo>
                        <a:pt x="836" y="528"/>
                      </a:lnTo>
                      <a:lnTo>
                        <a:pt x="821" y="542"/>
                      </a:lnTo>
                      <a:lnTo>
                        <a:pt x="809" y="557"/>
                      </a:lnTo>
                      <a:lnTo>
                        <a:pt x="798" y="572"/>
                      </a:lnTo>
                      <a:lnTo>
                        <a:pt x="790" y="590"/>
                      </a:lnTo>
                      <a:lnTo>
                        <a:pt x="784" y="609"/>
                      </a:lnTo>
                      <a:lnTo>
                        <a:pt x="782" y="628"/>
                      </a:lnTo>
                      <a:lnTo>
                        <a:pt x="780" y="648"/>
                      </a:lnTo>
                      <a:lnTo>
                        <a:pt x="780" y="648"/>
                      </a:lnTo>
                      <a:lnTo>
                        <a:pt x="782" y="673"/>
                      </a:lnTo>
                      <a:lnTo>
                        <a:pt x="786" y="696"/>
                      </a:lnTo>
                      <a:lnTo>
                        <a:pt x="792" y="717"/>
                      </a:lnTo>
                      <a:lnTo>
                        <a:pt x="802" y="736"/>
                      </a:lnTo>
                      <a:lnTo>
                        <a:pt x="815" y="754"/>
                      </a:lnTo>
                      <a:lnTo>
                        <a:pt x="831" y="771"/>
                      </a:lnTo>
                      <a:lnTo>
                        <a:pt x="852" y="786"/>
                      </a:lnTo>
                      <a:lnTo>
                        <a:pt x="875" y="802"/>
                      </a:lnTo>
                      <a:lnTo>
                        <a:pt x="902" y="815"/>
                      </a:lnTo>
                      <a:lnTo>
                        <a:pt x="933" y="827"/>
                      </a:lnTo>
                      <a:lnTo>
                        <a:pt x="967" y="840"/>
                      </a:lnTo>
                      <a:lnTo>
                        <a:pt x="1006" y="852"/>
                      </a:lnTo>
                      <a:lnTo>
                        <a:pt x="1048" y="863"/>
                      </a:lnTo>
                      <a:lnTo>
                        <a:pt x="1096" y="875"/>
                      </a:lnTo>
                      <a:lnTo>
                        <a:pt x="1204" y="898"/>
                      </a:lnTo>
                      <a:lnTo>
                        <a:pt x="1204" y="898"/>
                      </a:lnTo>
                      <a:lnTo>
                        <a:pt x="1316" y="921"/>
                      </a:lnTo>
                      <a:lnTo>
                        <a:pt x="1420" y="950"/>
                      </a:lnTo>
                      <a:lnTo>
                        <a:pt x="1470" y="964"/>
                      </a:lnTo>
                      <a:lnTo>
                        <a:pt x="1519" y="979"/>
                      </a:lnTo>
                      <a:lnTo>
                        <a:pt x="1565" y="996"/>
                      </a:lnTo>
                      <a:lnTo>
                        <a:pt x="1611" y="1014"/>
                      </a:lnTo>
                      <a:lnTo>
                        <a:pt x="1655" y="1031"/>
                      </a:lnTo>
                      <a:lnTo>
                        <a:pt x="1696" y="1050"/>
                      </a:lnTo>
                      <a:lnTo>
                        <a:pt x="1736" y="1072"/>
                      </a:lnTo>
                      <a:lnTo>
                        <a:pt x="1775" y="1091"/>
                      </a:lnTo>
                      <a:lnTo>
                        <a:pt x="1813" y="1114"/>
                      </a:lnTo>
                      <a:lnTo>
                        <a:pt x="1848" y="1137"/>
                      </a:lnTo>
                      <a:lnTo>
                        <a:pt x="1883" y="1160"/>
                      </a:lnTo>
                      <a:lnTo>
                        <a:pt x="1914" y="1185"/>
                      </a:lnTo>
                      <a:lnTo>
                        <a:pt x="1944" y="1210"/>
                      </a:lnTo>
                      <a:lnTo>
                        <a:pt x="1971" y="1237"/>
                      </a:lnTo>
                      <a:lnTo>
                        <a:pt x="1998" y="1264"/>
                      </a:lnTo>
                      <a:lnTo>
                        <a:pt x="2023" y="1293"/>
                      </a:lnTo>
                      <a:lnTo>
                        <a:pt x="2047" y="1322"/>
                      </a:lnTo>
                      <a:lnTo>
                        <a:pt x="2068" y="1353"/>
                      </a:lnTo>
                      <a:lnTo>
                        <a:pt x="2085" y="1386"/>
                      </a:lnTo>
                      <a:lnTo>
                        <a:pt x="2102" y="1419"/>
                      </a:lnTo>
                      <a:lnTo>
                        <a:pt x="2118" y="1453"/>
                      </a:lnTo>
                      <a:lnTo>
                        <a:pt x="2131" y="1488"/>
                      </a:lnTo>
                      <a:lnTo>
                        <a:pt x="2143" y="1525"/>
                      </a:lnTo>
                      <a:lnTo>
                        <a:pt x="2153" y="1561"/>
                      </a:lnTo>
                      <a:lnTo>
                        <a:pt x="2158" y="1600"/>
                      </a:lnTo>
                      <a:lnTo>
                        <a:pt x="2164" y="1640"/>
                      </a:lnTo>
                      <a:lnTo>
                        <a:pt x="2168" y="1681"/>
                      </a:lnTo>
                      <a:lnTo>
                        <a:pt x="2168" y="1723"/>
                      </a:lnTo>
                      <a:lnTo>
                        <a:pt x="2168" y="1723"/>
                      </a:lnTo>
                      <a:lnTo>
                        <a:pt x="2168" y="1760"/>
                      </a:lnTo>
                      <a:lnTo>
                        <a:pt x="2164" y="1796"/>
                      </a:lnTo>
                      <a:lnTo>
                        <a:pt x="2160" y="1833"/>
                      </a:lnTo>
                      <a:lnTo>
                        <a:pt x="2155" y="1868"/>
                      </a:lnTo>
                      <a:lnTo>
                        <a:pt x="2145" y="1902"/>
                      </a:lnTo>
                      <a:lnTo>
                        <a:pt x="2135" y="1937"/>
                      </a:lnTo>
                      <a:lnTo>
                        <a:pt x="2122" y="1972"/>
                      </a:lnTo>
                      <a:lnTo>
                        <a:pt x="2108" y="2004"/>
                      </a:lnTo>
                      <a:lnTo>
                        <a:pt x="2091" y="2037"/>
                      </a:lnTo>
                      <a:lnTo>
                        <a:pt x="2072" y="2070"/>
                      </a:lnTo>
                      <a:lnTo>
                        <a:pt x="2052" y="2101"/>
                      </a:lnTo>
                      <a:lnTo>
                        <a:pt x="2029" y="2132"/>
                      </a:lnTo>
                      <a:lnTo>
                        <a:pt x="2004" y="2161"/>
                      </a:lnTo>
                      <a:lnTo>
                        <a:pt x="1977" y="2188"/>
                      </a:lnTo>
                      <a:lnTo>
                        <a:pt x="1948" y="2216"/>
                      </a:lnTo>
                      <a:lnTo>
                        <a:pt x="1917" y="2242"/>
                      </a:lnTo>
                      <a:lnTo>
                        <a:pt x="1883" y="2267"/>
                      </a:lnTo>
                      <a:lnTo>
                        <a:pt x="1848" y="2292"/>
                      </a:lnTo>
                      <a:lnTo>
                        <a:pt x="1810" y="2313"/>
                      </a:lnTo>
                      <a:lnTo>
                        <a:pt x="1769" y="2334"/>
                      </a:lnTo>
                      <a:lnTo>
                        <a:pt x="1727" y="2355"/>
                      </a:lnTo>
                      <a:lnTo>
                        <a:pt x="1682" y="2373"/>
                      </a:lnTo>
                      <a:lnTo>
                        <a:pt x="1636" y="2390"/>
                      </a:lnTo>
                      <a:lnTo>
                        <a:pt x="1586" y="2405"/>
                      </a:lnTo>
                      <a:lnTo>
                        <a:pt x="1534" y="2419"/>
                      </a:lnTo>
                      <a:lnTo>
                        <a:pt x="1480" y="2432"/>
                      </a:lnTo>
                      <a:lnTo>
                        <a:pt x="1422" y="2442"/>
                      </a:lnTo>
                      <a:lnTo>
                        <a:pt x="1364" y="2452"/>
                      </a:lnTo>
                      <a:lnTo>
                        <a:pt x="1303" y="2457"/>
                      </a:lnTo>
                      <a:lnTo>
                        <a:pt x="1239" y="2463"/>
                      </a:lnTo>
                      <a:lnTo>
                        <a:pt x="1172" y="2465"/>
                      </a:lnTo>
                      <a:lnTo>
                        <a:pt x="1102" y="2467"/>
                      </a:lnTo>
                      <a:lnTo>
                        <a:pt x="1102" y="2467"/>
                      </a:lnTo>
                      <a:lnTo>
                        <a:pt x="1035" y="2465"/>
                      </a:lnTo>
                      <a:lnTo>
                        <a:pt x="969" y="2463"/>
                      </a:lnTo>
                      <a:lnTo>
                        <a:pt x="906" y="2457"/>
                      </a:lnTo>
                      <a:lnTo>
                        <a:pt x="846" y="2450"/>
                      </a:lnTo>
                      <a:lnTo>
                        <a:pt x="786" y="2440"/>
                      </a:lnTo>
                      <a:lnTo>
                        <a:pt x="732" y="2428"/>
                      </a:lnTo>
                      <a:lnTo>
                        <a:pt x="678" y="2415"/>
                      </a:lnTo>
                      <a:lnTo>
                        <a:pt x="626" y="2400"/>
                      </a:lnTo>
                      <a:lnTo>
                        <a:pt x="578" y="2382"/>
                      </a:lnTo>
                      <a:lnTo>
                        <a:pt x="532" y="2363"/>
                      </a:lnTo>
                      <a:lnTo>
                        <a:pt x="487" y="2344"/>
                      </a:lnTo>
                      <a:lnTo>
                        <a:pt x="445" y="2321"/>
                      </a:lnTo>
                      <a:lnTo>
                        <a:pt x="405" y="2297"/>
                      </a:lnTo>
                      <a:lnTo>
                        <a:pt x="366" y="2272"/>
                      </a:lnTo>
                      <a:lnTo>
                        <a:pt x="329" y="2247"/>
                      </a:lnTo>
                      <a:lnTo>
                        <a:pt x="297" y="2220"/>
                      </a:lnTo>
                      <a:lnTo>
                        <a:pt x="264" y="2191"/>
                      </a:lnTo>
                      <a:lnTo>
                        <a:pt x="235" y="2161"/>
                      </a:lnTo>
                      <a:lnTo>
                        <a:pt x="206" y="2130"/>
                      </a:lnTo>
                      <a:lnTo>
                        <a:pt x="181" y="2099"/>
                      </a:lnTo>
                      <a:lnTo>
                        <a:pt x="156" y="2066"/>
                      </a:lnTo>
                      <a:lnTo>
                        <a:pt x="133" y="2033"/>
                      </a:lnTo>
                      <a:lnTo>
                        <a:pt x="114" y="1999"/>
                      </a:lnTo>
                      <a:lnTo>
                        <a:pt x="94" y="1964"/>
                      </a:lnTo>
                      <a:lnTo>
                        <a:pt x="77" y="1929"/>
                      </a:lnTo>
                      <a:lnTo>
                        <a:pt x="62" y="1893"/>
                      </a:lnTo>
                      <a:lnTo>
                        <a:pt x="46" y="1856"/>
                      </a:lnTo>
                      <a:lnTo>
                        <a:pt x="35" y="1819"/>
                      </a:lnTo>
                      <a:lnTo>
                        <a:pt x="23" y="1783"/>
                      </a:lnTo>
                      <a:lnTo>
                        <a:pt x="15" y="1746"/>
                      </a:lnTo>
                      <a:lnTo>
                        <a:pt x="8" y="1708"/>
                      </a:lnTo>
                      <a:lnTo>
                        <a:pt x="0" y="1671"/>
                      </a:lnTo>
                      <a:lnTo>
                        <a:pt x="0" y="167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defTabSz="914362"/>
                  <a:endParaRPr lang="en-US">
                    <a:solidFill>
                      <a:srgbClr val="FFFFFF"/>
                    </a:solidFill>
                    <a:latin typeface="Arial"/>
                  </a:endParaRPr>
                </a:p>
              </p:txBody>
            </p:sp>
          </p:grpSp>
        </p:grpSp>
      </p:grpSp>
      <p:grpSp>
        <p:nvGrpSpPr>
          <p:cNvPr id="30" name="Group 29"/>
          <p:cNvGrpSpPr/>
          <p:nvPr/>
        </p:nvGrpSpPr>
        <p:grpSpPr>
          <a:xfrm>
            <a:off x="6976388" y="1287101"/>
            <a:ext cx="1004296" cy="1004297"/>
            <a:chOff x="7516639" y="1277623"/>
            <a:chExt cx="1004296" cy="1004297"/>
          </a:xfrm>
        </p:grpSpPr>
        <p:sp>
          <p:nvSpPr>
            <p:cNvPr id="191" name="Oval 190"/>
            <p:cNvSpPr/>
            <p:nvPr/>
          </p:nvSpPr>
          <p:spPr>
            <a:xfrm>
              <a:off x="7516639" y="1277623"/>
              <a:ext cx="1004296" cy="1004297"/>
            </a:xfrm>
            <a:prstGeom prst="ellipse">
              <a:avLst/>
            </a:prstGeom>
            <a:solidFill>
              <a:srgbClr val="33996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0" rIns="0" bIns="0" rtlCol="0" anchor="b"/>
            <a:lstStyle/>
            <a:p>
              <a:pPr algn="ctr"/>
              <a:r>
                <a:rPr lang="en-US" sz="800" dirty="0">
                  <a:solidFill>
                    <a:schemeClr val="bg1"/>
                  </a:solidFill>
                  <a:cs typeface="CiscoSansTT Light"/>
                </a:rPr>
                <a:t>Network Visibility </a:t>
              </a:r>
            </a:p>
          </p:txBody>
        </p:sp>
        <p:grpSp>
          <p:nvGrpSpPr>
            <p:cNvPr id="248" name="Group 247"/>
            <p:cNvGrpSpPr>
              <a:grpSpLocks noChangeAspect="1"/>
            </p:cNvGrpSpPr>
            <p:nvPr/>
          </p:nvGrpSpPr>
          <p:grpSpPr bwMode="auto">
            <a:xfrm>
              <a:off x="7650809" y="1396205"/>
              <a:ext cx="735957" cy="429454"/>
              <a:chOff x="1710" y="2899"/>
              <a:chExt cx="1700" cy="992"/>
            </a:xfrm>
            <a:solidFill>
              <a:schemeClr val="bg1"/>
            </a:solidFill>
            <a:effectLst/>
          </p:grpSpPr>
          <p:sp>
            <p:nvSpPr>
              <p:cNvPr id="249" name="Freeform 11"/>
              <p:cNvSpPr>
                <a:spLocks noEditPoints="1"/>
              </p:cNvSpPr>
              <p:nvPr/>
            </p:nvSpPr>
            <p:spPr bwMode="auto">
              <a:xfrm>
                <a:off x="1710" y="2899"/>
                <a:ext cx="1700" cy="992"/>
              </a:xfrm>
              <a:custGeom>
                <a:avLst/>
                <a:gdLst>
                  <a:gd name="T0" fmla="*/ 109 w 239"/>
                  <a:gd name="T1" fmla="*/ 16 h 139"/>
                  <a:gd name="T2" fmla="*/ 127 w 239"/>
                  <a:gd name="T3" fmla="*/ 16 h 139"/>
                  <a:gd name="T4" fmla="*/ 129 w 239"/>
                  <a:gd name="T5" fmla="*/ 12 h 139"/>
                  <a:gd name="T6" fmla="*/ 159 w 239"/>
                  <a:gd name="T7" fmla="*/ 9 h 139"/>
                  <a:gd name="T8" fmla="*/ 168 w 239"/>
                  <a:gd name="T9" fmla="*/ 18 h 139"/>
                  <a:gd name="T10" fmla="*/ 171 w 239"/>
                  <a:gd name="T11" fmla="*/ 20 h 139"/>
                  <a:gd name="T12" fmla="*/ 197 w 239"/>
                  <a:gd name="T13" fmla="*/ 29 h 139"/>
                  <a:gd name="T14" fmla="*/ 217 w 239"/>
                  <a:gd name="T15" fmla="*/ 46 h 139"/>
                  <a:gd name="T16" fmla="*/ 226 w 239"/>
                  <a:gd name="T17" fmla="*/ 112 h 139"/>
                  <a:gd name="T18" fmla="*/ 173 w 239"/>
                  <a:gd name="T19" fmla="*/ 135 h 139"/>
                  <a:gd name="T20" fmla="*/ 132 w 239"/>
                  <a:gd name="T21" fmla="*/ 95 h 139"/>
                  <a:gd name="T22" fmla="*/ 131 w 239"/>
                  <a:gd name="T23" fmla="*/ 93 h 139"/>
                  <a:gd name="T24" fmla="*/ 104 w 239"/>
                  <a:gd name="T25" fmla="*/ 93 h 139"/>
                  <a:gd name="T26" fmla="*/ 104 w 239"/>
                  <a:gd name="T27" fmla="*/ 96 h 139"/>
                  <a:gd name="T28" fmla="*/ 47 w 239"/>
                  <a:gd name="T29" fmla="*/ 135 h 139"/>
                  <a:gd name="T30" fmla="*/ 2 w 239"/>
                  <a:gd name="T31" fmla="*/ 90 h 139"/>
                  <a:gd name="T32" fmla="*/ 19 w 239"/>
                  <a:gd name="T33" fmla="*/ 46 h 139"/>
                  <a:gd name="T34" fmla="*/ 42 w 239"/>
                  <a:gd name="T35" fmla="*/ 28 h 139"/>
                  <a:gd name="T36" fmla="*/ 64 w 239"/>
                  <a:gd name="T37" fmla="*/ 20 h 139"/>
                  <a:gd name="T38" fmla="*/ 67 w 239"/>
                  <a:gd name="T39" fmla="*/ 18 h 139"/>
                  <a:gd name="T40" fmla="*/ 76 w 239"/>
                  <a:gd name="T41" fmla="*/ 10 h 139"/>
                  <a:gd name="T42" fmla="*/ 108 w 239"/>
                  <a:gd name="T43" fmla="*/ 15 h 139"/>
                  <a:gd name="T44" fmla="*/ 109 w 239"/>
                  <a:gd name="T45" fmla="*/ 16 h 139"/>
                  <a:gd name="T46" fmla="*/ 19 w 239"/>
                  <a:gd name="T47" fmla="*/ 84 h 139"/>
                  <a:gd name="T48" fmla="*/ 53 w 239"/>
                  <a:gd name="T49" fmla="*/ 119 h 139"/>
                  <a:gd name="T50" fmla="*/ 88 w 239"/>
                  <a:gd name="T51" fmla="*/ 85 h 139"/>
                  <a:gd name="T52" fmla="*/ 55 w 239"/>
                  <a:gd name="T53" fmla="*/ 50 h 139"/>
                  <a:gd name="T54" fmla="*/ 19 w 239"/>
                  <a:gd name="T55" fmla="*/ 84 h 139"/>
                  <a:gd name="T56" fmla="*/ 148 w 239"/>
                  <a:gd name="T57" fmla="*/ 84 h 139"/>
                  <a:gd name="T58" fmla="*/ 183 w 239"/>
                  <a:gd name="T59" fmla="*/ 119 h 139"/>
                  <a:gd name="T60" fmla="*/ 217 w 239"/>
                  <a:gd name="T61" fmla="*/ 83 h 139"/>
                  <a:gd name="T62" fmla="*/ 181 w 239"/>
                  <a:gd name="T63" fmla="*/ 50 h 139"/>
                  <a:gd name="T64" fmla="*/ 148 w 239"/>
                  <a:gd name="T65" fmla="*/ 84 h 139"/>
                  <a:gd name="T66" fmla="*/ 131 w 239"/>
                  <a:gd name="T67" fmla="*/ 70 h 139"/>
                  <a:gd name="T68" fmla="*/ 118 w 239"/>
                  <a:gd name="T69" fmla="*/ 56 h 139"/>
                  <a:gd name="T70" fmla="*/ 104 w 239"/>
                  <a:gd name="T71" fmla="*/ 69 h 139"/>
                  <a:gd name="T72" fmla="*/ 117 w 239"/>
                  <a:gd name="T73" fmla="*/ 83 h 139"/>
                  <a:gd name="T74" fmla="*/ 131 w 239"/>
                  <a:gd name="T75"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9" h="139">
                    <a:moveTo>
                      <a:pt x="109" y="16"/>
                    </a:moveTo>
                    <a:cubicBezTo>
                      <a:pt x="115" y="13"/>
                      <a:pt x="121" y="13"/>
                      <a:pt x="127" y="16"/>
                    </a:cubicBezTo>
                    <a:cubicBezTo>
                      <a:pt x="128" y="15"/>
                      <a:pt x="128" y="13"/>
                      <a:pt x="129" y="12"/>
                    </a:cubicBezTo>
                    <a:cubicBezTo>
                      <a:pt x="136" y="2"/>
                      <a:pt x="150" y="1"/>
                      <a:pt x="159" y="9"/>
                    </a:cubicBezTo>
                    <a:cubicBezTo>
                      <a:pt x="162" y="12"/>
                      <a:pt x="165" y="15"/>
                      <a:pt x="168" y="18"/>
                    </a:cubicBezTo>
                    <a:cubicBezTo>
                      <a:pt x="169" y="19"/>
                      <a:pt x="170" y="20"/>
                      <a:pt x="171" y="20"/>
                    </a:cubicBezTo>
                    <a:cubicBezTo>
                      <a:pt x="181" y="20"/>
                      <a:pt x="189" y="24"/>
                      <a:pt x="197" y="29"/>
                    </a:cubicBezTo>
                    <a:cubicBezTo>
                      <a:pt x="203" y="35"/>
                      <a:pt x="210" y="40"/>
                      <a:pt x="217" y="46"/>
                    </a:cubicBezTo>
                    <a:cubicBezTo>
                      <a:pt x="235" y="62"/>
                      <a:pt x="239" y="91"/>
                      <a:pt x="226" y="112"/>
                    </a:cubicBezTo>
                    <a:cubicBezTo>
                      <a:pt x="214" y="129"/>
                      <a:pt x="194" y="139"/>
                      <a:pt x="173" y="135"/>
                    </a:cubicBezTo>
                    <a:cubicBezTo>
                      <a:pt x="152" y="131"/>
                      <a:pt x="136" y="116"/>
                      <a:pt x="132" y="95"/>
                    </a:cubicBezTo>
                    <a:cubicBezTo>
                      <a:pt x="132" y="94"/>
                      <a:pt x="131" y="94"/>
                      <a:pt x="131" y="93"/>
                    </a:cubicBezTo>
                    <a:cubicBezTo>
                      <a:pt x="122" y="97"/>
                      <a:pt x="114" y="98"/>
                      <a:pt x="104" y="93"/>
                    </a:cubicBezTo>
                    <a:cubicBezTo>
                      <a:pt x="104" y="94"/>
                      <a:pt x="104" y="95"/>
                      <a:pt x="104" y="96"/>
                    </a:cubicBezTo>
                    <a:cubicBezTo>
                      <a:pt x="98" y="122"/>
                      <a:pt x="72" y="139"/>
                      <a:pt x="47" y="135"/>
                    </a:cubicBezTo>
                    <a:cubicBezTo>
                      <a:pt x="23" y="132"/>
                      <a:pt x="5" y="114"/>
                      <a:pt x="2" y="90"/>
                    </a:cubicBezTo>
                    <a:cubicBezTo>
                      <a:pt x="0" y="73"/>
                      <a:pt x="6" y="58"/>
                      <a:pt x="19" y="46"/>
                    </a:cubicBezTo>
                    <a:cubicBezTo>
                      <a:pt x="26" y="40"/>
                      <a:pt x="34" y="34"/>
                      <a:pt x="42" y="28"/>
                    </a:cubicBezTo>
                    <a:cubicBezTo>
                      <a:pt x="48" y="23"/>
                      <a:pt x="56" y="20"/>
                      <a:pt x="64" y="20"/>
                    </a:cubicBezTo>
                    <a:cubicBezTo>
                      <a:pt x="65" y="20"/>
                      <a:pt x="67" y="19"/>
                      <a:pt x="67" y="18"/>
                    </a:cubicBezTo>
                    <a:cubicBezTo>
                      <a:pt x="70" y="16"/>
                      <a:pt x="73" y="13"/>
                      <a:pt x="76" y="10"/>
                    </a:cubicBezTo>
                    <a:cubicBezTo>
                      <a:pt x="87" y="0"/>
                      <a:pt x="101" y="2"/>
                      <a:pt x="108" y="15"/>
                    </a:cubicBezTo>
                    <a:cubicBezTo>
                      <a:pt x="108" y="15"/>
                      <a:pt x="109" y="15"/>
                      <a:pt x="109" y="16"/>
                    </a:cubicBezTo>
                    <a:close/>
                    <a:moveTo>
                      <a:pt x="19" y="84"/>
                    </a:moveTo>
                    <a:cubicBezTo>
                      <a:pt x="19" y="103"/>
                      <a:pt x="34" y="119"/>
                      <a:pt x="53" y="119"/>
                    </a:cubicBezTo>
                    <a:cubicBezTo>
                      <a:pt x="72" y="119"/>
                      <a:pt x="88" y="104"/>
                      <a:pt x="88" y="85"/>
                    </a:cubicBezTo>
                    <a:cubicBezTo>
                      <a:pt x="88" y="66"/>
                      <a:pt x="73" y="50"/>
                      <a:pt x="55" y="50"/>
                    </a:cubicBezTo>
                    <a:cubicBezTo>
                      <a:pt x="35" y="50"/>
                      <a:pt x="19" y="64"/>
                      <a:pt x="19" y="84"/>
                    </a:cubicBezTo>
                    <a:close/>
                    <a:moveTo>
                      <a:pt x="148" y="84"/>
                    </a:moveTo>
                    <a:cubicBezTo>
                      <a:pt x="148" y="104"/>
                      <a:pt x="163" y="119"/>
                      <a:pt x="183" y="119"/>
                    </a:cubicBezTo>
                    <a:cubicBezTo>
                      <a:pt x="203" y="118"/>
                      <a:pt x="217" y="102"/>
                      <a:pt x="217" y="83"/>
                    </a:cubicBezTo>
                    <a:cubicBezTo>
                      <a:pt x="216" y="64"/>
                      <a:pt x="200" y="49"/>
                      <a:pt x="181" y="50"/>
                    </a:cubicBezTo>
                    <a:cubicBezTo>
                      <a:pt x="163" y="50"/>
                      <a:pt x="147" y="66"/>
                      <a:pt x="148" y="84"/>
                    </a:cubicBezTo>
                    <a:close/>
                    <a:moveTo>
                      <a:pt x="131" y="70"/>
                    </a:moveTo>
                    <a:cubicBezTo>
                      <a:pt x="131" y="62"/>
                      <a:pt x="126" y="56"/>
                      <a:pt x="118" y="56"/>
                    </a:cubicBezTo>
                    <a:cubicBezTo>
                      <a:pt x="110" y="55"/>
                      <a:pt x="104" y="62"/>
                      <a:pt x="104" y="69"/>
                    </a:cubicBezTo>
                    <a:cubicBezTo>
                      <a:pt x="104" y="77"/>
                      <a:pt x="110" y="83"/>
                      <a:pt x="117" y="83"/>
                    </a:cubicBezTo>
                    <a:cubicBezTo>
                      <a:pt x="125" y="83"/>
                      <a:pt x="131" y="77"/>
                      <a:pt x="131"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sp>
            <p:nvSpPr>
              <p:cNvPr id="250" name="Freeform 12"/>
              <p:cNvSpPr>
                <a:spLocks/>
              </p:cNvSpPr>
              <p:nvPr/>
            </p:nvSpPr>
            <p:spPr bwMode="auto">
              <a:xfrm>
                <a:off x="1895" y="3399"/>
                <a:ext cx="334" cy="292"/>
              </a:xfrm>
              <a:custGeom>
                <a:avLst/>
                <a:gdLst>
                  <a:gd name="T0" fmla="*/ 47 w 47"/>
                  <a:gd name="T1" fmla="*/ 31 h 41"/>
                  <a:gd name="T2" fmla="*/ 25 w 47"/>
                  <a:gd name="T3" fmla="*/ 40 h 41"/>
                  <a:gd name="T4" fmla="*/ 3 w 47"/>
                  <a:gd name="T5" fmla="*/ 22 h 41"/>
                  <a:gd name="T6" fmla="*/ 7 w 47"/>
                  <a:gd name="T7" fmla="*/ 0 h 41"/>
                  <a:gd name="T8" fmla="*/ 19 w 47"/>
                  <a:gd name="T9" fmla="*/ 26 h 41"/>
                  <a:gd name="T10" fmla="*/ 47 w 47"/>
                  <a:gd name="T11" fmla="*/ 31 h 41"/>
                </a:gdLst>
                <a:ahLst/>
                <a:cxnLst>
                  <a:cxn ang="0">
                    <a:pos x="T0" y="T1"/>
                  </a:cxn>
                  <a:cxn ang="0">
                    <a:pos x="T2" y="T3"/>
                  </a:cxn>
                  <a:cxn ang="0">
                    <a:pos x="T4" y="T5"/>
                  </a:cxn>
                  <a:cxn ang="0">
                    <a:pos x="T6" y="T7"/>
                  </a:cxn>
                  <a:cxn ang="0">
                    <a:pos x="T8" y="T9"/>
                  </a:cxn>
                  <a:cxn ang="0">
                    <a:pos x="T10" y="T11"/>
                  </a:cxn>
                </a:cxnLst>
                <a:rect l="0" t="0" r="r" b="b"/>
                <a:pathLst>
                  <a:path w="47" h="41">
                    <a:moveTo>
                      <a:pt x="47" y="31"/>
                    </a:moveTo>
                    <a:cubicBezTo>
                      <a:pt x="41" y="37"/>
                      <a:pt x="34" y="41"/>
                      <a:pt x="25" y="40"/>
                    </a:cubicBezTo>
                    <a:cubicBezTo>
                      <a:pt x="14" y="39"/>
                      <a:pt x="7" y="33"/>
                      <a:pt x="3" y="22"/>
                    </a:cubicBezTo>
                    <a:cubicBezTo>
                      <a:pt x="0" y="15"/>
                      <a:pt x="2" y="7"/>
                      <a:pt x="7" y="0"/>
                    </a:cubicBezTo>
                    <a:cubicBezTo>
                      <a:pt x="7" y="11"/>
                      <a:pt x="10" y="19"/>
                      <a:pt x="19" y="26"/>
                    </a:cubicBezTo>
                    <a:cubicBezTo>
                      <a:pt x="27" y="32"/>
                      <a:pt x="36" y="33"/>
                      <a:pt x="4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sp>
            <p:nvSpPr>
              <p:cNvPr id="251" name="Freeform 13"/>
              <p:cNvSpPr>
                <a:spLocks/>
              </p:cNvSpPr>
              <p:nvPr/>
            </p:nvSpPr>
            <p:spPr bwMode="auto">
              <a:xfrm>
                <a:off x="2813" y="3399"/>
                <a:ext cx="334" cy="292"/>
              </a:xfrm>
              <a:custGeom>
                <a:avLst/>
                <a:gdLst>
                  <a:gd name="T0" fmla="*/ 47 w 47"/>
                  <a:gd name="T1" fmla="*/ 31 h 41"/>
                  <a:gd name="T2" fmla="*/ 25 w 47"/>
                  <a:gd name="T3" fmla="*/ 40 h 41"/>
                  <a:gd name="T4" fmla="*/ 3 w 47"/>
                  <a:gd name="T5" fmla="*/ 24 h 41"/>
                  <a:gd name="T6" fmla="*/ 6 w 47"/>
                  <a:gd name="T7" fmla="*/ 0 h 41"/>
                  <a:gd name="T8" fmla="*/ 47 w 47"/>
                  <a:gd name="T9" fmla="*/ 31 h 41"/>
                </a:gdLst>
                <a:ahLst/>
                <a:cxnLst>
                  <a:cxn ang="0">
                    <a:pos x="T0" y="T1"/>
                  </a:cxn>
                  <a:cxn ang="0">
                    <a:pos x="T2" y="T3"/>
                  </a:cxn>
                  <a:cxn ang="0">
                    <a:pos x="T4" y="T5"/>
                  </a:cxn>
                  <a:cxn ang="0">
                    <a:pos x="T6" y="T7"/>
                  </a:cxn>
                  <a:cxn ang="0">
                    <a:pos x="T8" y="T9"/>
                  </a:cxn>
                </a:cxnLst>
                <a:rect l="0" t="0" r="r" b="b"/>
                <a:pathLst>
                  <a:path w="47" h="41">
                    <a:moveTo>
                      <a:pt x="47" y="31"/>
                    </a:moveTo>
                    <a:cubicBezTo>
                      <a:pt x="41" y="37"/>
                      <a:pt x="34" y="41"/>
                      <a:pt x="25" y="40"/>
                    </a:cubicBezTo>
                    <a:cubicBezTo>
                      <a:pt x="15" y="39"/>
                      <a:pt x="7" y="34"/>
                      <a:pt x="3" y="24"/>
                    </a:cubicBezTo>
                    <a:cubicBezTo>
                      <a:pt x="0" y="16"/>
                      <a:pt x="1" y="8"/>
                      <a:pt x="6" y="0"/>
                    </a:cubicBezTo>
                    <a:cubicBezTo>
                      <a:pt x="9" y="24"/>
                      <a:pt x="22" y="35"/>
                      <a:pt x="47"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grpSp>
      </p:grpSp>
      <p:sp>
        <p:nvSpPr>
          <p:cNvPr id="3" name="TextBox 2"/>
          <p:cNvSpPr txBox="1"/>
          <p:nvPr/>
        </p:nvSpPr>
        <p:spPr>
          <a:xfrm>
            <a:off x="3813915" y="953796"/>
            <a:ext cx="1838431" cy="219291"/>
          </a:xfrm>
          <a:prstGeom prst="rect">
            <a:avLst/>
          </a:prstGeom>
          <a:noFill/>
        </p:spPr>
        <p:txBody>
          <a:bodyPr wrap="none" lIns="0" tIns="0" rIns="0" bIns="0" rtlCol="0">
            <a:spAutoFit/>
          </a:bodyPr>
          <a:lstStyle/>
          <a:p>
            <a:pPr algn="ctr"/>
            <a:r>
              <a:rPr lang="en-US" sz="1400" b="1" dirty="0"/>
              <a:t>AnyConnect features</a:t>
            </a:r>
          </a:p>
        </p:txBody>
      </p:sp>
      <p:sp>
        <p:nvSpPr>
          <p:cNvPr id="89" name="Rectangle 88"/>
          <p:cNvSpPr/>
          <p:nvPr/>
        </p:nvSpPr>
        <p:spPr>
          <a:xfrm>
            <a:off x="1503921" y="3427155"/>
            <a:ext cx="6206199" cy="289649"/>
          </a:xfrm>
          <a:prstGeom prst="rect">
            <a:avLst/>
          </a:prstGeom>
          <a:no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68583" tIns="34292" rIns="68583" bIns="34292" rtlCol="0" anchor="t"/>
          <a:lstStyle/>
          <a:p>
            <a:pPr algn="ctr"/>
            <a:r>
              <a:rPr lang="en-US" sz="1200" dirty="0">
                <a:solidFill>
                  <a:schemeClr val="tx1"/>
                </a:solidFill>
              </a:rPr>
              <a:t>Integration with other Cisco solutions</a:t>
            </a:r>
            <a:endParaRPr lang="en-US" sz="1400" dirty="0">
              <a:solidFill>
                <a:schemeClr val="tx1"/>
              </a:solidFill>
            </a:endParaRPr>
          </a:p>
        </p:txBody>
      </p:sp>
      <p:grpSp>
        <p:nvGrpSpPr>
          <p:cNvPr id="13" name="Group 12"/>
          <p:cNvGrpSpPr/>
          <p:nvPr/>
        </p:nvGrpSpPr>
        <p:grpSpPr>
          <a:xfrm>
            <a:off x="2998778" y="3701705"/>
            <a:ext cx="776382" cy="981873"/>
            <a:chOff x="2257615" y="3667735"/>
            <a:chExt cx="776382" cy="981873"/>
          </a:xfrm>
        </p:grpSpPr>
        <p:sp>
          <p:nvSpPr>
            <p:cNvPr id="144" name="Oval 143"/>
            <p:cNvSpPr/>
            <p:nvPr/>
          </p:nvSpPr>
          <p:spPr>
            <a:xfrm>
              <a:off x="2326657" y="366773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5" name="Text Placeholder 2"/>
            <p:cNvSpPr txBox="1">
              <a:spLocks/>
            </p:cNvSpPr>
            <p:nvPr/>
          </p:nvSpPr>
          <p:spPr>
            <a:xfrm>
              <a:off x="2257615" y="4395692"/>
              <a:ext cx="776382" cy="253916"/>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Identity Services </a:t>
              </a:r>
              <a:br>
                <a:rPr lang="en-US" sz="800" dirty="0"/>
              </a:br>
              <a:r>
                <a:rPr lang="en-US" sz="800" dirty="0"/>
                <a:t>Engine (ISE)</a:t>
              </a:r>
            </a:p>
          </p:txBody>
        </p:sp>
      </p:grpSp>
      <p:grpSp>
        <p:nvGrpSpPr>
          <p:cNvPr id="21" name="Group 20"/>
          <p:cNvGrpSpPr/>
          <p:nvPr/>
        </p:nvGrpSpPr>
        <p:grpSpPr>
          <a:xfrm>
            <a:off x="1175530" y="3694844"/>
            <a:ext cx="694819" cy="851068"/>
            <a:chOff x="6002477" y="3667735"/>
            <a:chExt cx="694819" cy="851068"/>
          </a:xfrm>
        </p:grpSpPr>
        <p:sp>
          <p:nvSpPr>
            <p:cNvPr id="148" name="Oval 147"/>
            <p:cNvSpPr/>
            <p:nvPr/>
          </p:nvSpPr>
          <p:spPr>
            <a:xfrm>
              <a:off x="6002477" y="366773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4" name="Text Placeholder 2"/>
            <p:cNvSpPr txBox="1">
              <a:spLocks/>
            </p:cNvSpPr>
            <p:nvPr/>
          </p:nvSpPr>
          <p:spPr>
            <a:xfrm>
              <a:off x="6113121" y="4395692"/>
              <a:ext cx="513061" cy="123111"/>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ASR / CSR</a:t>
              </a:r>
            </a:p>
          </p:txBody>
        </p:sp>
        <p:grpSp>
          <p:nvGrpSpPr>
            <p:cNvPr id="166" name="Group 165"/>
            <p:cNvGrpSpPr/>
            <p:nvPr/>
          </p:nvGrpSpPr>
          <p:grpSpPr>
            <a:xfrm>
              <a:off x="6166252" y="3804379"/>
              <a:ext cx="367268" cy="408376"/>
              <a:chOff x="7272028" y="5248625"/>
              <a:chExt cx="228493" cy="272688"/>
            </a:xfrm>
            <a:solidFill>
              <a:schemeClr val="tx1"/>
            </a:solidFill>
          </p:grpSpPr>
          <p:grpSp>
            <p:nvGrpSpPr>
              <p:cNvPr id="167" name="Group 166"/>
              <p:cNvGrpSpPr>
                <a:grpSpLocks noChangeAspect="1"/>
              </p:cNvGrpSpPr>
              <p:nvPr/>
            </p:nvGrpSpPr>
            <p:grpSpPr bwMode="auto">
              <a:xfrm>
                <a:off x="7272028" y="5248625"/>
                <a:ext cx="228493" cy="175282"/>
                <a:chOff x="-5064" y="1070"/>
                <a:chExt cx="949" cy="728"/>
              </a:xfrm>
              <a:grpFill/>
            </p:grpSpPr>
            <p:sp>
              <p:nvSpPr>
                <p:cNvPr id="173" name="Freeform 172"/>
                <p:cNvSpPr>
                  <a:spLocks/>
                </p:cNvSpPr>
                <p:nvPr/>
              </p:nvSpPr>
              <p:spPr bwMode="auto">
                <a:xfrm>
                  <a:off x="-5064" y="1070"/>
                  <a:ext cx="949" cy="536"/>
                </a:xfrm>
                <a:custGeom>
                  <a:avLst/>
                  <a:gdLst>
                    <a:gd name="T0" fmla="*/ 401 w 402"/>
                    <a:gd name="T1" fmla="*/ 221 h 227"/>
                    <a:gd name="T2" fmla="*/ 383 w 402"/>
                    <a:gd name="T3" fmla="*/ 156 h 227"/>
                    <a:gd name="T4" fmla="*/ 351 w 402"/>
                    <a:gd name="T5" fmla="*/ 43 h 227"/>
                    <a:gd name="T6" fmla="*/ 340 w 402"/>
                    <a:gd name="T7" fmla="*/ 3 h 227"/>
                    <a:gd name="T8" fmla="*/ 338 w 402"/>
                    <a:gd name="T9" fmla="*/ 1 h 227"/>
                    <a:gd name="T10" fmla="*/ 336 w 402"/>
                    <a:gd name="T11" fmla="*/ 0 h 227"/>
                    <a:gd name="T12" fmla="*/ 246 w 402"/>
                    <a:gd name="T13" fmla="*/ 0 h 227"/>
                    <a:gd name="T14" fmla="*/ 184 w 402"/>
                    <a:gd name="T15" fmla="*/ 0 h 227"/>
                    <a:gd name="T16" fmla="*/ 77 w 402"/>
                    <a:gd name="T17" fmla="*/ 0 h 227"/>
                    <a:gd name="T18" fmla="*/ 66 w 402"/>
                    <a:gd name="T19" fmla="*/ 0 h 227"/>
                    <a:gd name="T20" fmla="*/ 62 w 402"/>
                    <a:gd name="T21" fmla="*/ 3 h 227"/>
                    <a:gd name="T22" fmla="*/ 44 w 402"/>
                    <a:gd name="T23" fmla="*/ 68 h 227"/>
                    <a:gd name="T24" fmla="*/ 12 w 402"/>
                    <a:gd name="T25" fmla="*/ 181 h 227"/>
                    <a:gd name="T26" fmla="*/ 1 w 402"/>
                    <a:gd name="T27" fmla="*/ 221 h 227"/>
                    <a:gd name="T28" fmla="*/ 5 w 402"/>
                    <a:gd name="T29" fmla="*/ 227 h 227"/>
                    <a:gd name="T30" fmla="*/ 80 w 402"/>
                    <a:gd name="T31" fmla="*/ 227 h 227"/>
                    <a:gd name="T32" fmla="*/ 188 w 402"/>
                    <a:gd name="T33" fmla="*/ 227 h 227"/>
                    <a:gd name="T34" fmla="*/ 234 w 402"/>
                    <a:gd name="T35" fmla="*/ 227 h 227"/>
                    <a:gd name="T36" fmla="*/ 350 w 402"/>
                    <a:gd name="T37" fmla="*/ 227 h 227"/>
                    <a:gd name="T38" fmla="*/ 397 w 402"/>
                    <a:gd name="T39" fmla="*/ 227 h 227"/>
                    <a:gd name="T40" fmla="*/ 401 w 402"/>
                    <a:gd name="T41" fmla="*/ 22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2" h="227">
                      <a:moveTo>
                        <a:pt x="401" y="221"/>
                      </a:moveTo>
                      <a:cubicBezTo>
                        <a:pt x="395" y="199"/>
                        <a:pt x="389" y="178"/>
                        <a:pt x="383" y="156"/>
                      </a:cubicBezTo>
                      <a:cubicBezTo>
                        <a:pt x="372" y="118"/>
                        <a:pt x="361" y="81"/>
                        <a:pt x="351" y="43"/>
                      </a:cubicBezTo>
                      <a:cubicBezTo>
                        <a:pt x="347" y="30"/>
                        <a:pt x="343" y="17"/>
                        <a:pt x="340" y="3"/>
                      </a:cubicBezTo>
                      <a:cubicBezTo>
                        <a:pt x="339" y="2"/>
                        <a:pt x="339" y="1"/>
                        <a:pt x="338" y="1"/>
                      </a:cubicBezTo>
                      <a:cubicBezTo>
                        <a:pt x="338" y="0"/>
                        <a:pt x="337" y="0"/>
                        <a:pt x="336" y="0"/>
                      </a:cubicBezTo>
                      <a:cubicBezTo>
                        <a:pt x="306" y="0"/>
                        <a:pt x="276" y="0"/>
                        <a:pt x="246" y="0"/>
                      </a:cubicBezTo>
                      <a:cubicBezTo>
                        <a:pt x="226" y="0"/>
                        <a:pt x="205" y="0"/>
                        <a:pt x="184" y="0"/>
                      </a:cubicBezTo>
                      <a:cubicBezTo>
                        <a:pt x="149" y="0"/>
                        <a:pt x="113" y="0"/>
                        <a:pt x="77" y="0"/>
                      </a:cubicBezTo>
                      <a:cubicBezTo>
                        <a:pt x="73" y="0"/>
                        <a:pt x="70" y="0"/>
                        <a:pt x="66" y="0"/>
                      </a:cubicBezTo>
                      <a:cubicBezTo>
                        <a:pt x="65" y="0"/>
                        <a:pt x="63" y="1"/>
                        <a:pt x="62" y="3"/>
                      </a:cubicBezTo>
                      <a:cubicBezTo>
                        <a:pt x="56" y="25"/>
                        <a:pt x="50" y="47"/>
                        <a:pt x="44" y="68"/>
                      </a:cubicBezTo>
                      <a:cubicBezTo>
                        <a:pt x="33" y="106"/>
                        <a:pt x="23" y="143"/>
                        <a:pt x="12" y="181"/>
                      </a:cubicBezTo>
                      <a:cubicBezTo>
                        <a:pt x="9" y="194"/>
                        <a:pt x="5" y="208"/>
                        <a:pt x="1" y="221"/>
                      </a:cubicBezTo>
                      <a:cubicBezTo>
                        <a:pt x="0" y="224"/>
                        <a:pt x="3" y="227"/>
                        <a:pt x="5" y="227"/>
                      </a:cubicBezTo>
                      <a:cubicBezTo>
                        <a:pt x="30" y="227"/>
                        <a:pt x="55" y="227"/>
                        <a:pt x="80" y="227"/>
                      </a:cubicBezTo>
                      <a:cubicBezTo>
                        <a:pt x="116" y="227"/>
                        <a:pt x="152" y="227"/>
                        <a:pt x="188" y="227"/>
                      </a:cubicBezTo>
                      <a:cubicBezTo>
                        <a:pt x="203" y="227"/>
                        <a:pt x="218" y="227"/>
                        <a:pt x="234" y="227"/>
                      </a:cubicBezTo>
                      <a:cubicBezTo>
                        <a:pt x="272" y="227"/>
                        <a:pt x="311" y="227"/>
                        <a:pt x="350" y="227"/>
                      </a:cubicBezTo>
                      <a:cubicBezTo>
                        <a:pt x="365" y="227"/>
                        <a:pt x="381" y="227"/>
                        <a:pt x="397" y="227"/>
                      </a:cubicBezTo>
                      <a:cubicBezTo>
                        <a:pt x="399" y="227"/>
                        <a:pt x="402" y="224"/>
                        <a:pt x="401" y="2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7" rIns="119492" bIns="5974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62">
                    <a:defRPr/>
                  </a:pPr>
                  <a:endParaRPr lang="en-US" kern="0">
                    <a:latin typeface="Arial"/>
                  </a:endParaRPr>
                </a:p>
              </p:txBody>
            </p:sp>
            <p:sp>
              <p:nvSpPr>
                <p:cNvPr id="174" name="Freeform 173"/>
                <p:cNvSpPr>
                  <a:spLocks noEditPoints="1"/>
                </p:cNvSpPr>
                <p:nvPr/>
              </p:nvSpPr>
              <p:spPr bwMode="auto">
                <a:xfrm>
                  <a:off x="-5062" y="1630"/>
                  <a:ext cx="944" cy="168"/>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7" rIns="119492" bIns="5974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62">
                    <a:defRPr/>
                  </a:pPr>
                  <a:endParaRPr lang="en-US" kern="0">
                    <a:latin typeface="Arial"/>
                  </a:endParaRPr>
                </a:p>
              </p:txBody>
            </p:sp>
          </p:grpSp>
          <p:sp>
            <p:nvSpPr>
              <p:cNvPr id="168" name="Freeform 167"/>
              <p:cNvSpPr>
                <a:spLocks noEditPoints="1"/>
              </p:cNvSpPr>
              <p:nvPr/>
            </p:nvSpPr>
            <p:spPr bwMode="auto">
              <a:xfrm>
                <a:off x="7272630" y="5432160"/>
                <a:ext cx="227289" cy="40450"/>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7" rIns="119492" bIns="5974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62">
                  <a:defRPr/>
                </a:pPr>
                <a:endParaRPr lang="en-US" kern="0">
                  <a:latin typeface="Arial"/>
                </a:endParaRPr>
              </a:p>
            </p:txBody>
          </p:sp>
          <p:sp>
            <p:nvSpPr>
              <p:cNvPr id="171" name="Freeform 170"/>
              <p:cNvSpPr>
                <a:spLocks noEditPoints="1"/>
              </p:cNvSpPr>
              <p:nvPr/>
            </p:nvSpPr>
            <p:spPr bwMode="auto">
              <a:xfrm>
                <a:off x="7272630" y="5480863"/>
                <a:ext cx="227289" cy="40450"/>
              </a:xfrm>
              <a:custGeom>
                <a:avLst/>
                <a:gdLst>
                  <a:gd name="T0" fmla="*/ 396 w 400"/>
                  <a:gd name="T1" fmla="*/ 0 h 71"/>
                  <a:gd name="T2" fmla="*/ 351 w 400"/>
                  <a:gd name="T3" fmla="*/ 0 h 71"/>
                  <a:gd name="T4" fmla="*/ 246 w 400"/>
                  <a:gd name="T5" fmla="*/ 0 h 71"/>
                  <a:gd name="T6" fmla="*/ 125 w 400"/>
                  <a:gd name="T7" fmla="*/ 0 h 71"/>
                  <a:gd name="T8" fmla="*/ 31 w 400"/>
                  <a:gd name="T9" fmla="*/ 0 h 71"/>
                  <a:gd name="T10" fmla="*/ 4 w 400"/>
                  <a:gd name="T11" fmla="*/ 0 h 71"/>
                  <a:gd name="T12" fmla="*/ 0 w 400"/>
                  <a:gd name="T13" fmla="*/ 4 h 71"/>
                  <a:gd name="T14" fmla="*/ 0 w 400"/>
                  <a:gd name="T15" fmla="*/ 67 h 71"/>
                  <a:gd name="T16" fmla="*/ 4 w 400"/>
                  <a:gd name="T17" fmla="*/ 71 h 71"/>
                  <a:gd name="T18" fmla="*/ 49 w 400"/>
                  <a:gd name="T19" fmla="*/ 71 h 71"/>
                  <a:gd name="T20" fmla="*/ 154 w 400"/>
                  <a:gd name="T21" fmla="*/ 71 h 71"/>
                  <a:gd name="T22" fmla="*/ 275 w 400"/>
                  <a:gd name="T23" fmla="*/ 71 h 71"/>
                  <a:gd name="T24" fmla="*/ 369 w 400"/>
                  <a:gd name="T25" fmla="*/ 71 h 71"/>
                  <a:gd name="T26" fmla="*/ 396 w 400"/>
                  <a:gd name="T27" fmla="*/ 71 h 71"/>
                  <a:gd name="T28" fmla="*/ 399 w 400"/>
                  <a:gd name="T29" fmla="*/ 70 h 71"/>
                  <a:gd name="T30" fmla="*/ 400 w 400"/>
                  <a:gd name="T31" fmla="*/ 67 h 71"/>
                  <a:gd name="T32" fmla="*/ 400 w 400"/>
                  <a:gd name="T33" fmla="*/ 4 h 71"/>
                  <a:gd name="T34" fmla="*/ 396 w 400"/>
                  <a:gd name="T35" fmla="*/ 0 h 71"/>
                  <a:gd name="T36" fmla="*/ 43 w 400"/>
                  <a:gd name="T37" fmla="*/ 48 h 71"/>
                  <a:gd name="T38" fmla="*/ 31 w 400"/>
                  <a:gd name="T39" fmla="*/ 35 h 71"/>
                  <a:gd name="T40" fmla="*/ 43 w 400"/>
                  <a:gd name="T41" fmla="*/ 23 h 71"/>
                  <a:gd name="T42" fmla="*/ 56 w 400"/>
                  <a:gd name="T43" fmla="*/ 35 h 71"/>
                  <a:gd name="T44" fmla="*/ 43 w 400"/>
                  <a:gd name="T45" fmla="*/ 48 h 71"/>
                  <a:gd name="T46" fmla="*/ 268 w 400"/>
                  <a:gd name="T47" fmla="*/ 48 h 71"/>
                  <a:gd name="T48" fmla="*/ 255 w 400"/>
                  <a:gd name="T49" fmla="*/ 35 h 71"/>
                  <a:gd name="T50" fmla="*/ 268 w 400"/>
                  <a:gd name="T51" fmla="*/ 23 h 71"/>
                  <a:gd name="T52" fmla="*/ 281 w 400"/>
                  <a:gd name="T53" fmla="*/ 35 h 71"/>
                  <a:gd name="T54" fmla="*/ 268 w 400"/>
                  <a:gd name="T55" fmla="*/ 48 h 71"/>
                  <a:gd name="T56" fmla="*/ 312 w 400"/>
                  <a:gd name="T57" fmla="*/ 48 h 71"/>
                  <a:gd name="T58" fmla="*/ 299 w 400"/>
                  <a:gd name="T59" fmla="*/ 35 h 71"/>
                  <a:gd name="T60" fmla="*/ 312 w 400"/>
                  <a:gd name="T61" fmla="*/ 23 h 71"/>
                  <a:gd name="T62" fmla="*/ 325 w 400"/>
                  <a:gd name="T63" fmla="*/ 35 h 71"/>
                  <a:gd name="T64" fmla="*/ 312 w 400"/>
                  <a:gd name="T65" fmla="*/ 48 h 71"/>
                  <a:gd name="T66" fmla="*/ 357 w 400"/>
                  <a:gd name="T67" fmla="*/ 48 h 71"/>
                  <a:gd name="T68" fmla="*/ 344 w 400"/>
                  <a:gd name="T69" fmla="*/ 35 h 71"/>
                  <a:gd name="T70" fmla="*/ 357 w 400"/>
                  <a:gd name="T71" fmla="*/ 23 h 71"/>
                  <a:gd name="T72" fmla="*/ 369 w 400"/>
                  <a:gd name="T73" fmla="*/ 35 h 71"/>
                  <a:gd name="T74" fmla="*/ 357 w 400"/>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0" h="71">
                    <a:moveTo>
                      <a:pt x="396" y="0"/>
                    </a:moveTo>
                    <a:cubicBezTo>
                      <a:pt x="381" y="0"/>
                      <a:pt x="366" y="0"/>
                      <a:pt x="351" y="0"/>
                    </a:cubicBezTo>
                    <a:cubicBezTo>
                      <a:pt x="316" y="0"/>
                      <a:pt x="281" y="0"/>
                      <a:pt x="246" y="0"/>
                    </a:cubicBezTo>
                    <a:cubicBezTo>
                      <a:pt x="206" y="0"/>
                      <a:pt x="166" y="0"/>
                      <a:pt x="125" y="0"/>
                    </a:cubicBezTo>
                    <a:cubicBezTo>
                      <a:pt x="94" y="0"/>
                      <a:pt x="62" y="0"/>
                      <a:pt x="31" y="0"/>
                    </a:cubicBezTo>
                    <a:cubicBezTo>
                      <a:pt x="22" y="0"/>
                      <a:pt x="13" y="0"/>
                      <a:pt x="4" y="0"/>
                    </a:cubicBezTo>
                    <a:cubicBezTo>
                      <a:pt x="2" y="0"/>
                      <a:pt x="0" y="1"/>
                      <a:pt x="0" y="4"/>
                    </a:cubicBezTo>
                    <a:cubicBezTo>
                      <a:pt x="0" y="25"/>
                      <a:pt x="0" y="46"/>
                      <a:pt x="0" y="67"/>
                    </a:cubicBezTo>
                    <a:cubicBezTo>
                      <a:pt x="0" y="69"/>
                      <a:pt x="2" y="71"/>
                      <a:pt x="4" y="71"/>
                    </a:cubicBezTo>
                    <a:cubicBezTo>
                      <a:pt x="19" y="71"/>
                      <a:pt x="34" y="71"/>
                      <a:pt x="49" y="71"/>
                    </a:cubicBezTo>
                    <a:cubicBezTo>
                      <a:pt x="84" y="71"/>
                      <a:pt x="119" y="71"/>
                      <a:pt x="154" y="71"/>
                    </a:cubicBezTo>
                    <a:cubicBezTo>
                      <a:pt x="194" y="71"/>
                      <a:pt x="234" y="71"/>
                      <a:pt x="275" y="71"/>
                    </a:cubicBezTo>
                    <a:cubicBezTo>
                      <a:pt x="306" y="71"/>
                      <a:pt x="338" y="71"/>
                      <a:pt x="369" y="71"/>
                    </a:cubicBezTo>
                    <a:cubicBezTo>
                      <a:pt x="378" y="71"/>
                      <a:pt x="387" y="71"/>
                      <a:pt x="396" y="71"/>
                    </a:cubicBezTo>
                    <a:cubicBezTo>
                      <a:pt x="397" y="71"/>
                      <a:pt x="398" y="71"/>
                      <a:pt x="399" y="70"/>
                    </a:cubicBezTo>
                    <a:cubicBezTo>
                      <a:pt x="399" y="69"/>
                      <a:pt x="400" y="68"/>
                      <a:pt x="400" y="67"/>
                    </a:cubicBezTo>
                    <a:cubicBezTo>
                      <a:pt x="400" y="46"/>
                      <a:pt x="400" y="25"/>
                      <a:pt x="400" y="4"/>
                    </a:cubicBezTo>
                    <a:cubicBezTo>
                      <a:pt x="400" y="1"/>
                      <a:pt x="398" y="0"/>
                      <a:pt x="396" y="0"/>
                    </a:cubicBezTo>
                    <a:close/>
                    <a:moveTo>
                      <a:pt x="43" y="48"/>
                    </a:moveTo>
                    <a:cubicBezTo>
                      <a:pt x="36" y="48"/>
                      <a:pt x="31" y="42"/>
                      <a:pt x="31" y="35"/>
                    </a:cubicBezTo>
                    <a:cubicBezTo>
                      <a:pt x="31" y="28"/>
                      <a:pt x="36" y="23"/>
                      <a:pt x="43" y="23"/>
                    </a:cubicBezTo>
                    <a:cubicBezTo>
                      <a:pt x="50" y="23"/>
                      <a:pt x="56" y="28"/>
                      <a:pt x="56" y="35"/>
                    </a:cubicBezTo>
                    <a:cubicBezTo>
                      <a:pt x="56" y="42"/>
                      <a:pt x="50" y="48"/>
                      <a:pt x="43" y="48"/>
                    </a:cubicBezTo>
                    <a:close/>
                    <a:moveTo>
                      <a:pt x="268" y="48"/>
                    </a:moveTo>
                    <a:cubicBezTo>
                      <a:pt x="261" y="48"/>
                      <a:pt x="255" y="42"/>
                      <a:pt x="255" y="35"/>
                    </a:cubicBezTo>
                    <a:cubicBezTo>
                      <a:pt x="255" y="28"/>
                      <a:pt x="261" y="23"/>
                      <a:pt x="268" y="23"/>
                    </a:cubicBezTo>
                    <a:cubicBezTo>
                      <a:pt x="275" y="23"/>
                      <a:pt x="281" y="28"/>
                      <a:pt x="281" y="35"/>
                    </a:cubicBezTo>
                    <a:cubicBezTo>
                      <a:pt x="281" y="42"/>
                      <a:pt x="275" y="48"/>
                      <a:pt x="268" y="48"/>
                    </a:cubicBezTo>
                    <a:close/>
                    <a:moveTo>
                      <a:pt x="312" y="48"/>
                    </a:moveTo>
                    <a:cubicBezTo>
                      <a:pt x="305" y="48"/>
                      <a:pt x="299" y="42"/>
                      <a:pt x="299" y="35"/>
                    </a:cubicBezTo>
                    <a:cubicBezTo>
                      <a:pt x="299" y="28"/>
                      <a:pt x="305" y="23"/>
                      <a:pt x="312" y="23"/>
                    </a:cubicBezTo>
                    <a:cubicBezTo>
                      <a:pt x="319" y="23"/>
                      <a:pt x="325" y="28"/>
                      <a:pt x="325" y="35"/>
                    </a:cubicBezTo>
                    <a:cubicBezTo>
                      <a:pt x="325" y="42"/>
                      <a:pt x="319" y="48"/>
                      <a:pt x="312" y="48"/>
                    </a:cubicBezTo>
                    <a:close/>
                    <a:moveTo>
                      <a:pt x="357" y="48"/>
                    </a:moveTo>
                    <a:cubicBezTo>
                      <a:pt x="350" y="48"/>
                      <a:pt x="344" y="42"/>
                      <a:pt x="344" y="35"/>
                    </a:cubicBezTo>
                    <a:cubicBezTo>
                      <a:pt x="344" y="28"/>
                      <a:pt x="350" y="23"/>
                      <a:pt x="357" y="23"/>
                    </a:cubicBezTo>
                    <a:cubicBezTo>
                      <a:pt x="364" y="23"/>
                      <a:pt x="369" y="28"/>
                      <a:pt x="369" y="35"/>
                    </a:cubicBezTo>
                    <a:cubicBezTo>
                      <a:pt x="369" y="42"/>
                      <a:pt x="364" y="48"/>
                      <a:pt x="3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19492" tIns="59747" rIns="119492" bIns="59747"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62">
                  <a:defRPr/>
                </a:pPr>
                <a:endParaRPr lang="en-US" kern="0">
                  <a:latin typeface="Arial"/>
                </a:endParaRPr>
              </a:p>
            </p:txBody>
          </p:sp>
        </p:grpSp>
      </p:grpSp>
      <p:grpSp>
        <p:nvGrpSpPr>
          <p:cNvPr id="12" name="Group 11"/>
          <p:cNvGrpSpPr/>
          <p:nvPr/>
        </p:nvGrpSpPr>
        <p:grpSpPr>
          <a:xfrm>
            <a:off x="4886694" y="3701705"/>
            <a:ext cx="956369" cy="998295"/>
            <a:chOff x="6363022" y="3673210"/>
            <a:chExt cx="956369" cy="998295"/>
          </a:xfrm>
        </p:grpSpPr>
        <p:sp>
          <p:nvSpPr>
            <p:cNvPr id="143" name="Oval 142"/>
            <p:cNvSpPr/>
            <p:nvPr/>
          </p:nvSpPr>
          <p:spPr>
            <a:xfrm>
              <a:off x="6506790" y="3673210"/>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0" name="Text Placeholder 2"/>
            <p:cNvSpPr txBox="1">
              <a:spLocks/>
            </p:cNvSpPr>
            <p:nvPr/>
          </p:nvSpPr>
          <p:spPr>
            <a:xfrm>
              <a:off x="6363022" y="4417589"/>
              <a:ext cx="956369" cy="253916"/>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Switches and </a:t>
              </a:r>
              <a:br>
                <a:rPr lang="en-US" sz="800" dirty="0"/>
              </a:br>
              <a:r>
                <a:rPr lang="en-US" sz="800" dirty="0"/>
                <a:t>Wireless Controllers</a:t>
              </a:r>
            </a:p>
          </p:txBody>
        </p:sp>
        <p:sp>
          <p:nvSpPr>
            <p:cNvPr id="175" name="Freeform 174"/>
            <p:cNvSpPr>
              <a:spLocks noEditPoints="1"/>
            </p:cNvSpPr>
            <p:nvPr/>
          </p:nvSpPr>
          <p:spPr bwMode="auto">
            <a:xfrm>
              <a:off x="6615095" y="4064498"/>
              <a:ext cx="463172" cy="101010"/>
            </a:xfrm>
            <a:custGeom>
              <a:avLst/>
              <a:gdLst>
                <a:gd name="T0" fmla="*/ 20 w 1353"/>
                <a:gd name="T1" fmla="*/ 295 h 295"/>
                <a:gd name="T2" fmla="*/ 20 w 1353"/>
                <a:gd name="T3" fmla="*/ 0 h 295"/>
                <a:gd name="T4" fmla="*/ 1353 w 1353"/>
                <a:gd name="T5" fmla="*/ 275 h 295"/>
                <a:gd name="T6" fmla="*/ 1006 w 1353"/>
                <a:gd name="T7" fmla="*/ 110 h 295"/>
                <a:gd name="T8" fmla="*/ 1063 w 1353"/>
                <a:gd name="T9" fmla="*/ 72 h 295"/>
                <a:gd name="T10" fmla="*/ 252 w 1353"/>
                <a:gd name="T11" fmla="*/ 110 h 295"/>
                <a:gd name="T12" fmla="*/ 310 w 1353"/>
                <a:gd name="T13" fmla="*/ 72 h 295"/>
                <a:gd name="T14" fmla="*/ 346 w 1353"/>
                <a:gd name="T15" fmla="*/ 110 h 295"/>
                <a:gd name="T16" fmla="*/ 404 w 1353"/>
                <a:gd name="T17" fmla="*/ 72 h 295"/>
                <a:gd name="T18" fmla="*/ 440 w 1353"/>
                <a:gd name="T19" fmla="*/ 110 h 295"/>
                <a:gd name="T20" fmla="*/ 498 w 1353"/>
                <a:gd name="T21" fmla="*/ 72 h 295"/>
                <a:gd name="T22" fmla="*/ 535 w 1353"/>
                <a:gd name="T23" fmla="*/ 110 h 295"/>
                <a:gd name="T24" fmla="*/ 592 w 1353"/>
                <a:gd name="T25" fmla="*/ 72 h 295"/>
                <a:gd name="T26" fmla="*/ 629 w 1353"/>
                <a:gd name="T27" fmla="*/ 110 h 295"/>
                <a:gd name="T28" fmla="*/ 686 w 1353"/>
                <a:gd name="T29" fmla="*/ 72 h 295"/>
                <a:gd name="T30" fmla="*/ 723 w 1353"/>
                <a:gd name="T31" fmla="*/ 110 h 295"/>
                <a:gd name="T32" fmla="*/ 781 w 1353"/>
                <a:gd name="T33" fmla="*/ 72 h 295"/>
                <a:gd name="T34" fmla="*/ 817 w 1353"/>
                <a:gd name="T35" fmla="*/ 110 h 295"/>
                <a:gd name="T36" fmla="*/ 875 w 1353"/>
                <a:gd name="T37" fmla="*/ 72 h 295"/>
                <a:gd name="T38" fmla="*/ 911 w 1353"/>
                <a:gd name="T39" fmla="*/ 110 h 295"/>
                <a:gd name="T40" fmla="*/ 969 w 1353"/>
                <a:gd name="T41" fmla="*/ 72 h 295"/>
                <a:gd name="T42" fmla="*/ 1100 w 1353"/>
                <a:gd name="T43" fmla="*/ 110 h 295"/>
                <a:gd name="T44" fmla="*/ 1157 w 1353"/>
                <a:gd name="T45" fmla="*/ 72 h 295"/>
                <a:gd name="T46" fmla="*/ 1194 w 1353"/>
                <a:gd name="T47" fmla="*/ 110 h 295"/>
                <a:gd name="T48" fmla="*/ 1251 w 1353"/>
                <a:gd name="T49" fmla="*/ 72 h 295"/>
                <a:gd name="T50" fmla="*/ 1004 w 1353"/>
                <a:gd name="T51" fmla="*/ 207 h 295"/>
                <a:gd name="T52" fmla="*/ 1062 w 1353"/>
                <a:gd name="T53" fmla="*/ 169 h 295"/>
                <a:gd name="T54" fmla="*/ 251 w 1353"/>
                <a:gd name="T55" fmla="*/ 207 h 295"/>
                <a:gd name="T56" fmla="*/ 309 w 1353"/>
                <a:gd name="T57" fmla="*/ 169 h 295"/>
                <a:gd name="T58" fmla="*/ 345 w 1353"/>
                <a:gd name="T59" fmla="*/ 207 h 295"/>
                <a:gd name="T60" fmla="*/ 403 w 1353"/>
                <a:gd name="T61" fmla="*/ 169 h 295"/>
                <a:gd name="T62" fmla="*/ 439 w 1353"/>
                <a:gd name="T63" fmla="*/ 207 h 295"/>
                <a:gd name="T64" fmla="*/ 497 w 1353"/>
                <a:gd name="T65" fmla="*/ 169 h 295"/>
                <a:gd name="T66" fmla="*/ 534 w 1353"/>
                <a:gd name="T67" fmla="*/ 207 h 295"/>
                <a:gd name="T68" fmla="*/ 591 w 1353"/>
                <a:gd name="T69" fmla="*/ 169 h 295"/>
                <a:gd name="T70" fmla="*/ 628 w 1353"/>
                <a:gd name="T71" fmla="*/ 207 h 295"/>
                <a:gd name="T72" fmla="*/ 685 w 1353"/>
                <a:gd name="T73" fmla="*/ 169 h 295"/>
                <a:gd name="T74" fmla="*/ 722 w 1353"/>
                <a:gd name="T75" fmla="*/ 207 h 295"/>
                <a:gd name="T76" fmla="*/ 779 w 1353"/>
                <a:gd name="T77" fmla="*/ 169 h 295"/>
                <a:gd name="T78" fmla="*/ 816 w 1353"/>
                <a:gd name="T79" fmla="*/ 207 h 295"/>
                <a:gd name="T80" fmla="*/ 874 w 1353"/>
                <a:gd name="T81" fmla="*/ 169 h 295"/>
                <a:gd name="T82" fmla="*/ 910 w 1353"/>
                <a:gd name="T83" fmla="*/ 207 h 295"/>
                <a:gd name="T84" fmla="*/ 968 w 1353"/>
                <a:gd name="T85" fmla="*/ 169 h 295"/>
                <a:gd name="T86" fmla="*/ 1099 w 1353"/>
                <a:gd name="T87" fmla="*/ 207 h 295"/>
                <a:gd name="T88" fmla="*/ 1156 w 1353"/>
                <a:gd name="T89" fmla="*/ 169 h 295"/>
                <a:gd name="T90" fmla="*/ 1193 w 1353"/>
                <a:gd name="T91" fmla="*/ 207 h 295"/>
                <a:gd name="T92" fmla="*/ 1250 w 1353"/>
                <a:gd name="T93" fmla="*/ 169 h 295"/>
                <a:gd name="T94" fmla="*/ 115 w 1353"/>
                <a:gd name="T95" fmla="*/ 17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3" h="295">
                  <a:moveTo>
                    <a:pt x="1353" y="275"/>
                  </a:moveTo>
                  <a:cubicBezTo>
                    <a:pt x="1353" y="286"/>
                    <a:pt x="1344" y="295"/>
                    <a:pt x="1333" y="295"/>
                  </a:cubicBezTo>
                  <a:cubicBezTo>
                    <a:pt x="20" y="295"/>
                    <a:pt x="20" y="295"/>
                    <a:pt x="20" y="295"/>
                  </a:cubicBezTo>
                  <a:cubicBezTo>
                    <a:pt x="9" y="295"/>
                    <a:pt x="0" y="286"/>
                    <a:pt x="0" y="275"/>
                  </a:cubicBezTo>
                  <a:cubicBezTo>
                    <a:pt x="0" y="20"/>
                    <a:pt x="0" y="20"/>
                    <a:pt x="0" y="20"/>
                  </a:cubicBezTo>
                  <a:cubicBezTo>
                    <a:pt x="0" y="9"/>
                    <a:pt x="9" y="0"/>
                    <a:pt x="20" y="0"/>
                  </a:cubicBezTo>
                  <a:cubicBezTo>
                    <a:pt x="1333" y="0"/>
                    <a:pt x="1333" y="0"/>
                    <a:pt x="1333" y="0"/>
                  </a:cubicBezTo>
                  <a:cubicBezTo>
                    <a:pt x="1344" y="0"/>
                    <a:pt x="1353" y="9"/>
                    <a:pt x="1353" y="20"/>
                  </a:cubicBezTo>
                  <a:lnTo>
                    <a:pt x="1353" y="275"/>
                  </a:lnTo>
                  <a:close/>
                  <a:moveTo>
                    <a:pt x="1063" y="72"/>
                  </a:moveTo>
                  <a:cubicBezTo>
                    <a:pt x="1006" y="72"/>
                    <a:pt x="1006" y="72"/>
                    <a:pt x="1006" y="72"/>
                  </a:cubicBezTo>
                  <a:cubicBezTo>
                    <a:pt x="1006" y="110"/>
                    <a:pt x="1006" y="110"/>
                    <a:pt x="1006" y="110"/>
                  </a:cubicBezTo>
                  <a:cubicBezTo>
                    <a:pt x="1032" y="125"/>
                    <a:pt x="1032" y="125"/>
                    <a:pt x="1032" y="125"/>
                  </a:cubicBezTo>
                  <a:cubicBezTo>
                    <a:pt x="1063" y="110"/>
                    <a:pt x="1063" y="110"/>
                    <a:pt x="1063" y="110"/>
                  </a:cubicBezTo>
                  <a:lnTo>
                    <a:pt x="1063" y="72"/>
                  </a:lnTo>
                  <a:close/>
                  <a:moveTo>
                    <a:pt x="310" y="72"/>
                  </a:moveTo>
                  <a:cubicBezTo>
                    <a:pt x="252" y="72"/>
                    <a:pt x="252" y="72"/>
                    <a:pt x="252" y="72"/>
                  </a:cubicBezTo>
                  <a:cubicBezTo>
                    <a:pt x="252" y="110"/>
                    <a:pt x="252" y="110"/>
                    <a:pt x="252" y="110"/>
                  </a:cubicBezTo>
                  <a:cubicBezTo>
                    <a:pt x="279" y="125"/>
                    <a:pt x="279" y="125"/>
                    <a:pt x="279" y="125"/>
                  </a:cubicBezTo>
                  <a:cubicBezTo>
                    <a:pt x="310" y="110"/>
                    <a:pt x="310" y="110"/>
                    <a:pt x="310" y="110"/>
                  </a:cubicBezTo>
                  <a:lnTo>
                    <a:pt x="310" y="72"/>
                  </a:lnTo>
                  <a:close/>
                  <a:moveTo>
                    <a:pt x="404" y="72"/>
                  </a:moveTo>
                  <a:cubicBezTo>
                    <a:pt x="346" y="72"/>
                    <a:pt x="346" y="72"/>
                    <a:pt x="346" y="72"/>
                  </a:cubicBezTo>
                  <a:cubicBezTo>
                    <a:pt x="346" y="110"/>
                    <a:pt x="346" y="110"/>
                    <a:pt x="346" y="110"/>
                  </a:cubicBezTo>
                  <a:cubicBezTo>
                    <a:pt x="373" y="125"/>
                    <a:pt x="373" y="125"/>
                    <a:pt x="373" y="125"/>
                  </a:cubicBezTo>
                  <a:cubicBezTo>
                    <a:pt x="404" y="110"/>
                    <a:pt x="404" y="110"/>
                    <a:pt x="404" y="110"/>
                  </a:cubicBezTo>
                  <a:lnTo>
                    <a:pt x="404" y="72"/>
                  </a:lnTo>
                  <a:close/>
                  <a:moveTo>
                    <a:pt x="498" y="72"/>
                  </a:moveTo>
                  <a:cubicBezTo>
                    <a:pt x="440" y="72"/>
                    <a:pt x="440" y="72"/>
                    <a:pt x="440" y="72"/>
                  </a:cubicBezTo>
                  <a:cubicBezTo>
                    <a:pt x="440" y="110"/>
                    <a:pt x="440" y="110"/>
                    <a:pt x="440" y="110"/>
                  </a:cubicBezTo>
                  <a:cubicBezTo>
                    <a:pt x="467" y="125"/>
                    <a:pt x="467" y="125"/>
                    <a:pt x="467" y="125"/>
                  </a:cubicBezTo>
                  <a:cubicBezTo>
                    <a:pt x="498" y="110"/>
                    <a:pt x="498" y="110"/>
                    <a:pt x="498" y="110"/>
                  </a:cubicBezTo>
                  <a:lnTo>
                    <a:pt x="498" y="72"/>
                  </a:lnTo>
                  <a:close/>
                  <a:moveTo>
                    <a:pt x="592" y="72"/>
                  </a:moveTo>
                  <a:cubicBezTo>
                    <a:pt x="535" y="72"/>
                    <a:pt x="535" y="72"/>
                    <a:pt x="535" y="72"/>
                  </a:cubicBezTo>
                  <a:cubicBezTo>
                    <a:pt x="535" y="110"/>
                    <a:pt x="535" y="110"/>
                    <a:pt x="535" y="110"/>
                  </a:cubicBezTo>
                  <a:cubicBezTo>
                    <a:pt x="562" y="125"/>
                    <a:pt x="562" y="125"/>
                    <a:pt x="562" y="125"/>
                  </a:cubicBezTo>
                  <a:cubicBezTo>
                    <a:pt x="592" y="110"/>
                    <a:pt x="592" y="110"/>
                    <a:pt x="592" y="110"/>
                  </a:cubicBezTo>
                  <a:lnTo>
                    <a:pt x="592" y="72"/>
                  </a:lnTo>
                  <a:close/>
                  <a:moveTo>
                    <a:pt x="686" y="72"/>
                  </a:moveTo>
                  <a:cubicBezTo>
                    <a:pt x="629" y="72"/>
                    <a:pt x="629" y="72"/>
                    <a:pt x="629" y="72"/>
                  </a:cubicBezTo>
                  <a:cubicBezTo>
                    <a:pt x="629" y="110"/>
                    <a:pt x="629" y="110"/>
                    <a:pt x="629" y="110"/>
                  </a:cubicBezTo>
                  <a:cubicBezTo>
                    <a:pt x="656" y="125"/>
                    <a:pt x="656" y="125"/>
                    <a:pt x="656" y="125"/>
                  </a:cubicBezTo>
                  <a:cubicBezTo>
                    <a:pt x="686" y="110"/>
                    <a:pt x="686" y="110"/>
                    <a:pt x="686" y="110"/>
                  </a:cubicBezTo>
                  <a:lnTo>
                    <a:pt x="686" y="72"/>
                  </a:lnTo>
                  <a:close/>
                  <a:moveTo>
                    <a:pt x="781" y="72"/>
                  </a:moveTo>
                  <a:cubicBezTo>
                    <a:pt x="723" y="72"/>
                    <a:pt x="723" y="72"/>
                    <a:pt x="723" y="72"/>
                  </a:cubicBezTo>
                  <a:cubicBezTo>
                    <a:pt x="723" y="110"/>
                    <a:pt x="723" y="110"/>
                    <a:pt x="723" y="110"/>
                  </a:cubicBezTo>
                  <a:cubicBezTo>
                    <a:pt x="750" y="125"/>
                    <a:pt x="750" y="125"/>
                    <a:pt x="750" y="125"/>
                  </a:cubicBezTo>
                  <a:cubicBezTo>
                    <a:pt x="781" y="110"/>
                    <a:pt x="781" y="110"/>
                    <a:pt x="781" y="110"/>
                  </a:cubicBezTo>
                  <a:lnTo>
                    <a:pt x="781" y="72"/>
                  </a:lnTo>
                  <a:close/>
                  <a:moveTo>
                    <a:pt x="875" y="72"/>
                  </a:moveTo>
                  <a:cubicBezTo>
                    <a:pt x="817" y="72"/>
                    <a:pt x="817" y="72"/>
                    <a:pt x="817" y="72"/>
                  </a:cubicBezTo>
                  <a:cubicBezTo>
                    <a:pt x="817" y="110"/>
                    <a:pt x="817" y="110"/>
                    <a:pt x="817" y="110"/>
                  </a:cubicBezTo>
                  <a:cubicBezTo>
                    <a:pt x="844" y="125"/>
                    <a:pt x="844" y="125"/>
                    <a:pt x="844" y="125"/>
                  </a:cubicBezTo>
                  <a:cubicBezTo>
                    <a:pt x="875" y="110"/>
                    <a:pt x="875" y="110"/>
                    <a:pt x="875" y="110"/>
                  </a:cubicBezTo>
                  <a:lnTo>
                    <a:pt x="875" y="72"/>
                  </a:lnTo>
                  <a:close/>
                  <a:moveTo>
                    <a:pt x="969" y="72"/>
                  </a:moveTo>
                  <a:cubicBezTo>
                    <a:pt x="911" y="72"/>
                    <a:pt x="911" y="72"/>
                    <a:pt x="911" y="72"/>
                  </a:cubicBezTo>
                  <a:cubicBezTo>
                    <a:pt x="911" y="110"/>
                    <a:pt x="911" y="110"/>
                    <a:pt x="911" y="110"/>
                  </a:cubicBezTo>
                  <a:cubicBezTo>
                    <a:pt x="938" y="125"/>
                    <a:pt x="938" y="125"/>
                    <a:pt x="938" y="125"/>
                  </a:cubicBezTo>
                  <a:cubicBezTo>
                    <a:pt x="969" y="110"/>
                    <a:pt x="969" y="110"/>
                    <a:pt x="969" y="110"/>
                  </a:cubicBezTo>
                  <a:lnTo>
                    <a:pt x="969" y="72"/>
                  </a:lnTo>
                  <a:close/>
                  <a:moveTo>
                    <a:pt x="1157" y="72"/>
                  </a:moveTo>
                  <a:cubicBezTo>
                    <a:pt x="1100" y="72"/>
                    <a:pt x="1100" y="72"/>
                    <a:pt x="1100" y="72"/>
                  </a:cubicBezTo>
                  <a:cubicBezTo>
                    <a:pt x="1100" y="110"/>
                    <a:pt x="1100" y="110"/>
                    <a:pt x="1100" y="110"/>
                  </a:cubicBezTo>
                  <a:cubicBezTo>
                    <a:pt x="1127" y="125"/>
                    <a:pt x="1127" y="125"/>
                    <a:pt x="1127" y="125"/>
                  </a:cubicBezTo>
                  <a:cubicBezTo>
                    <a:pt x="1157" y="110"/>
                    <a:pt x="1157" y="110"/>
                    <a:pt x="1157" y="110"/>
                  </a:cubicBezTo>
                  <a:lnTo>
                    <a:pt x="1157" y="72"/>
                  </a:lnTo>
                  <a:close/>
                  <a:moveTo>
                    <a:pt x="1251" y="72"/>
                  </a:moveTo>
                  <a:cubicBezTo>
                    <a:pt x="1194" y="72"/>
                    <a:pt x="1194" y="72"/>
                    <a:pt x="1194" y="72"/>
                  </a:cubicBezTo>
                  <a:cubicBezTo>
                    <a:pt x="1194" y="110"/>
                    <a:pt x="1194" y="110"/>
                    <a:pt x="1194" y="110"/>
                  </a:cubicBezTo>
                  <a:cubicBezTo>
                    <a:pt x="1221" y="125"/>
                    <a:pt x="1221" y="125"/>
                    <a:pt x="1221" y="125"/>
                  </a:cubicBezTo>
                  <a:cubicBezTo>
                    <a:pt x="1251" y="110"/>
                    <a:pt x="1251" y="110"/>
                    <a:pt x="1251" y="110"/>
                  </a:cubicBezTo>
                  <a:lnTo>
                    <a:pt x="1251" y="72"/>
                  </a:lnTo>
                  <a:close/>
                  <a:moveTo>
                    <a:pt x="1062" y="169"/>
                  </a:moveTo>
                  <a:cubicBezTo>
                    <a:pt x="1004" y="169"/>
                    <a:pt x="1004" y="169"/>
                    <a:pt x="1004" y="169"/>
                  </a:cubicBezTo>
                  <a:cubicBezTo>
                    <a:pt x="1004" y="207"/>
                    <a:pt x="1004" y="207"/>
                    <a:pt x="1004" y="207"/>
                  </a:cubicBezTo>
                  <a:cubicBezTo>
                    <a:pt x="1031" y="222"/>
                    <a:pt x="1031" y="222"/>
                    <a:pt x="1031" y="222"/>
                  </a:cubicBezTo>
                  <a:cubicBezTo>
                    <a:pt x="1062" y="207"/>
                    <a:pt x="1062" y="207"/>
                    <a:pt x="1062" y="207"/>
                  </a:cubicBezTo>
                  <a:lnTo>
                    <a:pt x="1062" y="169"/>
                  </a:lnTo>
                  <a:close/>
                  <a:moveTo>
                    <a:pt x="309" y="169"/>
                  </a:moveTo>
                  <a:cubicBezTo>
                    <a:pt x="251" y="169"/>
                    <a:pt x="251" y="169"/>
                    <a:pt x="251" y="169"/>
                  </a:cubicBezTo>
                  <a:cubicBezTo>
                    <a:pt x="251" y="207"/>
                    <a:pt x="251" y="207"/>
                    <a:pt x="251" y="207"/>
                  </a:cubicBezTo>
                  <a:cubicBezTo>
                    <a:pt x="278" y="222"/>
                    <a:pt x="278" y="222"/>
                    <a:pt x="278" y="222"/>
                  </a:cubicBezTo>
                  <a:cubicBezTo>
                    <a:pt x="309" y="207"/>
                    <a:pt x="309" y="207"/>
                    <a:pt x="309" y="207"/>
                  </a:cubicBezTo>
                  <a:lnTo>
                    <a:pt x="309" y="169"/>
                  </a:lnTo>
                  <a:close/>
                  <a:moveTo>
                    <a:pt x="403" y="169"/>
                  </a:moveTo>
                  <a:cubicBezTo>
                    <a:pt x="345" y="169"/>
                    <a:pt x="345" y="169"/>
                    <a:pt x="345" y="169"/>
                  </a:cubicBezTo>
                  <a:cubicBezTo>
                    <a:pt x="345" y="207"/>
                    <a:pt x="345" y="207"/>
                    <a:pt x="345" y="207"/>
                  </a:cubicBezTo>
                  <a:cubicBezTo>
                    <a:pt x="372" y="222"/>
                    <a:pt x="372" y="222"/>
                    <a:pt x="372" y="222"/>
                  </a:cubicBezTo>
                  <a:cubicBezTo>
                    <a:pt x="403" y="207"/>
                    <a:pt x="403" y="207"/>
                    <a:pt x="403" y="207"/>
                  </a:cubicBezTo>
                  <a:lnTo>
                    <a:pt x="403" y="169"/>
                  </a:lnTo>
                  <a:close/>
                  <a:moveTo>
                    <a:pt x="497" y="169"/>
                  </a:moveTo>
                  <a:cubicBezTo>
                    <a:pt x="439" y="169"/>
                    <a:pt x="439" y="169"/>
                    <a:pt x="439" y="169"/>
                  </a:cubicBezTo>
                  <a:cubicBezTo>
                    <a:pt x="439" y="207"/>
                    <a:pt x="439" y="207"/>
                    <a:pt x="439" y="207"/>
                  </a:cubicBezTo>
                  <a:cubicBezTo>
                    <a:pt x="466" y="222"/>
                    <a:pt x="466" y="222"/>
                    <a:pt x="466" y="222"/>
                  </a:cubicBezTo>
                  <a:cubicBezTo>
                    <a:pt x="497" y="207"/>
                    <a:pt x="497" y="207"/>
                    <a:pt x="497" y="207"/>
                  </a:cubicBezTo>
                  <a:lnTo>
                    <a:pt x="497" y="169"/>
                  </a:lnTo>
                  <a:close/>
                  <a:moveTo>
                    <a:pt x="591" y="169"/>
                  </a:moveTo>
                  <a:cubicBezTo>
                    <a:pt x="534" y="169"/>
                    <a:pt x="534" y="169"/>
                    <a:pt x="534" y="169"/>
                  </a:cubicBezTo>
                  <a:cubicBezTo>
                    <a:pt x="534" y="207"/>
                    <a:pt x="534" y="207"/>
                    <a:pt x="534" y="207"/>
                  </a:cubicBezTo>
                  <a:cubicBezTo>
                    <a:pt x="560" y="222"/>
                    <a:pt x="560" y="222"/>
                    <a:pt x="560" y="222"/>
                  </a:cubicBezTo>
                  <a:cubicBezTo>
                    <a:pt x="591" y="207"/>
                    <a:pt x="591" y="207"/>
                    <a:pt x="591" y="207"/>
                  </a:cubicBezTo>
                  <a:lnTo>
                    <a:pt x="591" y="169"/>
                  </a:lnTo>
                  <a:close/>
                  <a:moveTo>
                    <a:pt x="685" y="169"/>
                  </a:moveTo>
                  <a:cubicBezTo>
                    <a:pt x="628" y="169"/>
                    <a:pt x="628" y="169"/>
                    <a:pt x="628" y="169"/>
                  </a:cubicBezTo>
                  <a:cubicBezTo>
                    <a:pt x="628" y="207"/>
                    <a:pt x="628" y="207"/>
                    <a:pt x="628" y="207"/>
                  </a:cubicBezTo>
                  <a:cubicBezTo>
                    <a:pt x="655" y="222"/>
                    <a:pt x="655" y="222"/>
                    <a:pt x="655" y="222"/>
                  </a:cubicBezTo>
                  <a:cubicBezTo>
                    <a:pt x="685" y="207"/>
                    <a:pt x="685" y="207"/>
                    <a:pt x="685" y="207"/>
                  </a:cubicBezTo>
                  <a:lnTo>
                    <a:pt x="685" y="169"/>
                  </a:lnTo>
                  <a:close/>
                  <a:moveTo>
                    <a:pt x="779" y="169"/>
                  </a:moveTo>
                  <a:cubicBezTo>
                    <a:pt x="722" y="169"/>
                    <a:pt x="722" y="169"/>
                    <a:pt x="722" y="169"/>
                  </a:cubicBezTo>
                  <a:cubicBezTo>
                    <a:pt x="722" y="207"/>
                    <a:pt x="722" y="207"/>
                    <a:pt x="722" y="207"/>
                  </a:cubicBezTo>
                  <a:cubicBezTo>
                    <a:pt x="749" y="222"/>
                    <a:pt x="749" y="222"/>
                    <a:pt x="749" y="222"/>
                  </a:cubicBezTo>
                  <a:cubicBezTo>
                    <a:pt x="779" y="207"/>
                    <a:pt x="779" y="207"/>
                    <a:pt x="779" y="207"/>
                  </a:cubicBezTo>
                  <a:lnTo>
                    <a:pt x="779" y="169"/>
                  </a:lnTo>
                  <a:close/>
                  <a:moveTo>
                    <a:pt x="874" y="169"/>
                  </a:moveTo>
                  <a:cubicBezTo>
                    <a:pt x="816" y="169"/>
                    <a:pt x="816" y="169"/>
                    <a:pt x="816" y="169"/>
                  </a:cubicBezTo>
                  <a:cubicBezTo>
                    <a:pt x="816" y="207"/>
                    <a:pt x="816" y="207"/>
                    <a:pt x="816" y="207"/>
                  </a:cubicBezTo>
                  <a:cubicBezTo>
                    <a:pt x="843" y="222"/>
                    <a:pt x="843" y="222"/>
                    <a:pt x="843" y="222"/>
                  </a:cubicBezTo>
                  <a:cubicBezTo>
                    <a:pt x="874" y="207"/>
                    <a:pt x="874" y="207"/>
                    <a:pt x="874" y="207"/>
                  </a:cubicBezTo>
                  <a:lnTo>
                    <a:pt x="874" y="169"/>
                  </a:lnTo>
                  <a:close/>
                  <a:moveTo>
                    <a:pt x="968" y="169"/>
                  </a:moveTo>
                  <a:cubicBezTo>
                    <a:pt x="910" y="169"/>
                    <a:pt x="910" y="169"/>
                    <a:pt x="910" y="169"/>
                  </a:cubicBezTo>
                  <a:cubicBezTo>
                    <a:pt x="910" y="207"/>
                    <a:pt x="910" y="207"/>
                    <a:pt x="910" y="207"/>
                  </a:cubicBezTo>
                  <a:cubicBezTo>
                    <a:pt x="937" y="222"/>
                    <a:pt x="937" y="222"/>
                    <a:pt x="937" y="222"/>
                  </a:cubicBezTo>
                  <a:cubicBezTo>
                    <a:pt x="968" y="207"/>
                    <a:pt x="968" y="207"/>
                    <a:pt x="968" y="207"/>
                  </a:cubicBezTo>
                  <a:lnTo>
                    <a:pt x="968" y="169"/>
                  </a:lnTo>
                  <a:close/>
                  <a:moveTo>
                    <a:pt x="1156" y="169"/>
                  </a:moveTo>
                  <a:cubicBezTo>
                    <a:pt x="1099" y="169"/>
                    <a:pt x="1099" y="169"/>
                    <a:pt x="1099" y="169"/>
                  </a:cubicBezTo>
                  <a:cubicBezTo>
                    <a:pt x="1099" y="207"/>
                    <a:pt x="1099" y="207"/>
                    <a:pt x="1099" y="207"/>
                  </a:cubicBezTo>
                  <a:cubicBezTo>
                    <a:pt x="1125" y="222"/>
                    <a:pt x="1125" y="222"/>
                    <a:pt x="1125" y="222"/>
                  </a:cubicBezTo>
                  <a:cubicBezTo>
                    <a:pt x="1156" y="207"/>
                    <a:pt x="1156" y="207"/>
                    <a:pt x="1156" y="207"/>
                  </a:cubicBezTo>
                  <a:lnTo>
                    <a:pt x="1156" y="169"/>
                  </a:lnTo>
                  <a:close/>
                  <a:moveTo>
                    <a:pt x="1250" y="169"/>
                  </a:moveTo>
                  <a:cubicBezTo>
                    <a:pt x="1193" y="169"/>
                    <a:pt x="1193" y="169"/>
                    <a:pt x="1193" y="169"/>
                  </a:cubicBezTo>
                  <a:cubicBezTo>
                    <a:pt x="1193" y="207"/>
                    <a:pt x="1193" y="207"/>
                    <a:pt x="1193" y="207"/>
                  </a:cubicBezTo>
                  <a:cubicBezTo>
                    <a:pt x="1220" y="222"/>
                    <a:pt x="1220" y="222"/>
                    <a:pt x="1220" y="222"/>
                  </a:cubicBezTo>
                  <a:cubicBezTo>
                    <a:pt x="1250" y="207"/>
                    <a:pt x="1250" y="207"/>
                    <a:pt x="1250" y="207"/>
                  </a:cubicBezTo>
                  <a:lnTo>
                    <a:pt x="1250" y="169"/>
                  </a:lnTo>
                  <a:close/>
                  <a:moveTo>
                    <a:pt x="115" y="115"/>
                  </a:moveTo>
                  <a:cubicBezTo>
                    <a:pt x="99" y="115"/>
                    <a:pt x="85" y="129"/>
                    <a:pt x="85" y="145"/>
                  </a:cubicBezTo>
                  <a:cubicBezTo>
                    <a:pt x="85" y="162"/>
                    <a:pt x="99" y="175"/>
                    <a:pt x="115" y="175"/>
                  </a:cubicBezTo>
                  <a:cubicBezTo>
                    <a:pt x="132" y="175"/>
                    <a:pt x="145" y="162"/>
                    <a:pt x="145" y="145"/>
                  </a:cubicBezTo>
                  <a:cubicBezTo>
                    <a:pt x="145" y="129"/>
                    <a:pt x="132" y="115"/>
                    <a:pt x="115" y="115"/>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24">
                <a:defRPr/>
              </a:pPr>
              <a:endParaRPr lang="en-US" sz="1400" kern="0" dirty="0">
                <a:latin typeface="CiscoSans ExtraLight"/>
              </a:endParaRPr>
            </a:p>
          </p:txBody>
        </p:sp>
        <p:grpSp>
          <p:nvGrpSpPr>
            <p:cNvPr id="178" name="Group 177"/>
            <p:cNvGrpSpPr/>
            <p:nvPr/>
          </p:nvGrpSpPr>
          <p:grpSpPr>
            <a:xfrm>
              <a:off x="6709857" y="3787383"/>
              <a:ext cx="273650" cy="221360"/>
              <a:chOff x="7821220" y="4390207"/>
              <a:chExt cx="1034234" cy="836610"/>
            </a:xfrm>
            <a:solidFill>
              <a:schemeClr val="tx1"/>
            </a:solidFill>
          </p:grpSpPr>
          <p:sp>
            <p:nvSpPr>
              <p:cNvPr id="180" name="Freeform 179"/>
              <p:cNvSpPr>
                <a:spLocks/>
              </p:cNvSpPr>
              <p:nvPr/>
            </p:nvSpPr>
            <p:spPr bwMode="auto">
              <a:xfrm>
                <a:off x="8223052" y="4989667"/>
                <a:ext cx="237148" cy="237150"/>
              </a:xfrm>
              <a:custGeom>
                <a:avLst/>
                <a:gdLst>
                  <a:gd name="T0" fmla="*/ 31 w 213"/>
                  <a:gd name="T1" fmla="*/ 31 h 213"/>
                  <a:gd name="T2" fmla="*/ 17 w 213"/>
                  <a:gd name="T3" fmla="*/ 48 h 213"/>
                  <a:gd name="T4" fmla="*/ 8 w 213"/>
                  <a:gd name="T5" fmla="*/ 67 h 213"/>
                  <a:gd name="T6" fmla="*/ 2 w 213"/>
                  <a:gd name="T7" fmla="*/ 86 h 213"/>
                  <a:gd name="T8" fmla="*/ 0 w 213"/>
                  <a:gd name="T9" fmla="*/ 107 h 213"/>
                  <a:gd name="T10" fmla="*/ 2 w 213"/>
                  <a:gd name="T11" fmla="*/ 127 h 213"/>
                  <a:gd name="T12" fmla="*/ 8 w 213"/>
                  <a:gd name="T13" fmla="*/ 146 h 213"/>
                  <a:gd name="T14" fmla="*/ 17 w 213"/>
                  <a:gd name="T15" fmla="*/ 166 h 213"/>
                  <a:gd name="T16" fmla="*/ 31 w 213"/>
                  <a:gd name="T17" fmla="*/ 182 h 213"/>
                  <a:gd name="T18" fmla="*/ 39 w 213"/>
                  <a:gd name="T19" fmla="*/ 190 h 213"/>
                  <a:gd name="T20" fmla="*/ 57 w 213"/>
                  <a:gd name="T21" fmla="*/ 202 h 213"/>
                  <a:gd name="T22" fmla="*/ 76 w 213"/>
                  <a:gd name="T23" fmla="*/ 210 h 213"/>
                  <a:gd name="T24" fmla="*/ 97 w 213"/>
                  <a:gd name="T25" fmla="*/ 213 h 213"/>
                  <a:gd name="T26" fmla="*/ 117 w 213"/>
                  <a:gd name="T27" fmla="*/ 213 h 213"/>
                  <a:gd name="T28" fmla="*/ 137 w 213"/>
                  <a:gd name="T29" fmla="*/ 210 h 213"/>
                  <a:gd name="T30" fmla="*/ 157 w 213"/>
                  <a:gd name="T31" fmla="*/ 202 h 213"/>
                  <a:gd name="T32" fmla="*/ 174 w 213"/>
                  <a:gd name="T33" fmla="*/ 190 h 213"/>
                  <a:gd name="T34" fmla="*/ 182 w 213"/>
                  <a:gd name="T35" fmla="*/ 182 h 213"/>
                  <a:gd name="T36" fmla="*/ 196 w 213"/>
                  <a:gd name="T37" fmla="*/ 166 h 213"/>
                  <a:gd name="T38" fmla="*/ 206 w 213"/>
                  <a:gd name="T39" fmla="*/ 146 h 213"/>
                  <a:gd name="T40" fmla="*/ 212 w 213"/>
                  <a:gd name="T41" fmla="*/ 127 h 213"/>
                  <a:gd name="T42" fmla="*/ 213 w 213"/>
                  <a:gd name="T43" fmla="*/ 107 h 213"/>
                  <a:gd name="T44" fmla="*/ 212 w 213"/>
                  <a:gd name="T45" fmla="*/ 86 h 213"/>
                  <a:gd name="T46" fmla="*/ 206 w 213"/>
                  <a:gd name="T47" fmla="*/ 67 h 213"/>
                  <a:gd name="T48" fmla="*/ 196 w 213"/>
                  <a:gd name="T49" fmla="*/ 48 h 213"/>
                  <a:gd name="T50" fmla="*/ 182 w 213"/>
                  <a:gd name="T51" fmla="*/ 31 h 213"/>
                  <a:gd name="T52" fmla="*/ 174 w 213"/>
                  <a:gd name="T53" fmla="*/ 24 h 213"/>
                  <a:gd name="T54" fmla="*/ 157 w 213"/>
                  <a:gd name="T55" fmla="*/ 12 h 213"/>
                  <a:gd name="T56" fmla="*/ 137 w 213"/>
                  <a:gd name="T57" fmla="*/ 4 h 213"/>
                  <a:gd name="T58" fmla="*/ 117 w 213"/>
                  <a:gd name="T59" fmla="*/ 0 h 213"/>
                  <a:gd name="T60" fmla="*/ 97 w 213"/>
                  <a:gd name="T61" fmla="*/ 0 h 213"/>
                  <a:gd name="T62" fmla="*/ 76 w 213"/>
                  <a:gd name="T63" fmla="*/ 4 h 213"/>
                  <a:gd name="T64" fmla="*/ 57 w 213"/>
                  <a:gd name="T65" fmla="*/ 12 h 213"/>
                  <a:gd name="T66" fmla="*/ 39 w 213"/>
                  <a:gd name="T67" fmla="*/ 24 h 213"/>
                  <a:gd name="T68" fmla="*/ 31 w 213"/>
                  <a:gd name="T69" fmla="*/ 3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13" h="213">
                    <a:moveTo>
                      <a:pt x="31" y="31"/>
                    </a:moveTo>
                    <a:lnTo>
                      <a:pt x="31" y="31"/>
                    </a:lnTo>
                    <a:lnTo>
                      <a:pt x="24" y="39"/>
                    </a:lnTo>
                    <a:lnTo>
                      <a:pt x="17" y="48"/>
                    </a:lnTo>
                    <a:lnTo>
                      <a:pt x="12" y="57"/>
                    </a:lnTo>
                    <a:lnTo>
                      <a:pt x="8" y="67"/>
                    </a:lnTo>
                    <a:lnTo>
                      <a:pt x="4" y="76"/>
                    </a:lnTo>
                    <a:lnTo>
                      <a:pt x="2" y="86"/>
                    </a:lnTo>
                    <a:lnTo>
                      <a:pt x="1" y="97"/>
                    </a:lnTo>
                    <a:lnTo>
                      <a:pt x="0" y="107"/>
                    </a:lnTo>
                    <a:lnTo>
                      <a:pt x="1" y="116"/>
                    </a:lnTo>
                    <a:lnTo>
                      <a:pt x="2" y="127"/>
                    </a:lnTo>
                    <a:lnTo>
                      <a:pt x="4" y="137"/>
                    </a:lnTo>
                    <a:lnTo>
                      <a:pt x="8" y="146"/>
                    </a:lnTo>
                    <a:lnTo>
                      <a:pt x="12" y="157"/>
                    </a:lnTo>
                    <a:lnTo>
                      <a:pt x="17" y="166"/>
                    </a:lnTo>
                    <a:lnTo>
                      <a:pt x="24" y="174"/>
                    </a:lnTo>
                    <a:lnTo>
                      <a:pt x="31" y="182"/>
                    </a:lnTo>
                    <a:lnTo>
                      <a:pt x="31" y="182"/>
                    </a:lnTo>
                    <a:lnTo>
                      <a:pt x="39" y="190"/>
                    </a:lnTo>
                    <a:lnTo>
                      <a:pt x="48" y="196"/>
                    </a:lnTo>
                    <a:lnTo>
                      <a:pt x="57" y="202"/>
                    </a:lnTo>
                    <a:lnTo>
                      <a:pt x="67" y="206"/>
                    </a:lnTo>
                    <a:lnTo>
                      <a:pt x="76" y="210"/>
                    </a:lnTo>
                    <a:lnTo>
                      <a:pt x="86" y="212"/>
                    </a:lnTo>
                    <a:lnTo>
                      <a:pt x="97" y="213"/>
                    </a:lnTo>
                    <a:lnTo>
                      <a:pt x="107" y="213"/>
                    </a:lnTo>
                    <a:lnTo>
                      <a:pt x="117" y="213"/>
                    </a:lnTo>
                    <a:lnTo>
                      <a:pt x="127" y="212"/>
                    </a:lnTo>
                    <a:lnTo>
                      <a:pt x="137" y="210"/>
                    </a:lnTo>
                    <a:lnTo>
                      <a:pt x="147" y="206"/>
                    </a:lnTo>
                    <a:lnTo>
                      <a:pt x="157" y="202"/>
                    </a:lnTo>
                    <a:lnTo>
                      <a:pt x="166" y="196"/>
                    </a:lnTo>
                    <a:lnTo>
                      <a:pt x="174" y="190"/>
                    </a:lnTo>
                    <a:lnTo>
                      <a:pt x="182" y="182"/>
                    </a:lnTo>
                    <a:lnTo>
                      <a:pt x="182" y="182"/>
                    </a:lnTo>
                    <a:lnTo>
                      <a:pt x="190" y="174"/>
                    </a:lnTo>
                    <a:lnTo>
                      <a:pt x="196" y="166"/>
                    </a:lnTo>
                    <a:lnTo>
                      <a:pt x="202" y="157"/>
                    </a:lnTo>
                    <a:lnTo>
                      <a:pt x="206" y="146"/>
                    </a:lnTo>
                    <a:lnTo>
                      <a:pt x="210" y="137"/>
                    </a:lnTo>
                    <a:lnTo>
                      <a:pt x="212" y="127"/>
                    </a:lnTo>
                    <a:lnTo>
                      <a:pt x="213" y="116"/>
                    </a:lnTo>
                    <a:lnTo>
                      <a:pt x="213" y="107"/>
                    </a:lnTo>
                    <a:lnTo>
                      <a:pt x="213" y="97"/>
                    </a:lnTo>
                    <a:lnTo>
                      <a:pt x="212" y="86"/>
                    </a:lnTo>
                    <a:lnTo>
                      <a:pt x="210" y="76"/>
                    </a:lnTo>
                    <a:lnTo>
                      <a:pt x="206" y="67"/>
                    </a:lnTo>
                    <a:lnTo>
                      <a:pt x="202" y="57"/>
                    </a:lnTo>
                    <a:lnTo>
                      <a:pt x="196" y="48"/>
                    </a:lnTo>
                    <a:lnTo>
                      <a:pt x="190" y="39"/>
                    </a:lnTo>
                    <a:lnTo>
                      <a:pt x="182" y="31"/>
                    </a:lnTo>
                    <a:lnTo>
                      <a:pt x="182" y="31"/>
                    </a:lnTo>
                    <a:lnTo>
                      <a:pt x="174" y="24"/>
                    </a:lnTo>
                    <a:lnTo>
                      <a:pt x="166" y="17"/>
                    </a:lnTo>
                    <a:lnTo>
                      <a:pt x="157" y="12"/>
                    </a:lnTo>
                    <a:lnTo>
                      <a:pt x="147" y="8"/>
                    </a:lnTo>
                    <a:lnTo>
                      <a:pt x="137" y="4"/>
                    </a:lnTo>
                    <a:lnTo>
                      <a:pt x="127" y="2"/>
                    </a:lnTo>
                    <a:lnTo>
                      <a:pt x="117" y="0"/>
                    </a:lnTo>
                    <a:lnTo>
                      <a:pt x="107" y="0"/>
                    </a:lnTo>
                    <a:lnTo>
                      <a:pt x="97" y="0"/>
                    </a:lnTo>
                    <a:lnTo>
                      <a:pt x="86" y="2"/>
                    </a:lnTo>
                    <a:lnTo>
                      <a:pt x="76" y="4"/>
                    </a:lnTo>
                    <a:lnTo>
                      <a:pt x="67" y="8"/>
                    </a:lnTo>
                    <a:lnTo>
                      <a:pt x="57" y="12"/>
                    </a:lnTo>
                    <a:lnTo>
                      <a:pt x="48" y="17"/>
                    </a:lnTo>
                    <a:lnTo>
                      <a:pt x="39" y="24"/>
                    </a:lnTo>
                    <a:lnTo>
                      <a:pt x="31" y="31"/>
                    </a:lnTo>
                    <a:lnTo>
                      <a:pt x="31"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181" name="Freeform 180"/>
              <p:cNvSpPr>
                <a:spLocks/>
              </p:cNvSpPr>
              <p:nvPr/>
            </p:nvSpPr>
            <p:spPr bwMode="auto">
              <a:xfrm>
                <a:off x="8111067" y="4798632"/>
                <a:ext cx="461123" cy="164689"/>
              </a:xfrm>
              <a:custGeom>
                <a:avLst/>
                <a:gdLst>
                  <a:gd name="T0" fmla="*/ 302 w 424"/>
                  <a:gd name="T1" fmla="*/ 15 h 155"/>
                  <a:gd name="T2" fmla="*/ 257 w 424"/>
                  <a:gd name="T3" fmla="*/ 4 h 155"/>
                  <a:gd name="T4" fmla="*/ 212 w 424"/>
                  <a:gd name="T5" fmla="*/ 0 h 155"/>
                  <a:gd name="T6" fmla="*/ 184 w 424"/>
                  <a:gd name="T7" fmla="*/ 1 h 155"/>
                  <a:gd name="T8" fmla="*/ 131 w 424"/>
                  <a:gd name="T9" fmla="*/ 12 h 155"/>
                  <a:gd name="T10" fmla="*/ 81 w 424"/>
                  <a:gd name="T11" fmla="*/ 32 h 155"/>
                  <a:gd name="T12" fmla="*/ 56 w 424"/>
                  <a:gd name="T13" fmla="*/ 47 h 155"/>
                  <a:gd name="T14" fmla="*/ 33 w 424"/>
                  <a:gd name="T15" fmla="*/ 64 h 155"/>
                  <a:gd name="T16" fmla="*/ 11 w 424"/>
                  <a:gd name="T17" fmla="*/ 83 h 155"/>
                  <a:gd name="T18" fmla="*/ 7 w 424"/>
                  <a:gd name="T19" fmla="*/ 90 h 155"/>
                  <a:gd name="T20" fmla="*/ 0 w 424"/>
                  <a:gd name="T21" fmla="*/ 105 h 155"/>
                  <a:gd name="T22" fmla="*/ 0 w 424"/>
                  <a:gd name="T23" fmla="*/ 121 h 155"/>
                  <a:gd name="T24" fmla="*/ 7 w 424"/>
                  <a:gd name="T25" fmla="*/ 136 h 155"/>
                  <a:gd name="T26" fmla="*/ 11 w 424"/>
                  <a:gd name="T27" fmla="*/ 142 h 155"/>
                  <a:gd name="T28" fmla="*/ 25 w 424"/>
                  <a:gd name="T29" fmla="*/ 151 h 155"/>
                  <a:gd name="T30" fmla="*/ 41 w 424"/>
                  <a:gd name="T31" fmla="*/ 155 h 155"/>
                  <a:gd name="T32" fmla="*/ 49 w 424"/>
                  <a:gd name="T33" fmla="*/ 154 h 155"/>
                  <a:gd name="T34" fmla="*/ 64 w 424"/>
                  <a:gd name="T35" fmla="*/ 148 h 155"/>
                  <a:gd name="T36" fmla="*/ 70 w 424"/>
                  <a:gd name="T37" fmla="*/ 142 h 155"/>
                  <a:gd name="T38" fmla="*/ 102 w 424"/>
                  <a:gd name="T39" fmla="*/ 117 h 155"/>
                  <a:gd name="T40" fmla="*/ 137 w 424"/>
                  <a:gd name="T41" fmla="*/ 98 h 155"/>
                  <a:gd name="T42" fmla="*/ 174 w 424"/>
                  <a:gd name="T43" fmla="*/ 88 h 155"/>
                  <a:gd name="T44" fmla="*/ 212 w 424"/>
                  <a:gd name="T45" fmla="*/ 84 h 155"/>
                  <a:gd name="T46" fmla="*/ 228 w 424"/>
                  <a:gd name="T47" fmla="*/ 84 h 155"/>
                  <a:gd name="T48" fmla="*/ 261 w 424"/>
                  <a:gd name="T49" fmla="*/ 90 h 155"/>
                  <a:gd name="T50" fmla="*/ 276 w 424"/>
                  <a:gd name="T51" fmla="*/ 95 h 155"/>
                  <a:gd name="T52" fmla="*/ 316 w 424"/>
                  <a:gd name="T53" fmla="*/ 113 h 155"/>
                  <a:gd name="T54" fmla="*/ 353 w 424"/>
                  <a:gd name="T55" fmla="*/ 142 h 155"/>
                  <a:gd name="T56" fmla="*/ 360 w 424"/>
                  <a:gd name="T57" fmla="*/ 148 h 155"/>
                  <a:gd name="T58" fmla="*/ 375 w 424"/>
                  <a:gd name="T59" fmla="*/ 154 h 155"/>
                  <a:gd name="T60" fmla="*/ 391 w 424"/>
                  <a:gd name="T61" fmla="*/ 154 h 155"/>
                  <a:gd name="T62" fmla="*/ 406 w 424"/>
                  <a:gd name="T63" fmla="*/ 148 h 155"/>
                  <a:gd name="T64" fmla="*/ 412 w 424"/>
                  <a:gd name="T65" fmla="*/ 142 h 155"/>
                  <a:gd name="T66" fmla="*/ 421 w 424"/>
                  <a:gd name="T67" fmla="*/ 128 h 155"/>
                  <a:gd name="T68" fmla="*/ 424 w 424"/>
                  <a:gd name="T69" fmla="*/ 113 h 155"/>
                  <a:gd name="T70" fmla="*/ 421 w 424"/>
                  <a:gd name="T71" fmla="*/ 97 h 155"/>
                  <a:gd name="T72" fmla="*/ 412 w 424"/>
                  <a:gd name="T73" fmla="*/ 83 h 155"/>
                  <a:gd name="T74" fmla="*/ 400 w 424"/>
                  <a:gd name="T75" fmla="*/ 72 h 155"/>
                  <a:gd name="T76" fmla="*/ 374 w 424"/>
                  <a:gd name="T77" fmla="*/ 51 h 155"/>
                  <a:gd name="T78" fmla="*/ 346 w 424"/>
                  <a:gd name="T79" fmla="*/ 35 h 155"/>
                  <a:gd name="T80" fmla="*/ 317 w 424"/>
                  <a:gd name="T81" fmla="*/ 21 h 155"/>
                  <a:gd name="T82" fmla="*/ 302 w 424"/>
                  <a:gd name="T83" fmla="*/ 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4" h="155">
                    <a:moveTo>
                      <a:pt x="302" y="15"/>
                    </a:moveTo>
                    <a:lnTo>
                      <a:pt x="302" y="15"/>
                    </a:lnTo>
                    <a:lnTo>
                      <a:pt x="280" y="8"/>
                    </a:lnTo>
                    <a:lnTo>
                      <a:pt x="257" y="4"/>
                    </a:lnTo>
                    <a:lnTo>
                      <a:pt x="235" y="1"/>
                    </a:lnTo>
                    <a:lnTo>
                      <a:pt x="212" y="0"/>
                    </a:lnTo>
                    <a:lnTo>
                      <a:pt x="212" y="0"/>
                    </a:lnTo>
                    <a:lnTo>
                      <a:pt x="184" y="1"/>
                    </a:lnTo>
                    <a:lnTo>
                      <a:pt x="158" y="6"/>
                    </a:lnTo>
                    <a:lnTo>
                      <a:pt x="131" y="12"/>
                    </a:lnTo>
                    <a:lnTo>
                      <a:pt x="105" y="21"/>
                    </a:lnTo>
                    <a:lnTo>
                      <a:pt x="81" y="32"/>
                    </a:lnTo>
                    <a:lnTo>
                      <a:pt x="68" y="39"/>
                    </a:lnTo>
                    <a:lnTo>
                      <a:pt x="56" y="47"/>
                    </a:lnTo>
                    <a:lnTo>
                      <a:pt x="45" y="56"/>
                    </a:lnTo>
                    <a:lnTo>
                      <a:pt x="33" y="64"/>
                    </a:lnTo>
                    <a:lnTo>
                      <a:pt x="22" y="73"/>
                    </a:lnTo>
                    <a:lnTo>
                      <a:pt x="11" y="83"/>
                    </a:lnTo>
                    <a:lnTo>
                      <a:pt x="11" y="83"/>
                    </a:lnTo>
                    <a:lnTo>
                      <a:pt x="7" y="90"/>
                    </a:lnTo>
                    <a:lnTo>
                      <a:pt x="2" y="97"/>
                    </a:lnTo>
                    <a:lnTo>
                      <a:pt x="0" y="105"/>
                    </a:lnTo>
                    <a:lnTo>
                      <a:pt x="0" y="113"/>
                    </a:lnTo>
                    <a:lnTo>
                      <a:pt x="0" y="121"/>
                    </a:lnTo>
                    <a:lnTo>
                      <a:pt x="2" y="128"/>
                    </a:lnTo>
                    <a:lnTo>
                      <a:pt x="7" y="136"/>
                    </a:lnTo>
                    <a:lnTo>
                      <a:pt x="11" y="142"/>
                    </a:lnTo>
                    <a:lnTo>
                      <a:pt x="11" y="142"/>
                    </a:lnTo>
                    <a:lnTo>
                      <a:pt x="18" y="148"/>
                    </a:lnTo>
                    <a:lnTo>
                      <a:pt x="25" y="151"/>
                    </a:lnTo>
                    <a:lnTo>
                      <a:pt x="33" y="154"/>
                    </a:lnTo>
                    <a:lnTo>
                      <a:pt x="41" y="155"/>
                    </a:lnTo>
                    <a:lnTo>
                      <a:pt x="41" y="155"/>
                    </a:lnTo>
                    <a:lnTo>
                      <a:pt x="49" y="154"/>
                    </a:lnTo>
                    <a:lnTo>
                      <a:pt x="57" y="151"/>
                    </a:lnTo>
                    <a:lnTo>
                      <a:pt x="64" y="148"/>
                    </a:lnTo>
                    <a:lnTo>
                      <a:pt x="70" y="142"/>
                    </a:lnTo>
                    <a:lnTo>
                      <a:pt x="70" y="142"/>
                    </a:lnTo>
                    <a:lnTo>
                      <a:pt x="86" y="128"/>
                    </a:lnTo>
                    <a:lnTo>
                      <a:pt x="102" y="117"/>
                    </a:lnTo>
                    <a:lnTo>
                      <a:pt x="119" y="106"/>
                    </a:lnTo>
                    <a:lnTo>
                      <a:pt x="137" y="98"/>
                    </a:lnTo>
                    <a:lnTo>
                      <a:pt x="154" y="92"/>
                    </a:lnTo>
                    <a:lnTo>
                      <a:pt x="174" y="88"/>
                    </a:lnTo>
                    <a:lnTo>
                      <a:pt x="192" y="84"/>
                    </a:lnTo>
                    <a:lnTo>
                      <a:pt x="212" y="84"/>
                    </a:lnTo>
                    <a:lnTo>
                      <a:pt x="212" y="84"/>
                    </a:lnTo>
                    <a:lnTo>
                      <a:pt x="228" y="84"/>
                    </a:lnTo>
                    <a:lnTo>
                      <a:pt x="244" y="87"/>
                    </a:lnTo>
                    <a:lnTo>
                      <a:pt x="261" y="90"/>
                    </a:lnTo>
                    <a:lnTo>
                      <a:pt x="276" y="95"/>
                    </a:lnTo>
                    <a:lnTo>
                      <a:pt x="276" y="95"/>
                    </a:lnTo>
                    <a:lnTo>
                      <a:pt x="296" y="103"/>
                    </a:lnTo>
                    <a:lnTo>
                      <a:pt x="316" y="113"/>
                    </a:lnTo>
                    <a:lnTo>
                      <a:pt x="336" y="127"/>
                    </a:lnTo>
                    <a:lnTo>
                      <a:pt x="353" y="142"/>
                    </a:lnTo>
                    <a:lnTo>
                      <a:pt x="353" y="142"/>
                    </a:lnTo>
                    <a:lnTo>
                      <a:pt x="360" y="148"/>
                    </a:lnTo>
                    <a:lnTo>
                      <a:pt x="367" y="151"/>
                    </a:lnTo>
                    <a:lnTo>
                      <a:pt x="375" y="154"/>
                    </a:lnTo>
                    <a:lnTo>
                      <a:pt x="383" y="155"/>
                    </a:lnTo>
                    <a:lnTo>
                      <a:pt x="391" y="154"/>
                    </a:lnTo>
                    <a:lnTo>
                      <a:pt x="398" y="151"/>
                    </a:lnTo>
                    <a:lnTo>
                      <a:pt x="406" y="148"/>
                    </a:lnTo>
                    <a:lnTo>
                      <a:pt x="412" y="142"/>
                    </a:lnTo>
                    <a:lnTo>
                      <a:pt x="412" y="142"/>
                    </a:lnTo>
                    <a:lnTo>
                      <a:pt x="417" y="136"/>
                    </a:lnTo>
                    <a:lnTo>
                      <a:pt x="421" y="128"/>
                    </a:lnTo>
                    <a:lnTo>
                      <a:pt x="423" y="121"/>
                    </a:lnTo>
                    <a:lnTo>
                      <a:pt x="424" y="113"/>
                    </a:lnTo>
                    <a:lnTo>
                      <a:pt x="423" y="105"/>
                    </a:lnTo>
                    <a:lnTo>
                      <a:pt x="421" y="97"/>
                    </a:lnTo>
                    <a:lnTo>
                      <a:pt x="417" y="90"/>
                    </a:lnTo>
                    <a:lnTo>
                      <a:pt x="412" y="83"/>
                    </a:lnTo>
                    <a:lnTo>
                      <a:pt x="412" y="83"/>
                    </a:lnTo>
                    <a:lnTo>
                      <a:pt x="400" y="72"/>
                    </a:lnTo>
                    <a:lnTo>
                      <a:pt x="387" y="61"/>
                    </a:lnTo>
                    <a:lnTo>
                      <a:pt x="374" y="51"/>
                    </a:lnTo>
                    <a:lnTo>
                      <a:pt x="360" y="43"/>
                    </a:lnTo>
                    <a:lnTo>
                      <a:pt x="346" y="35"/>
                    </a:lnTo>
                    <a:lnTo>
                      <a:pt x="332" y="27"/>
                    </a:lnTo>
                    <a:lnTo>
                      <a:pt x="317" y="21"/>
                    </a:lnTo>
                    <a:lnTo>
                      <a:pt x="302" y="15"/>
                    </a:lnTo>
                    <a:lnTo>
                      <a:pt x="30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182" name="Freeform 181"/>
              <p:cNvSpPr>
                <a:spLocks/>
              </p:cNvSpPr>
              <p:nvPr/>
            </p:nvSpPr>
            <p:spPr bwMode="auto">
              <a:xfrm>
                <a:off x="7966144" y="4594418"/>
                <a:ext cx="750971" cy="230565"/>
              </a:xfrm>
              <a:custGeom>
                <a:avLst/>
                <a:gdLst>
                  <a:gd name="T0" fmla="*/ 341 w 682"/>
                  <a:gd name="T1" fmla="*/ 0 h 208"/>
                  <a:gd name="T2" fmla="*/ 296 w 682"/>
                  <a:gd name="T3" fmla="*/ 2 h 208"/>
                  <a:gd name="T4" fmla="*/ 252 w 682"/>
                  <a:gd name="T5" fmla="*/ 9 h 208"/>
                  <a:gd name="T6" fmla="*/ 208 w 682"/>
                  <a:gd name="T7" fmla="*/ 19 h 208"/>
                  <a:gd name="T8" fmla="*/ 166 w 682"/>
                  <a:gd name="T9" fmla="*/ 34 h 208"/>
                  <a:gd name="T10" fmla="*/ 124 w 682"/>
                  <a:gd name="T11" fmla="*/ 54 h 208"/>
                  <a:gd name="T12" fmla="*/ 85 w 682"/>
                  <a:gd name="T13" fmla="*/ 77 h 208"/>
                  <a:gd name="T14" fmla="*/ 47 w 682"/>
                  <a:gd name="T15" fmla="*/ 105 h 208"/>
                  <a:gd name="T16" fmla="*/ 12 w 682"/>
                  <a:gd name="T17" fmla="*/ 137 h 208"/>
                  <a:gd name="T18" fmla="*/ 6 w 682"/>
                  <a:gd name="T19" fmla="*/ 143 h 208"/>
                  <a:gd name="T20" fmla="*/ 1 w 682"/>
                  <a:gd name="T21" fmla="*/ 158 h 208"/>
                  <a:gd name="T22" fmla="*/ 1 w 682"/>
                  <a:gd name="T23" fmla="*/ 174 h 208"/>
                  <a:gd name="T24" fmla="*/ 6 w 682"/>
                  <a:gd name="T25" fmla="*/ 189 h 208"/>
                  <a:gd name="T26" fmla="*/ 12 w 682"/>
                  <a:gd name="T27" fmla="*/ 196 h 208"/>
                  <a:gd name="T28" fmla="*/ 26 w 682"/>
                  <a:gd name="T29" fmla="*/ 205 h 208"/>
                  <a:gd name="T30" fmla="*/ 41 w 682"/>
                  <a:gd name="T31" fmla="*/ 208 h 208"/>
                  <a:gd name="T32" fmla="*/ 49 w 682"/>
                  <a:gd name="T33" fmla="*/ 208 h 208"/>
                  <a:gd name="T34" fmla="*/ 64 w 682"/>
                  <a:gd name="T35" fmla="*/ 201 h 208"/>
                  <a:gd name="T36" fmla="*/ 71 w 682"/>
                  <a:gd name="T37" fmla="*/ 196 h 208"/>
                  <a:gd name="T38" fmla="*/ 100 w 682"/>
                  <a:gd name="T39" fmla="*/ 169 h 208"/>
                  <a:gd name="T40" fmla="*/ 131 w 682"/>
                  <a:gd name="T41" fmla="*/ 146 h 208"/>
                  <a:gd name="T42" fmla="*/ 163 w 682"/>
                  <a:gd name="T43" fmla="*/ 128 h 208"/>
                  <a:gd name="T44" fmla="*/ 197 w 682"/>
                  <a:gd name="T45" fmla="*/ 112 h 208"/>
                  <a:gd name="T46" fmla="*/ 233 w 682"/>
                  <a:gd name="T47" fmla="*/ 99 h 208"/>
                  <a:gd name="T48" fmla="*/ 268 w 682"/>
                  <a:gd name="T49" fmla="*/ 91 h 208"/>
                  <a:gd name="T50" fmla="*/ 304 w 682"/>
                  <a:gd name="T51" fmla="*/ 85 h 208"/>
                  <a:gd name="T52" fmla="*/ 341 w 682"/>
                  <a:gd name="T53" fmla="*/ 84 h 208"/>
                  <a:gd name="T54" fmla="*/ 360 w 682"/>
                  <a:gd name="T55" fmla="*/ 84 h 208"/>
                  <a:gd name="T56" fmla="*/ 395 w 682"/>
                  <a:gd name="T57" fmla="*/ 88 h 208"/>
                  <a:gd name="T58" fmla="*/ 432 w 682"/>
                  <a:gd name="T59" fmla="*/ 94 h 208"/>
                  <a:gd name="T60" fmla="*/ 467 w 682"/>
                  <a:gd name="T61" fmla="*/ 105 h 208"/>
                  <a:gd name="T62" fmla="*/ 501 w 682"/>
                  <a:gd name="T63" fmla="*/ 119 h 208"/>
                  <a:gd name="T64" fmla="*/ 535 w 682"/>
                  <a:gd name="T65" fmla="*/ 136 h 208"/>
                  <a:gd name="T66" fmla="*/ 566 w 682"/>
                  <a:gd name="T67" fmla="*/ 158 h 208"/>
                  <a:gd name="T68" fmla="*/ 596 w 682"/>
                  <a:gd name="T69" fmla="*/ 182 h 208"/>
                  <a:gd name="T70" fmla="*/ 611 w 682"/>
                  <a:gd name="T71" fmla="*/ 196 h 208"/>
                  <a:gd name="T72" fmla="*/ 625 w 682"/>
                  <a:gd name="T73" fmla="*/ 205 h 208"/>
                  <a:gd name="T74" fmla="*/ 640 w 682"/>
                  <a:gd name="T75" fmla="*/ 208 h 208"/>
                  <a:gd name="T76" fmla="*/ 656 w 682"/>
                  <a:gd name="T77" fmla="*/ 205 h 208"/>
                  <a:gd name="T78" fmla="*/ 670 w 682"/>
                  <a:gd name="T79" fmla="*/ 196 h 208"/>
                  <a:gd name="T80" fmla="*/ 675 w 682"/>
                  <a:gd name="T81" fmla="*/ 189 h 208"/>
                  <a:gd name="T82" fmla="*/ 682 w 682"/>
                  <a:gd name="T83" fmla="*/ 174 h 208"/>
                  <a:gd name="T84" fmla="*/ 682 w 682"/>
                  <a:gd name="T85" fmla="*/ 158 h 208"/>
                  <a:gd name="T86" fmla="*/ 675 w 682"/>
                  <a:gd name="T87" fmla="*/ 143 h 208"/>
                  <a:gd name="T88" fmla="*/ 670 w 682"/>
                  <a:gd name="T89" fmla="*/ 137 h 208"/>
                  <a:gd name="T90" fmla="*/ 634 w 682"/>
                  <a:gd name="T91" fmla="*/ 105 h 208"/>
                  <a:gd name="T92" fmla="*/ 597 w 682"/>
                  <a:gd name="T93" fmla="*/ 77 h 208"/>
                  <a:gd name="T94" fmla="*/ 557 w 682"/>
                  <a:gd name="T95" fmla="*/ 54 h 208"/>
                  <a:gd name="T96" fmla="*/ 515 w 682"/>
                  <a:gd name="T97" fmla="*/ 34 h 208"/>
                  <a:gd name="T98" fmla="*/ 473 w 682"/>
                  <a:gd name="T99" fmla="*/ 19 h 208"/>
                  <a:gd name="T100" fmla="*/ 430 w 682"/>
                  <a:gd name="T101" fmla="*/ 9 h 208"/>
                  <a:gd name="T102" fmla="*/ 385 w 682"/>
                  <a:gd name="T103" fmla="*/ 2 h 208"/>
                  <a:gd name="T104" fmla="*/ 341 w 682"/>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2" h="208">
                    <a:moveTo>
                      <a:pt x="341" y="0"/>
                    </a:moveTo>
                    <a:lnTo>
                      <a:pt x="341" y="0"/>
                    </a:lnTo>
                    <a:lnTo>
                      <a:pt x="318" y="1"/>
                    </a:lnTo>
                    <a:lnTo>
                      <a:pt x="296" y="2"/>
                    </a:lnTo>
                    <a:lnTo>
                      <a:pt x="274" y="6"/>
                    </a:lnTo>
                    <a:lnTo>
                      <a:pt x="252" y="9"/>
                    </a:lnTo>
                    <a:lnTo>
                      <a:pt x="230" y="14"/>
                    </a:lnTo>
                    <a:lnTo>
                      <a:pt x="208" y="19"/>
                    </a:lnTo>
                    <a:lnTo>
                      <a:pt x="186" y="26"/>
                    </a:lnTo>
                    <a:lnTo>
                      <a:pt x="166" y="34"/>
                    </a:lnTo>
                    <a:lnTo>
                      <a:pt x="145" y="44"/>
                    </a:lnTo>
                    <a:lnTo>
                      <a:pt x="124" y="54"/>
                    </a:lnTo>
                    <a:lnTo>
                      <a:pt x="105" y="64"/>
                    </a:lnTo>
                    <a:lnTo>
                      <a:pt x="85" y="77"/>
                    </a:lnTo>
                    <a:lnTo>
                      <a:pt x="65" y="90"/>
                    </a:lnTo>
                    <a:lnTo>
                      <a:pt x="47" y="105"/>
                    </a:lnTo>
                    <a:lnTo>
                      <a:pt x="30" y="120"/>
                    </a:lnTo>
                    <a:lnTo>
                      <a:pt x="12" y="137"/>
                    </a:lnTo>
                    <a:lnTo>
                      <a:pt x="12" y="137"/>
                    </a:lnTo>
                    <a:lnTo>
                      <a:pt x="6" y="143"/>
                    </a:lnTo>
                    <a:lnTo>
                      <a:pt x="3" y="150"/>
                    </a:lnTo>
                    <a:lnTo>
                      <a:pt x="1" y="158"/>
                    </a:lnTo>
                    <a:lnTo>
                      <a:pt x="0" y="166"/>
                    </a:lnTo>
                    <a:lnTo>
                      <a:pt x="1" y="174"/>
                    </a:lnTo>
                    <a:lnTo>
                      <a:pt x="3" y="182"/>
                    </a:lnTo>
                    <a:lnTo>
                      <a:pt x="6" y="189"/>
                    </a:lnTo>
                    <a:lnTo>
                      <a:pt x="12" y="196"/>
                    </a:lnTo>
                    <a:lnTo>
                      <a:pt x="12" y="196"/>
                    </a:lnTo>
                    <a:lnTo>
                      <a:pt x="18" y="201"/>
                    </a:lnTo>
                    <a:lnTo>
                      <a:pt x="26" y="205"/>
                    </a:lnTo>
                    <a:lnTo>
                      <a:pt x="33" y="208"/>
                    </a:lnTo>
                    <a:lnTo>
                      <a:pt x="41" y="208"/>
                    </a:lnTo>
                    <a:lnTo>
                      <a:pt x="41" y="208"/>
                    </a:lnTo>
                    <a:lnTo>
                      <a:pt x="49" y="208"/>
                    </a:lnTo>
                    <a:lnTo>
                      <a:pt x="57" y="205"/>
                    </a:lnTo>
                    <a:lnTo>
                      <a:pt x="64" y="201"/>
                    </a:lnTo>
                    <a:lnTo>
                      <a:pt x="71" y="196"/>
                    </a:lnTo>
                    <a:lnTo>
                      <a:pt x="71" y="196"/>
                    </a:lnTo>
                    <a:lnTo>
                      <a:pt x="85" y="182"/>
                    </a:lnTo>
                    <a:lnTo>
                      <a:pt x="100" y="169"/>
                    </a:lnTo>
                    <a:lnTo>
                      <a:pt x="115" y="158"/>
                    </a:lnTo>
                    <a:lnTo>
                      <a:pt x="131" y="146"/>
                    </a:lnTo>
                    <a:lnTo>
                      <a:pt x="147" y="136"/>
                    </a:lnTo>
                    <a:lnTo>
                      <a:pt x="163" y="128"/>
                    </a:lnTo>
                    <a:lnTo>
                      <a:pt x="181" y="119"/>
                    </a:lnTo>
                    <a:lnTo>
                      <a:pt x="197" y="112"/>
                    </a:lnTo>
                    <a:lnTo>
                      <a:pt x="214" y="105"/>
                    </a:lnTo>
                    <a:lnTo>
                      <a:pt x="233" y="99"/>
                    </a:lnTo>
                    <a:lnTo>
                      <a:pt x="250" y="94"/>
                    </a:lnTo>
                    <a:lnTo>
                      <a:pt x="268" y="91"/>
                    </a:lnTo>
                    <a:lnTo>
                      <a:pt x="286" y="88"/>
                    </a:lnTo>
                    <a:lnTo>
                      <a:pt x="304" y="85"/>
                    </a:lnTo>
                    <a:lnTo>
                      <a:pt x="323" y="84"/>
                    </a:lnTo>
                    <a:lnTo>
                      <a:pt x="341" y="84"/>
                    </a:lnTo>
                    <a:lnTo>
                      <a:pt x="341" y="84"/>
                    </a:lnTo>
                    <a:lnTo>
                      <a:pt x="360" y="84"/>
                    </a:lnTo>
                    <a:lnTo>
                      <a:pt x="378" y="85"/>
                    </a:lnTo>
                    <a:lnTo>
                      <a:pt x="395" y="88"/>
                    </a:lnTo>
                    <a:lnTo>
                      <a:pt x="414" y="91"/>
                    </a:lnTo>
                    <a:lnTo>
                      <a:pt x="432" y="94"/>
                    </a:lnTo>
                    <a:lnTo>
                      <a:pt x="450" y="99"/>
                    </a:lnTo>
                    <a:lnTo>
                      <a:pt x="467" y="105"/>
                    </a:lnTo>
                    <a:lnTo>
                      <a:pt x="484" y="112"/>
                    </a:lnTo>
                    <a:lnTo>
                      <a:pt x="501" y="119"/>
                    </a:lnTo>
                    <a:lnTo>
                      <a:pt x="519" y="128"/>
                    </a:lnTo>
                    <a:lnTo>
                      <a:pt x="535" y="136"/>
                    </a:lnTo>
                    <a:lnTo>
                      <a:pt x="551" y="146"/>
                    </a:lnTo>
                    <a:lnTo>
                      <a:pt x="566" y="158"/>
                    </a:lnTo>
                    <a:lnTo>
                      <a:pt x="581" y="169"/>
                    </a:lnTo>
                    <a:lnTo>
                      <a:pt x="596" y="182"/>
                    </a:lnTo>
                    <a:lnTo>
                      <a:pt x="611" y="196"/>
                    </a:lnTo>
                    <a:lnTo>
                      <a:pt x="611" y="196"/>
                    </a:lnTo>
                    <a:lnTo>
                      <a:pt x="617" y="201"/>
                    </a:lnTo>
                    <a:lnTo>
                      <a:pt x="625" y="205"/>
                    </a:lnTo>
                    <a:lnTo>
                      <a:pt x="632" y="208"/>
                    </a:lnTo>
                    <a:lnTo>
                      <a:pt x="640" y="208"/>
                    </a:lnTo>
                    <a:lnTo>
                      <a:pt x="648" y="208"/>
                    </a:lnTo>
                    <a:lnTo>
                      <a:pt x="656" y="205"/>
                    </a:lnTo>
                    <a:lnTo>
                      <a:pt x="663" y="201"/>
                    </a:lnTo>
                    <a:lnTo>
                      <a:pt x="670" y="196"/>
                    </a:lnTo>
                    <a:lnTo>
                      <a:pt x="670" y="196"/>
                    </a:lnTo>
                    <a:lnTo>
                      <a:pt x="675" y="189"/>
                    </a:lnTo>
                    <a:lnTo>
                      <a:pt x="679" y="182"/>
                    </a:lnTo>
                    <a:lnTo>
                      <a:pt x="682" y="174"/>
                    </a:lnTo>
                    <a:lnTo>
                      <a:pt x="682" y="166"/>
                    </a:lnTo>
                    <a:lnTo>
                      <a:pt x="682" y="158"/>
                    </a:lnTo>
                    <a:lnTo>
                      <a:pt x="679" y="150"/>
                    </a:lnTo>
                    <a:lnTo>
                      <a:pt x="675" y="143"/>
                    </a:lnTo>
                    <a:lnTo>
                      <a:pt x="670" y="137"/>
                    </a:lnTo>
                    <a:lnTo>
                      <a:pt x="670" y="137"/>
                    </a:lnTo>
                    <a:lnTo>
                      <a:pt x="653" y="120"/>
                    </a:lnTo>
                    <a:lnTo>
                      <a:pt x="634" y="105"/>
                    </a:lnTo>
                    <a:lnTo>
                      <a:pt x="616" y="90"/>
                    </a:lnTo>
                    <a:lnTo>
                      <a:pt x="597" y="77"/>
                    </a:lnTo>
                    <a:lnTo>
                      <a:pt x="578" y="64"/>
                    </a:lnTo>
                    <a:lnTo>
                      <a:pt x="557" y="54"/>
                    </a:lnTo>
                    <a:lnTo>
                      <a:pt x="536" y="44"/>
                    </a:lnTo>
                    <a:lnTo>
                      <a:pt x="515" y="34"/>
                    </a:lnTo>
                    <a:lnTo>
                      <a:pt x="495" y="26"/>
                    </a:lnTo>
                    <a:lnTo>
                      <a:pt x="473" y="19"/>
                    </a:lnTo>
                    <a:lnTo>
                      <a:pt x="452" y="14"/>
                    </a:lnTo>
                    <a:lnTo>
                      <a:pt x="430" y="9"/>
                    </a:lnTo>
                    <a:lnTo>
                      <a:pt x="408" y="6"/>
                    </a:lnTo>
                    <a:lnTo>
                      <a:pt x="385" y="2"/>
                    </a:lnTo>
                    <a:lnTo>
                      <a:pt x="363" y="1"/>
                    </a:lnTo>
                    <a:lnTo>
                      <a:pt x="341" y="0"/>
                    </a:lnTo>
                    <a:lnTo>
                      <a:pt x="3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185" name="Freeform 184"/>
              <p:cNvSpPr>
                <a:spLocks/>
              </p:cNvSpPr>
              <p:nvPr/>
            </p:nvSpPr>
            <p:spPr bwMode="auto">
              <a:xfrm>
                <a:off x="7821220" y="4390207"/>
                <a:ext cx="1034234" cy="296439"/>
              </a:xfrm>
              <a:custGeom>
                <a:avLst/>
                <a:gdLst>
                  <a:gd name="T0" fmla="*/ 495 w 946"/>
                  <a:gd name="T1" fmla="*/ 0 h 270"/>
                  <a:gd name="T2" fmla="*/ 430 w 946"/>
                  <a:gd name="T3" fmla="*/ 3 h 270"/>
                  <a:gd name="T4" fmla="*/ 366 w 946"/>
                  <a:gd name="T5" fmla="*/ 13 h 270"/>
                  <a:gd name="T6" fmla="*/ 303 w 946"/>
                  <a:gd name="T7" fmla="*/ 28 h 270"/>
                  <a:gd name="T8" fmla="*/ 241 w 946"/>
                  <a:gd name="T9" fmla="*/ 50 h 270"/>
                  <a:gd name="T10" fmla="*/ 180 w 946"/>
                  <a:gd name="T11" fmla="*/ 77 h 270"/>
                  <a:gd name="T12" fmla="*/ 121 w 946"/>
                  <a:gd name="T13" fmla="*/ 112 h 270"/>
                  <a:gd name="T14" fmla="*/ 65 w 946"/>
                  <a:gd name="T15" fmla="*/ 152 h 270"/>
                  <a:gd name="T16" fmla="*/ 12 w 946"/>
                  <a:gd name="T17" fmla="*/ 198 h 270"/>
                  <a:gd name="T18" fmla="*/ 6 w 946"/>
                  <a:gd name="T19" fmla="*/ 204 h 270"/>
                  <a:gd name="T20" fmla="*/ 1 w 946"/>
                  <a:gd name="T21" fmla="*/ 219 h 270"/>
                  <a:gd name="T22" fmla="*/ 0 w 946"/>
                  <a:gd name="T23" fmla="*/ 235 h 270"/>
                  <a:gd name="T24" fmla="*/ 5 w 946"/>
                  <a:gd name="T25" fmla="*/ 250 h 270"/>
                  <a:gd name="T26" fmla="*/ 11 w 946"/>
                  <a:gd name="T27" fmla="*/ 257 h 270"/>
                  <a:gd name="T28" fmla="*/ 25 w 946"/>
                  <a:gd name="T29" fmla="*/ 266 h 270"/>
                  <a:gd name="T30" fmla="*/ 41 w 946"/>
                  <a:gd name="T31" fmla="*/ 270 h 270"/>
                  <a:gd name="T32" fmla="*/ 49 w 946"/>
                  <a:gd name="T33" fmla="*/ 269 h 270"/>
                  <a:gd name="T34" fmla="*/ 64 w 946"/>
                  <a:gd name="T35" fmla="*/ 263 h 270"/>
                  <a:gd name="T36" fmla="*/ 70 w 946"/>
                  <a:gd name="T37" fmla="*/ 258 h 270"/>
                  <a:gd name="T38" fmla="*/ 117 w 946"/>
                  <a:gd name="T39" fmla="*/ 217 h 270"/>
                  <a:gd name="T40" fmla="*/ 167 w 946"/>
                  <a:gd name="T41" fmla="*/ 182 h 270"/>
                  <a:gd name="T42" fmla="*/ 218 w 946"/>
                  <a:gd name="T43" fmla="*/ 152 h 270"/>
                  <a:gd name="T44" fmla="*/ 272 w 946"/>
                  <a:gd name="T45" fmla="*/ 127 h 270"/>
                  <a:gd name="T46" fmla="*/ 326 w 946"/>
                  <a:gd name="T47" fmla="*/ 108 h 270"/>
                  <a:gd name="T48" fmla="*/ 381 w 946"/>
                  <a:gd name="T49" fmla="*/ 95 h 270"/>
                  <a:gd name="T50" fmla="*/ 438 w 946"/>
                  <a:gd name="T51" fmla="*/ 86 h 270"/>
                  <a:gd name="T52" fmla="*/ 495 w 946"/>
                  <a:gd name="T53" fmla="*/ 83 h 270"/>
                  <a:gd name="T54" fmla="*/ 521 w 946"/>
                  <a:gd name="T55" fmla="*/ 84 h 270"/>
                  <a:gd name="T56" fmla="*/ 573 w 946"/>
                  <a:gd name="T57" fmla="*/ 89 h 270"/>
                  <a:gd name="T58" fmla="*/ 625 w 946"/>
                  <a:gd name="T59" fmla="*/ 99 h 270"/>
                  <a:gd name="T60" fmla="*/ 675 w 946"/>
                  <a:gd name="T61" fmla="*/ 114 h 270"/>
                  <a:gd name="T62" fmla="*/ 723 w 946"/>
                  <a:gd name="T63" fmla="*/ 134 h 270"/>
                  <a:gd name="T64" fmla="*/ 769 w 946"/>
                  <a:gd name="T65" fmla="*/ 158 h 270"/>
                  <a:gd name="T66" fmla="*/ 813 w 946"/>
                  <a:gd name="T67" fmla="*/ 188 h 270"/>
                  <a:gd name="T68" fmla="*/ 855 w 946"/>
                  <a:gd name="T69" fmla="*/ 223 h 270"/>
                  <a:gd name="T70" fmla="*/ 874 w 946"/>
                  <a:gd name="T71" fmla="*/ 241 h 270"/>
                  <a:gd name="T72" fmla="*/ 888 w 946"/>
                  <a:gd name="T73" fmla="*/ 250 h 270"/>
                  <a:gd name="T74" fmla="*/ 903 w 946"/>
                  <a:gd name="T75" fmla="*/ 254 h 270"/>
                  <a:gd name="T76" fmla="*/ 919 w 946"/>
                  <a:gd name="T77" fmla="*/ 251 h 270"/>
                  <a:gd name="T78" fmla="*/ 933 w 946"/>
                  <a:gd name="T79" fmla="*/ 242 h 270"/>
                  <a:gd name="T80" fmla="*/ 939 w 946"/>
                  <a:gd name="T81" fmla="*/ 236 h 270"/>
                  <a:gd name="T82" fmla="*/ 945 w 946"/>
                  <a:gd name="T83" fmla="*/ 221 h 270"/>
                  <a:gd name="T84" fmla="*/ 946 w 946"/>
                  <a:gd name="T85" fmla="*/ 205 h 270"/>
                  <a:gd name="T86" fmla="*/ 939 w 946"/>
                  <a:gd name="T87" fmla="*/ 190 h 270"/>
                  <a:gd name="T88" fmla="*/ 934 w 946"/>
                  <a:gd name="T89" fmla="*/ 183 h 270"/>
                  <a:gd name="T90" fmla="*/ 888 w 946"/>
                  <a:gd name="T91" fmla="*/ 141 h 270"/>
                  <a:gd name="T92" fmla="*/ 838 w 946"/>
                  <a:gd name="T93" fmla="*/ 103 h 270"/>
                  <a:gd name="T94" fmla="*/ 787 w 946"/>
                  <a:gd name="T95" fmla="*/ 71 h 270"/>
                  <a:gd name="T96" fmla="*/ 731 w 946"/>
                  <a:gd name="T97" fmla="*/ 46 h 270"/>
                  <a:gd name="T98" fmla="*/ 673 w 946"/>
                  <a:gd name="T99" fmla="*/ 25 h 270"/>
                  <a:gd name="T100" fmla="*/ 615 w 946"/>
                  <a:gd name="T101" fmla="*/ 11 h 270"/>
                  <a:gd name="T102" fmla="*/ 555 w 946"/>
                  <a:gd name="T103" fmla="*/ 3 h 270"/>
                  <a:gd name="T104" fmla="*/ 495 w 946"/>
                  <a:gd name="T10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6" h="270">
                    <a:moveTo>
                      <a:pt x="495" y="0"/>
                    </a:moveTo>
                    <a:lnTo>
                      <a:pt x="495" y="0"/>
                    </a:lnTo>
                    <a:lnTo>
                      <a:pt x="462" y="1"/>
                    </a:lnTo>
                    <a:lnTo>
                      <a:pt x="430" y="3"/>
                    </a:lnTo>
                    <a:lnTo>
                      <a:pt x="398" y="7"/>
                    </a:lnTo>
                    <a:lnTo>
                      <a:pt x="366" y="13"/>
                    </a:lnTo>
                    <a:lnTo>
                      <a:pt x="334" y="20"/>
                    </a:lnTo>
                    <a:lnTo>
                      <a:pt x="303" y="28"/>
                    </a:lnTo>
                    <a:lnTo>
                      <a:pt x="272" y="38"/>
                    </a:lnTo>
                    <a:lnTo>
                      <a:pt x="241" y="50"/>
                    </a:lnTo>
                    <a:lnTo>
                      <a:pt x="210" y="63"/>
                    </a:lnTo>
                    <a:lnTo>
                      <a:pt x="180" y="77"/>
                    </a:lnTo>
                    <a:lnTo>
                      <a:pt x="151" y="95"/>
                    </a:lnTo>
                    <a:lnTo>
                      <a:pt x="121" y="112"/>
                    </a:lnTo>
                    <a:lnTo>
                      <a:pt x="93" y="131"/>
                    </a:lnTo>
                    <a:lnTo>
                      <a:pt x="65" y="152"/>
                    </a:lnTo>
                    <a:lnTo>
                      <a:pt x="39" y="174"/>
                    </a:lnTo>
                    <a:lnTo>
                      <a:pt x="12" y="198"/>
                    </a:lnTo>
                    <a:lnTo>
                      <a:pt x="12" y="198"/>
                    </a:lnTo>
                    <a:lnTo>
                      <a:pt x="6" y="204"/>
                    </a:lnTo>
                    <a:lnTo>
                      <a:pt x="3" y="212"/>
                    </a:lnTo>
                    <a:lnTo>
                      <a:pt x="1" y="219"/>
                    </a:lnTo>
                    <a:lnTo>
                      <a:pt x="0" y="227"/>
                    </a:lnTo>
                    <a:lnTo>
                      <a:pt x="0" y="235"/>
                    </a:lnTo>
                    <a:lnTo>
                      <a:pt x="2" y="243"/>
                    </a:lnTo>
                    <a:lnTo>
                      <a:pt x="5" y="250"/>
                    </a:lnTo>
                    <a:lnTo>
                      <a:pt x="11" y="257"/>
                    </a:lnTo>
                    <a:lnTo>
                      <a:pt x="11" y="257"/>
                    </a:lnTo>
                    <a:lnTo>
                      <a:pt x="18" y="263"/>
                    </a:lnTo>
                    <a:lnTo>
                      <a:pt x="25" y="266"/>
                    </a:lnTo>
                    <a:lnTo>
                      <a:pt x="33" y="269"/>
                    </a:lnTo>
                    <a:lnTo>
                      <a:pt x="41" y="270"/>
                    </a:lnTo>
                    <a:lnTo>
                      <a:pt x="41" y="270"/>
                    </a:lnTo>
                    <a:lnTo>
                      <a:pt x="49" y="269"/>
                    </a:lnTo>
                    <a:lnTo>
                      <a:pt x="56" y="266"/>
                    </a:lnTo>
                    <a:lnTo>
                      <a:pt x="64" y="263"/>
                    </a:lnTo>
                    <a:lnTo>
                      <a:pt x="70" y="258"/>
                    </a:lnTo>
                    <a:lnTo>
                      <a:pt x="70" y="258"/>
                    </a:lnTo>
                    <a:lnTo>
                      <a:pt x="93" y="238"/>
                    </a:lnTo>
                    <a:lnTo>
                      <a:pt x="117" y="217"/>
                    </a:lnTo>
                    <a:lnTo>
                      <a:pt x="141" y="198"/>
                    </a:lnTo>
                    <a:lnTo>
                      <a:pt x="167" y="182"/>
                    </a:lnTo>
                    <a:lnTo>
                      <a:pt x="192" y="166"/>
                    </a:lnTo>
                    <a:lnTo>
                      <a:pt x="218" y="152"/>
                    </a:lnTo>
                    <a:lnTo>
                      <a:pt x="244" y="138"/>
                    </a:lnTo>
                    <a:lnTo>
                      <a:pt x="272" y="127"/>
                    </a:lnTo>
                    <a:lnTo>
                      <a:pt x="298" y="116"/>
                    </a:lnTo>
                    <a:lnTo>
                      <a:pt x="326" y="108"/>
                    </a:lnTo>
                    <a:lnTo>
                      <a:pt x="354" y="100"/>
                    </a:lnTo>
                    <a:lnTo>
                      <a:pt x="381" y="95"/>
                    </a:lnTo>
                    <a:lnTo>
                      <a:pt x="410" y="90"/>
                    </a:lnTo>
                    <a:lnTo>
                      <a:pt x="438" y="86"/>
                    </a:lnTo>
                    <a:lnTo>
                      <a:pt x="466" y="84"/>
                    </a:lnTo>
                    <a:lnTo>
                      <a:pt x="495" y="83"/>
                    </a:lnTo>
                    <a:lnTo>
                      <a:pt x="495" y="83"/>
                    </a:lnTo>
                    <a:lnTo>
                      <a:pt x="521" y="84"/>
                    </a:lnTo>
                    <a:lnTo>
                      <a:pt x="546" y="86"/>
                    </a:lnTo>
                    <a:lnTo>
                      <a:pt x="573" y="89"/>
                    </a:lnTo>
                    <a:lnTo>
                      <a:pt x="600" y="93"/>
                    </a:lnTo>
                    <a:lnTo>
                      <a:pt x="625" y="99"/>
                    </a:lnTo>
                    <a:lnTo>
                      <a:pt x="650" y="106"/>
                    </a:lnTo>
                    <a:lnTo>
                      <a:pt x="675" y="114"/>
                    </a:lnTo>
                    <a:lnTo>
                      <a:pt x="699" y="123"/>
                    </a:lnTo>
                    <a:lnTo>
                      <a:pt x="723" y="134"/>
                    </a:lnTo>
                    <a:lnTo>
                      <a:pt x="746" y="145"/>
                    </a:lnTo>
                    <a:lnTo>
                      <a:pt x="769" y="158"/>
                    </a:lnTo>
                    <a:lnTo>
                      <a:pt x="792" y="172"/>
                    </a:lnTo>
                    <a:lnTo>
                      <a:pt x="813" y="188"/>
                    </a:lnTo>
                    <a:lnTo>
                      <a:pt x="835" y="204"/>
                    </a:lnTo>
                    <a:lnTo>
                      <a:pt x="855" y="223"/>
                    </a:lnTo>
                    <a:lnTo>
                      <a:pt x="874" y="241"/>
                    </a:lnTo>
                    <a:lnTo>
                      <a:pt x="874" y="241"/>
                    </a:lnTo>
                    <a:lnTo>
                      <a:pt x="880" y="247"/>
                    </a:lnTo>
                    <a:lnTo>
                      <a:pt x="888" y="250"/>
                    </a:lnTo>
                    <a:lnTo>
                      <a:pt x="895" y="254"/>
                    </a:lnTo>
                    <a:lnTo>
                      <a:pt x="903" y="254"/>
                    </a:lnTo>
                    <a:lnTo>
                      <a:pt x="911" y="254"/>
                    </a:lnTo>
                    <a:lnTo>
                      <a:pt x="919" y="251"/>
                    </a:lnTo>
                    <a:lnTo>
                      <a:pt x="926" y="248"/>
                    </a:lnTo>
                    <a:lnTo>
                      <a:pt x="933" y="242"/>
                    </a:lnTo>
                    <a:lnTo>
                      <a:pt x="933" y="242"/>
                    </a:lnTo>
                    <a:lnTo>
                      <a:pt x="939" y="236"/>
                    </a:lnTo>
                    <a:lnTo>
                      <a:pt x="942" y="230"/>
                    </a:lnTo>
                    <a:lnTo>
                      <a:pt x="945" y="221"/>
                    </a:lnTo>
                    <a:lnTo>
                      <a:pt x="946" y="213"/>
                    </a:lnTo>
                    <a:lnTo>
                      <a:pt x="946" y="205"/>
                    </a:lnTo>
                    <a:lnTo>
                      <a:pt x="943" y="197"/>
                    </a:lnTo>
                    <a:lnTo>
                      <a:pt x="939" y="190"/>
                    </a:lnTo>
                    <a:lnTo>
                      <a:pt x="934" y="183"/>
                    </a:lnTo>
                    <a:lnTo>
                      <a:pt x="934" y="183"/>
                    </a:lnTo>
                    <a:lnTo>
                      <a:pt x="911" y="161"/>
                    </a:lnTo>
                    <a:lnTo>
                      <a:pt x="888" y="141"/>
                    </a:lnTo>
                    <a:lnTo>
                      <a:pt x="864" y="121"/>
                    </a:lnTo>
                    <a:lnTo>
                      <a:pt x="838" y="103"/>
                    </a:lnTo>
                    <a:lnTo>
                      <a:pt x="813" y="86"/>
                    </a:lnTo>
                    <a:lnTo>
                      <a:pt x="787" y="71"/>
                    </a:lnTo>
                    <a:lnTo>
                      <a:pt x="759" y="58"/>
                    </a:lnTo>
                    <a:lnTo>
                      <a:pt x="731" y="46"/>
                    </a:lnTo>
                    <a:lnTo>
                      <a:pt x="702" y="35"/>
                    </a:lnTo>
                    <a:lnTo>
                      <a:pt x="673" y="25"/>
                    </a:lnTo>
                    <a:lnTo>
                      <a:pt x="645" y="18"/>
                    </a:lnTo>
                    <a:lnTo>
                      <a:pt x="615" y="11"/>
                    </a:lnTo>
                    <a:lnTo>
                      <a:pt x="585" y="7"/>
                    </a:lnTo>
                    <a:lnTo>
                      <a:pt x="555" y="3"/>
                    </a:lnTo>
                    <a:lnTo>
                      <a:pt x="525" y="1"/>
                    </a:lnTo>
                    <a:lnTo>
                      <a:pt x="495" y="0"/>
                    </a:lnTo>
                    <a:lnTo>
                      <a:pt x="49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grpSp>
      </p:grpSp>
      <p:grpSp>
        <p:nvGrpSpPr>
          <p:cNvPr id="20" name="Group 19"/>
          <p:cNvGrpSpPr/>
          <p:nvPr/>
        </p:nvGrpSpPr>
        <p:grpSpPr>
          <a:xfrm>
            <a:off x="3823187" y="3715553"/>
            <a:ext cx="1062242" cy="1108830"/>
            <a:chOff x="4905916" y="3667735"/>
            <a:chExt cx="1062242" cy="1108830"/>
          </a:xfrm>
        </p:grpSpPr>
        <p:sp>
          <p:nvSpPr>
            <p:cNvPr id="147" name="Oval 146"/>
            <p:cNvSpPr/>
            <p:nvPr/>
          </p:nvSpPr>
          <p:spPr>
            <a:xfrm>
              <a:off x="5083522" y="366773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3" name="Text Placeholder 2"/>
            <p:cNvSpPr txBox="1">
              <a:spLocks/>
            </p:cNvSpPr>
            <p:nvPr/>
          </p:nvSpPr>
          <p:spPr>
            <a:xfrm>
              <a:off x="4905916" y="4395692"/>
              <a:ext cx="1062242" cy="380873"/>
            </a:xfrm>
            <a:prstGeom prst="rect">
              <a:avLst/>
            </a:prstGeom>
          </p:spPr>
          <p:txBody>
            <a:bodyPr wrap="squar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Cloud Web Security Services                 (CWS + WSA)</a:t>
              </a:r>
            </a:p>
          </p:txBody>
        </p:sp>
        <p:sp>
          <p:nvSpPr>
            <p:cNvPr id="187" name="Freeform 186"/>
            <p:cNvSpPr>
              <a:spLocks/>
            </p:cNvSpPr>
            <p:nvPr/>
          </p:nvSpPr>
          <p:spPr bwMode="auto">
            <a:xfrm>
              <a:off x="5178174" y="3783977"/>
              <a:ext cx="533222" cy="353006"/>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188" name="Freeform 187"/>
            <p:cNvSpPr>
              <a:spLocks noChangeAspect="1" noEditPoints="1"/>
            </p:cNvSpPr>
            <p:nvPr/>
          </p:nvSpPr>
          <p:spPr bwMode="auto">
            <a:xfrm>
              <a:off x="5249299" y="3942745"/>
              <a:ext cx="362156" cy="134692"/>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tx1"/>
            </a:solidFill>
          </p:spPr>
          <p:txBody>
            <a:bodyPr wrap="square" lIns="182784" tIns="182784" rIns="182784" bIns="182784"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50">
                <a:spcBef>
                  <a:spcPts val="1080"/>
                </a:spcBef>
                <a:buClr>
                  <a:srgbClr val="D81F28"/>
                </a:buClr>
                <a:buSzPct val="90000"/>
              </a:pPr>
              <a:endParaRPr lang="en-US">
                <a:cs typeface="CiscoSans"/>
              </a:endParaRPr>
            </a:p>
          </p:txBody>
        </p:sp>
      </p:grpSp>
      <p:grpSp>
        <p:nvGrpSpPr>
          <p:cNvPr id="22" name="Group 21"/>
          <p:cNvGrpSpPr/>
          <p:nvPr/>
        </p:nvGrpSpPr>
        <p:grpSpPr>
          <a:xfrm>
            <a:off x="260800" y="3686956"/>
            <a:ext cx="694819" cy="851068"/>
            <a:chOff x="6921431" y="3667735"/>
            <a:chExt cx="694819" cy="851068"/>
          </a:xfrm>
        </p:grpSpPr>
        <p:sp>
          <p:nvSpPr>
            <p:cNvPr id="149" name="Oval 148"/>
            <p:cNvSpPr/>
            <p:nvPr/>
          </p:nvSpPr>
          <p:spPr>
            <a:xfrm>
              <a:off x="6921431" y="3667735"/>
              <a:ext cx="694819" cy="694820"/>
            </a:xfrm>
            <a:prstGeom prst="ellips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65" name="Text Placeholder 2"/>
            <p:cNvSpPr txBox="1">
              <a:spLocks/>
            </p:cNvSpPr>
            <p:nvPr/>
          </p:nvSpPr>
          <p:spPr>
            <a:xfrm>
              <a:off x="7210847" y="4395692"/>
              <a:ext cx="179536" cy="123111"/>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ISR</a:t>
              </a:r>
            </a:p>
          </p:txBody>
        </p:sp>
        <p:grpSp>
          <p:nvGrpSpPr>
            <p:cNvPr id="189" name="Group 188"/>
            <p:cNvGrpSpPr/>
            <p:nvPr/>
          </p:nvGrpSpPr>
          <p:grpSpPr>
            <a:xfrm>
              <a:off x="7076492" y="3769110"/>
              <a:ext cx="413932" cy="367438"/>
              <a:chOff x="6089286" y="3263286"/>
              <a:chExt cx="650565" cy="577493"/>
            </a:xfrm>
            <a:solidFill>
              <a:schemeClr val="tx1"/>
            </a:solidFill>
          </p:grpSpPr>
          <p:sp>
            <p:nvSpPr>
              <p:cNvPr id="192" name="Freeform 191"/>
              <p:cNvSpPr>
                <a:spLocks noEditPoints="1"/>
              </p:cNvSpPr>
              <p:nvPr/>
            </p:nvSpPr>
            <p:spPr bwMode="auto">
              <a:xfrm rot="16200000">
                <a:off x="6296935" y="3397863"/>
                <a:ext cx="235267" cy="650565"/>
              </a:xfrm>
              <a:custGeom>
                <a:avLst/>
                <a:gdLst/>
                <a:ahLst/>
                <a:cxnLst>
                  <a:cxn ang="0">
                    <a:pos x="153" y="0"/>
                  </a:cxn>
                  <a:cxn ang="0">
                    <a:pos x="14" y="0"/>
                  </a:cxn>
                  <a:cxn ang="0">
                    <a:pos x="0" y="14"/>
                  </a:cxn>
                  <a:cxn ang="0">
                    <a:pos x="0" y="370"/>
                  </a:cxn>
                  <a:cxn ang="0">
                    <a:pos x="14" y="384"/>
                  </a:cxn>
                  <a:cxn ang="0">
                    <a:pos x="153" y="384"/>
                  </a:cxn>
                  <a:cxn ang="0">
                    <a:pos x="167" y="370"/>
                  </a:cxn>
                  <a:cxn ang="0">
                    <a:pos x="167" y="14"/>
                  </a:cxn>
                  <a:cxn ang="0">
                    <a:pos x="153" y="0"/>
                  </a:cxn>
                  <a:cxn ang="0">
                    <a:pos x="135" y="340"/>
                  </a:cxn>
                  <a:cxn ang="0">
                    <a:pos x="121" y="354"/>
                  </a:cxn>
                  <a:cxn ang="0">
                    <a:pos x="42" y="354"/>
                  </a:cxn>
                  <a:cxn ang="0">
                    <a:pos x="28" y="340"/>
                  </a:cxn>
                  <a:cxn ang="0">
                    <a:pos x="28" y="245"/>
                  </a:cxn>
                  <a:cxn ang="0">
                    <a:pos x="42" y="231"/>
                  </a:cxn>
                  <a:cxn ang="0">
                    <a:pos x="121" y="231"/>
                  </a:cxn>
                  <a:cxn ang="0">
                    <a:pos x="135" y="245"/>
                  </a:cxn>
                  <a:cxn ang="0">
                    <a:pos x="135" y="340"/>
                  </a:cxn>
                  <a:cxn ang="0">
                    <a:pos x="121" y="215"/>
                  </a:cxn>
                  <a:cxn ang="0">
                    <a:pos x="42" y="215"/>
                  </a:cxn>
                  <a:cxn ang="0">
                    <a:pos x="28" y="202"/>
                  </a:cxn>
                  <a:cxn ang="0">
                    <a:pos x="42" y="188"/>
                  </a:cxn>
                  <a:cxn ang="0">
                    <a:pos x="121" y="188"/>
                  </a:cxn>
                  <a:cxn ang="0">
                    <a:pos x="135" y="202"/>
                  </a:cxn>
                  <a:cxn ang="0">
                    <a:pos x="121" y="215"/>
                  </a:cxn>
                  <a:cxn ang="0">
                    <a:pos x="121" y="175"/>
                  </a:cxn>
                  <a:cxn ang="0">
                    <a:pos x="42" y="175"/>
                  </a:cxn>
                  <a:cxn ang="0">
                    <a:pos x="28" y="162"/>
                  </a:cxn>
                  <a:cxn ang="0">
                    <a:pos x="42" y="148"/>
                  </a:cxn>
                  <a:cxn ang="0">
                    <a:pos x="121" y="148"/>
                  </a:cxn>
                  <a:cxn ang="0">
                    <a:pos x="135" y="162"/>
                  </a:cxn>
                  <a:cxn ang="0">
                    <a:pos x="121" y="175"/>
                  </a:cxn>
                </a:cxnLst>
                <a:rect l="0" t="0" r="r" b="b"/>
                <a:pathLst>
                  <a:path w="167" h="384">
                    <a:moveTo>
                      <a:pt x="153" y="0"/>
                    </a:moveTo>
                    <a:cubicBezTo>
                      <a:pt x="14" y="0"/>
                      <a:pt x="14" y="0"/>
                      <a:pt x="14" y="0"/>
                    </a:cubicBezTo>
                    <a:cubicBezTo>
                      <a:pt x="6" y="0"/>
                      <a:pt x="0" y="6"/>
                      <a:pt x="0" y="14"/>
                    </a:cubicBezTo>
                    <a:cubicBezTo>
                      <a:pt x="0" y="370"/>
                      <a:pt x="0" y="370"/>
                      <a:pt x="0" y="370"/>
                    </a:cubicBezTo>
                    <a:cubicBezTo>
                      <a:pt x="0" y="378"/>
                      <a:pt x="6" y="384"/>
                      <a:pt x="14" y="384"/>
                    </a:cubicBezTo>
                    <a:cubicBezTo>
                      <a:pt x="153" y="384"/>
                      <a:pt x="153" y="384"/>
                      <a:pt x="153" y="384"/>
                    </a:cubicBezTo>
                    <a:cubicBezTo>
                      <a:pt x="161" y="384"/>
                      <a:pt x="167" y="378"/>
                      <a:pt x="167" y="370"/>
                    </a:cubicBezTo>
                    <a:cubicBezTo>
                      <a:pt x="167" y="14"/>
                      <a:pt x="167" y="14"/>
                      <a:pt x="167" y="14"/>
                    </a:cubicBezTo>
                    <a:cubicBezTo>
                      <a:pt x="167" y="6"/>
                      <a:pt x="161" y="0"/>
                      <a:pt x="153" y="0"/>
                    </a:cubicBezTo>
                    <a:close/>
                    <a:moveTo>
                      <a:pt x="135" y="340"/>
                    </a:moveTo>
                    <a:cubicBezTo>
                      <a:pt x="135" y="348"/>
                      <a:pt x="129" y="354"/>
                      <a:pt x="121" y="354"/>
                    </a:cubicBezTo>
                    <a:cubicBezTo>
                      <a:pt x="42" y="354"/>
                      <a:pt x="42" y="354"/>
                      <a:pt x="42" y="354"/>
                    </a:cubicBezTo>
                    <a:cubicBezTo>
                      <a:pt x="34" y="354"/>
                      <a:pt x="28" y="348"/>
                      <a:pt x="28" y="340"/>
                    </a:cubicBezTo>
                    <a:cubicBezTo>
                      <a:pt x="28" y="245"/>
                      <a:pt x="28" y="245"/>
                      <a:pt x="28" y="245"/>
                    </a:cubicBezTo>
                    <a:cubicBezTo>
                      <a:pt x="28" y="237"/>
                      <a:pt x="34" y="231"/>
                      <a:pt x="42" y="231"/>
                    </a:cubicBezTo>
                    <a:cubicBezTo>
                      <a:pt x="121" y="231"/>
                      <a:pt x="121" y="231"/>
                      <a:pt x="121" y="231"/>
                    </a:cubicBezTo>
                    <a:cubicBezTo>
                      <a:pt x="129" y="231"/>
                      <a:pt x="135" y="237"/>
                      <a:pt x="135" y="245"/>
                    </a:cubicBezTo>
                    <a:lnTo>
                      <a:pt x="135" y="340"/>
                    </a:lnTo>
                    <a:close/>
                    <a:moveTo>
                      <a:pt x="121" y="215"/>
                    </a:moveTo>
                    <a:cubicBezTo>
                      <a:pt x="42" y="215"/>
                      <a:pt x="42" y="215"/>
                      <a:pt x="42" y="215"/>
                    </a:cubicBezTo>
                    <a:cubicBezTo>
                      <a:pt x="34" y="215"/>
                      <a:pt x="28" y="209"/>
                      <a:pt x="28" y="202"/>
                    </a:cubicBezTo>
                    <a:cubicBezTo>
                      <a:pt x="28" y="194"/>
                      <a:pt x="34" y="188"/>
                      <a:pt x="42" y="188"/>
                    </a:cubicBezTo>
                    <a:cubicBezTo>
                      <a:pt x="121" y="188"/>
                      <a:pt x="121" y="188"/>
                      <a:pt x="121" y="188"/>
                    </a:cubicBezTo>
                    <a:cubicBezTo>
                      <a:pt x="129" y="188"/>
                      <a:pt x="135" y="194"/>
                      <a:pt x="135" y="202"/>
                    </a:cubicBezTo>
                    <a:cubicBezTo>
                      <a:pt x="135" y="209"/>
                      <a:pt x="129" y="215"/>
                      <a:pt x="121" y="215"/>
                    </a:cubicBezTo>
                    <a:close/>
                    <a:moveTo>
                      <a:pt x="121" y="175"/>
                    </a:moveTo>
                    <a:cubicBezTo>
                      <a:pt x="42" y="175"/>
                      <a:pt x="42" y="175"/>
                      <a:pt x="42" y="175"/>
                    </a:cubicBezTo>
                    <a:cubicBezTo>
                      <a:pt x="34" y="175"/>
                      <a:pt x="28" y="169"/>
                      <a:pt x="28" y="162"/>
                    </a:cubicBezTo>
                    <a:cubicBezTo>
                      <a:pt x="28" y="154"/>
                      <a:pt x="34" y="148"/>
                      <a:pt x="42" y="148"/>
                    </a:cubicBezTo>
                    <a:cubicBezTo>
                      <a:pt x="121" y="148"/>
                      <a:pt x="121" y="148"/>
                      <a:pt x="121" y="148"/>
                    </a:cubicBezTo>
                    <a:cubicBezTo>
                      <a:pt x="129" y="148"/>
                      <a:pt x="135" y="154"/>
                      <a:pt x="135" y="162"/>
                    </a:cubicBezTo>
                    <a:cubicBezTo>
                      <a:pt x="135" y="169"/>
                      <a:pt x="129" y="175"/>
                      <a:pt x="121" y="175"/>
                    </a:cubicBezTo>
                    <a:close/>
                  </a:path>
                </a:pathLst>
              </a:custGeom>
              <a:grpFill/>
              <a:ln w="25400"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710">
                  <a:defRPr/>
                </a:pPr>
                <a:r>
                  <a:rPr lang="en-US" sz="1600" kern="0" dirty="0"/>
                  <a:t> </a:t>
                </a:r>
              </a:p>
            </p:txBody>
          </p:sp>
          <p:sp>
            <p:nvSpPr>
              <p:cNvPr id="194" name="Rounded Rectangle 193"/>
              <p:cNvSpPr/>
              <p:nvPr/>
            </p:nvSpPr>
            <p:spPr>
              <a:xfrm rot="20682329">
                <a:off x="6190202" y="3263286"/>
                <a:ext cx="54108" cy="40635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70"/>
                <a:endParaRPr lang="en-US" sz="1400">
                  <a:solidFill>
                    <a:schemeClr val="tx1"/>
                  </a:solidFill>
                </a:endParaRPr>
              </a:p>
            </p:txBody>
          </p:sp>
          <p:sp>
            <p:nvSpPr>
              <p:cNvPr id="195" name="Rounded Rectangle 194"/>
              <p:cNvSpPr/>
              <p:nvPr/>
            </p:nvSpPr>
            <p:spPr>
              <a:xfrm rot="2426386">
                <a:off x="6335020" y="3322561"/>
                <a:ext cx="54108" cy="406359"/>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70"/>
                <a:endParaRPr lang="en-US" sz="1400">
                  <a:solidFill>
                    <a:schemeClr val="tx1"/>
                  </a:solidFill>
                </a:endParaRPr>
              </a:p>
            </p:txBody>
          </p:sp>
        </p:grpSp>
      </p:grpSp>
      <p:grpSp>
        <p:nvGrpSpPr>
          <p:cNvPr id="16" name="Group 15"/>
          <p:cNvGrpSpPr/>
          <p:nvPr/>
        </p:nvGrpSpPr>
        <p:grpSpPr>
          <a:xfrm>
            <a:off x="2030772" y="3679679"/>
            <a:ext cx="798346" cy="974178"/>
            <a:chOff x="3177596" y="3667735"/>
            <a:chExt cx="798346" cy="974178"/>
          </a:xfrm>
        </p:grpSpPr>
        <p:sp>
          <p:nvSpPr>
            <p:cNvPr id="145" name="Oval 144"/>
            <p:cNvSpPr/>
            <p:nvPr/>
          </p:nvSpPr>
          <p:spPr>
            <a:xfrm>
              <a:off x="3245612" y="366773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157" name="Text Placeholder 2"/>
            <p:cNvSpPr txBox="1">
              <a:spLocks/>
            </p:cNvSpPr>
            <p:nvPr/>
          </p:nvSpPr>
          <p:spPr>
            <a:xfrm>
              <a:off x="3177596" y="4395692"/>
              <a:ext cx="798346" cy="246221"/>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Adaptive Security </a:t>
              </a:r>
              <a:br>
                <a:rPr lang="en-US" sz="800" dirty="0"/>
              </a:br>
              <a:r>
                <a:rPr lang="en-US" sz="800" dirty="0"/>
                <a:t>Appliance (ASA)</a:t>
              </a:r>
            </a:p>
          </p:txBody>
        </p:sp>
        <p:sp>
          <p:nvSpPr>
            <p:cNvPr id="201" name="Freeform 29"/>
            <p:cNvSpPr>
              <a:spLocks noChangeAspect="1" noEditPoints="1"/>
            </p:cNvSpPr>
            <p:nvPr/>
          </p:nvSpPr>
          <p:spPr bwMode="auto">
            <a:xfrm>
              <a:off x="3457775" y="3933962"/>
              <a:ext cx="268324" cy="189297"/>
            </a:xfrm>
            <a:custGeom>
              <a:avLst/>
              <a:gdLst>
                <a:gd name="T0" fmla="*/ 106 w 224"/>
                <a:gd name="T1" fmla="*/ 158 h 158"/>
                <a:gd name="T2" fmla="*/ 39 w 224"/>
                <a:gd name="T3" fmla="*/ 128 h 158"/>
                <a:gd name="T4" fmla="*/ 118 w 224"/>
                <a:gd name="T5" fmla="*/ 158 h 158"/>
                <a:gd name="T6" fmla="*/ 185 w 224"/>
                <a:gd name="T7" fmla="*/ 128 h 158"/>
                <a:gd name="T8" fmla="*/ 118 w 224"/>
                <a:gd name="T9" fmla="*/ 158 h 158"/>
                <a:gd name="T10" fmla="*/ 67 w 224"/>
                <a:gd name="T11" fmla="*/ 115 h 158"/>
                <a:gd name="T12" fmla="*/ 0 w 224"/>
                <a:gd name="T13" fmla="*/ 85 h 158"/>
                <a:gd name="T14" fmla="*/ 78 w 224"/>
                <a:gd name="T15" fmla="*/ 115 h 158"/>
                <a:gd name="T16" fmla="*/ 145 w 224"/>
                <a:gd name="T17" fmla="*/ 85 h 158"/>
                <a:gd name="T18" fmla="*/ 78 w 224"/>
                <a:gd name="T19" fmla="*/ 115 h 158"/>
                <a:gd name="T20" fmla="*/ 224 w 224"/>
                <a:gd name="T21" fmla="*/ 115 h 158"/>
                <a:gd name="T22" fmla="*/ 157 w 224"/>
                <a:gd name="T23" fmla="*/ 85 h 158"/>
                <a:gd name="T24" fmla="*/ 39 w 224"/>
                <a:gd name="T25" fmla="*/ 73 h 158"/>
                <a:gd name="T26" fmla="*/ 106 w 224"/>
                <a:gd name="T27" fmla="*/ 43 h 158"/>
                <a:gd name="T28" fmla="*/ 39 w 224"/>
                <a:gd name="T29" fmla="*/ 73 h 158"/>
                <a:gd name="T30" fmla="*/ 185 w 224"/>
                <a:gd name="T31" fmla="*/ 73 h 158"/>
                <a:gd name="T32" fmla="*/ 118 w 224"/>
                <a:gd name="T33" fmla="*/ 43 h 158"/>
                <a:gd name="T34" fmla="*/ 0 w 224"/>
                <a:gd name="T35" fmla="*/ 30 h 158"/>
                <a:gd name="T36" fmla="*/ 67 w 224"/>
                <a:gd name="T37" fmla="*/ 0 h 158"/>
                <a:gd name="T38" fmla="*/ 0 w 224"/>
                <a:gd name="T39" fmla="*/ 30 h 158"/>
                <a:gd name="T40" fmla="*/ 145 w 224"/>
                <a:gd name="T41" fmla="*/ 30 h 158"/>
                <a:gd name="T42" fmla="*/ 78 w 224"/>
                <a:gd name="T43" fmla="*/ 0 h 158"/>
                <a:gd name="T44" fmla="*/ 0 w 224"/>
                <a:gd name="T45" fmla="*/ 158 h 158"/>
                <a:gd name="T46" fmla="*/ 27 w 224"/>
                <a:gd name="T47" fmla="*/ 128 h 158"/>
                <a:gd name="T48" fmla="*/ 0 w 224"/>
                <a:gd name="T49" fmla="*/ 158 h 158"/>
                <a:gd name="T50" fmla="*/ 27 w 224"/>
                <a:gd name="T51" fmla="*/ 73 h 158"/>
                <a:gd name="T52" fmla="*/ 0 w 224"/>
                <a:gd name="T53" fmla="*/ 43 h 158"/>
                <a:gd name="T54" fmla="*/ 197 w 224"/>
                <a:gd name="T55" fmla="*/ 158 h 158"/>
                <a:gd name="T56" fmla="*/ 224 w 224"/>
                <a:gd name="T57" fmla="*/ 128 h 158"/>
                <a:gd name="T58" fmla="*/ 197 w 224"/>
                <a:gd name="T59" fmla="*/ 158 h 158"/>
                <a:gd name="T60" fmla="*/ 224 w 224"/>
                <a:gd name="T61" fmla="*/ 30 h 158"/>
                <a:gd name="T62" fmla="*/ 157 w 224"/>
                <a:gd name="T63" fmla="*/ 0 h 158"/>
                <a:gd name="T64" fmla="*/ 197 w 224"/>
                <a:gd name="T65" fmla="*/ 73 h 158"/>
                <a:gd name="T66" fmla="*/ 224 w 224"/>
                <a:gd name="T67" fmla="*/ 43 h 158"/>
                <a:gd name="T68" fmla="*/ 197 w 224"/>
                <a:gd name="T6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158">
                  <a:moveTo>
                    <a:pt x="39" y="158"/>
                  </a:moveTo>
                  <a:cubicBezTo>
                    <a:pt x="61" y="158"/>
                    <a:pt x="84" y="158"/>
                    <a:pt x="106" y="158"/>
                  </a:cubicBezTo>
                  <a:cubicBezTo>
                    <a:pt x="106" y="148"/>
                    <a:pt x="106" y="138"/>
                    <a:pt x="106" y="128"/>
                  </a:cubicBezTo>
                  <a:cubicBezTo>
                    <a:pt x="84" y="128"/>
                    <a:pt x="61" y="128"/>
                    <a:pt x="39" y="128"/>
                  </a:cubicBezTo>
                  <a:cubicBezTo>
                    <a:pt x="39" y="138"/>
                    <a:pt x="39" y="148"/>
                    <a:pt x="39" y="158"/>
                  </a:cubicBezTo>
                  <a:close/>
                  <a:moveTo>
                    <a:pt x="118" y="158"/>
                  </a:moveTo>
                  <a:cubicBezTo>
                    <a:pt x="140" y="158"/>
                    <a:pt x="163" y="158"/>
                    <a:pt x="185" y="158"/>
                  </a:cubicBezTo>
                  <a:cubicBezTo>
                    <a:pt x="185" y="148"/>
                    <a:pt x="185" y="138"/>
                    <a:pt x="185" y="128"/>
                  </a:cubicBezTo>
                  <a:cubicBezTo>
                    <a:pt x="163" y="128"/>
                    <a:pt x="140" y="128"/>
                    <a:pt x="118" y="128"/>
                  </a:cubicBezTo>
                  <a:cubicBezTo>
                    <a:pt x="118" y="138"/>
                    <a:pt x="118" y="148"/>
                    <a:pt x="118" y="158"/>
                  </a:cubicBezTo>
                  <a:close/>
                  <a:moveTo>
                    <a:pt x="0" y="115"/>
                  </a:moveTo>
                  <a:cubicBezTo>
                    <a:pt x="22" y="115"/>
                    <a:pt x="44" y="115"/>
                    <a:pt x="67" y="115"/>
                  </a:cubicBezTo>
                  <a:cubicBezTo>
                    <a:pt x="67" y="105"/>
                    <a:pt x="67" y="95"/>
                    <a:pt x="67" y="85"/>
                  </a:cubicBezTo>
                  <a:cubicBezTo>
                    <a:pt x="44" y="85"/>
                    <a:pt x="22" y="85"/>
                    <a:pt x="0" y="85"/>
                  </a:cubicBezTo>
                  <a:cubicBezTo>
                    <a:pt x="0" y="95"/>
                    <a:pt x="0" y="105"/>
                    <a:pt x="0" y="115"/>
                  </a:cubicBezTo>
                  <a:close/>
                  <a:moveTo>
                    <a:pt x="78" y="115"/>
                  </a:moveTo>
                  <a:cubicBezTo>
                    <a:pt x="101" y="115"/>
                    <a:pt x="123" y="115"/>
                    <a:pt x="145" y="115"/>
                  </a:cubicBezTo>
                  <a:cubicBezTo>
                    <a:pt x="145" y="105"/>
                    <a:pt x="145" y="95"/>
                    <a:pt x="145" y="85"/>
                  </a:cubicBezTo>
                  <a:cubicBezTo>
                    <a:pt x="123" y="85"/>
                    <a:pt x="101" y="85"/>
                    <a:pt x="78" y="85"/>
                  </a:cubicBezTo>
                  <a:cubicBezTo>
                    <a:pt x="78" y="95"/>
                    <a:pt x="78" y="105"/>
                    <a:pt x="78" y="115"/>
                  </a:cubicBezTo>
                  <a:close/>
                  <a:moveTo>
                    <a:pt x="157" y="115"/>
                  </a:moveTo>
                  <a:cubicBezTo>
                    <a:pt x="180" y="115"/>
                    <a:pt x="202" y="115"/>
                    <a:pt x="224" y="115"/>
                  </a:cubicBezTo>
                  <a:cubicBezTo>
                    <a:pt x="224" y="105"/>
                    <a:pt x="224" y="95"/>
                    <a:pt x="224" y="85"/>
                  </a:cubicBezTo>
                  <a:cubicBezTo>
                    <a:pt x="202" y="85"/>
                    <a:pt x="180" y="85"/>
                    <a:pt x="157" y="85"/>
                  </a:cubicBezTo>
                  <a:cubicBezTo>
                    <a:pt x="157" y="95"/>
                    <a:pt x="157" y="105"/>
                    <a:pt x="157" y="115"/>
                  </a:cubicBezTo>
                  <a:close/>
                  <a:moveTo>
                    <a:pt x="39" y="73"/>
                  </a:moveTo>
                  <a:cubicBezTo>
                    <a:pt x="61" y="73"/>
                    <a:pt x="84" y="73"/>
                    <a:pt x="106" y="73"/>
                  </a:cubicBezTo>
                  <a:cubicBezTo>
                    <a:pt x="106" y="63"/>
                    <a:pt x="106" y="53"/>
                    <a:pt x="106" y="43"/>
                  </a:cubicBezTo>
                  <a:cubicBezTo>
                    <a:pt x="84" y="43"/>
                    <a:pt x="61" y="43"/>
                    <a:pt x="39" y="43"/>
                  </a:cubicBezTo>
                  <a:cubicBezTo>
                    <a:pt x="39" y="53"/>
                    <a:pt x="39" y="63"/>
                    <a:pt x="39" y="73"/>
                  </a:cubicBezTo>
                  <a:close/>
                  <a:moveTo>
                    <a:pt x="118" y="73"/>
                  </a:moveTo>
                  <a:cubicBezTo>
                    <a:pt x="140" y="73"/>
                    <a:pt x="163" y="73"/>
                    <a:pt x="185" y="73"/>
                  </a:cubicBezTo>
                  <a:cubicBezTo>
                    <a:pt x="185" y="63"/>
                    <a:pt x="185" y="53"/>
                    <a:pt x="185" y="43"/>
                  </a:cubicBezTo>
                  <a:cubicBezTo>
                    <a:pt x="163" y="43"/>
                    <a:pt x="140" y="43"/>
                    <a:pt x="118" y="43"/>
                  </a:cubicBezTo>
                  <a:cubicBezTo>
                    <a:pt x="118" y="53"/>
                    <a:pt x="118" y="63"/>
                    <a:pt x="118" y="73"/>
                  </a:cubicBezTo>
                  <a:close/>
                  <a:moveTo>
                    <a:pt x="0" y="30"/>
                  </a:moveTo>
                  <a:cubicBezTo>
                    <a:pt x="22" y="30"/>
                    <a:pt x="44" y="30"/>
                    <a:pt x="67" y="30"/>
                  </a:cubicBezTo>
                  <a:cubicBezTo>
                    <a:pt x="67" y="20"/>
                    <a:pt x="67" y="10"/>
                    <a:pt x="67" y="0"/>
                  </a:cubicBezTo>
                  <a:cubicBezTo>
                    <a:pt x="44" y="0"/>
                    <a:pt x="22" y="0"/>
                    <a:pt x="0" y="0"/>
                  </a:cubicBezTo>
                  <a:cubicBezTo>
                    <a:pt x="0" y="10"/>
                    <a:pt x="0" y="20"/>
                    <a:pt x="0" y="30"/>
                  </a:cubicBezTo>
                  <a:close/>
                  <a:moveTo>
                    <a:pt x="78" y="30"/>
                  </a:moveTo>
                  <a:cubicBezTo>
                    <a:pt x="101" y="30"/>
                    <a:pt x="123" y="30"/>
                    <a:pt x="145" y="30"/>
                  </a:cubicBezTo>
                  <a:cubicBezTo>
                    <a:pt x="145" y="20"/>
                    <a:pt x="145" y="10"/>
                    <a:pt x="145" y="0"/>
                  </a:cubicBezTo>
                  <a:cubicBezTo>
                    <a:pt x="123" y="0"/>
                    <a:pt x="101" y="0"/>
                    <a:pt x="78" y="0"/>
                  </a:cubicBezTo>
                  <a:cubicBezTo>
                    <a:pt x="78" y="10"/>
                    <a:pt x="78" y="20"/>
                    <a:pt x="78" y="30"/>
                  </a:cubicBezTo>
                  <a:close/>
                  <a:moveTo>
                    <a:pt x="0" y="158"/>
                  </a:moveTo>
                  <a:cubicBezTo>
                    <a:pt x="27" y="158"/>
                    <a:pt x="27" y="158"/>
                    <a:pt x="27" y="158"/>
                  </a:cubicBezTo>
                  <a:cubicBezTo>
                    <a:pt x="27" y="128"/>
                    <a:pt x="27" y="128"/>
                    <a:pt x="27" y="128"/>
                  </a:cubicBezTo>
                  <a:cubicBezTo>
                    <a:pt x="0" y="128"/>
                    <a:pt x="0" y="128"/>
                    <a:pt x="0" y="128"/>
                  </a:cubicBezTo>
                  <a:cubicBezTo>
                    <a:pt x="0" y="138"/>
                    <a:pt x="0" y="148"/>
                    <a:pt x="0" y="158"/>
                  </a:cubicBezTo>
                  <a:close/>
                  <a:moveTo>
                    <a:pt x="0" y="73"/>
                  </a:moveTo>
                  <a:cubicBezTo>
                    <a:pt x="9" y="73"/>
                    <a:pt x="18" y="73"/>
                    <a:pt x="27" y="73"/>
                  </a:cubicBezTo>
                  <a:cubicBezTo>
                    <a:pt x="27" y="63"/>
                    <a:pt x="27" y="53"/>
                    <a:pt x="27" y="43"/>
                  </a:cubicBezTo>
                  <a:cubicBezTo>
                    <a:pt x="18" y="43"/>
                    <a:pt x="9" y="43"/>
                    <a:pt x="0" y="43"/>
                  </a:cubicBezTo>
                  <a:cubicBezTo>
                    <a:pt x="0" y="53"/>
                    <a:pt x="0" y="63"/>
                    <a:pt x="0" y="73"/>
                  </a:cubicBezTo>
                  <a:close/>
                  <a:moveTo>
                    <a:pt x="197" y="158"/>
                  </a:moveTo>
                  <a:cubicBezTo>
                    <a:pt x="206" y="158"/>
                    <a:pt x="215" y="158"/>
                    <a:pt x="224" y="158"/>
                  </a:cubicBezTo>
                  <a:cubicBezTo>
                    <a:pt x="224" y="148"/>
                    <a:pt x="224" y="138"/>
                    <a:pt x="224" y="128"/>
                  </a:cubicBezTo>
                  <a:cubicBezTo>
                    <a:pt x="215" y="128"/>
                    <a:pt x="206" y="128"/>
                    <a:pt x="197" y="128"/>
                  </a:cubicBezTo>
                  <a:cubicBezTo>
                    <a:pt x="197" y="138"/>
                    <a:pt x="197" y="148"/>
                    <a:pt x="197" y="158"/>
                  </a:cubicBezTo>
                  <a:close/>
                  <a:moveTo>
                    <a:pt x="157" y="30"/>
                  </a:moveTo>
                  <a:cubicBezTo>
                    <a:pt x="180" y="30"/>
                    <a:pt x="202" y="30"/>
                    <a:pt x="224" y="30"/>
                  </a:cubicBezTo>
                  <a:cubicBezTo>
                    <a:pt x="224" y="20"/>
                    <a:pt x="224" y="10"/>
                    <a:pt x="224" y="0"/>
                  </a:cubicBezTo>
                  <a:cubicBezTo>
                    <a:pt x="202" y="0"/>
                    <a:pt x="180" y="0"/>
                    <a:pt x="157" y="0"/>
                  </a:cubicBezTo>
                  <a:cubicBezTo>
                    <a:pt x="157" y="10"/>
                    <a:pt x="157" y="20"/>
                    <a:pt x="157" y="30"/>
                  </a:cubicBezTo>
                  <a:close/>
                  <a:moveTo>
                    <a:pt x="197" y="73"/>
                  </a:moveTo>
                  <a:cubicBezTo>
                    <a:pt x="206" y="73"/>
                    <a:pt x="215" y="73"/>
                    <a:pt x="224" y="73"/>
                  </a:cubicBezTo>
                  <a:cubicBezTo>
                    <a:pt x="224" y="63"/>
                    <a:pt x="224" y="53"/>
                    <a:pt x="224" y="43"/>
                  </a:cubicBezTo>
                  <a:cubicBezTo>
                    <a:pt x="215" y="43"/>
                    <a:pt x="206" y="43"/>
                    <a:pt x="197" y="43"/>
                  </a:cubicBezTo>
                  <a:cubicBezTo>
                    <a:pt x="197" y="53"/>
                    <a:pt x="197" y="63"/>
                    <a:pt x="197" y="73"/>
                  </a:cubicBezTo>
                  <a:close/>
                </a:path>
              </a:pathLst>
            </a:custGeom>
            <a:solidFill>
              <a:schemeClr val="tx1"/>
            </a:solidFill>
            <a:ln>
              <a:noFill/>
            </a:ln>
            <a:effectLst/>
          </p:spPr>
          <p:txBody>
            <a:bodyPr vert="horz" wrap="square" lIns="68559" tIns="34280" rIns="68559" bIns="34280" numCol="1" anchor="t" anchorCtr="0" compatLnSpc="1">
              <a:prstTxWarp prst="textNoShape">
                <a:avLst/>
              </a:prstTxWarp>
            </a:bodyPr>
            <a:lstStyle/>
            <a:p>
              <a:pPr defTabSz="684462">
                <a:defRPr/>
              </a:pPr>
              <a:endParaRPr lang="en-US" kern="0" dirty="0">
                <a:solidFill>
                  <a:srgbClr val="0096D6"/>
                </a:solidFill>
                <a:latin typeface="CiscoSansTT Light"/>
                <a:cs typeface="CiscoSansTT Light"/>
              </a:endParaRPr>
            </a:p>
          </p:txBody>
        </p:sp>
      </p:grpSp>
      <p:grpSp>
        <p:nvGrpSpPr>
          <p:cNvPr id="128" name="Group 127"/>
          <p:cNvGrpSpPr/>
          <p:nvPr/>
        </p:nvGrpSpPr>
        <p:grpSpPr>
          <a:xfrm>
            <a:off x="3240971" y="3763645"/>
            <a:ext cx="361588" cy="519240"/>
            <a:chOff x="5870939" y="444486"/>
            <a:chExt cx="292596" cy="420168"/>
          </a:xfrm>
          <a:solidFill>
            <a:schemeClr val="tx1"/>
          </a:solidFill>
        </p:grpSpPr>
        <p:sp>
          <p:nvSpPr>
            <p:cNvPr id="129" name="Freeform 579"/>
            <p:cNvSpPr>
              <a:spLocks/>
            </p:cNvSpPr>
            <p:nvPr/>
          </p:nvSpPr>
          <p:spPr bwMode="auto">
            <a:xfrm>
              <a:off x="5998822" y="449658"/>
              <a:ext cx="31199" cy="15175"/>
            </a:xfrm>
            <a:custGeom>
              <a:avLst/>
              <a:gdLst>
                <a:gd name="T0" fmla="*/ 32 w 115"/>
                <a:gd name="T1" fmla="*/ 0 h 56"/>
                <a:gd name="T2" fmla="*/ 72 w 115"/>
                <a:gd name="T3" fmla="*/ 0 h 56"/>
                <a:gd name="T4" fmla="*/ 0 w 115"/>
                <a:gd name="T5" fmla="*/ 24 h 56"/>
                <a:gd name="T6" fmla="*/ 32 w 115"/>
                <a:gd name="T7" fmla="*/ 0 h 56"/>
                <a:gd name="T8" fmla="*/ 0 60000 65536"/>
                <a:gd name="T9" fmla="*/ 0 60000 65536"/>
                <a:gd name="T10" fmla="*/ 0 60000 65536"/>
                <a:gd name="T11" fmla="*/ 0 60000 65536"/>
                <a:gd name="T12" fmla="*/ 0 w 115"/>
                <a:gd name="T13" fmla="*/ 0 h 56"/>
                <a:gd name="T14" fmla="*/ 115 w 115"/>
                <a:gd name="T15" fmla="*/ 56 h 56"/>
              </a:gdLst>
              <a:ahLst/>
              <a:cxnLst>
                <a:cxn ang="T8">
                  <a:pos x="T0" y="T1"/>
                </a:cxn>
                <a:cxn ang="T9">
                  <a:pos x="T2" y="T3"/>
                </a:cxn>
                <a:cxn ang="T10">
                  <a:pos x="T4" y="T5"/>
                </a:cxn>
                <a:cxn ang="T11">
                  <a:pos x="T6" y="T7"/>
                </a:cxn>
              </a:cxnLst>
              <a:rect l="T12" t="T13" r="T14" b="T15"/>
              <a:pathLst>
                <a:path w="115" h="56">
                  <a:moveTo>
                    <a:pt x="32" y="0"/>
                  </a:moveTo>
                  <a:cubicBezTo>
                    <a:pt x="45" y="0"/>
                    <a:pt x="59" y="0"/>
                    <a:pt x="72" y="0"/>
                  </a:cubicBezTo>
                  <a:cubicBezTo>
                    <a:pt x="115" y="34"/>
                    <a:pt x="15" y="56"/>
                    <a:pt x="0" y="24"/>
                  </a:cubicBezTo>
                  <a:cubicBezTo>
                    <a:pt x="0" y="5"/>
                    <a:pt x="22" y="8"/>
                    <a:pt x="3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0" name="Freeform 580"/>
            <p:cNvSpPr>
              <a:spLocks/>
            </p:cNvSpPr>
            <p:nvPr/>
          </p:nvSpPr>
          <p:spPr bwMode="auto">
            <a:xfrm>
              <a:off x="5953285" y="444486"/>
              <a:ext cx="149571" cy="56214"/>
            </a:xfrm>
            <a:custGeom>
              <a:avLst/>
              <a:gdLst>
                <a:gd name="T0" fmla="*/ 376 w 552"/>
                <a:gd name="T1" fmla="*/ 75 h 207"/>
                <a:gd name="T2" fmla="*/ 308 w 552"/>
                <a:gd name="T3" fmla="*/ 79 h 207"/>
                <a:gd name="T4" fmla="*/ 452 w 552"/>
                <a:gd name="T5" fmla="*/ 123 h 207"/>
                <a:gd name="T6" fmla="*/ 552 w 552"/>
                <a:gd name="T7" fmla="*/ 207 h 207"/>
                <a:gd name="T8" fmla="*/ 428 w 552"/>
                <a:gd name="T9" fmla="*/ 155 h 207"/>
                <a:gd name="T10" fmla="*/ 200 w 552"/>
                <a:gd name="T11" fmla="*/ 127 h 207"/>
                <a:gd name="T12" fmla="*/ 124 w 552"/>
                <a:gd name="T13" fmla="*/ 111 h 207"/>
                <a:gd name="T14" fmla="*/ 0 w 552"/>
                <a:gd name="T15" fmla="*/ 131 h 207"/>
                <a:gd name="T16" fmla="*/ 224 w 552"/>
                <a:gd name="T17" fmla="*/ 71 h 207"/>
                <a:gd name="T18" fmla="*/ 376 w 552"/>
                <a:gd name="T19" fmla="*/ 75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2"/>
                <a:gd name="T31" fmla="*/ 0 h 207"/>
                <a:gd name="T32" fmla="*/ 552 w 552"/>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2" h="207">
                  <a:moveTo>
                    <a:pt x="376" y="75"/>
                  </a:moveTo>
                  <a:cubicBezTo>
                    <a:pt x="349" y="75"/>
                    <a:pt x="328" y="67"/>
                    <a:pt x="308" y="79"/>
                  </a:cubicBezTo>
                  <a:cubicBezTo>
                    <a:pt x="347" y="104"/>
                    <a:pt x="405" y="105"/>
                    <a:pt x="452" y="123"/>
                  </a:cubicBezTo>
                  <a:cubicBezTo>
                    <a:pt x="494" y="139"/>
                    <a:pt x="548" y="155"/>
                    <a:pt x="552" y="207"/>
                  </a:cubicBezTo>
                  <a:cubicBezTo>
                    <a:pt x="510" y="197"/>
                    <a:pt x="473" y="171"/>
                    <a:pt x="428" y="155"/>
                  </a:cubicBezTo>
                  <a:cubicBezTo>
                    <a:pt x="359" y="130"/>
                    <a:pt x="295" y="137"/>
                    <a:pt x="200" y="127"/>
                  </a:cubicBezTo>
                  <a:cubicBezTo>
                    <a:pt x="174" y="124"/>
                    <a:pt x="150" y="111"/>
                    <a:pt x="124" y="111"/>
                  </a:cubicBezTo>
                  <a:cubicBezTo>
                    <a:pt x="77" y="112"/>
                    <a:pt x="41" y="154"/>
                    <a:pt x="0" y="131"/>
                  </a:cubicBezTo>
                  <a:cubicBezTo>
                    <a:pt x="17" y="48"/>
                    <a:pt x="142" y="83"/>
                    <a:pt x="224" y="71"/>
                  </a:cubicBezTo>
                  <a:cubicBezTo>
                    <a:pt x="275" y="64"/>
                    <a:pt x="359" y="0"/>
                    <a:pt x="376" y="7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1" name="Freeform 581"/>
            <p:cNvSpPr>
              <a:spLocks/>
            </p:cNvSpPr>
            <p:nvPr/>
          </p:nvSpPr>
          <p:spPr bwMode="auto">
            <a:xfrm>
              <a:off x="6062825" y="457016"/>
              <a:ext cx="23284" cy="20117"/>
            </a:xfrm>
            <a:custGeom>
              <a:avLst/>
              <a:gdLst>
                <a:gd name="T0" fmla="*/ 80 w 86"/>
                <a:gd name="T1" fmla="*/ 65 h 74"/>
                <a:gd name="T2" fmla="*/ 0 w 86"/>
                <a:gd name="T3" fmla="*/ 41 h 74"/>
                <a:gd name="T4" fmla="*/ 80 w 86"/>
                <a:gd name="T5" fmla="*/ 65 h 74"/>
                <a:gd name="T6" fmla="*/ 0 60000 65536"/>
                <a:gd name="T7" fmla="*/ 0 60000 65536"/>
                <a:gd name="T8" fmla="*/ 0 60000 65536"/>
                <a:gd name="T9" fmla="*/ 0 w 86"/>
                <a:gd name="T10" fmla="*/ 0 h 74"/>
                <a:gd name="T11" fmla="*/ 86 w 86"/>
                <a:gd name="T12" fmla="*/ 74 h 74"/>
              </a:gdLst>
              <a:ahLst/>
              <a:cxnLst>
                <a:cxn ang="T6">
                  <a:pos x="T0" y="T1"/>
                </a:cxn>
                <a:cxn ang="T7">
                  <a:pos x="T2" y="T3"/>
                </a:cxn>
                <a:cxn ang="T8">
                  <a:pos x="T4" y="T5"/>
                </a:cxn>
              </a:cxnLst>
              <a:rect l="T9" t="T10" r="T11" b="T12"/>
              <a:pathLst>
                <a:path w="86" h="74">
                  <a:moveTo>
                    <a:pt x="80" y="65"/>
                  </a:moveTo>
                  <a:cubicBezTo>
                    <a:pt x="52" y="74"/>
                    <a:pt x="18" y="55"/>
                    <a:pt x="0" y="41"/>
                  </a:cubicBezTo>
                  <a:cubicBezTo>
                    <a:pt x="8" y="0"/>
                    <a:pt x="86" y="28"/>
                    <a:pt x="80" y="6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2" name="Freeform 582"/>
            <p:cNvSpPr>
              <a:spLocks/>
            </p:cNvSpPr>
            <p:nvPr/>
          </p:nvSpPr>
          <p:spPr bwMode="auto">
            <a:xfrm>
              <a:off x="5903734" y="478973"/>
              <a:ext cx="247067" cy="118404"/>
            </a:xfrm>
            <a:custGeom>
              <a:avLst/>
              <a:gdLst>
                <a:gd name="T0" fmla="*/ 895 w 912"/>
                <a:gd name="T1" fmla="*/ 436 h 436"/>
                <a:gd name="T2" fmla="*/ 831 w 912"/>
                <a:gd name="T3" fmla="*/ 336 h 436"/>
                <a:gd name="T4" fmla="*/ 759 w 912"/>
                <a:gd name="T5" fmla="*/ 248 h 436"/>
                <a:gd name="T6" fmla="*/ 747 w 912"/>
                <a:gd name="T7" fmla="*/ 184 h 436"/>
                <a:gd name="T8" fmla="*/ 491 w 912"/>
                <a:gd name="T9" fmla="*/ 64 h 436"/>
                <a:gd name="T10" fmla="*/ 295 w 912"/>
                <a:gd name="T11" fmla="*/ 44 h 436"/>
                <a:gd name="T12" fmla="*/ 479 w 912"/>
                <a:gd name="T13" fmla="*/ 84 h 436"/>
                <a:gd name="T14" fmla="*/ 727 w 912"/>
                <a:gd name="T15" fmla="*/ 220 h 436"/>
                <a:gd name="T16" fmla="*/ 471 w 912"/>
                <a:gd name="T17" fmla="*/ 120 h 436"/>
                <a:gd name="T18" fmla="*/ 363 w 912"/>
                <a:gd name="T19" fmla="*/ 120 h 436"/>
                <a:gd name="T20" fmla="*/ 275 w 912"/>
                <a:gd name="T21" fmla="*/ 92 h 436"/>
                <a:gd name="T22" fmla="*/ 7 w 912"/>
                <a:gd name="T23" fmla="*/ 216 h 436"/>
                <a:gd name="T24" fmla="*/ 99 w 912"/>
                <a:gd name="T25" fmla="*/ 132 h 436"/>
                <a:gd name="T26" fmla="*/ 251 w 912"/>
                <a:gd name="T27" fmla="*/ 24 h 436"/>
                <a:gd name="T28" fmla="*/ 387 w 912"/>
                <a:gd name="T29" fmla="*/ 24 h 436"/>
                <a:gd name="T30" fmla="*/ 503 w 912"/>
                <a:gd name="T31" fmla="*/ 28 h 436"/>
                <a:gd name="T32" fmla="*/ 779 w 912"/>
                <a:gd name="T33" fmla="*/ 148 h 436"/>
                <a:gd name="T34" fmla="*/ 803 w 912"/>
                <a:gd name="T35" fmla="*/ 228 h 436"/>
                <a:gd name="T36" fmla="*/ 847 w 912"/>
                <a:gd name="T37" fmla="*/ 276 h 436"/>
                <a:gd name="T38" fmla="*/ 895 w 912"/>
                <a:gd name="T39" fmla="*/ 436 h 4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12"/>
                <a:gd name="T61" fmla="*/ 0 h 436"/>
                <a:gd name="T62" fmla="*/ 912 w 912"/>
                <a:gd name="T63" fmla="*/ 436 h 4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12" h="436">
                  <a:moveTo>
                    <a:pt x="895" y="436"/>
                  </a:moveTo>
                  <a:cubicBezTo>
                    <a:pt x="864" y="406"/>
                    <a:pt x="854" y="371"/>
                    <a:pt x="831" y="336"/>
                  </a:cubicBezTo>
                  <a:cubicBezTo>
                    <a:pt x="811" y="305"/>
                    <a:pt x="772" y="280"/>
                    <a:pt x="759" y="248"/>
                  </a:cubicBezTo>
                  <a:cubicBezTo>
                    <a:pt x="752" y="230"/>
                    <a:pt x="756" y="204"/>
                    <a:pt x="747" y="184"/>
                  </a:cubicBezTo>
                  <a:cubicBezTo>
                    <a:pt x="721" y="123"/>
                    <a:pt x="586" y="71"/>
                    <a:pt x="491" y="64"/>
                  </a:cubicBezTo>
                  <a:cubicBezTo>
                    <a:pt x="413" y="58"/>
                    <a:pt x="362" y="58"/>
                    <a:pt x="295" y="44"/>
                  </a:cubicBezTo>
                  <a:cubicBezTo>
                    <a:pt x="321" y="92"/>
                    <a:pt x="409" y="79"/>
                    <a:pt x="479" y="84"/>
                  </a:cubicBezTo>
                  <a:cubicBezTo>
                    <a:pt x="591" y="92"/>
                    <a:pt x="712" y="133"/>
                    <a:pt x="727" y="220"/>
                  </a:cubicBezTo>
                  <a:cubicBezTo>
                    <a:pt x="646" y="185"/>
                    <a:pt x="577" y="128"/>
                    <a:pt x="471" y="120"/>
                  </a:cubicBezTo>
                  <a:cubicBezTo>
                    <a:pt x="437" y="117"/>
                    <a:pt x="399" y="124"/>
                    <a:pt x="363" y="120"/>
                  </a:cubicBezTo>
                  <a:cubicBezTo>
                    <a:pt x="333" y="116"/>
                    <a:pt x="305" y="94"/>
                    <a:pt x="275" y="92"/>
                  </a:cubicBezTo>
                  <a:cubicBezTo>
                    <a:pt x="165" y="84"/>
                    <a:pt x="112" y="218"/>
                    <a:pt x="7" y="216"/>
                  </a:cubicBezTo>
                  <a:cubicBezTo>
                    <a:pt x="0" y="168"/>
                    <a:pt x="63" y="154"/>
                    <a:pt x="99" y="132"/>
                  </a:cubicBezTo>
                  <a:cubicBezTo>
                    <a:pt x="142" y="106"/>
                    <a:pt x="199" y="55"/>
                    <a:pt x="251" y="24"/>
                  </a:cubicBezTo>
                  <a:cubicBezTo>
                    <a:pt x="292" y="0"/>
                    <a:pt x="338" y="16"/>
                    <a:pt x="387" y="24"/>
                  </a:cubicBezTo>
                  <a:cubicBezTo>
                    <a:pt x="425" y="30"/>
                    <a:pt x="464" y="25"/>
                    <a:pt x="503" y="28"/>
                  </a:cubicBezTo>
                  <a:cubicBezTo>
                    <a:pt x="592" y="34"/>
                    <a:pt x="736" y="87"/>
                    <a:pt x="779" y="148"/>
                  </a:cubicBezTo>
                  <a:cubicBezTo>
                    <a:pt x="796" y="173"/>
                    <a:pt x="793" y="202"/>
                    <a:pt x="803" y="228"/>
                  </a:cubicBezTo>
                  <a:cubicBezTo>
                    <a:pt x="811" y="248"/>
                    <a:pt x="831" y="256"/>
                    <a:pt x="847" y="276"/>
                  </a:cubicBezTo>
                  <a:cubicBezTo>
                    <a:pt x="880" y="315"/>
                    <a:pt x="912" y="375"/>
                    <a:pt x="895" y="43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3" name="Freeform 583"/>
            <p:cNvSpPr>
              <a:spLocks/>
            </p:cNvSpPr>
            <p:nvPr/>
          </p:nvSpPr>
          <p:spPr bwMode="auto">
            <a:xfrm>
              <a:off x="5923004" y="484951"/>
              <a:ext cx="29249" cy="22301"/>
            </a:xfrm>
            <a:custGeom>
              <a:avLst/>
              <a:gdLst>
                <a:gd name="T0" fmla="*/ 108 w 108"/>
                <a:gd name="T1" fmla="*/ 10 h 82"/>
                <a:gd name="T2" fmla="*/ 0 w 108"/>
                <a:gd name="T3" fmla="*/ 82 h 82"/>
                <a:gd name="T4" fmla="*/ 108 w 108"/>
                <a:gd name="T5" fmla="*/ 10 h 82"/>
                <a:gd name="T6" fmla="*/ 0 60000 65536"/>
                <a:gd name="T7" fmla="*/ 0 60000 65536"/>
                <a:gd name="T8" fmla="*/ 0 60000 65536"/>
                <a:gd name="T9" fmla="*/ 0 w 108"/>
                <a:gd name="T10" fmla="*/ 0 h 82"/>
                <a:gd name="T11" fmla="*/ 108 w 108"/>
                <a:gd name="T12" fmla="*/ 82 h 82"/>
              </a:gdLst>
              <a:ahLst/>
              <a:cxnLst>
                <a:cxn ang="T6">
                  <a:pos x="T0" y="T1"/>
                </a:cxn>
                <a:cxn ang="T7">
                  <a:pos x="T2" y="T3"/>
                </a:cxn>
                <a:cxn ang="T8">
                  <a:pos x="T4" y="T5"/>
                </a:cxn>
              </a:cxnLst>
              <a:rect l="T9" t="T10" r="T11" b="T12"/>
              <a:pathLst>
                <a:path w="108" h="82">
                  <a:moveTo>
                    <a:pt x="108" y="10"/>
                  </a:moveTo>
                  <a:cubicBezTo>
                    <a:pt x="93" y="53"/>
                    <a:pt x="43" y="81"/>
                    <a:pt x="0" y="82"/>
                  </a:cubicBezTo>
                  <a:cubicBezTo>
                    <a:pt x="14" y="38"/>
                    <a:pt x="53" y="0"/>
                    <a:pt x="108" y="1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4" name="Freeform 584"/>
            <p:cNvSpPr>
              <a:spLocks/>
            </p:cNvSpPr>
            <p:nvPr/>
          </p:nvSpPr>
          <p:spPr bwMode="auto">
            <a:xfrm>
              <a:off x="5879646" y="504034"/>
              <a:ext cx="105067" cy="98747"/>
            </a:xfrm>
            <a:custGeom>
              <a:avLst/>
              <a:gdLst>
                <a:gd name="T0" fmla="*/ 388 w 388"/>
                <a:gd name="T1" fmla="*/ 36 h 364"/>
                <a:gd name="T2" fmla="*/ 220 w 388"/>
                <a:gd name="T3" fmla="*/ 148 h 364"/>
                <a:gd name="T4" fmla="*/ 192 w 388"/>
                <a:gd name="T5" fmla="*/ 200 h 364"/>
                <a:gd name="T6" fmla="*/ 96 w 388"/>
                <a:gd name="T7" fmla="*/ 276 h 364"/>
                <a:gd name="T8" fmla="*/ 12 w 388"/>
                <a:gd name="T9" fmla="*/ 364 h 364"/>
                <a:gd name="T10" fmla="*/ 88 w 388"/>
                <a:gd name="T11" fmla="*/ 232 h 364"/>
                <a:gd name="T12" fmla="*/ 160 w 388"/>
                <a:gd name="T13" fmla="*/ 184 h 364"/>
                <a:gd name="T14" fmla="*/ 208 w 388"/>
                <a:gd name="T15" fmla="*/ 104 h 364"/>
                <a:gd name="T16" fmla="*/ 388 w 388"/>
                <a:gd name="T17" fmla="*/ 36 h 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8"/>
                <a:gd name="T28" fmla="*/ 0 h 364"/>
                <a:gd name="T29" fmla="*/ 388 w 388"/>
                <a:gd name="T30" fmla="*/ 364 h 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8" h="364">
                  <a:moveTo>
                    <a:pt x="388" y="36"/>
                  </a:moveTo>
                  <a:cubicBezTo>
                    <a:pt x="327" y="76"/>
                    <a:pt x="262" y="93"/>
                    <a:pt x="220" y="148"/>
                  </a:cubicBezTo>
                  <a:cubicBezTo>
                    <a:pt x="208" y="164"/>
                    <a:pt x="205" y="185"/>
                    <a:pt x="192" y="200"/>
                  </a:cubicBezTo>
                  <a:cubicBezTo>
                    <a:pt x="166" y="229"/>
                    <a:pt x="126" y="246"/>
                    <a:pt x="96" y="276"/>
                  </a:cubicBezTo>
                  <a:cubicBezTo>
                    <a:pt x="66" y="306"/>
                    <a:pt x="53" y="347"/>
                    <a:pt x="12" y="364"/>
                  </a:cubicBezTo>
                  <a:cubicBezTo>
                    <a:pt x="0" y="307"/>
                    <a:pt x="48" y="268"/>
                    <a:pt x="88" y="232"/>
                  </a:cubicBezTo>
                  <a:cubicBezTo>
                    <a:pt x="110" y="212"/>
                    <a:pt x="142" y="202"/>
                    <a:pt x="160" y="184"/>
                  </a:cubicBezTo>
                  <a:cubicBezTo>
                    <a:pt x="179" y="165"/>
                    <a:pt x="187" y="127"/>
                    <a:pt x="208" y="104"/>
                  </a:cubicBezTo>
                  <a:cubicBezTo>
                    <a:pt x="245" y="65"/>
                    <a:pt x="341" y="0"/>
                    <a:pt x="388" y="3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5" name="Freeform 585"/>
            <p:cNvSpPr>
              <a:spLocks/>
            </p:cNvSpPr>
            <p:nvPr/>
          </p:nvSpPr>
          <p:spPr bwMode="auto">
            <a:xfrm>
              <a:off x="5943537" y="513230"/>
              <a:ext cx="219998" cy="216693"/>
            </a:xfrm>
            <a:custGeom>
              <a:avLst/>
              <a:gdLst>
                <a:gd name="T0" fmla="*/ 812 w 812"/>
                <a:gd name="T1" fmla="*/ 598 h 798"/>
                <a:gd name="T2" fmla="*/ 812 w 812"/>
                <a:gd name="T3" fmla="*/ 682 h 798"/>
                <a:gd name="T4" fmla="*/ 760 w 812"/>
                <a:gd name="T5" fmla="*/ 798 h 798"/>
                <a:gd name="T6" fmla="*/ 772 w 812"/>
                <a:gd name="T7" fmla="*/ 590 h 798"/>
                <a:gd name="T8" fmla="*/ 576 w 812"/>
                <a:gd name="T9" fmla="*/ 182 h 798"/>
                <a:gd name="T10" fmla="*/ 100 w 812"/>
                <a:gd name="T11" fmla="*/ 94 h 798"/>
                <a:gd name="T12" fmla="*/ 0 w 812"/>
                <a:gd name="T13" fmla="*/ 154 h 798"/>
                <a:gd name="T14" fmla="*/ 112 w 812"/>
                <a:gd name="T15" fmla="*/ 50 h 798"/>
                <a:gd name="T16" fmla="*/ 364 w 812"/>
                <a:gd name="T17" fmla="*/ 22 h 798"/>
                <a:gd name="T18" fmla="*/ 812 w 812"/>
                <a:gd name="T19" fmla="*/ 598 h 7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2"/>
                <a:gd name="T31" fmla="*/ 0 h 798"/>
                <a:gd name="T32" fmla="*/ 812 w 812"/>
                <a:gd name="T33" fmla="*/ 798 h 7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2" h="798">
                  <a:moveTo>
                    <a:pt x="812" y="598"/>
                  </a:moveTo>
                  <a:cubicBezTo>
                    <a:pt x="812" y="626"/>
                    <a:pt x="812" y="654"/>
                    <a:pt x="812" y="682"/>
                  </a:cubicBezTo>
                  <a:cubicBezTo>
                    <a:pt x="796" y="722"/>
                    <a:pt x="801" y="783"/>
                    <a:pt x="760" y="798"/>
                  </a:cubicBezTo>
                  <a:cubicBezTo>
                    <a:pt x="757" y="729"/>
                    <a:pt x="777" y="659"/>
                    <a:pt x="772" y="590"/>
                  </a:cubicBezTo>
                  <a:cubicBezTo>
                    <a:pt x="760" y="437"/>
                    <a:pt x="656" y="264"/>
                    <a:pt x="576" y="182"/>
                  </a:cubicBezTo>
                  <a:cubicBezTo>
                    <a:pt x="477" y="80"/>
                    <a:pt x="267" y="0"/>
                    <a:pt x="100" y="94"/>
                  </a:cubicBezTo>
                  <a:cubicBezTo>
                    <a:pt x="64" y="114"/>
                    <a:pt x="48" y="161"/>
                    <a:pt x="0" y="154"/>
                  </a:cubicBezTo>
                  <a:cubicBezTo>
                    <a:pt x="13" y="101"/>
                    <a:pt x="67" y="72"/>
                    <a:pt x="112" y="50"/>
                  </a:cubicBezTo>
                  <a:cubicBezTo>
                    <a:pt x="181" y="17"/>
                    <a:pt x="283" y="3"/>
                    <a:pt x="364" y="22"/>
                  </a:cubicBezTo>
                  <a:cubicBezTo>
                    <a:pt x="614" y="81"/>
                    <a:pt x="776" y="324"/>
                    <a:pt x="812" y="598"/>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6" name="Freeform 586"/>
            <p:cNvSpPr>
              <a:spLocks/>
            </p:cNvSpPr>
            <p:nvPr/>
          </p:nvSpPr>
          <p:spPr bwMode="auto">
            <a:xfrm>
              <a:off x="5870939" y="533578"/>
              <a:ext cx="276088" cy="186574"/>
            </a:xfrm>
            <a:custGeom>
              <a:avLst/>
              <a:gdLst>
                <a:gd name="T0" fmla="*/ 0 w 1019"/>
                <a:gd name="T1" fmla="*/ 467 h 687"/>
                <a:gd name="T2" fmla="*/ 0 w 1019"/>
                <a:gd name="T3" fmla="*/ 435 h 687"/>
                <a:gd name="T4" fmla="*/ 220 w 1019"/>
                <a:gd name="T5" fmla="*/ 131 h 687"/>
                <a:gd name="T6" fmla="*/ 296 w 1019"/>
                <a:gd name="T7" fmla="*/ 103 h 687"/>
                <a:gd name="T8" fmla="*/ 380 w 1019"/>
                <a:gd name="T9" fmla="*/ 43 h 687"/>
                <a:gd name="T10" fmla="*/ 588 w 1019"/>
                <a:gd name="T11" fmla="*/ 3 h 687"/>
                <a:gd name="T12" fmla="*/ 844 w 1019"/>
                <a:gd name="T13" fmla="*/ 143 h 687"/>
                <a:gd name="T14" fmla="*/ 1012 w 1019"/>
                <a:gd name="T15" fmla="*/ 551 h 687"/>
                <a:gd name="T16" fmla="*/ 976 w 1019"/>
                <a:gd name="T17" fmla="*/ 687 h 687"/>
                <a:gd name="T18" fmla="*/ 968 w 1019"/>
                <a:gd name="T19" fmla="*/ 539 h 687"/>
                <a:gd name="T20" fmla="*/ 820 w 1019"/>
                <a:gd name="T21" fmla="*/ 187 h 687"/>
                <a:gd name="T22" fmla="*/ 412 w 1019"/>
                <a:gd name="T23" fmla="*/ 75 h 687"/>
                <a:gd name="T24" fmla="*/ 304 w 1019"/>
                <a:gd name="T25" fmla="*/ 151 h 687"/>
                <a:gd name="T26" fmla="*/ 232 w 1019"/>
                <a:gd name="T27" fmla="*/ 171 h 687"/>
                <a:gd name="T28" fmla="*/ 68 w 1019"/>
                <a:gd name="T29" fmla="*/ 371 h 687"/>
                <a:gd name="T30" fmla="*/ 0 w 1019"/>
                <a:gd name="T31" fmla="*/ 467 h 6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19"/>
                <a:gd name="T49" fmla="*/ 0 h 687"/>
                <a:gd name="T50" fmla="*/ 1019 w 1019"/>
                <a:gd name="T51" fmla="*/ 687 h 6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19" h="687">
                  <a:moveTo>
                    <a:pt x="0" y="467"/>
                  </a:moveTo>
                  <a:cubicBezTo>
                    <a:pt x="0" y="456"/>
                    <a:pt x="0" y="446"/>
                    <a:pt x="0" y="435"/>
                  </a:cubicBezTo>
                  <a:cubicBezTo>
                    <a:pt x="35" y="319"/>
                    <a:pt x="123" y="178"/>
                    <a:pt x="220" y="131"/>
                  </a:cubicBezTo>
                  <a:cubicBezTo>
                    <a:pt x="245" y="119"/>
                    <a:pt x="272" y="115"/>
                    <a:pt x="296" y="103"/>
                  </a:cubicBezTo>
                  <a:cubicBezTo>
                    <a:pt x="329" y="86"/>
                    <a:pt x="354" y="58"/>
                    <a:pt x="380" y="43"/>
                  </a:cubicBezTo>
                  <a:cubicBezTo>
                    <a:pt x="432" y="14"/>
                    <a:pt x="497" y="0"/>
                    <a:pt x="588" y="3"/>
                  </a:cubicBezTo>
                  <a:cubicBezTo>
                    <a:pt x="693" y="7"/>
                    <a:pt x="788" y="78"/>
                    <a:pt x="844" y="143"/>
                  </a:cubicBezTo>
                  <a:cubicBezTo>
                    <a:pt x="930" y="242"/>
                    <a:pt x="1012" y="387"/>
                    <a:pt x="1012" y="551"/>
                  </a:cubicBezTo>
                  <a:cubicBezTo>
                    <a:pt x="1012" y="598"/>
                    <a:pt x="1019" y="653"/>
                    <a:pt x="976" y="687"/>
                  </a:cubicBezTo>
                  <a:cubicBezTo>
                    <a:pt x="955" y="635"/>
                    <a:pt x="970" y="584"/>
                    <a:pt x="968" y="539"/>
                  </a:cubicBezTo>
                  <a:cubicBezTo>
                    <a:pt x="961" y="392"/>
                    <a:pt x="890" y="271"/>
                    <a:pt x="820" y="187"/>
                  </a:cubicBezTo>
                  <a:cubicBezTo>
                    <a:pt x="740" y="91"/>
                    <a:pt x="571" y="0"/>
                    <a:pt x="412" y="75"/>
                  </a:cubicBezTo>
                  <a:cubicBezTo>
                    <a:pt x="373" y="93"/>
                    <a:pt x="347" y="132"/>
                    <a:pt x="304" y="151"/>
                  </a:cubicBezTo>
                  <a:cubicBezTo>
                    <a:pt x="283" y="160"/>
                    <a:pt x="256" y="159"/>
                    <a:pt x="232" y="171"/>
                  </a:cubicBezTo>
                  <a:cubicBezTo>
                    <a:pt x="156" y="208"/>
                    <a:pt x="102" y="300"/>
                    <a:pt x="68" y="371"/>
                  </a:cubicBezTo>
                  <a:cubicBezTo>
                    <a:pt x="52" y="406"/>
                    <a:pt x="34" y="484"/>
                    <a:pt x="0" y="46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7" name="Freeform 587"/>
            <p:cNvSpPr>
              <a:spLocks/>
            </p:cNvSpPr>
            <p:nvPr/>
          </p:nvSpPr>
          <p:spPr bwMode="auto">
            <a:xfrm>
              <a:off x="5893421" y="538751"/>
              <a:ext cx="29593" cy="27129"/>
            </a:xfrm>
            <a:custGeom>
              <a:avLst/>
              <a:gdLst>
                <a:gd name="T0" fmla="*/ 109 w 109"/>
                <a:gd name="T1" fmla="*/ 0 h 100"/>
                <a:gd name="T2" fmla="*/ 1 w 109"/>
                <a:gd name="T3" fmla="*/ 100 h 100"/>
                <a:gd name="T4" fmla="*/ 109 w 109"/>
                <a:gd name="T5" fmla="*/ 0 h 100"/>
                <a:gd name="T6" fmla="*/ 0 60000 65536"/>
                <a:gd name="T7" fmla="*/ 0 60000 65536"/>
                <a:gd name="T8" fmla="*/ 0 60000 65536"/>
                <a:gd name="T9" fmla="*/ 0 w 109"/>
                <a:gd name="T10" fmla="*/ 0 h 100"/>
                <a:gd name="T11" fmla="*/ 109 w 109"/>
                <a:gd name="T12" fmla="*/ 100 h 100"/>
              </a:gdLst>
              <a:ahLst/>
              <a:cxnLst>
                <a:cxn ang="T6">
                  <a:pos x="T0" y="T1"/>
                </a:cxn>
                <a:cxn ang="T7">
                  <a:pos x="T2" y="T3"/>
                </a:cxn>
                <a:cxn ang="T8">
                  <a:pos x="T4" y="T5"/>
                </a:cxn>
              </a:cxnLst>
              <a:rect l="T9" t="T10" r="T11" b="T12"/>
              <a:pathLst>
                <a:path w="109" h="100">
                  <a:moveTo>
                    <a:pt x="109" y="0"/>
                  </a:moveTo>
                  <a:cubicBezTo>
                    <a:pt x="102" y="62"/>
                    <a:pt x="47" y="77"/>
                    <a:pt x="1" y="100"/>
                  </a:cubicBezTo>
                  <a:cubicBezTo>
                    <a:pt x="0" y="45"/>
                    <a:pt x="52" y="10"/>
                    <a:pt x="10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8" name="Freeform 588"/>
            <p:cNvSpPr>
              <a:spLocks/>
            </p:cNvSpPr>
            <p:nvPr/>
          </p:nvSpPr>
          <p:spPr bwMode="auto">
            <a:xfrm>
              <a:off x="5874724" y="552546"/>
              <a:ext cx="225963" cy="286011"/>
            </a:xfrm>
            <a:custGeom>
              <a:avLst/>
              <a:gdLst>
                <a:gd name="T0" fmla="*/ 386 w 834"/>
                <a:gd name="T1" fmla="*/ 105 h 1053"/>
                <a:gd name="T2" fmla="*/ 470 w 834"/>
                <a:gd name="T3" fmla="*/ 85 h 1053"/>
                <a:gd name="T4" fmla="*/ 834 w 834"/>
                <a:gd name="T5" fmla="*/ 397 h 1053"/>
                <a:gd name="T6" fmla="*/ 830 w 834"/>
                <a:gd name="T7" fmla="*/ 429 h 1053"/>
                <a:gd name="T8" fmla="*/ 694 w 834"/>
                <a:gd name="T9" fmla="*/ 869 h 1053"/>
                <a:gd name="T10" fmla="*/ 542 w 834"/>
                <a:gd name="T11" fmla="*/ 937 h 1053"/>
                <a:gd name="T12" fmla="*/ 434 w 834"/>
                <a:gd name="T13" fmla="*/ 1001 h 1053"/>
                <a:gd name="T14" fmla="*/ 302 w 834"/>
                <a:gd name="T15" fmla="*/ 1021 h 1053"/>
                <a:gd name="T16" fmla="*/ 222 w 834"/>
                <a:gd name="T17" fmla="*/ 1045 h 1053"/>
                <a:gd name="T18" fmla="*/ 390 w 834"/>
                <a:gd name="T19" fmla="*/ 965 h 1053"/>
                <a:gd name="T20" fmla="*/ 690 w 834"/>
                <a:gd name="T21" fmla="*/ 625 h 1053"/>
                <a:gd name="T22" fmla="*/ 714 w 834"/>
                <a:gd name="T23" fmla="*/ 521 h 1053"/>
                <a:gd name="T24" fmla="*/ 722 w 834"/>
                <a:gd name="T25" fmla="*/ 653 h 1053"/>
                <a:gd name="T26" fmla="*/ 622 w 834"/>
                <a:gd name="T27" fmla="*/ 861 h 1053"/>
                <a:gd name="T28" fmla="*/ 766 w 834"/>
                <a:gd name="T29" fmla="*/ 529 h 1053"/>
                <a:gd name="T30" fmla="*/ 778 w 834"/>
                <a:gd name="T31" fmla="*/ 361 h 1053"/>
                <a:gd name="T32" fmla="*/ 522 w 834"/>
                <a:gd name="T33" fmla="*/ 133 h 1053"/>
                <a:gd name="T34" fmla="*/ 326 w 834"/>
                <a:gd name="T35" fmla="*/ 205 h 1053"/>
                <a:gd name="T36" fmla="*/ 202 w 834"/>
                <a:gd name="T37" fmla="*/ 321 h 1053"/>
                <a:gd name="T38" fmla="*/ 114 w 834"/>
                <a:gd name="T39" fmla="*/ 505 h 1053"/>
                <a:gd name="T40" fmla="*/ 18 w 834"/>
                <a:gd name="T41" fmla="*/ 645 h 1053"/>
                <a:gd name="T42" fmla="*/ 78 w 834"/>
                <a:gd name="T43" fmla="*/ 477 h 1053"/>
                <a:gd name="T44" fmla="*/ 150 w 834"/>
                <a:gd name="T45" fmla="*/ 309 h 1053"/>
                <a:gd name="T46" fmla="*/ 266 w 834"/>
                <a:gd name="T47" fmla="*/ 185 h 1053"/>
                <a:gd name="T48" fmla="*/ 502 w 834"/>
                <a:gd name="T49" fmla="*/ 5 h 1053"/>
                <a:gd name="T50" fmla="*/ 574 w 834"/>
                <a:gd name="T51" fmla="*/ 25 h 1053"/>
                <a:gd name="T52" fmla="*/ 470 w 834"/>
                <a:gd name="T53" fmla="*/ 57 h 1053"/>
                <a:gd name="T54" fmla="*/ 386 w 834"/>
                <a:gd name="T55" fmla="*/ 105 h 10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4"/>
                <a:gd name="T85" fmla="*/ 0 h 1053"/>
                <a:gd name="T86" fmla="*/ 834 w 834"/>
                <a:gd name="T87" fmla="*/ 1053 h 10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4" h="1053">
                  <a:moveTo>
                    <a:pt x="386" y="105"/>
                  </a:moveTo>
                  <a:cubicBezTo>
                    <a:pt x="419" y="107"/>
                    <a:pt x="441" y="88"/>
                    <a:pt x="470" y="85"/>
                  </a:cubicBezTo>
                  <a:cubicBezTo>
                    <a:pt x="658" y="63"/>
                    <a:pt x="834" y="235"/>
                    <a:pt x="834" y="397"/>
                  </a:cubicBezTo>
                  <a:cubicBezTo>
                    <a:pt x="834" y="407"/>
                    <a:pt x="832" y="420"/>
                    <a:pt x="830" y="429"/>
                  </a:cubicBezTo>
                  <a:cubicBezTo>
                    <a:pt x="792" y="614"/>
                    <a:pt x="805" y="765"/>
                    <a:pt x="694" y="869"/>
                  </a:cubicBezTo>
                  <a:cubicBezTo>
                    <a:pt x="652" y="909"/>
                    <a:pt x="601" y="916"/>
                    <a:pt x="542" y="937"/>
                  </a:cubicBezTo>
                  <a:cubicBezTo>
                    <a:pt x="502" y="951"/>
                    <a:pt x="477" y="984"/>
                    <a:pt x="434" y="1001"/>
                  </a:cubicBezTo>
                  <a:cubicBezTo>
                    <a:pt x="395" y="1017"/>
                    <a:pt x="348" y="1010"/>
                    <a:pt x="302" y="1021"/>
                  </a:cubicBezTo>
                  <a:cubicBezTo>
                    <a:pt x="278" y="1027"/>
                    <a:pt x="256" y="1053"/>
                    <a:pt x="222" y="1045"/>
                  </a:cubicBezTo>
                  <a:cubicBezTo>
                    <a:pt x="220" y="972"/>
                    <a:pt x="328" y="988"/>
                    <a:pt x="390" y="965"/>
                  </a:cubicBezTo>
                  <a:cubicBezTo>
                    <a:pt x="533" y="914"/>
                    <a:pt x="657" y="786"/>
                    <a:pt x="690" y="625"/>
                  </a:cubicBezTo>
                  <a:cubicBezTo>
                    <a:pt x="697" y="593"/>
                    <a:pt x="685" y="552"/>
                    <a:pt x="714" y="521"/>
                  </a:cubicBezTo>
                  <a:cubicBezTo>
                    <a:pt x="764" y="541"/>
                    <a:pt x="733" y="611"/>
                    <a:pt x="722" y="653"/>
                  </a:cubicBezTo>
                  <a:cubicBezTo>
                    <a:pt x="700" y="737"/>
                    <a:pt x="671" y="808"/>
                    <a:pt x="622" y="861"/>
                  </a:cubicBezTo>
                  <a:cubicBezTo>
                    <a:pt x="735" y="819"/>
                    <a:pt x="755" y="678"/>
                    <a:pt x="766" y="529"/>
                  </a:cubicBezTo>
                  <a:cubicBezTo>
                    <a:pt x="771" y="467"/>
                    <a:pt x="790" y="414"/>
                    <a:pt x="778" y="361"/>
                  </a:cubicBezTo>
                  <a:cubicBezTo>
                    <a:pt x="753" y="251"/>
                    <a:pt x="651" y="135"/>
                    <a:pt x="522" y="133"/>
                  </a:cubicBezTo>
                  <a:cubicBezTo>
                    <a:pt x="442" y="132"/>
                    <a:pt x="378" y="164"/>
                    <a:pt x="326" y="205"/>
                  </a:cubicBezTo>
                  <a:cubicBezTo>
                    <a:pt x="288" y="236"/>
                    <a:pt x="235" y="283"/>
                    <a:pt x="202" y="321"/>
                  </a:cubicBezTo>
                  <a:cubicBezTo>
                    <a:pt x="166" y="363"/>
                    <a:pt x="144" y="445"/>
                    <a:pt x="114" y="505"/>
                  </a:cubicBezTo>
                  <a:cubicBezTo>
                    <a:pt x="89" y="556"/>
                    <a:pt x="74" y="622"/>
                    <a:pt x="18" y="645"/>
                  </a:cubicBezTo>
                  <a:cubicBezTo>
                    <a:pt x="0" y="588"/>
                    <a:pt x="50" y="534"/>
                    <a:pt x="78" y="477"/>
                  </a:cubicBezTo>
                  <a:cubicBezTo>
                    <a:pt x="104" y="424"/>
                    <a:pt x="119" y="359"/>
                    <a:pt x="150" y="309"/>
                  </a:cubicBezTo>
                  <a:cubicBezTo>
                    <a:pt x="177" y="264"/>
                    <a:pt x="229" y="225"/>
                    <a:pt x="266" y="185"/>
                  </a:cubicBezTo>
                  <a:cubicBezTo>
                    <a:pt x="341" y="106"/>
                    <a:pt x="369" y="17"/>
                    <a:pt x="502" y="5"/>
                  </a:cubicBezTo>
                  <a:cubicBezTo>
                    <a:pt x="524" y="3"/>
                    <a:pt x="572" y="0"/>
                    <a:pt x="574" y="25"/>
                  </a:cubicBezTo>
                  <a:cubicBezTo>
                    <a:pt x="577" y="58"/>
                    <a:pt x="501" y="50"/>
                    <a:pt x="470" y="57"/>
                  </a:cubicBezTo>
                  <a:cubicBezTo>
                    <a:pt x="435" y="65"/>
                    <a:pt x="401" y="77"/>
                    <a:pt x="386" y="10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39" name="Freeform 589"/>
            <p:cNvSpPr>
              <a:spLocks/>
            </p:cNvSpPr>
            <p:nvPr/>
          </p:nvSpPr>
          <p:spPr bwMode="auto">
            <a:xfrm>
              <a:off x="6034619" y="552892"/>
              <a:ext cx="93711" cy="167261"/>
            </a:xfrm>
            <a:custGeom>
              <a:avLst/>
              <a:gdLst>
                <a:gd name="T0" fmla="*/ 304 w 346"/>
                <a:gd name="T1" fmla="*/ 616 h 616"/>
                <a:gd name="T2" fmla="*/ 300 w 346"/>
                <a:gd name="T3" fmla="*/ 464 h 616"/>
                <a:gd name="T4" fmla="*/ 280 w 346"/>
                <a:gd name="T5" fmla="*/ 412 h 616"/>
                <a:gd name="T6" fmla="*/ 232 w 346"/>
                <a:gd name="T7" fmla="*/ 260 h 616"/>
                <a:gd name="T8" fmla="*/ 80 w 346"/>
                <a:gd name="T9" fmla="*/ 92 h 616"/>
                <a:gd name="T10" fmla="*/ 0 w 346"/>
                <a:gd name="T11" fmla="*/ 32 h 616"/>
                <a:gd name="T12" fmla="*/ 200 w 346"/>
                <a:gd name="T13" fmla="*/ 132 h 616"/>
                <a:gd name="T14" fmla="*/ 340 w 346"/>
                <a:gd name="T15" fmla="*/ 448 h 616"/>
                <a:gd name="T16" fmla="*/ 304 w 346"/>
                <a:gd name="T17" fmla="*/ 616 h 6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6"/>
                <a:gd name="T28" fmla="*/ 0 h 616"/>
                <a:gd name="T29" fmla="*/ 346 w 346"/>
                <a:gd name="T30" fmla="*/ 616 h 6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6" h="616">
                  <a:moveTo>
                    <a:pt x="304" y="616"/>
                  </a:moveTo>
                  <a:cubicBezTo>
                    <a:pt x="276" y="580"/>
                    <a:pt x="309" y="515"/>
                    <a:pt x="300" y="464"/>
                  </a:cubicBezTo>
                  <a:cubicBezTo>
                    <a:pt x="297" y="445"/>
                    <a:pt x="285" y="430"/>
                    <a:pt x="280" y="412"/>
                  </a:cubicBezTo>
                  <a:cubicBezTo>
                    <a:pt x="264" y="354"/>
                    <a:pt x="258" y="308"/>
                    <a:pt x="232" y="260"/>
                  </a:cubicBezTo>
                  <a:cubicBezTo>
                    <a:pt x="197" y="196"/>
                    <a:pt x="138" y="127"/>
                    <a:pt x="80" y="92"/>
                  </a:cubicBezTo>
                  <a:cubicBezTo>
                    <a:pt x="53" y="76"/>
                    <a:pt x="6" y="77"/>
                    <a:pt x="0" y="32"/>
                  </a:cubicBezTo>
                  <a:cubicBezTo>
                    <a:pt x="46" y="0"/>
                    <a:pt x="161" y="84"/>
                    <a:pt x="200" y="132"/>
                  </a:cubicBezTo>
                  <a:cubicBezTo>
                    <a:pt x="269" y="217"/>
                    <a:pt x="332" y="346"/>
                    <a:pt x="340" y="448"/>
                  </a:cubicBezTo>
                  <a:cubicBezTo>
                    <a:pt x="345" y="509"/>
                    <a:pt x="346" y="588"/>
                    <a:pt x="304" y="616"/>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40" name="Freeform 590"/>
            <p:cNvSpPr>
              <a:spLocks/>
            </p:cNvSpPr>
            <p:nvPr/>
          </p:nvSpPr>
          <p:spPr bwMode="auto">
            <a:xfrm>
              <a:off x="5874256" y="581055"/>
              <a:ext cx="76047" cy="114152"/>
            </a:xfrm>
            <a:custGeom>
              <a:avLst/>
              <a:gdLst>
                <a:gd name="T0" fmla="*/ 276 w 281"/>
                <a:gd name="T1" fmla="*/ 0 h 420"/>
                <a:gd name="T2" fmla="*/ 184 w 281"/>
                <a:gd name="T3" fmla="*/ 116 h 420"/>
                <a:gd name="T4" fmla="*/ 100 w 281"/>
                <a:gd name="T5" fmla="*/ 244 h 420"/>
                <a:gd name="T6" fmla="*/ 8 w 281"/>
                <a:gd name="T7" fmla="*/ 420 h 420"/>
                <a:gd name="T8" fmla="*/ 48 w 281"/>
                <a:gd name="T9" fmla="*/ 268 h 420"/>
                <a:gd name="T10" fmla="*/ 108 w 281"/>
                <a:gd name="T11" fmla="*/ 128 h 420"/>
                <a:gd name="T12" fmla="*/ 268 w 281"/>
                <a:gd name="T13" fmla="*/ 0 h 420"/>
                <a:gd name="T14" fmla="*/ 276 w 281"/>
                <a:gd name="T15" fmla="*/ 0 h 420"/>
                <a:gd name="T16" fmla="*/ 0 60000 65536"/>
                <a:gd name="T17" fmla="*/ 0 60000 65536"/>
                <a:gd name="T18" fmla="*/ 0 60000 65536"/>
                <a:gd name="T19" fmla="*/ 0 60000 65536"/>
                <a:gd name="T20" fmla="*/ 0 60000 65536"/>
                <a:gd name="T21" fmla="*/ 0 60000 65536"/>
                <a:gd name="T22" fmla="*/ 0 60000 65536"/>
                <a:gd name="T23" fmla="*/ 0 60000 65536"/>
                <a:gd name="T24" fmla="*/ 0 w 281"/>
                <a:gd name="T25" fmla="*/ 0 h 420"/>
                <a:gd name="T26" fmla="*/ 281 w 281"/>
                <a:gd name="T27" fmla="*/ 420 h 4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1" h="420">
                  <a:moveTo>
                    <a:pt x="276" y="0"/>
                  </a:moveTo>
                  <a:cubicBezTo>
                    <a:pt x="281" y="60"/>
                    <a:pt x="217" y="82"/>
                    <a:pt x="184" y="116"/>
                  </a:cubicBezTo>
                  <a:cubicBezTo>
                    <a:pt x="151" y="150"/>
                    <a:pt x="120" y="196"/>
                    <a:pt x="100" y="244"/>
                  </a:cubicBezTo>
                  <a:cubicBezTo>
                    <a:pt x="74" y="306"/>
                    <a:pt x="67" y="380"/>
                    <a:pt x="8" y="420"/>
                  </a:cubicBezTo>
                  <a:cubicBezTo>
                    <a:pt x="0" y="366"/>
                    <a:pt x="29" y="315"/>
                    <a:pt x="48" y="268"/>
                  </a:cubicBezTo>
                  <a:cubicBezTo>
                    <a:pt x="67" y="221"/>
                    <a:pt x="83" y="167"/>
                    <a:pt x="108" y="128"/>
                  </a:cubicBezTo>
                  <a:cubicBezTo>
                    <a:pt x="139" y="81"/>
                    <a:pt x="220" y="27"/>
                    <a:pt x="268" y="0"/>
                  </a:cubicBezTo>
                  <a:cubicBezTo>
                    <a:pt x="271" y="0"/>
                    <a:pt x="273" y="0"/>
                    <a:pt x="276"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41" name="Freeform 591"/>
            <p:cNvSpPr>
              <a:spLocks/>
            </p:cNvSpPr>
            <p:nvPr/>
          </p:nvSpPr>
          <p:spPr bwMode="auto">
            <a:xfrm>
              <a:off x="5898001" y="590022"/>
              <a:ext cx="187767" cy="225430"/>
            </a:xfrm>
            <a:custGeom>
              <a:avLst/>
              <a:gdLst>
                <a:gd name="T0" fmla="*/ 632 w 693"/>
                <a:gd name="T1" fmla="*/ 363 h 830"/>
                <a:gd name="T2" fmla="*/ 444 w 693"/>
                <a:gd name="T3" fmla="*/ 79 h 830"/>
                <a:gd name="T4" fmla="*/ 260 w 693"/>
                <a:gd name="T5" fmla="*/ 151 h 830"/>
                <a:gd name="T6" fmla="*/ 232 w 693"/>
                <a:gd name="T7" fmla="*/ 187 h 830"/>
                <a:gd name="T8" fmla="*/ 168 w 693"/>
                <a:gd name="T9" fmla="*/ 263 h 830"/>
                <a:gd name="T10" fmla="*/ 524 w 693"/>
                <a:gd name="T11" fmla="*/ 131 h 830"/>
                <a:gd name="T12" fmla="*/ 544 w 693"/>
                <a:gd name="T13" fmla="*/ 571 h 830"/>
                <a:gd name="T14" fmla="*/ 376 w 693"/>
                <a:gd name="T15" fmla="*/ 763 h 830"/>
                <a:gd name="T16" fmla="*/ 304 w 693"/>
                <a:gd name="T17" fmla="*/ 795 h 830"/>
                <a:gd name="T18" fmla="*/ 236 w 693"/>
                <a:gd name="T19" fmla="*/ 819 h 830"/>
                <a:gd name="T20" fmla="*/ 384 w 693"/>
                <a:gd name="T21" fmla="*/ 703 h 830"/>
                <a:gd name="T22" fmla="*/ 528 w 693"/>
                <a:gd name="T23" fmla="*/ 415 h 830"/>
                <a:gd name="T24" fmla="*/ 520 w 693"/>
                <a:gd name="T25" fmla="*/ 191 h 830"/>
                <a:gd name="T26" fmla="*/ 340 w 693"/>
                <a:gd name="T27" fmla="*/ 167 h 830"/>
                <a:gd name="T28" fmla="*/ 260 w 693"/>
                <a:gd name="T29" fmla="*/ 255 h 830"/>
                <a:gd name="T30" fmla="*/ 200 w 693"/>
                <a:gd name="T31" fmla="*/ 307 h 830"/>
                <a:gd name="T32" fmla="*/ 184 w 693"/>
                <a:gd name="T33" fmla="*/ 431 h 830"/>
                <a:gd name="T34" fmla="*/ 116 w 693"/>
                <a:gd name="T35" fmla="*/ 571 h 830"/>
                <a:gd name="T36" fmla="*/ 0 w 693"/>
                <a:gd name="T37" fmla="*/ 651 h 830"/>
                <a:gd name="T38" fmla="*/ 84 w 693"/>
                <a:gd name="T39" fmla="*/ 527 h 830"/>
                <a:gd name="T40" fmla="*/ 124 w 693"/>
                <a:gd name="T41" fmla="*/ 355 h 830"/>
                <a:gd name="T42" fmla="*/ 124 w 693"/>
                <a:gd name="T43" fmla="*/ 223 h 830"/>
                <a:gd name="T44" fmla="*/ 248 w 693"/>
                <a:gd name="T45" fmla="*/ 103 h 830"/>
                <a:gd name="T46" fmla="*/ 644 w 693"/>
                <a:gd name="T47" fmla="*/ 171 h 830"/>
                <a:gd name="T48" fmla="*/ 632 w 693"/>
                <a:gd name="T49" fmla="*/ 363 h 8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3"/>
                <a:gd name="T76" fmla="*/ 0 h 830"/>
                <a:gd name="T77" fmla="*/ 693 w 693"/>
                <a:gd name="T78" fmla="*/ 830 h 8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3" h="830">
                  <a:moveTo>
                    <a:pt x="632" y="363"/>
                  </a:moveTo>
                  <a:cubicBezTo>
                    <a:pt x="628" y="214"/>
                    <a:pt x="580" y="83"/>
                    <a:pt x="444" y="79"/>
                  </a:cubicBezTo>
                  <a:cubicBezTo>
                    <a:pt x="376" y="77"/>
                    <a:pt x="304" y="110"/>
                    <a:pt x="260" y="151"/>
                  </a:cubicBezTo>
                  <a:cubicBezTo>
                    <a:pt x="249" y="161"/>
                    <a:pt x="244" y="175"/>
                    <a:pt x="232" y="187"/>
                  </a:cubicBezTo>
                  <a:cubicBezTo>
                    <a:pt x="209" y="209"/>
                    <a:pt x="160" y="222"/>
                    <a:pt x="168" y="263"/>
                  </a:cubicBezTo>
                  <a:cubicBezTo>
                    <a:pt x="253" y="221"/>
                    <a:pt x="372" y="31"/>
                    <a:pt x="524" y="131"/>
                  </a:cubicBezTo>
                  <a:cubicBezTo>
                    <a:pt x="621" y="195"/>
                    <a:pt x="594" y="461"/>
                    <a:pt x="544" y="571"/>
                  </a:cubicBezTo>
                  <a:cubicBezTo>
                    <a:pt x="509" y="649"/>
                    <a:pt x="440" y="726"/>
                    <a:pt x="376" y="763"/>
                  </a:cubicBezTo>
                  <a:cubicBezTo>
                    <a:pt x="354" y="776"/>
                    <a:pt x="327" y="783"/>
                    <a:pt x="304" y="795"/>
                  </a:cubicBezTo>
                  <a:cubicBezTo>
                    <a:pt x="283" y="806"/>
                    <a:pt x="262" y="830"/>
                    <a:pt x="236" y="819"/>
                  </a:cubicBezTo>
                  <a:cubicBezTo>
                    <a:pt x="260" y="744"/>
                    <a:pt x="331" y="743"/>
                    <a:pt x="384" y="703"/>
                  </a:cubicBezTo>
                  <a:cubicBezTo>
                    <a:pt x="465" y="641"/>
                    <a:pt x="514" y="548"/>
                    <a:pt x="528" y="415"/>
                  </a:cubicBezTo>
                  <a:cubicBezTo>
                    <a:pt x="536" y="339"/>
                    <a:pt x="562" y="251"/>
                    <a:pt x="520" y="191"/>
                  </a:cubicBezTo>
                  <a:cubicBezTo>
                    <a:pt x="484" y="140"/>
                    <a:pt x="396" y="135"/>
                    <a:pt x="340" y="167"/>
                  </a:cubicBezTo>
                  <a:cubicBezTo>
                    <a:pt x="309" y="184"/>
                    <a:pt x="293" y="221"/>
                    <a:pt x="260" y="255"/>
                  </a:cubicBezTo>
                  <a:cubicBezTo>
                    <a:pt x="243" y="273"/>
                    <a:pt x="213" y="285"/>
                    <a:pt x="200" y="307"/>
                  </a:cubicBezTo>
                  <a:cubicBezTo>
                    <a:pt x="179" y="343"/>
                    <a:pt x="192" y="380"/>
                    <a:pt x="184" y="431"/>
                  </a:cubicBezTo>
                  <a:cubicBezTo>
                    <a:pt x="177" y="476"/>
                    <a:pt x="142" y="534"/>
                    <a:pt x="116" y="571"/>
                  </a:cubicBezTo>
                  <a:cubicBezTo>
                    <a:pt x="90" y="608"/>
                    <a:pt x="55" y="652"/>
                    <a:pt x="0" y="651"/>
                  </a:cubicBezTo>
                  <a:cubicBezTo>
                    <a:pt x="5" y="592"/>
                    <a:pt x="59" y="569"/>
                    <a:pt x="84" y="527"/>
                  </a:cubicBezTo>
                  <a:cubicBezTo>
                    <a:pt x="107" y="489"/>
                    <a:pt x="132" y="426"/>
                    <a:pt x="124" y="355"/>
                  </a:cubicBezTo>
                  <a:cubicBezTo>
                    <a:pt x="119" y="309"/>
                    <a:pt x="103" y="267"/>
                    <a:pt x="124" y="223"/>
                  </a:cubicBezTo>
                  <a:cubicBezTo>
                    <a:pt x="145" y="180"/>
                    <a:pt x="204" y="139"/>
                    <a:pt x="248" y="103"/>
                  </a:cubicBezTo>
                  <a:cubicBezTo>
                    <a:pt x="376" y="0"/>
                    <a:pt x="568" y="10"/>
                    <a:pt x="644" y="171"/>
                  </a:cubicBezTo>
                  <a:cubicBezTo>
                    <a:pt x="664" y="213"/>
                    <a:pt x="693" y="346"/>
                    <a:pt x="632" y="363"/>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51" name="Freeform 592"/>
            <p:cNvSpPr>
              <a:spLocks/>
            </p:cNvSpPr>
            <p:nvPr/>
          </p:nvSpPr>
          <p:spPr bwMode="auto">
            <a:xfrm>
              <a:off x="6007197" y="629222"/>
              <a:ext cx="35213" cy="24600"/>
            </a:xfrm>
            <a:custGeom>
              <a:avLst/>
              <a:gdLst>
                <a:gd name="T0" fmla="*/ 101 w 130"/>
                <a:gd name="T1" fmla="*/ 91 h 91"/>
                <a:gd name="T2" fmla="*/ 17 w 130"/>
                <a:gd name="T3" fmla="*/ 67 h 91"/>
                <a:gd name="T4" fmla="*/ 101 w 130"/>
                <a:gd name="T5" fmla="*/ 91 h 91"/>
                <a:gd name="T6" fmla="*/ 0 60000 65536"/>
                <a:gd name="T7" fmla="*/ 0 60000 65536"/>
                <a:gd name="T8" fmla="*/ 0 60000 65536"/>
                <a:gd name="T9" fmla="*/ 0 w 130"/>
                <a:gd name="T10" fmla="*/ 0 h 91"/>
                <a:gd name="T11" fmla="*/ 130 w 130"/>
                <a:gd name="T12" fmla="*/ 91 h 91"/>
              </a:gdLst>
              <a:ahLst/>
              <a:cxnLst>
                <a:cxn ang="T6">
                  <a:pos x="T0" y="T1"/>
                </a:cxn>
                <a:cxn ang="T7">
                  <a:pos x="T2" y="T3"/>
                </a:cxn>
                <a:cxn ang="T8">
                  <a:pos x="T4" y="T5"/>
                </a:cxn>
              </a:cxnLst>
              <a:rect l="T9" t="T10" r="T11" b="T12"/>
              <a:pathLst>
                <a:path w="130" h="91">
                  <a:moveTo>
                    <a:pt x="101" y="91"/>
                  </a:moveTo>
                  <a:cubicBezTo>
                    <a:pt x="75" y="81"/>
                    <a:pt x="51" y="69"/>
                    <a:pt x="17" y="67"/>
                  </a:cubicBezTo>
                  <a:cubicBezTo>
                    <a:pt x="0" y="0"/>
                    <a:pt x="130" y="39"/>
                    <a:pt x="101" y="91"/>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58" name="Freeform 593"/>
            <p:cNvSpPr>
              <a:spLocks/>
            </p:cNvSpPr>
            <p:nvPr/>
          </p:nvSpPr>
          <p:spPr bwMode="auto">
            <a:xfrm>
              <a:off x="5947322" y="630256"/>
              <a:ext cx="60677" cy="71388"/>
            </a:xfrm>
            <a:custGeom>
              <a:avLst/>
              <a:gdLst>
                <a:gd name="T0" fmla="*/ 222 w 224"/>
                <a:gd name="T1" fmla="*/ 47 h 263"/>
                <a:gd name="T2" fmla="*/ 182 w 224"/>
                <a:gd name="T3" fmla="*/ 79 h 263"/>
                <a:gd name="T4" fmla="*/ 86 w 224"/>
                <a:gd name="T5" fmla="*/ 179 h 263"/>
                <a:gd name="T6" fmla="*/ 34 w 224"/>
                <a:gd name="T7" fmla="*/ 263 h 263"/>
                <a:gd name="T8" fmla="*/ 118 w 224"/>
                <a:gd name="T9" fmla="*/ 91 h 263"/>
                <a:gd name="T10" fmla="*/ 222 w 224"/>
                <a:gd name="T11" fmla="*/ 47 h 263"/>
                <a:gd name="T12" fmla="*/ 0 60000 65536"/>
                <a:gd name="T13" fmla="*/ 0 60000 65536"/>
                <a:gd name="T14" fmla="*/ 0 60000 65536"/>
                <a:gd name="T15" fmla="*/ 0 60000 65536"/>
                <a:gd name="T16" fmla="*/ 0 60000 65536"/>
                <a:gd name="T17" fmla="*/ 0 60000 65536"/>
                <a:gd name="T18" fmla="*/ 0 w 224"/>
                <a:gd name="T19" fmla="*/ 0 h 263"/>
                <a:gd name="T20" fmla="*/ 224 w 224"/>
                <a:gd name="T21" fmla="*/ 263 h 263"/>
              </a:gdLst>
              <a:ahLst/>
              <a:cxnLst>
                <a:cxn ang="T12">
                  <a:pos x="T0" y="T1"/>
                </a:cxn>
                <a:cxn ang="T13">
                  <a:pos x="T2" y="T3"/>
                </a:cxn>
                <a:cxn ang="T14">
                  <a:pos x="T4" y="T5"/>
                </a:cxn>
                <a:cxn ang="T15">
                  <a:pos x="T6" y="T7"/>
                </a:cxn>
                <a:cxn ang="T16">
                  <a:pos x="T8" y="T9"/>
                </a:cxn>
                <a:cxn ang="T17">
                  <a:pos x="T10" y="T11"/>
                </a:cxn>
              </a:cxnLst>
              <a:rect l="T18" t="T19" r="T20" b="T21"/>
              <a:pathLst>
                <a:path w="224" h="263">
                  <a:moveTo>
                    <a:pt x="222" y="47"/>
                  </a:moveTo>
                  <a:cubicBezTo>
                    <a:pt x="224" y="73"/>
                    <a:pt x="195" y="68"/>
                    <a:pt x="182" y="79"/>
                  </a:cubicBezTo>
                  <a:cubicBezTo>
                    <a:pt x="162" y="122"/>
                    <a:pt x="115" y="143"/>
                    <a:pt x="86" y="179"/>
                  </a:cubicBezTo>
                  <a:cubicBezTo>
                    <a:pt x="65" y="205"/>
                    <a:pt x="68" y="245"/>
                    <a:pt x="34" y="263"/>
                  </a:cubicBezTo>
                  <a:cubicBezTo>
                    <a:pt x="0" y="195"/>
                    <a:pt x="79" y="136"/>
                    <a:pt x="118" y="91"/>
                  </a:cubicBezTo>
                  <a:cubicBezTo>
                    <a:pt x="141" y="65"/>
                    <a:pt x="176" y="0"/>
                    <a:pt x="222" y="4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69" name="Freeform 594"/>
            <p:cNvSpPr>
              <a:spLocks/>
            </p:cNvSpPr>
            <p:nvPr/>
          </p:nvSpPr>
          <p:spPr bwMode="auto">
            <a:xfrm>
              <a:off x="5906717" y="648994"/>
              <a:ext cx="130645" cy="172204"/>
            </a:xfrm>
            <a:custGeom>
              <a:avLst/>
              <a:gdLst>
                <a:gd name="T0" fmla="*/ 52 w 482"/>
                <a:gd name="T1" fmla="*/ 614 h 634"/>
                <a:gd name="T2" fmla="*/ 120 w 482"/>
                <a:gd name="T3" fmla="*/ 562 h 634"/>
                <a:gd name="T4" fmla="*/ 236 w 482"/>
                <a:gd name="T5" fmla="*/ 454 h 634"/>
                <a:gd name="T6" fmla="*/ 300 w 482"/>
                <a:gd name="T7" fmla="*/ 430 h 634"/>
                <a:gd name="T8" fmla="*/ 432 w 482"/>
                <a:gd name="T9" fmla="*/ 206 h 634"/>
                <a:gd name="T10" fmla="*/ 428 w 482"/>
                <a:gd name="T11" fmla="*/ 162 h 634"/>
                <a:gd name="T12" fmla="*/ 400 w 482"/>
                <a:gd name="T13" fmla="*/ 58 h 634"/>
                <a:gd name="T14" fmla="*/ 332 w 482"/>
                <a:gd name="T15" fmla="*/ 130 h 634"/>
                <a:gd name="T16" fmla="*/ 64 w 482"/>
                <a:gd name="T17" fmla="*/ 490 h 634"/>
                <a:gd name="T18" fmla="*/ 0 w 482"/>
                <a:gd name="T19" fmla="*/ 506 h 634"/>
                <a:gd name="T20" fmla="*/ 76 w 482"/>
                <a:gd name="T21" fmla="*/ 426 h 634"/>
                <a:gd name="T22" fmla="*/ 240 w 482"/>
                <a:gd name="T23" fmla="*/ 146 h 634"/>
                <a:gd name="T24" fmla="*/ 292 w 482"/>
                <a:gd name="T25" fmla="*/ 102 h 634"/>
                <a:gd name="T26" fmla="*/ 340 w 482"/>
                <a:gd name="T27" fmla="*/ 38 h 634"/>
                <a:gd name="T28" fmla="*/ 480 w 482"/>
                <a:gd name="T29" fmla="*/ 90 h 634"/>
                <a:gd name="T30" fmla="*/ 468 w 482"/>
                <a:gd name="T31" fmla="*/ 166 h 634"/>
                <a:gd name="T32" fmla="*/ 468 w 482"/>
                <a:gd name="T33" fmla="*/ 250 h 634"/>
                <a:gd name="T34" fmla="*/ 356 w 482"/>
                <a:gd name="T35" fmla="*/ 450 h 634"/>
                <a:gd name="T36" fmla="*/ 264 w 482"/>
                <a:gd name="T37" fmla="*/ 494 h 634"/>
                <a:gd name="T38" fmla="*/ 52 w 482"/>
                <a:gd name="T39" fmla="*/ 614 h 6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2"/>
                <a:gd name="T61" fmla="*/ 0 h 634"/>
                <a:gd name="T62" fmla="*/ 482 w 482"/>
                <a:gd name="T63" fmla="*/ 634 h 63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2" h="634">
                  <a:moveTo>
                    <a:pt x="52" y="614"/>
                  </a:moveTo>
                  <a:cubicBezTo>
                    <a:pt x="63" y="583"/>
                    <a:pt x="91" y="582"/>
                    <a:pt x="120" y="562"/>
                  </a:cubicBezTo>
                  <a:cubicBezTo>
                    <a:pt x="162" y="533"/>
                    <a:pt x="194" y="478"/>
                    <a:pt x="236" y="454"/>
                  </a:cubicBezTo>
                  <a:cubicBezTo>
                    <a:pt x="255" y="443"/>
                    <a:pt x="279" y="442"/>
                    <a:pt x="300" y="430"/>
                  </a:cubicBezTo>
                  <a:cubicBezTo>
                    <a:pt x="368" y="392"/>
                    <a:pt x="428" y="289"/>
                    <a:pt x="432" y="206"/>
                  </a:cubicBezTo>
                  <a:cubicBezTo>
                    <a:pt x="433" y="191"/>
                    <a:pt x="427" y="176"/>
                    <a:pt x="428" y="162"/>
                  </a:cubicBezTo>
                  <a:cubicBezTo>
                    <a:pt x="430" y="121"/>
                    <a:pt x="449" y="65"/>
                    <a:pt x="400" y="58"/>
                  </a:cubicBezTo>
                  <a:cubicBezTo>
                    <a:pt x="355" y="51"/>
                    <a:pt x="343" y="93"/>
                    <a:pt x="332" y="130"/>
                  </a:cubicBezTo>
                  <a:cubicBezTo>
                    <a:pt x="229" y="219"/>
                    <a:pt x="186" y="413"/>
                    <a:pt x="64" y="490"/>
                  </a:cubicBezTo>
                  <a:cubicBezTo>
                    <a:pt x="48" y="500"/>
                    <a:pt x="23" y="512"/>
                    <a:pt x="0" y="506"/>
                  </a:cubicBezTo>
                  <a:cubicBezTo>
                    <a:pt x="0" y="456"/>
                    <a:pt x="46" y="452"/>
                    <a:pt x="76" y="426"/>
                  </a:cubicBezTo>
                  <a:cubicBezTo>
                    <a:pt x="154" y="358"/>
                    <a:pt x="171" y="230"/>
                    <a:pt x="240" y="146"/>
                  </a:cubicBezTo>
                  <a:cubicBezTo>
                    <a:pt x="253" y="131"/>
                    <a:pt x="276" y="120"/>
                    <a:pt x="292" y="102"/>
                  </a:cubicBezTo>
                  <a:cubicBezTo>
                    <a:pt x="311" y="81"/>
                    <a:pt x="322" y="51"/>
                    <a:pt x="340" y="38"/>
                  </a:cubicBezTo>
                  <a:cubicBezTo>
                    <a:pt x="395" y="0"/>
                    <a:pt x="476" y="32"/>
                    <a:pt x="480" y="90"/>
                  </a:cubicBezTo>
                  <a:cubicBezTo>
                    <a:pt x="482" y="116"/>
                    <a:pt x="470" y="144"/>
                    <a:pt x="468" y="166"/>
                  </a:cubicBezTo>
                  <a:cubicBezTo>
                    <a:pt x="466" y="195"/>
                    <a:pt x="471" y="223"/>
                    <a:pt x="468" y="250"/>
                  </a:cubicBezTo>
                  <a:cubicBezTo>
                    <a:pt x="459" y="329"/>
                    <a:pt x="412" y="407"/>
                    <a:pt x="356" y="450"/>
                  </a:cubicBezTo>
                  <a:cubicBezTo>
                    <a:pt x="330" y="470"/>
                    <a:pt x="294" y="476"/>
                    <a:pt x="264" y="494"/>
                  </a:cubicBezTo>
                  <a:cubicBezTo>
                    <a:pt x="198" y="533"/>
                    <a:pt x="151" y="634"/>
                    <a:pt x="52" y="61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72" name="Freeform 595"/>
            <p:cNvSpPr>
              <a:spLocks noEditPoints="1"/>
            </p:cNvSpPr>
            <p:nvPr/>
          </p:nvSpPr>
          <p:spPr bwMode="auto">
            <a:xfrm>
              <a:off x="5909929" y="671296"/>
              <a:ext cx="112752" cy="138752"/>
            </a:xfrm>
            <a:custGeom>
              <a:avLst/>
              <a:gdLst>
                <a:gd name="T0" fmla="*/ 388 w 416"/>
                <a:gd name="T1" fmla="*/ 0 h 511"/>
                <a:gd name="T2" fmla="*/ 380 w 416"/>
                <a:gd name="T3" fmla="*/ 76 h 511"/>
                <a:gd name="T4" fmla="*/ 308 w 416"/>
                <a:gd name="T5" fmla="*/ 296 h 511"/>
                <a:gd name="T6" fmla="*/ 160 w 416"/>
                <a:gd name="T7" fmla="*/ 392 h 511"/>
                <a:gd name="T8" fmla="*/ 0 w 416"/>
                <a:gd name="T9" fmla="*/ 476 h 511"/>
                <a:gd name="T10" fmla="*/ 76 w 416"/>
                <a:gd name="T11" fmla="*/ 420 h 511"/>
                <a:gd name="T12" fmla="*/ 208 w 416"/>
                <a:gd name="T13" fmla="*/ 276 h 511"/>
                <a:gd name="T14" fmla="*/ 344 w 416"/>
                <a:gd name="T15" fmla="*/ 60 h 511"/>
                <a:gd name="T16" fmla="*/ 380 w 416"/>
                <a:gd name="T17" fmla="*/ 0 h 511"/>
                <a:gd name="T18" fmla="*/ 388 w 416"/>
                <a:gd name="T19" fmla="*/ 0 h 511"/>
                <a:gd name="T20" fmla="*/ 260 w 416"/>
                <a:gd name="T21" fmla="*/ 264 h 511"/>
                <a:gd name="T22" fmla="*/ 344 w 416"/>
                <a:gd name="T23" fmla="*/ 120 h 511"/>
                <a:gd name="T24" fmla="*/ 332 w 416"/>
                <a:gd name="T25" fmla="*/ 116 h 511"/>
                <a:gd name="T26" fmla="*/ 260 w 416"/>
                <a:gd name="T27" fmla="*/ 264 h 5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16"/>
                <a:gd name="T43" fmla="*/ 0 h 511"/>
                <a:gd name="T44" fmla="*/ 416 w 416"/>
                <a:gd name="T45" fmla="*/ 511 h 5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16" h="511">
                  <a:moveTo>
                    <a:pt x="388" y="0"/>
                  </a:moveTo>
                  <a:cubicBezTo>
                    <a:pt x="408" y="22"/>
                    <a:pt x="388" y="57"/>
                    <a:pt x="380" y="76"/>
                  </a:cubicBezTo>
                  <a:cubicBezTo>
                    <a:pt x="416" y="121"/>
                    <a:pt x="361" y="271"/>
                    <a:pt x="308" y="296"/>
                  </a:cubicBezTo>
                  <a:cubicBezTo>
                    <a:pt x="246" y="325"/>
                    <a:pt x="203" y="342"/>
                    <a:pt x="160" y="392"/>
                  </a:cubicBezTo>
                  <a:cubicBezTo>
                    <a:pt x="130" y="426"/>
                    <a:pt x="60" y="511"/>
                    <a:pt x="0" y="476"/>
                  </a:cubicBezTo>
                  <a:cubicBezTo>
                    <a:pt x="17" y="440"/>
                    <a:pt x="50" y="439"/>
                    <a:pt x="76" y="420"/>
                  </a:cubicBezTo>
                  <a:cubicBezTo>
                    <a:pt x="106" y="399"/>
                    <a:pt x="194" y="313"/>
                    <a:pt x="208" y="276"/>
                  </a:cubicBezTo>
                  <a:cubicBezTo>
                    <a:pt x="239" y="199"/>
                    <a:pt x="278" y="107"/>
                    <a:pt x="344" y="60"/>
                  </a:cubicBezTo>
                  <a:cubicBezTo>
                    <a:pt x="351" y="35"/>
                    <a:pt x="355" y="6"/>
                    <a:pt x="380" y="0"/>
                  </a:cubicBezTo>
                  <a:cubicBezTo>
                    <a:pt x="383" y="0"/>
                    <a:pt x="385" y="0"/>
                    <a:pt x="388" y="0"/>
                  </a:cubicBezTo>
                  <a:close/>
                  <a:moveTo>
                    <a:pt x="260" y="264"/>
                  </a:moveTo>
                  <a:cubicBezTo>
                    <a:pt x="312" y="258"/>
                    <a:pt x="349" y="183"/>
                    <a:pt x="344" y="120"/>
                  </a:cubicBezTo>
                  <a:cubicBezTo>
                    <a:pt x="339" y="120"/>
                    <a:pt x="339" y="115"/>
                    <a:pt x="332" y="116"/>
                  </a:cubicBezTo>
                  <a:cubicBezTo>
                    <a:pt x="312" y="169"/>
                    <a:pt x="283" y="213"/>
                    <a:pt x="260" y="26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76" name="Freeform 596"/>
            <p:cNvSpPr>
              <a:spLocks/>
            </p:cNvSpPr>
            <p:nvPr/>
          </p:nvSpPr>
          <p:spPr bwMode="auto">
            <a:xfrm>
              <a:off x="6095516" y="675549"/>
              <a:ext cx="18696" cy="40235"/>
            </a:xfrm>
            <a:custGeom>
              <a:avLst/>
              <a:gdLst>
                <a:gd name="T0" fmla="*/ 39 w 69"/>
                <a:gd name="T1" fmla="*/ 0 h 148"/>
                <a:gd name="T2" fmla="*/ 15 w 69"/>
                <a:gd name="T3" fmla="*/ 148 h 148"/>
                <a:gd name="T4" fmla="*/ 39 w 69"/>
                <a:gd name="T5" fmla="*/ 0 h 148"/>
                <a:gd name="T6" fmla="*/ 0 60000 65536"/>
                <a:gd name="T7" fmla="*/ 0 60000 65536"/>
                <a:gd name="T8" fmla="*/ 0 60000 65536"/>
                <a:gd name="T9" fmla="*/ 0 w 69"/>
                <a:gd name="T10" fmla="*/ 0 h 148"/>
                <a:gd name="T11" fmla="*/ 69 w 69"/>
                <a:gd name="T12" fmla="*/ 148 h 148"/>
              </a:gdLst>
              <a:ahLst/>
              <a:cxnLst>
                <a:cxn ang="T6">
                  <a:pos x="T0" y="T1"/>
                </a:cxn>
                <a:cxn ang="T7">
                  <a:pos x="T2" y="T3"/>
                </a:cxn>
                <a:cxn ang="T8">
                  <a:pos x="T4" y="T5"/>
                </a:cxn>
              </a:cxnLst>
              <a:rect l="T9" t="T10" r="T11" b="T12"/>
              <a:pathLst>
                <a:path w="69" h="148">
                  <a:moveTo>
                    <a:pt x="39" y="0"/>
                  </a:moveTo>
                  <a:cubicBezTo>
                    <a:pt x="69" y="30"/>
                    <a:pt x="53" y="134"/>
                    <a:pt x="15" y="148"/>
                  </a:cubicBezTo>
                  <a:cubicBezTo>
                    <a:pt x="13" y="103"/>
                    <a:pt x="0" y="16"/>
                    <a:pt x="3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79" name="Freeform 597"/>
            <p:cNvSpPr>
              <a:spLocks/>
            </p:cNvSpPr>
            <p:nvPr/>
          </p:nvSpPr>
          <p:spPr bwMode="auto">
            <a:xfrm>
              <a:off x="5884001" y="679689"/>
              <a:ext cx="43013" cy="70813"/>
            </a:xfrm>
            <a:custGeom>
              <a:avLst/>
              <a:gdLst>
                <a:gd name="T0" fmla="*/ 140 w 159"/>
                <a:gd name="T1" fmla="*/ 5 h 261"/>
                <a:gd name="T2" fmla="*/ 112 w 159"/>
                <a:gd name="T3" fmla="*/ 157 h 261"/>
                <a:gd name="T4" fmla="*/ 20 w 159"/>
                <a:gd name="T5" fmla="*/ 261 h 261"/>
                <a:gd name="T6" fmla="*/ 120 w 159"/>
                <a:gd name="T7" fmla="*/ 13 h 261"/>
                <a:gd name="T8" fmla="*/ 128 w 159"/>
                <a:gd name="T9" fmla="*/ 1 h 261"/>
                <a:gd name="T10" fmla="*/ 140 w 159"/>
                <a:gd name="T11" fmla="*/ 5 h 261"/>
                <a:gd name="T12" fmla="*/ 0 60000 65536"/>
                <a:gd name="T13" fmla="*/ 0 60000 65536"/>
                <a:gd name="T14" fmla="*/ 0 60000 65536"/>
                <a:gd name="T15" fmla="*/ 0 60000 65536"/>
                <a:gd name="T16" fmla="*/ 0 60000 65536"/>
                <a:gd name="T17" fmla="*/ 0 60000 65536"/>
                <a:gd name="T18" fmla="*/ 0 w 159"/>
                <a:gd name="T19" fmla="*/ 0 h 261"/>
                <a:gd name="T20" fmla="*/ 159 w 159"/>
                <a:gd name="T21" fmla="*/ 261 h 261"/>
              </a:gdLst>
              <a:ahLst/>
              <a:cxnLst>
                <a:cxn ang="T12">
                  <a:pos x="T0" y="T1"/>
                </a:cxn>
                <a:cxn ang="T13">
                  <a:pos x="T2" y="T3"/>
                </a:cxn>
                <a:cxn ang="T14">
                  <a:pos x="T4" y="T5"/>
                </a:cxn>
                <a:cxn ang="T15">
                  <a:pos x="T6" y="T7"/>
                </a:cxn>
                <a:cxn ang="T16">
                  <a:pos x="T8" y="T9"/>
                </a:cxn>
                <a:cxn ang="T17">
                  <a:pos x="T10" y="T11"/>
                </a:cxn>
              </a:cxnLst>
              <a:rect l="T18" t="T19" r="T20" b="T21"/>
              <a:pathLst>
                <a:path w="159" h="261">
                  <a:moveTo>
                    <a:pt x="140" y="5"/>
                  </a:moveTo>
                  <a:cubicBezTo>
                    <a:pt x="159" y="62"/>
                    <a:pt x="137" y="118"/>
                    <a:pt x="112" y="157"/>
                  </a:cubicBezTo>
                  <a:cubicBezTo>
                    <a:pt x="87" y="195"/>
                    <a:pt x="54" y="238"/>
                    <a:pt x="20" y="261"/>
                  </a:cubicBezTo>
                  <a:cubicBezTo>
                    <a:pt x="0" y="156"/>
                    <a:pt x="106" y="110"/>
                    <a:pt x="120" y="13"/>
                  </a:cubicBezTo>
                  <a:cubicBezTo>
                    <a:pt x="122" y="8"/>
                    <a:pt x="127" y="7"/>
                    <a:pt x="128" y="1"/>
                  </a:cubicBezTo>
                  <a:cubicBezTo>
                    <a:pt x="135" y="0"/>
                    <a:pt x="135" y="5"/>
                    <a:pt x="140" y="5"/>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83" name="Freeform 598"/>
            <p:cNvSpPr>
              <a:spLocks/>
            </p:cNvSpPr>
            <p:nvPr/>
          </p:nvSpPr>
          <p:spPr bwMode="auto">
            <a:xfrm>
              <a:off x="5970601" y="725557"/>
              <a:ext cx="137413" cy="139097"/>
            </a:xfrm>
            <a:custGeom>
              <a:avLst/>
              <a:gdLst>
                <a:gd name="T0" fmla="*/ 492 w 507"/>
                <a:gd name="T1" fmla="*/ 0 h 512"/>
                <a:gd name="T2" fmla="*/ 444 w 507"/>
                <a:gd name="T3" fmla="*/ 188 h 512"/>
                <a:gd name="T4" fmla="*/ 328 w 507"/>
                <a:gd name="T5" fmla="*/ 324 h 512"/>
                <a:gd name="T6" fmla="*/ 160 w 507"/>
                <a:gd name="T7" fmla="*/ 396 h 512"/>
                <a:gd name="T8" fmla="*/ 316 w 507"/>
                <a:gd name="T9" fmla="*/ 360 h 512"/>
                <a:gd name="T10" fmla="*/ 124 w 507"/>
                <a:gd name="T11" fmla="*/ 444 h 512"/>
                <a:gd name="T12" fmla="*/ 0 w 507"/>
                <a:gd name="T13" fmla="*/ 496 h 512"/>
                <a:gd name="T14" fmla="*/ 56 w 507"/>
                <a:gd name="T15" fmla="*/ 444 h 512"/>
                <a:gd name="T16" fmla="*/ 136 w 507"/>
                <a:gd name="T17" fmla="*/ 356 h 512"/>
                <a:gd name="T18" fmla="*/ 332 w 507"/>
                <a:gd name="T19" fmla="*/ 272 h 512"/>
                <a:gd name="T20" fmla="*/ 472 w 507"/>
                <a:gd name="T21" fmla="*/ 16 h 512"/>
                <a:gd name="T22" fmla="*/ 480 w 507"/>
                <a:gd name="T23" fmla="*/ 0 h 512"/>
                <a:gd name="T24" fmla="*/ 492 w 507"/>
                <a:gd name="T25" fmla="*/ 0 h 5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7"/>
                <a:gd name="T40" fmla="*/ 0 h 512"/>
                <a:gd name="T41" fmla="*/ 507 w 507"/>
                <a:gd name="T42" fmla="*/ 512 h 5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7" h="512">
                  <a:moveTo>
                    <a:pt x="492" y="0"/>
                  </a:moveTo>
                  <a:cubicBezTo>
                    <a:pt x="507" y="67"/>
                    <a:pt x="473" y="136"/>
                    <a:pt x="444" y="188"/>
                  </a:cubicBezTo>
                  <a:cubicBezTo>
                    <a:pt x="415" y="240"/>
                    <a:pt x="380" y="296"/>
                    <a:pt x="328" y="324"/>
                  </a:cubicBezTo>
                  <a:cubicBezTo>
                    <a:pt x="274" y="354"/>
                    <a:pt x="207" y="350"/>
                    <a:pt x="160" y="396"/>
                  </a:cubicBezTo>
                  <a:cubicBezTo>
                    <a:pt x="219" y="409"/>
                    <a:pt x="271" y="361"/>
                    <a:pt x="316" y="360"/>
                  </a:cubicBezTo>
                  <a:cubicBezTo>
                    <a:pt x="311" y="453"/>
                    <a:pt x="194" y="419"/>
                    <a:pt x="124" y="444"/>
                  </a:cubicBezTo>
                  <a:cubicBezTo>
                    <a:pt x="78" y="460"/>
                    <a:pt x="50" y="512"/>
                    <a:pt x="0" y="496"/>
                  </a:cubicBezTo>
                  <a:cubicBezTo>
                    <a:pt x="5" y="460"/>
                    <a:pt x="37" y="460"/>
                    <a:pt x="56" y="444"/>
                  </a:cubicBezTo>
                  <a:cubicBezTo>
                    <a:pt x="87" y="419"/>
                    <a:pt x="107" y="378"/>
                    <a:pt x="136" y="356"/>
                  </a:cubicBezTo>
                  <a:cubicBezTo>
                    <a:pt x="198" y="310"/>
                    <a:pt x="277" y="314"/>
                    <a:pt x="332" y="272"/>
                  </a:cubicBezTo>
                  <a:cubicBezTo>
                    <a:pt x="418" y="206"/>
                    <a:pt x="424" y="122"/>
                    <a:pt x="472" y="16"/>
                  </a:cubicBezTo>
                  <a:cubicBezTo>
                    <a:pt x="474" y="12"/>
                    <a:pt x="475" y="5"/>
                    <a:pt x="480" y="0"/>
                  </a:cubicBezTo>
                  <a:cubicBezTo>
                    <a:pt x="484" y="0"/>
                    <a:pt x="488" y="0"/>
                    <a:pt x="4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86" name="Freeform 599"/>
            <p:cNvSpPr>
              <a:spLocks/>
            </p:cNvSpPr>
            <p:nvPr/>
          </p:nvSpPr>
          <p:spPr bwMode="auto">
            <a:xfrm>
              <a:off x="6061678" y="727742"/>
              <a:ext cx="82700" cy="99898"/>
            </a:xfrm>
            <a:custGeom>
              <a:avLst/>
              <a:gdLst>
                <a:gd name="T0" fmla="*/ 288 w 305"/>
                <a:gd name="T1" fmla="*/ 4 h 368"/>
                <a:gd name="T2" fmla="*/ 220 w 305"/>
                <a:gd name="T3" fmla="*/ 196 h 368"/>
                <a:gd name="T4" fmla="*/ 152 w 305"/>
                <a:gd name="T5" fmla="*/ 236 h 368"/>
                <a:gd name="T6" fmla="*/ 0 w 305"/>
                <a:gd name="T7" fmla="*/ 348 h 368"/>
                <a:gd name="T8" fmla="*/ 52 w 305"/>
                <a:gd name="T9" fmla="*/ 292 h 368"/>
                <a:gd name="T10" fmla="*/ 172 w 305"/>
                <a:gd name="T11" fmla="*/ 76 h 368"/>
                <a:gd name="T12" fmla="*/ 208 w 305"/>
                <a:gd name="T13" fmla="*/ 4 h 368"/>
                <a:gd name="T14" fmla="*/ 176 w 305"/>
                <a:gd name="T15" fmla="*/ 164 h 368"/>
                <a:gd name="T16" fmla="*/ 276 w 305"/>
                <a:gd name="T17" fmla="*/ 0 h 368"/>
                <a:gd name="T18" fmla="*/ 288 w 305"/>
                <a:gd name="T19" fmla="*/ 4 h 3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5"/>
                <a:gd name="T31" fmla="*/ 0 h 368"/>
                <a:gd name="T32" fmla="*/ 305 w 305"/>
                <a:gd name="T33" fmla="*/ 368 h 3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5" h="368">
                  <a:moveTo>
                    <a:pt x="288" y="4"/>
                  </a:moveTo>
                  <a:cubicBezTo>
                    <a:pt x="305" y="75"/>
                    <a:pt x="265" y="155"/>
                    <a:pt x="220" y="196"/>
                  </a:cubicBezTo>
                  <a:cubicBezTo>
                    <a:pt x="202" y="213"/>
                    <a:pt x="173" y="218"/>
                    <a:pt x="152" y="236"/>
                  </a:cubicBezTo>
                  <a:cubicBezTo>
                    <a:pt x="106" y="276"/>
                    <a:pt x="76" y="368"/>
                    <a:pt x="0" y="348"/>
                  </a:cubicBezTo>
                  <a:cubicBezTo>
                    <a:pt x="0" y="310"/>
                    <a:pt x="31" y="310"/>
                    <a:pt x="52" y="292"/>
                  </a:cubicBezTo>
                  <a:cubicBezTo>
                    <a:pt x="106" y="246"/>
                    <a:pt x="151" y="153"/>
                    <a:pt x="172" y="76"/>
                  </a:cubicBezTo>
                  <a:cubicBezTo>
                    <a:pt x="179" y="52"/>
                    <a:pt x="177" y="14"/>
                    <a:pt x="208" y="4"/>
                  </a:cubicBezTo>
                  <a:cubicBezTo>
                    <a:pt x="247" y="48"/>
                    <a:pt x="187" y="118"/>
                    <a:pt x="176" y="164"/>
                  </a:cubicBezTo>
                  <a:cubicBezTo>
                    <a:pt x="233" y="149"/>
                    <a:pt x="235" y="44"/>
                    <a:pt x="276" y="0"/>
                  </a:cubicBezTo>
                  <a:cubicBezTo>
                    <a:pt x="279" y="2"/>
                    <a:pt x="283" y="4"/>
                    <a:pt x="288" y="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90" name="Freeform 600"/>
            <p:cNvSpPr>
              <a:spLocks/>
            </p:cNvSpPr>
            <p:nvPr/>
          </p:nvSpPr>
          <p:spPr bwMode="auto">
            <a:xfrm>
              <a:off x="6043326" y="779934"/>
              <a:ext cx="90385" cy="70583"/>
            </a:xfrm>
            <a:custGeom>
              <a:avLst/>
              <a:gdLst>
                <a:gd name="T0" fmla="*/ 328 w 334"/>
                <a:gd name="T1" fmla="*/ 0 h 260"/>
                <a:gd name="T2" fmla="*/ 252 w 334"/>
                <a:gd name="T3" fmla="*/ 100 h 260"/>
                <a:gd name="T4" fmla="*/ 288 w 334"/>
                <a:gd name="T5" fmla="*/ 92 h 260"/>
                <a:gd name="T6" fmla="*/ 252 w 334"/>
                <a:gd name="T7" fmla="*/ 148 h 260"/>
                <a:gd name="T8" fmla="*/ 0 w 334"/>
                <a:gd name="T9" fmla="*/ 260 h 260"/>
                <a:gd name="T10" fmla="*/ 92 w 334"/>
                <a:gd name="T11" fmla="*/ 188 h 260"/>
                <a:gd name="T12" fmla="*/ 196 w 334"/>
                <a:gd name="T13" fmla="*/ 120 h 260"/>
                <a:gd name="T14" fmla="*/ 316 w 334"/>
                <a:gd name="T15" fmla="*/ 0 h 260"/>
                <a:gd name="T16" fmla="*/ 328 w 334"/>
                <a:gd name="T17" fmla="*/ 0 h 2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4"/>
                <a:gd name="T28" fmla="*/ 0 h 260"/>
                <a:gd name="T29" fmla="*/ 334 w 334"/>
                <a:gd name="T30" fmla="*/ 260 h 2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4" h="260">
                  <a:moveTo>
                    <a:pt x="328" y="0"/>
                  </a:moveTo>
                  <a:cubicBezTo>
                    <a:pt x="334" y="49"/>
                    <a:pt x="277" y="69"/>
                    <a:pt x="252" y="100"/>
                  </a:cubicBezTo>
                  <a:cubicBezTo>
                    <a:pt x="263" y="112"/>
                    <a:pt x="269" y="85"/>
                    <a:pt x="288" y="92"/>
                  </a:cubicBezTo>
                  <a:cubicBezTo>
                    <a:pt x="289" y="123"/>
                    <a:pt x="264" y="129"/>
                    <a:pt x="252" y="148"/>
                  </a:cubicBezTo>
                  <a:cubicBezTo>
                    <a:pt x="148" y="163"/>
                    <a:pt x="101" y="255"/>
                    <a:pt x="0" y="260"/>
                  </a:cubicBezTo>
                  <a:cubicBezTo>
                    <a:pt x="16" y="222"/>
                    <a:pt x="60" y="207"/>
                    <a:pt x="92" y="188"/>
                  </a:cubicBezTo>
                  <a:cubicBezTo>
                    <a:pt x="126" y="168"/>
                    <a:pt x="168" y="148"/>
                    <a:pt x="196" y="120"/>
                  </a:cubicBezTo>
                  <a:cubicBezTo>
                    <a:pt x="235" y="82"/>
                    <a:pt x="259" y="24"/>
                    <a:pt x="316" y="0"/>
                  </a:cubicBezTo>
                  <a:cubicBezTo>
                    <a:pt x="320" y="0"/>
                    <a:pt x="324" y="0"/>
                    <a:pt x="328"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93" name="Freeform 601"/>
            <p:cNvSpPr>
              <a:spLocks/>
            </p:cNvSpPr>
            <p:nvPr/>
          </p:nvSpPr>
          <p:spPr bwMode="auto">
            <a:xfrm>
              <a:off x="5947898" y="832823"/>
              <a:ext cx="36819" cy="24141"/>
            </a:xfrm>
            <a:custGeom>
              <a:avLst/>
              <a:gdLst>
                <a:gd name="T0" fmla="*/ 136 w 136"/>
                <a:gd name="T1" fmla="*/ 9 h 89"/>
                <a:gd name="T2" fmla="*/ 0 w 136"/>
                <a:gd name="T3" fmla="*/ 53 h 89"/>
                <a:gd name="T4" fmla="*/ 136 w 136"/>
                <a:gd name="T5" fmla="*/ 9 h 89"/>
                <a:gd name="T6" fmla="*/ 0 60000 65536"/>
                <a:gd name="T7" fmla="*/ 0 60000 65536"/>
                <a:gd name="T8" fmla="*/ 0 60000 65536"/>
                <a:gd name="T9" fmla="*/ 0 w 136"/>
                <a:gd name="T10" fmla="*/ 0 h 89"/>
                <a:gd name="T11" fmla="*/ 136 w 136"/>
                <a:gd name="T12" fmla="*/ 89 h 89"/>
              </a:gdLst>
              <a:ahLst/>
              <a:cxnLst>
                <a:cxn ang="T6">
                  <a:pos x="T0" y="T1"/>
                </a:cxn>
                <a:cxn ang="T7">
                  <a:pos x="T2" y="T3"/>
                </a:cxn>
                <a:cxn ang="T8">
                  <a:pos x="T4" y="T5"/>
                </a:cxn>
              </a:cxnLst>
              <a:rect l="T9" t="T10" r="T11" b="T12"/>
              <a:pathLst>
                <a:path w="136" h="89">
                  <a:moveTo>
                    <a:pt x="136" y="9"/>
                  </a:moveTo>
                  <a:cubicBezTo>
                    <a:pt x="122" y="49"/>
                    <a:pt x="38" y="89"/>
                    <a:pt x="0" y="53"/>
                  </a:cubicBezTo>
                  <a:cubicBezTo>
                    <a:pt x="9" y="6"/>
                    <a:pt x="98" y="0"/>
                    <a:pt x="136" y="9"/>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sp>
          <p:nvSpPr>
            <p:cNvPr id="197" name="Freeform 602"/>
            <p:cNvSpPr>
              <a:spLocks/>
            </p:cNvSpPr>
            <p:nvPr/>
          </p:nvSpPr>
          <p:spPr bwMode="auto">
            <a:xfrm>
              <a:off x="5989873" y="845019"/>
              <a:ext cx="38196" cy="17474"/>
            </a:xfrm>
            <a:custGeom>
              <a:avLst/>
              <a:gdLst>
                <a:gd name="T0" fmla="*/ 77 w 141"/>
                <a:gd name="T1" fmla="*/ 64 h 64"/>
                <a:gd name="T2" fmla="*/ 37 w 141"/>
                <a:gd name="T3" fmla="*/ 64 h 64"/>
                <a:gd name="T4" fmla="*/ 141 w 141"/>
                <a:gd name="T5" fmla="*/ 24 h 64"/>
                <a:gd name="T6" fmla="*/ 77 w 141"/>
                <a:gd name="T7" fmla="*/ 64 h 64"/>
                <a:gd name="T8" fmla="*/ 0 60000 65536"/>
                <a:gd name="T9" fmla="*/ 0 60000 65536"/>
                <a:gd name="T10" fmla="*/ 0 60000 65536"/>
                <a:gd name="T11" fmla="*/ 0 60000 65536"/>
                <a:gd name="T12" fmla="*/ 0 w 141"/>
                <a:gd name="T13" fmla="*/ 0 h 64"/>
                <a:gd name="T14" fmla="*/ 141 w 141"/>
                <a:gd name="T15" fmla="*/ 64 h 64"/>
              </a:gdLst>
              <a:ahLst/>
              <a:cxnLst>
                <a:cxn ang="T8">
                  <a:pos x="T0" y="T1"/>
                </a:cxn>
                <a:cxn ang="T9">
                  <a:pos x="T2" y="T3"/>
                </a:cxn>
                <a:cxn ang="T10">
                  <a:pos x="T4" y="T5"/>
                </a:cxn>
                <a:cxn ang="T11">
                  <a:pos x="T6" y="T7"/>
                </a:cxn>
              </a:cxnLst>
              <a:rect l="T12" t="T13" r="T14" b="T15"/>
              <a:pathLst>
                <a:path w="141" h="64">
                  <a:moveTo>
                    <a:pt x="77" y="64"/>
                  </a:moveTo>
                  <a:cubicBezTo>
                    <a:pt x="64" y="64"/>
                    <a:pt x="50" y="64"/>
                    <a:pt x="37" y="64"/>
                  </a:cubicBezTo>
                  <a:cubicBezTo>
                    <a:pt x="0" y="28"/>
                    <a:pt x="107" y="0"/>
                    <a:pt x="141" y="24"/>
                  </a:cubicBezTo>
                  <a:cubicBezTo>
                    <a:pt x="135" y="53"/>
                    <a:pt x="101" y="53"/>
                    <a:pt x="77" y="64"/>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latin typeface="CiscoSansTT Light"/>
                <a:cs typeface="CiscoSansTT Light"/>
              </a:endParaRPr>
            </a:p>
          </p:txBody>
        </p:sp>
      </p:grpSp>
      <p:sp>
        <p:nvSpPr>
          <p:cNvPr id="241" name="Freeform 11"/>
          <p:cNvSpPr>
            <a:spLocks noChangeAspect="1" noEditPoints="1"/>
          </p:cNvSpPr>
          <p:nvPr/>
        </p:nvSpPr>
        <p:spPr bwMode="auto">
          <a:xfrm>
            <a:off x="453625" y="1554539"/>
            <a:ext cx="425938" cy="425616"/>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rgbClr val="FFFFFF"/>
          </a:solidFill>
          <a:ln w="25400" cap="flat" cmpd="sng" algn="ctr">
            <a:noFill/>
            <a:prstDash val="solid"/>
          </a:ln>
          <a:effectLst/>
        </p:spPr>
        <p:txBody>
          <a:bodyPr lIns="91436" tIns="45718" rIns="91436" bIns="45718" anchor="ctr"/>
          <a:lstStyle/>
          <a:p>
            <a:pPr algn="ctr">
              <a:defRPr/>
            </a:pPr>
            <a:endParaRPr lang="en-US" dirty="0"/>
          </a:p>
        </p:txBody>
      </p:sp>
      <p:grpSp>
        <p:nvGrpSpPr>
          <p:cNvPr id="11" name="Group 10"/>
          <p:cNvGrpSpPr/>
          <p:nvPr/>
        </p:nvGrpSpPr>
        <p:grpSpPr>
          <a:xfrm>
            <a:off x="6089884" y="1329937"/>
            <a:ext cx="470354" cy="470756"/>
            <a:chOff x="6638023" y="1320460"/>
            <a:chExt cx="470354" cy="470756"/>
          </a:xfrm>
          <a:solidFill>
            <a:schemeClr val="bg1"/>
          </a:solidFill>
        </p:grpSpPr>
        <p:sp>
          <p:nvSpPr>
            <p:cNvPr id="245" name="Freeform 6"/>
            <p:cNvSpPr>
              <a:spLocks/>
            </p:cNvSpPr>
            <p:nvPr/>
          </p:nvSpPr>
          <p:spPr bwMode="auto">
            <a:xfrm>
              <a:off x="6759521" y="1502507"/>
              <a:ext cx="109068" cy="167612"/>
            </a:xfrm>
            <a:custGeom>
              <a:avLst/>
              <a:gdLst>
                <a:gd name="T0" fmla="*/ 73 w 147"/>
                <a:gd name="T1" fmla="*/ 0 h 225"/>
                <a:gd name="T2" fmla="*/ 62 w 147"/>
                <a:gd name="T3" fmla="*/ 25 h 225"/>
                <a:gd name="T4" fmla="*/ 25 w 147"/>
                <a:gd name="T5" fmla="*/ 9 h 225"/>
                <a:gd name="T6" fmla="*/ 11 w 147"/>
                <a:gd name="T7" fmla="*/ 15 h 225"/>
                <a:gd name="T8" fmla="*/ 18 w 147"/>
                <a:gd name="T9" fmla="*/ 29 h 225"/>
                <a:gd name="T10" fmla="*/ 56 w 147"/>
                <a:gd name="T11" fmla="*/ 46 h 225"/>
                <a:gd name="T12" fmla="*/ 52 w 147"/>
                <a:gd name="T13" fmla="*/ 79 h 225"/>
                <a:gd name="T14" fmla="*/ 11 w 147"/>
                <a:gd name="T15" fmla="*/ 79 h 225"/>
                <a:gd name="T16" fmla="*/ 0 w 147"/>
                <a:gd name="T17" fmla="*/ 90 h 225"/>
                <a:gd name="T18" fmla="*/ 11 w 147"/>
                <a:gd name="T19" fmla="*/ 101 h 225"/>
                <a:gd name="T20" fmla="*/ 52 w 147"/>
                <a:gd name="T21" fmla="*/ 101 h 225"/>
                <a:gd name="T22" fmla="*/ 56 w 147"/>
                <a:gd name="T23" fmla="*/ 134 h 225"/>
                <a:gd name="T24" fmla="*/ 18 w 147"/>
                <a:gd name="T25" fmla="*/ 151 h 225"/>
                <a:gd name="T26" fmla="*/ 11 w 147"/>
                <a:gd name="T27" fmla="*/ 166 h 225"/>
                <a:gd name="T28" fmla="*/ 22 w 147"/>
                <a:gd name="T29" fmla="*/ 173 h 225"/>
                <a:gd name="T30" fmla="*/ 25 w 147"/>
                <a:gd name="T31" fmla="*/ 172 h 225"/>
                <a:gd name="T32" fmla="*/ 64 w 147"/>
                <a:gd name="T33" fmla="*/ 155 h 225"/>
                <a:gd name="T34" fmla="*/ 147 w 147"/>
                <a:gd name="T35" fmla="*/ 225 h 225"/>
                <a:gd name="T36" fmla="*/ 147 w 147"/>
                <a:gd name="T37" fmla="*/ 20 h 225"/>
                <a:gd name="T38" fmla="*/ 78 w 147"/>
                <a:gd name="T39" fmla="*/ 4 h 225"/>
                <a:gd name="T40" fmla="*/ 73 w 147"/>
                <a:gd name="T41"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225">
                  <a:moveTo>
                    <a:pt x="73" y="0"/>
                  </a:moveTo>
                  <a:cubicBezTo>
                    <a:pt x="68" y="8"/>
                    <a:pt x="65" y="16"/>
                    <a:pt x="62" y="25"/>
                  </a:cubicBezTo>
                  <a:cubicBezTo>
                    <a:pt x="25" y="9"/>
                    <a:pt x="25" y="9"/>
                    <a:pt x="25" y="9"/>
                  </a:cubicBezTo>
                  <a:cubicBezTo>
                    <a:pt x="20" y="7"/>
                    <a:pt x="13" y="9"/>
                    <a:pt x="11" y="15"/>
                  </a:cubicBezTo>
                  <a:cubicBezTo>
                    <a:pt x="9" y="20"/>
                    <a:pt x="12" y="27"/>
                    <a:pt x="18" y="29"/>
                  </a:cubicBezTo>
                  <a:cubicBezTo>
                    <a:pt x="56" y="46"/>
                    <a:pt x="56" y="46"/>
                    <a:pt x="56" y="46"/>
                  </a:cubicBezTo>
                  <a:cubicBezTo>
                    <a:pt x="54" y="57"/>
                    <a:pt x="52" y="68"/>
                    <a:pt x="52" y="79"/>
                  </a:cubicBezTo>
                  <a:cubicBezTo>
                    <a:pt x="11" y="79"/>
                    <a:pt x="11" y="79"/>
                    <a:pt x="11" y="79"/>
                  </a:cubicBezTo>
                  <a:cubicBezTo>
                    <a:pt x="4" y="79"/>
                    <a:pt x="0" y="83"/>
                    <a:pt x="0" y="90"/>
                  </a:cubicBezTo>
                  <a:cubicBezTo>
                    <a:pt x="0" y="95"/>
                    <a:pt x="4" y="101"/>
                    <a:pt x="11" y="101"/>
                  </a:cubicBezTo>
                  <a:cubicBezTo>
                    <a:pt x="52" y="101"/>
                    <a:pt x="52" y="101"/>
                    <a:pt x="52" y="101"/>
                  </a:cubicBezTo>
                  <a:cubicBezTo>
                    <a:pt x="52" y="113"/>
                    <a:pt x="54" y="124"/>
                    <a:pt x="56" y="134"/>
                  </a:cubicBezTo>
                  <a:cubicBezTo>
                    <a:pt x="18" y="151"/>
                    <a:pt x="18" y="151"/>
                    <a:pt x="18" y="151"/>
                  </a:cubicBezTo>
                  <a:cubicBezTo>
                    <a:pt x="11" y="154"/>
                    <a:pt x="9" y="161"/>
                    <a:pt x="11" y="166"/>
                  </a:cubicBezTo>
                  <a:cubicBezTo>
                    <a:pt x="13" y="169"/>
                    <a:pt x="18" y="173"/>
                    <a:pt x="22" y="173"/>
                  </a:cubicBezTo>
                  <a:cubicBezTo>
                    <a:pt x="23" y="173"/>
                    <a:pt x="24" y="172"/>
                    <a:pt x="25" y="172"/>
                  </a:cubicBezTo>
                  <a:cubicBezTo>
                    <a:pt x="64" y="155"/>
                    <a:pt x="64" y="155"/>
                    <a:pt x="64" y="155"/>
                  </a:cubicBezTo>
                  <a:cubicBezTo>
                    <a:pt x="79" y="190"/>
                    <a:pt x="109" y="211"/>
                    <a:pt x="147" y="225"/>
                  </a:cubicBezTo>
                  <a:cubicBezTo>
                    <a:pt x="147" y="20"/>
                    <a:pt x="147" y="20"/>
                    <a:pt x="147" y="20"/>
                  </a:cubicBezTo>
                  <a:cubicBezTo>
                    <a:pt x="120" y="20"/>
                    <a:pt x="97" y="13"/>
                    <a:pt x="78" y="4"/>
                  </a:cubicBezTo>
                  <a:cubicBezTo>
                    <a:pt x="77" y="2"/>
                    <a:pt x="75" y="1"/>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246" name="Freeform 7"/>
            <p:cNvSpPr>
              <a:spLocks/>
            </p:cNvSpPr>
            <p:nvPr/>
          </p:nvSpPr>
          <p:spPr bwMode="auto">
            <a:xfrm>
              <a:off x="6878211" y="1502507"/>
              <a:ext cx="108667" cy="167612"/>
            </a:xfrm>
            <a:custGeom>
              <a:avLst/>
              <a:gdLst>
                <a:gd name="T0" fmla="*/ 134 w 146"/>
                <a:gd name="T1" fmla="*/ 101 h 225"/>
                <a:gd name="T2" fmla="*/ 146 w 146"/>
                <a:gd name="T3" fmla="*/ 90 h 225"/>
                <a:gd name="T4" fmla="*/ 135 w 146"/>
                <a:gd name="T5" fmla="*/ 79 h 225"/>
                <a:gd name="T6" fmla="*/ 95 w 146"/>
                <a:gd name="T7" fmla="*/ 79 h 225"/>
                <a:gd name="T8" fmla="*/ 91 w 146"/>
                <a:gd name="T9" fmla="*/ 46 h 225"/>
                <a:gd name="T10" fmla="*/ 129 w 146"/>
                <a:gd name="T11" fmla="*/ 29 h 225"/>
                <a:gd name="T12" fmla="*/ 134 w 146"/>
                <a:gd name="T13" fmla="*/ 15 h 225"/>
                <a:gd name="T14" fmla="*/ 120 w 146"/>
                <a:gd name="T15" fmla="*/ 9 h 225"/>
                <a:gd name="T16" fmla="*/ 84 w 146"/>
                <a:gd name="T17" fmla="*/ 23 h 225"/>
                <a:gd name="T18" fmla="*/ 74 w 146"/>
                <a:gd name="T19" fmla="*/ 0 h 225"/>
                <a:gd name="T20" fmla="*/ 69 w 146"/>
                <a:gd name="T21" fmla="*/ 4 h 225"/>
                <a:gd name="T22" fmla="*/ 0 w 146"/>
                <a:gd name="T23" fmla="*/ 20 h 225"/>
                <a:gd name="T24" fmla="*/ 0 w 146"/>
                <a:gd name="T25" fmla="*/ 225 h 225"/>
                <a:gd name="T26" fmla="*/ 83 w 146"/>
                <a:gd name="T27" fmla="*/ 156 h 225"/>
                <a:gd name="T28" fmla="*/ 120 w 146"/>
                <a:gd name="T29" fmla="*/ 172 h 225"/>
                <a:gd name="T30" fmla="*/ 124 w 146"/>
                <a:gd name="T31" fmla="*/ 173 h 225"/>
                <a:gd name="T32" fmla="*/ 134 w 146"/>
                <a:gd name="T33" fmla="*/ 166 h 225"/>
                <a:gd name="T34" fmla="*/ 129 w 146"/>
                <a:gd name="T35" fmla="*/ 151 h 225"/>
                <a:gd name="T36" fmla="*/ 90 w 146"/>
                <a:gd name="T37" fmla="*/ 135 h 225"/>
                <a:gd name="T38" fmla="*/ 95 w 146"/>
                <a:gd name="T39" fmla="*/ 101 h 225"/>
                <a:gd name="T40" fmla="*/ 134 w 146"/>
                <a:gd name="T41" fmla="*/ 10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225">
                  <a:moveTo>
                    <a:pt x="134" y="101"/>
                  </a:moveTo>
                  <a:cubicBezTo>
                    <a:pt x="141" y="101"/>
                    <a:pt x="145" y="95"/>
                    <a:pt x="146" y="90"/>
                  </a:cubicBezTo>
                  <a:cubicBezTo>
                    <a:pt x="146" y="83"/>
                    <a:pt x="141" y="79"/>
                    <a:pt x="135" y="79"/>
                  </a:cubicBezTo>
                  <a:cubicBezTo>
                    <a:pt x="95" y="79"/>
                    <a:pt x="95" y="79"/>
                    <a:pt x="95" y="79"/>
                  </a:cubicBezTo>
                  <a:cubicBezTo>
                    <a:pt x="95" y="67"/>
                    <a:pt x="93" y="56"/>
                    <a:pt x="91" y="46"/>
                  </a:cubicBezTo>
                  <a:cubicBezTo>
                    <a:pt x="129" y="29"/>
                    <a:pt x="129" y="29"/>
                    <a:pt x="129" y="29"/>
                  </a:cubicBezTo>
                  <a:cubicBezTo>
                    <a:pt x="134" y="27"/>
                    <a:pt x="136" y="20"/>
                    <a:pt x="134" y="15"/>
                  </a:cubicBezTo>
                  <a:cubicBezTo>
                    <a:pt x="132" y="9"/>
                    <a:pt x="125" y="7"/>
                    <a:pt x="120" y="9"/>
                  </a:cubicBezTo>
                  <a:cubicBezTo>
                    <a:pt x="84" y="23"/>
                    <a:pt x="84" y="23"/>
                    <a:pt x="84" y="23"/>
                  </a:cubicBezTo>
                  <a:cubicBezTo>
                    <a:pt x="82" y="16"/>
                    <a:pt x="79" y="8"/>
                    <a:pt x="74" y="0"/>
                  </a:cubicBezTo>
                  <a:cubicBezTo>
                    <a:pt x="72" y="1"/>
                    <a:pt x="70" y="2"/>
                    <a:pt x="69" y="4"/>
                  </a:cubicBezTo>
                  <a:cubicBezTo>
                    <a:pt x="50" y="13"/>
                    <a:pt x="27" y="20"/>
                    <a:pt x="0" y="20"/>
                  </a:cubicBezTo>
                  <a:cubicBezTo>
                    <a:pt x="0" y="225"/>
                    <a:pt x="0" y="225"/>
                    <a:pt x="0" y="225"/>
                  </a:cubicBezTo>
                  <a:cubicBezTo>
                    <a:pt x="37" y="213"/>
                    <a:pt x="67" y="190"/>
                    <a:pt x="83" y="156"/>
                  </a:cubicBezTo>
                  <a:cubicBezTo>
                    <a:pt x="120" y="172"/>
                    <a:pt x="120" y="172"/>
                    <a:pt x="120" y="172"/>
                  </a:cubicBezTo>
                  <a:cubicBezTo>
                    <a:pt x="121" y="172"/>
                    <a:pt x="123" y="173"/>
                    <a:pt x="124" y="173"/>
                  </a:cubicBezTo>
                  <a:cubicBezTo>
                    <a:pt x="129" y="173"/>
                    <a:pt x="133" y="169"/>
                    <a:pt x="134" y="166"/>
                  </a:cubicBezTo>
                  <a:cubicBezTo>
                    <a:pt x="136" y="161"/>
                    <a:pt x="134" y="154"/>
                    <a:pt x="129" y="151"/>
                  </a:cubicBezTo>
                  <a:cubicBezTo>
                    <a:pt x="90" y="135"/>
                    <a:pt x="90" y="135"/>
                    <a:pt x="90" y="135"/>
                  </a:cubicBezTo>
                  <a:cubicBezTo>
                    <a:pt x="93" y="124"/>
                    <a:pt x="95" y="113"/>
                    <a:pt x="95" y="101"/>
                  </a:cubicBezTo>
                  <a:lnTo>
                    <a:pt x="134"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247" name="Freeform 8"/>
            <p:cNvSpPr>
              <a:spLocks/>
            </p:cNvSpPr>
            <p:nvPr/>
          </p:nvSpPr>
          <p:spPr bwMode="auto">
            <a:xfrm>
              <a:off x="6795209" y="1423111"/>
              <a:ext cx="155181" cy="85410"/>
            </a:xfrm>
            <a:custGeom>
              <a:avLst/>
              <a:gdLst>
                <a:gd name="T0" fmla="*/ 179 w 209"/>
                <a:gd name="T1" fmla="*/ 96 h 115"/>
                <a:gd name="T2" fmla="*/ 156 w 209"/>
                <a:gd name="T3" fmla="*/ 72 h 115"/>
                <a:gd name="T4" fmla="*/ 185 w 209"/>
                <a:gd name="T5" fmla="*/ 39 h 115"/>
                <a:gd name="T6" fmla="*/ 189 w 209"/>
                <a:gd name="T7" fmla="*/ 39 h 115"/>
                <a:gd name="T8" fmla="*/ 209 w 209"/>
                <a:gd name="T9" fmla="*/ 19 h 115"/>
                <a:gd name="T10" fmla="*/ 189 w 209"/>
                <a:gd name="T11" fmla="*/ 0 h 115"/>
                <a:gd name="T12" fmla="*/ 170 w 209"/>
                <a:gd name="T13" fmla="*/ 19 h 115"/>
                <a:gd name="T14" fmla="*/ 172 w 209"/>
                <a:gd name="T15" fmla="*/ 28 h 115"/>
                <a:gd name="T16" fmla="*/ 142 w 209"/>
                <a:gd name="T17" fmla="*/ 62 h 115"/>
                <a:gd name="T18" fmla="*/ 106 w 209"/>
                <a:gd name="T19" fmla="*/ 53 h 115"/>
                <a:gd name="T20" fmla="*/ 67 w 209"/>
                <a:gd name="T21" fmla="*/ 63 h 115"/>
                <a:gd name="T22" fmla="*/ 37 w 209"/>
                <a:gd name="T23" fmla="*/ 28 h 115"/>
                <a:gd name="T24" fmla="*/ 39 w 209"/>
                <a:gd name="T25" fmla="*/ 19 h 115"/>
                <a:gd name="T26" fmla="*/ 19 w 209"/>
                <a:gd name="T27" fmla="*/ 0 h 115"/>
                <a:gd name="T28" fmla="*/ 0 w 209"/>
                <a:gd name="T29" fmla="*/ 19 h 115"/>
                <a:gd name="T30" fmla="*/ 19 w 209"/>
                <a:gd name="T31" fmla="*/ 39 h 115"/>
                <a:gd name="T32" fmla="*/ 24 w 209"/>
                <a:gd name="T33" fmla="*/ 39 h 115"/>
                <a:gd name="T34" fmla="*/ 52 w 209"/>
                <a:gd name="T35" fmla="*/ 73 h 115"/>
                <a:gd name="T36" fmla="*/ 33 w 209"/>
                <a:gd name="T37" fmla="*/ 96 h 115"/>
                <a:gd name="T38" fmla="*/ 37 w 209"/>
                <a:gd name="T39" fmla="*/ 99 h 115"/>
                <a:gd name="T40" fmla="*/ 106 w 209"/>
                <a:gd name="T41" fmla="*/ 115 h 115"/>
                <a:gd name="T42" fmla="*/ 174 w 209"/>
                <a:gd name="T43" fmla="*/ 99 h 115"/>
                <a:gd name="T44" fmla="*/ 179 w 209"/>
                <a:gd name="T45"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9" h="115">
                  <a:moveTo>
                    <a:pt x="179" y="96"/>
                  </a:moveTo>
                  <a:cubicBezTo>
                    <a:pt x="173" y="86"/>
                    <a:pt x="165" y="78"/>
                    <a:pt x="156" y="72"/>
                  </a:cubicBezTo>
                  <a:cubicBezTo>
                    <a:pt x="177" y="49"/>
                    <a:pt x="183" y="41"/>
                    <a:pt x="185" y="39"/>
                  </a:cubicBezTo>
                  <a:cubicBezTo>
                    <a:pt x="187" y="39"/>
                    <a:pt x="188" y="39"/>
                    <a:pt x="189" y="39"/>
                  </a:cubicBezTo>
                  <a:cubicBezTo>
                    <a:pt x="200" y="39"/>
                    <a:pt x="209" y="30"/>
                    <a:pt x="209" y="19"/>
                  </a:cubicBezTo>
                  <a:cubicBezTo>
                    <a:pt x="209" y="9"/>
                    <a:pt x="200" y="0"/>
                    <a:pt x="189" y="0"/>
                  </a:cubicBezTo>
                  <a:cubicBezTo>
                    <a:pt x="178" y="0"/>
                    <a:pt x="170" y="9"/>
                    <a:pt x="170" y="19"/>
                  </a:cubicBezTo>
                  <a:cubicBezTo>
                    <a:pt x="170" y="23"/>
                    <a:pt x="170" y="25"/>
                    <a:pt x="172" y="28"/>
                  </a:cubicBezTo>
                  <a:cubicBezTo>
                    <a:pt x="142" y="62"/>
                    <a:pt x="142" y="62"/>
                    <a:pt x="142" y="62"/>
                  </a:cubicBezTo>
                  <a:cubicBezTo>
                    <a:pt x="131" y="56"/>
                    <a:pt x="119" y="53"/>
                    <a:pt x="106" y="53"/>
                  </a:cubicBezTo>
                  <a:cubicBezTo>
                    <a:pt x="92" y="53"/>
                    <a:pt x="79" y="56"/>
                    <a:pt x="67" y="63"/>
                  </a:cubicBezTo>
                  <a:cubicBezTo>
                    <a:pt x="45" y="38"/>
                    <a:pt x="38" y="30"/>
                    <a:pt x="37" y="28"/>
                  </a:cubicBezTo>
                  <a:cubicBezTo>
                    <a:pt x="38" y="26"/>
                    <a:pt x="39" y="23"/>
                    <a:pt x="39" y="19"/>
                  </a:cubicBezTo>
                  <a:cubicBezTo>
                    <a:pt x="39" y="9"/>
                    <a:pt x="30" y="0"/>
                    <a:pt x="19" y="0"/>
                  </a:cubicBezTo>
                  <a:cubicBezTo>
                    <a:pt x="8" y="0"/>
                    <a:pt x="0" y="9"/>
                    <a:pt x="0" y="19"/>
                  </a:cubicBezTo>
                  <a:cubicBezTo>
                    <a:pt x="0" y="30"/>
                    <a:pt x="8" y="39"/>
                    <a:pt x="19" y="39"/>
                  </a:cubicBezTo>
                  <a:cubicBezTo>
                    <a:pt x="21" y="39"/>
                    <a:pt x="22" y="39"/>
                    <a:pt x="24" y="39"/>
                  </a:cubicBezTo>
                  <a:cubicBezTo>
                    <a:pt x="52" y="73"/>
                    <a:pt x="52" y="73"/>
                    <a:pt x="52" y="73"/>
                  </a:cubicBezTo>
                  <a:cubicBezTo>
                    <a:pt x="45" y="80"/>
                    <a:pt x="38" y="87"/>
                    <a:pt x="33" y="96"/>
                  </a:cubicBezTo>
                  <a:cubicBezTo>
                    <a:pt x="34" y="97"/>
                    <a:pt x="35" y="98"/>
                    <a:pt x="37" y="99"/>
                  </a:cubicBezTo>
                  <a:cubicBezTo>
                    <a:pt x="55" y="108"/>
                    <a:pt x="79" y="115"/>
                    <a:pt x="106" y="115"/>
                  </a:cubicBezTo>
                  <a:cubicBezTo>
                    <a:pt x="132" y="115"/>
                    <a:pt x="156" y="108"/>
                    <a:pt x="174" y="99"/>
                  </a:cubicBezTo>
                  <a:cubicBezTo>
                    <a:pt x="176" y="98"/>
                    <a:pt x="177" y="97"/>
                    <a:pt x="179"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sp>
          <p:nvSpPr>
            <p:cNvPr id="244" name="Freeform 5"/>
            <p:cNvSpPr>
              <a:spLocks noEditPoints="1"/>
            </p:cNvSpPr>
            <p:nvPr/>
          </p:nvSpPr>
          <p:spPr bwMode="auto">
            <a:xfrm>
              <a:off x="6638023" y="1320460"/>
              <a:ext cx="470354" cy="470756"/>
            </a:xfrm>
            <a:custGeom>
              <a:avLst/>
              <a:gdLst>
                <a:gd name="T0" fmla="*/ 614 w 632"/>
                <a:gd name="T1" fmla="*/ 299 h 633"/>
                <a:gd name="T2" fmla="*/ 586 w 632"/>
                <a:gd name="T3" fmla="*/ 299 h 633"/>
                <a:gd name="T4" fmla="*/ 334 w 632"/>
                <a:gd name="T5" fmla="*/ 48 h 633"/>
                <a:gd name="T6" fmla="*/ 334 w 632"/>
                <a:gd name="T7" fmla="*/ 18 h 633"/>
                <a:gd name="T8" fmla="*/ 316 w 632"/>
                <a:gd name="T9" fmla="*/ 0 h 633"/>
                <a:gd name="T10" fmla="*/ 298 w 632"/>
                <a:gd name="T11" fmla="*/ 18 h 633"/>
                <a:gd name="T12" fmla="*/ 298 w 632"/>
                <a:gd name="T13" fmla="*/ 48 h 633"/>
                <a:gd name="T14" fmla="*/ 46 w 632"/>
                <a:gd name="T15" fmla="*/ 299 h 633"/>
                <a:gd name="T16" fmla="*/ 18 w 632"/>
                <a:gd name="T17" fmla="*/ 299 h 633"/>
                <a:gd name="T18" fmla="*/ 0 w 632"/>
                <a:gd name="T19" fmla="*/ 317 h 633"/>
                <a:gd name="T20" fmla="*/ 18 w 632"/>
                <a:gd name="T21" fmla="*/ 335 h 633"/>
                <a:gd name="T22" fmla="*/ 46 w 632"/>
                <a:gd name="T23" fmla="*/ 335 h 633"/>
                <a:gd name="T24" fmla="*/ 298 w 632"/>
                <a:gd name="T25" fmla="*/ 587 h 633"/>
                <a:gd name="T26" fmla="*/ 298 w 632"/>
                <a:gd name="T27" fmla="*/ 615 h 633"/>
                <a:gd name="T28" fmla="*/ 316 w 632"/>
                <a:gd name="T29" fmla="*/ 633 h 633"/>
                <a:gd name="T30" fmla="*/ 334 w 632"/>
                <a:gd name="T31" fmla="*/ 615 h 633"/>
                <a:gd name="T32" fmla="*/ 334 w 632"/>
                <a:gd name="T33" fmla="*/ 587 h 633"/>
                <a:gd name="T34" fmla="*/ 586 w 632"/>
                <a:gd name="T35" fmla="*/ 335 h 633"/>
                <a:gd name="T36" fmla="*/ 614 w 632"/>
                <a:gd name="T37" fmla="*/ 335 h 633"/>
                <a:gd name="T38" fmla="*/ 632 w 632"/>
                <a:gd name="T39" fmla="*/ 317 h 633"/>
                <a:gd name="T40" fmla="*/ 614 w 632"/>
                <a:gd name="T41" fmla="*/ 299 h 633"/>
                <a:gd name="T42" fmla="*/ 334 w 632"/>
                <a:gd name="T43" fmla="*/ 559 h 633"/>
                <a:gd name="T44" fmla="*/ 334 w 632"/>
                <a:gd name="T45" fmla="*/ 531 h 633"/>
                <a:gd name="T46" fmla="*/ 316 w 632"/>
                <a:gd name="T47" fmla="*/ 513 h 633"/>
                <a:gd name="T48" fmla="*/ 298 w 632"/>
                <a:gd name="T49" fmla="*/ 531 h 633"/>
                <a:gd name="T50" fmla="*/ 298 w 632"/>
                <a:gd name="T51" fmla="*/ 559 h 633"/>
                <a:gd name="T52" fmla="*/ 74 w 632"/>
                <a:gd name="T53" fmla="*/ 335 h 633"/>
                <a:gd name="T54" fmla="*/ 101 w 632"/>
                <a:gd name="T55" fmla="*/ 335 h 633"/>
                <a:gd name="T56" fmla="*/ 119 w 632"/>
                <a:gd name="T57" fmla="*/ 317 h 633"/>
                <a:gd name="T58" fmla="*/ 101 w 632"/>
                <a:gd name="T59" fmla="*/ 299 h 633"/>
                <a:gd name="T60" fmla="*/ 75 w 632"/>
                <a:gd name="T61" fmla="*/ 299 h 633"/>
                <a:gd name="T62" fmla="*/ 298 w 632"/>
                <a:gd name="T63" fmla="*/ 76 h 633"/>
                <a:gd name="T64" fmla="*/ 298 w 632"/>
                <a:gd name="T65" fmla="*/ 102 h 633"/>
                <a:gd name="T66" fmla="*/ 316 w 632"/>
                <a:gd name="T67" fmla="*/ 120 h 633"/>
                <a:gd name="T68" fmla="*/ 334 w 632"/>
                <a:gd name="T69" fmla="*/ 102 h 633"/>
                <a:gd name="T70" fmla="*/ 334 w 632"/>
                <a:gd name="T71" fmla="*/ 76 h 633"/>
                <a:gd name="T72" fmla="*/ 558 w 632"/>
                <a:gd name="T73" fmla="*/ 299 h 633"/>
                <a:gd name="T74" fmla="*/ 531 w 632"/>
                <a:gd name="T75" fmla="*/ 299 h 633"/>
                <a:gd name="T76" fmla="*/ 513 w 632"/>
                <a:gd name="T77" fmla="*/ 317 h 633"/>
                <a:gd name="T78" fmla="*/ 531 w 632"/>
                <a:gd name="T79" fmla="*/ 335 h 633"/>
                <a:gd name="T80" fmla="*/ 558 w 632"/>
                <a:gd name="T81" fmla="*/ 335 h 633"/>
                <a:gd name="T82" fmla="*/ 334 w 632"/>
                <a:gd name="T83" fmla="*/ 559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32" h="633">
                  <a:moveTo>
                    <a:pt x="614" y="299"/>
                  </a:moveTo>
                  <a:cubicBezTo>
                    <a:pt x="586" y="299"/>
                    <a:pt x="586" y="299"/>
                    <a:pt x="586" y="299"/>
                  </a:cubicBezTo>
                  <a:cubicBezTo>
                    <a:pt x="576" y="164"/>
                    <a:pt x="469" y="57"/>
                    <a:pt x="334" y="48"/>
                  </a:cubicBezTo>
                  <a:cubicBezTo>
                    <a:pt x="334" y="18"/>
                    <a:pt x="334" y="18"/>
                    <a:pt x="334" y="18"/>
                  </a:cubicBezTo>
                  <a:cubicBezTo>
                    <a:pt x="334" y="9"/>
                    <a:pt x="326" y="0"/>
                    <a:pt x="316" y="0"/>
                  </a:cubicBezTo>
                  <a:cubicBezTo>
                    <a:pt x="306" y="0"/>
                    <a:pt x="298" y="9"/>
                    <a:pt x="298" y="18"/>
                  </a:cubicBezTo>
                  <a:cubicBezTo>
                    <a:pt x="298" y="48"/>
                    <a:pt x="298" y="48"/>
                    <a:pt x="298" y="48"/>
                  </a:cubicBezTo>
                  <a:cubicBezTo>
                    <a:pt x="164" y="57"/>
                    <a:pt x="56" y="164"/>
                    <a:pt x="46" y="299"/>
                  </a:cubicBezTo>
                  <a:cubicBezTo>
                    <a:pt x="18" y="299"/>
                    <a:pt x="18" y="299"/>
                    <a:pt x="18" y="299"/>
                  </a:cubicBezTo>
                  <a:cubicBezTo>
                    <a:pt x="8" y="299"/>
                    <a:pt x="0" y="307"/>
                    <a:pt x="0" y="317"/>
                  </a:cubicBezTo>
                  <a:cubicBezTo>
                    <a:pt x="0" y="327"/>
                    <a:pt x="8" y="335"/>
                    <a:pt x="18" y="335"/>
                  </a:cubicBezTo>
                  <a:cubicBezTo>
                    <a:pt x="46" y="335"/>
                    <a:pt x="46" y="335"/>
                    <a:pt x="46" y="335"/>
                  </a:cubicBezTo>
                  <a:cubicBezTo>
                    <a:pt x="55" y="470"/>
                    <a:pt x="163" y="578"/>
                    <a:pt x="298" y="587"/>
                  </a:cubicBezTo>
                  <a:cubicBezTo>
                    <a:pt x="298" y="615"/>
                    <a:pt x="298" y="615"/>
                    <a:pt x="298" y="615"/>
                  </a:cubicBezTo>
                  <a:cubicBezTo>
                    <a:pt x="298" y="625"/>
                    <a:pt x="306" y="633"/>
                    <a:pt x="316" y="633"/>
                  </a:cubicBezTo>
                  <a:cubicBezTo>
                    <a:pt x="326" y="633"/>
                    <a:pt x="334" y="625"/>
                    <a:pt x="334" y="615"/>
                  </a:cubicBezTo>
                  <a:cubicBezTo>
                    <a:pt x="334" y="587"/>
                    <a:pt x="334" y="587"/>
                    <a:pt x="334" y="587"/>
                  </a:cubicBezTo>
                  <a:cubicBezTo>
                    <a:pt x="469" y="578"/>
                    <a:pt x="577" y="470"/>
                    <a:pt x="586" y="335"/>
                  </a:cubicBezTo>
                  <a:cubicBezTo>
                    <a:pt x="614" y="335"/>
                    <a:pt x="614" y="335"/>
                    <a:pt x="614" y="335"/>
                  </a:cubicBezTo>
                  <a:cubicBezTo>
                    <a:pt x="624" y="335"/>
                    <a:pt x="632" y="327"/>
                    <a:pt x="632" y="317"/>
                  </a:cubicBezTo>
                  <a:cubicBezTo>
                    <a:pt x="632" y="307"/>
                    <a:pt x="624" y="299"/>
                    <a:pt x="614" y="299"/>
                  </a:cubicBezTo>
                  <a:close/>
                  <a:moveTo>
                    <a:pt x="334" y="559"/>
                  </a:moveTo>
                  <a:cubicBezTo>
                    <a:pt x="334" y="531"/>
                    <a:pt x="334" y="531"/>
                    <a:pt x="334" y="531"/>
                  </a:cubicBezTo>
                  <a:cubicBezTo>
                    <a:pt x="334" y="522"/>
                    <a:pt x="326" y="513"/>
                    <a:pt x="316" y="513"/>
                  </a:cubicBezTo>
                  <a:cubicBezTo>
                    <a:pt x="306" y="513"/>
                    <a:pt x="298" y="522"/>
                    <a:pt x="298" y="531"/>
                  </a:cubicBezTo>
                  <a:cubicBezTo>
                    <a:pt x="298" y="559"/>
                    <a:pt x="298" y="559"/>
                    <a:pt x="298" y="559"/>
                  </a:cubicBezTo>
                  <a:cubicBezTo>
                    <a:pt x="179" y="550"/>
                    <a:pt x="83" y="454"/>
                    <a:pt x="74" y="335"/>
                  </a:cubicBezTo>
                  <a:cubicBezTo>
                    <a:pt x="101" y="335"/>
                    <a:pt x="101" y="335"/>
                    <a:pt x="101" y="335"/>
                  </a:cubicBezTo>
                  <a:cubicBezTo>
                    <a:pt x="111" y="335"/>
                    <a:pt x="119" y="327"/>
                    <a:pt x="119" y="317"/>
                  </a:cubicBezTo>
                  <a:cubicBezTo>
                    <a:pt x="119" y="307"/>
                    <a:pt x="111" y="299"/>
                    <a:pt x="101" y="299"/>
                  </a:cubicBezTo>
                  <a:cubicBezTo>
                    <a:pt x="75" y="299"/>
                    <a:pt x="75" y="299"/>
                    <a:pt x="75" y="299"/>
                  </a:cubicBezTo>
                  <a:cubicBezTo>
                    <a:pt x="84" y="180"/>
                    <a:pt x="179" y="85"/>
                    <a:pt x="298" y="76"/>
                  </a:cubicBezTo>
                  <a:cubicBezTo>
                    <a:pt x="298" y="102"/>
                    <a:pt x="298" y="102"/>
                    <a:pt x="298" y="102"/>
                  </a:cubicBezTo>
                  <a:cubicBezTo>
                    <a:pt x="298" y="112"/>
                    <a:pt x="306" y="120"/>
                    <a:pt x="316" y="120"/>
                  </a:cubicBezTo>
                  <a:cubicBezTo>
                    <a:pt x="326" y="120"/>
                    <a:pt x="334" y="112"/>
                    <a:pt x="334" y="102"/>
                  </a:cubicBezTo>
                  <a:cubicBezTo>
                    <a:pt x="334" y="76"/>
                    <a:pt x="334" y="76"/>
                    <a:pt x="334" y="76"/>
                  </a:cubicBezTo>
                  <a:cubicBezTo>
                    <a:pt x="453" y="85"/>
                    <a:pt x="549" y="180"/>
                    <a:pt x="558" y="299"/>
                  </a:cubicBezTo>
                  <a:cubicBezTo>
                    <a:pt x="531" y="299"/>
                    <a:pt x="531" y="299"/>
                    <a:pt x="531" y="299"/>
                  </a:cubicBezTo>
                  <a:cubicBezTo>
                    <a:pt x="521" y="299"/>
                    <a:pt x="513" y="307"/>
                    <a:pt x="513" y="317"/>
                  </a:cubicBezTo>
                  <a:cubicBezTo>
                    <a:pt x="513" y="327"/>
                    <a:pt x="521" y="335"/>
                    <a:pt x="531" y="335"/>
                  </a:cubicBezTo>
                  <a:cubicBezTo>
                    <a:pt x="558" y="335"/>
                    <a:pt x="558" y="335"/>
                    <a:pt x="558" y="335"/>
                  </a:cubicBezTo>
                  <a:cubicBezTo>
                    <a:pt x="549" y="454"/>
                    <a:pt x="453" y="550"/>
                    <a:pt x="334" y="5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CiscoSansTT Light"/>
                <a:cs typeface="CiscoSansTT Light"/>
              </a:endParaRPr>
            </a:p>
          </p:txBody>
        </p:sp>
      </p:grpSp>
      <p:pic>
        <p:nvPicPr>
          <p:cNvPr id="252" name="Picture 251" descr="whiteparts.ai"/>
          <p:cNvPicPr>
            <a:picLocks noChangeAspect="1"/>
          </p:cNvPicPr>
          <p:nvPr/>
        </p:nvPicPr>
        <p:blipFill>
          <a:blip r:embed="rId3" cstate="print">
            <a:extLst>
              <a:ext uri="{28A0092B-C50C-407E-A947-70E740481C1C}">
                <a14:useLocalDpi xmlns:a14="http://schemas.microsoft.com/office/drawing/2010/main"/>
              </a:ext>
            </a:extLst>
          </a:blip>
          <a:srcRect l="32551" t="36693" r="59517" b="59350"/>
          <a:stretch>
            <a:fillRect/>
          </a:stretch>
        </p:blipFill>
        <p:spPr>
          <a:xfrm>
            <a:off x="4934870" y="1504804"/>
            <a:ext cx="613778" cy="396290"/>
          </a:xfrm>
          <a:prstGeom prst="rect">
            <a:avLst/>
          </a:prstGeom>
          <a:effectLst/>
        </p:spPr>
      </p:pic>
      <p:grpSp>
        <p:nvGrpSpPr>
          <p:cNvPr id="4" name="Group 3"/>
          <p:cNvGrpSpPr/>
          <p:nvPr/>
        </p:nvGrpSpPr>
        <p:grpSpPr>
          <a:xfrm>
            <a:off x="1273994" y="1296697"/>
            <a:ext cx="1004296" cy="1004300"/>
            <a:chOff x="1844848" y="2169545"/>
            <a:chExt cx="1004296" cy="1004300"/>
          </a:xfrm>
        </p:grpSpPr>
        <p:grpSp>
          <p:nvGrpSpPr>
            <p:cNvPr id="152" name="Group 151"/>
            <p:cNvGrpSpPr/>
            <p:nvPr/>
          </p:nvGrpSpPr>
          <p:grpSpPr>
            <a:xfrm>
              <a:off x="1844848" y="2169545"/>
              <a:ext cx="1004296" cy="1004300"/>
              <a:chOff x="641736" y="1277624"/>
              <a:chExt cx="1004296" cy="1004300"/>
            </a:xfrm>
          </p:grpSpPr>
          <p:sp>
            <p:nvSpPr>
              <p:cNvPr id="153" name="Oval 152"/>
              <p:cNvSpPr/>
              <p:nvPr/>
            </p:nvSpPr>
            <p:spPr>
              <a:xfrm>
                <a:off x="641736" y="1277624"/>
                <a:ext cx="1004296" cy="1004300"/>
              </a:xfrm>
              <a:prstGeom prst="ellipse">
                <a:avLst/>
              </a:prstGeom>
              <a:solidFill>
                <a:srgbClr val="19285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731520" rIns="0" bIns="0" rtlCol="0" anchor="b"/>
              <a:lstStyle/>
              <a:p>
                <a:pPr algn="ctr"/>
                <a:r>
                  <a:rPr lang="en-US" sz="800" dirty="0">
                    <a:solidFill>
                      <a:schemeClr val="bg1"/>
                    </a:solidFill>
                    <a:cs typeface="CiscoSansTT Light"/>
                  </a:rPr>
                  <a:t>Advanced VPN</a:t>
                </a:r>
              </a:p>
            </p:txBody>
          </p:sp>
          <p:sp>
            <p:nvSpPr>
              <p:cNvPr id="184" name="Freeform 29"/>
              <p:cNvSpPr>
                <a:spLocks noEditPoints="1"/>
              </p:cNvSpPr>
              <p:nvPr/>
            </p:nvSpPr>
            <p:spPr bwMode="auto">
              <a:xfrm>
                <a:off x="908756" y="1384121"/>
                <a:ext cx="201247" cy="282061"/>
              </a:xfrm>
              <a:custGeom>
                <a:avLst/>
                <a:gdLst>
                  <a:gd name="T0" fmla="*/ 63 w 72"/>
                  <a:gd name="T1" fmla="*/ 27 h 101"/>
                  <a:gd name="T2" fmla="*/ 36 w 72"/>
                  <a:gd name="T3" fmla="*/ 0 h 101"/>
                  <a:gd name="T4" fmla="*/ 9 w 72"/>
                  <a:gd name="T5" fmla="*/ 27 h 101"/>
                  <a:gd name="T6" fmla="*/ 9 w 72"/>
                  <a:gd name="T7" fmla="*/ 41 h 101"/>
                  <a:gd name="T8" fmla="*/ 1 w 72"/>
                  <a:gd name="T9" fmla="*/ 41 h 101"/>
                  <a:gd name="T10" fmla="*/ 0 w 72"/>
                  <a:gd name="T11" fmla="*/ 42 h 101"/>
                  <a:gd name="T12" fmla="*/ 0 w 72"/>
                  <a:gd name="T13" fmla="*/ 99 h 101"/>
                  <a:gd name="T14" fmla="*/ 1 w 72"/>
                  <a:gd name="T15" fmla="*/ 101 h 101"/>
                  <a:gd name="T16" fmla="*/ 9 w 72"/>
                  <a:gd name="T17" fmla="*/ 101 h 101"/>
                  <a:gd name="T18" fmla="*/ 16 w 72"/>
                  <a:gd name="T19" fmla="*/ 101 h 101"/>
                  <a:gd name="T20" fmla="*/ 41 w 72"/>
                  <a:gd name="T21" fmla="*/ 101 h 101"/>
                  <a:gd name="T22" fmla="*/ 43 w 72"/>
                  <a:gd name="T23" fmla="*/ 101 h 101"/>
                  <a:gd name="T24" fmla="*/ 70 w 72"/>
                  <a:gd name="T25" fmla="*/ 101 h 101"/>
                  <a:gd name="T26" fmla="*/ 72 w 72"/>
                  <a:gd name="T27" fmla="*/ 99 h 101"/>
                  <a:gd name="T28" fmla="*/ 72 w 72"/>
                  <a:gd name="T29" fmla="*/ 95 h 101"/>
                  <a:gd name="T30" fmla="*/ 72 w 72"/>
                  <a:gd name="T31" fmla="*/ 90 h 101"/>
                  <a:gd name="T32" fmla="*/ 72 w 72"/>
                  <a:gd name="T33" fmla="*/ 71 h 101"/>
                  <a:gd name="T34" fmla="*/ 72 w 72"/>
                  <a:gd name="T35" fmla="*/ 65 h 101"/>
                  <a:gd name="T36" fmla="*/ 72 w 72"/>
                  <a:gd name="T37" fmla="*/ 58 h 101"/>
                  <a:gd name="T38" fmla="*/ 72 w 72"/>
                  <a:gd name="T39" fmla="*/ 55 h 101"/>
                  <a:gd name="T40" fmla="*/ 72 w 72"/>
                  <a:gd name="T41" fmla="*/ 44 h 101"/>
                  <a:gd name="T42" fmla="*/ 72 w 72"/>
                  <a:gd name="T43" fmla="*/ 42 h 101"/>
                  <a:gd name="T44" fmla="*/ 70 w 72"/>
                  <a:gd name="T45" fmla="*/ 41 h 101"/>
                  <a:gd name="T46" fmla="*/ 63 w 72"/>
                  <a:gd name="T47" fmla="*/ 41 h 101"/>
                  <a:gd name="T48" fmla="*/ 63 w 72"/>
                  <a:gd name="T49" fmla="*/ 39 h 101"/>
                  <a:gd name="T50" fmla="*/ 63 w 72"/>
                  <a:gd name="T51" fmla="*/ 27 h 101"/>
                  <a:gd name="T52" fmla="*/ 40 w 72"/>
                  <a:gd name="T53" fmla="*/ 69 h 101"/>
                  <a:gd name="T54" fmla="*/ 40 w 72"/>
                  <a:gd name="T55" fmla="*/ 71 h 101"/>
                  <a:gd name="T56" fmla="*/ 40 w 72"/>
                  <a:gd name="T57" fmla="*/ 77 h 101"/>
                  <a:gd name="T58" fmla="*/ 36 w 72"/>
                  <a:gd name="T59" fmla="*/ 81 h 101"/>
                  <a:gd name="T60" fmla="*/ 31 w 72"/>
                  <a:gd name="T61" fmla="*/ 77 h 101"/>
                  <a:gd name="T62" fmla="*/ 31 w 72"/>
                  <a:gd name="T63" fmla="*/ 73 h 101"/>
                  <a:gd name="T64" fmla="*/ 31 w 72"/>
                  <a:gd name="T65" fmla="*/ 71 h 101"/>
                  <a:gd name="T66" fmla="*/ 31 w 72"/>
                  <a:gd name="T67" fmla="*/ 69 h 101"/>
                  <a:gd name="T68" fmla="*/ 31 w 72"/>
                  <a:gd name="T69" fmla="*/ 65 h 101"/>
                  <a:gd name="T70" fmla="*/ 36 w 72"/>
                  <a:gd name="T71" fmla="*/ 60 h 101"/>
                  <a:gd name="T72" fmla="*/ 39 w 72"/>
                  <a:gd name="T73" fmla="*/ 62 h 101"/>
                  <a:gd name="T74" fmla="*/ 39 w 72"/>
                  <a:gd name="T75" fmla="*/ 62 h 101"/>
                  <a:gd name="T76" fmla="*/ 39 w 72"/>
                  <a:gd name="T77" fmla="*/ 62 h 101"/>
                  <a:gd name="T78" fmla="*/ 39 w 72"/>
                  <a:gd name="T79" fmla="*/ 62 h 101"/>
                  <a:gd name="T80" fmla="*/ 39 w 72"/>
                  <a:gd name="T81" fmla="*/ 62 h 101"/>
                  <a:gd name="T82" fmla="*/ 40 w 72"/>
                  <a:gd name="T83" fmla="*/ 65 h 101"/>
                  <a:gd name="T84" fmla="*/ 40 w 72"/>
                  <a:gd name="T85" fmla="*/ 69 h 101"/>
                  <a:gd name="T86" fmla="*/ 54 w 72"/>
                  <a:gd name="T87" fmla="*/ 41 h 101"/>
                  <a:gd name="T88" fmla="*/ 18 w 72"/>
                  <a:gd name="T89" fmla="*/ 41 h 101"/>
                  <a:gd name="T90" fmla="*/ 18 w 72"/>
                  <a:gd name="T91" fmla="*/ 27 h 101"/>
                  <a:gd name="T92" fmla="*/ 36 w 72"/>
                  <a:gd name="T93" fmla="*/ 9 h 101"/>
                  <a:gd name="T94" fmla="*/ 54 w 72"/>
                  <a:gd name="T95" fmla="*/ 27 h 101"/>
                  <a:gd name="T96" fmla="*/ 54 w 72"/>
                  <a:gd name="T97" fmla="*/ 4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101">
                    <a:moveTo>
                      <a:pt x="63" y="27"/>
                    </a:moveTo>
                    <a:cubicBezTo>
                      <a:pt x="63" y="13"/>
                      <a:pt x="51" y="0"/>
                      <a:pt x="36" y="0"/>
                    </a:cubicBezTo>
                    <a:cubicBezTo>
                      <a:pt x="21" y="0"/>
                      <a:pt x="9" y="13"/>
                      <a:pt x="9" y="27"/>
                    </a:cubicBezTo>
                    <a:cubicBezTo>
                      <a:pt x="9" y="41"/>
                      <a:pt x="9" y="41"/>
                      <a:pt x="9" y="41"/>
                    </a:cubicBezTo>
                    <a:cubicBezTo>
                      <a:pt x="1" y="41"/>
                      <a:pt x="1" y="41"/>
                      <a:pt x="1" y="41"/>
                    </a:cubicBezTo>
                    <a:cubicBezTo>
                      <a:pt x="0" y="41"/>
                      <a:pt x="0" y="41"/>
                      <a:pt x="0" y="42"/>
                    </a:cubicBezTo>
                    <a:cubicBezTo>
                      <a:pt x="0" y="99"/>
                      <a:pt x="0" y="99"/>
                      <a:pt x="0" y="99"/>
                    </a:cubicBezTo>
                    <a:cubicBezTo>
                      <a:pt x="0" y="100"/>
                      <a:pt x="0" y="101"/>
                      <a:pt x="1" y="101"/>
                    </a:cubicBezTo>
                    <a:cubicBezTo>
                      <a:pt x="9" y="101"/>
                      <a:pt x="9" y="101"/>
                      <a:pt x="9" y="101"/>
                    </a:cubicBezTo>
                    <a:cubicBezTo>
                      <a:pt x="11" y="101"/>
                      <a:pt x="14" y="101"/>
                      <a:pt x="16" y="101"/>
                    </a:cubicBezTo>
                    <a:cubicBezTo>
                      <a:pt x="41" y="101"/>
                      <a:pt x="41" y="101"/>
                      <a:pt x="41" y="101"/>
                    </a:cubicBezTo>
                    <a:cubicBezTo>
                      <a:pt x="42" y="101"/>
                      <a:pt x="43" y="101"/>
                      <a:pt x="43" y="101"/>
                    </a:cubicBezTo>
                    <a:cubicBezTo>
                      <a:pt x="70" y="101"/>
                      <a:pt x="70" y="101"/>
                      <a:pt x="70" y="101"/>
                    </a:cubicBezTo>
                    <a:cubicBezTo>
                      <a:pt x="71" y="101"/>
                      <a:pt x="72" y="100"/>
                      <a:pt x="72" y="99"/>
                    </a:cubicBezTo>
                    <a:cubicBezTo>
                      <a:pt x="72" y="95"/>
                      <a:pt x="72" y="95"/>
                      <a:pt x="72" y="95"/>
                    </a:cubicBezTo>
                    <a:cubicBezTo>
                      <a:pt x="72" y="93"/>
                      <a:pt x="72" y="91"/>
                      <a:pt x="72" y="90"/>
                    </a:cubicBezTo>
                    <a:cubicBezTo>
                      <a:pt x="72" y="71"/>
                      <a:pt x="72" y="71"/>
                      <a:pt x="72" y="71"/>
                    </a:cubicBezTo>
                    <a:cubicBezTo>
                      <a:pt x="72" y="69"/>
                      <a:pt x="72" y="67"/>
                      <a:pt x="72" y="65"/>
                    </a:cubicBezTo>
                    <a:cubicBezTo>
                      <a:pt x="72" y="58"/>
                      <a:pt x="72" y="58"/>
                      <a:pt x="72" y="58"/>
                    </a:cubicBezTo>
                    <a:cubicBezTo>
                      <a:pt x="72" y="57"/>
                      <a:pt x="72" y="56"/>
                      <a:pt x="72" y="55"/>
                    </a:cubicBezTo>
                    <a:cubicBezTo>
                      <a:pt x="72" y="44"/>
                      <a:pt x="72" y="44"/>
                      <a:pt x="72" y="44"/>
                    </a:cubicBezTo>
                    <a:cubicBezTo>
                      <a:pt x="72" y="42"/>
                      <a:pt x="72" y="42"/>
                      <a:pt x="72" y="42"/>
                    </a:cubicBezTo>
                    <a:cubicBezTo>
                      <a:pt x="72" y="41"/>
                      <a:pt x="71" y="41"/>
                      <a:pt x="70" y="41"/>
                    </a:cubicBezTo>
                    <a:cubicBezTo>
                      <a:pt x="63" y="41"/>
                      <a:pt x="63" y="41"/>
                      <a:pt x="63" y="41"/>
                    </a:cubicBezTo>
                    <a:cubicBezTo>
                      <a:pt x="63" y="40"/>
                      <a:pt x="63" y="40"/>
                      <a:pt x="63" y="39"/>
                    </a:cubicBezTo>
                    <a:cubicBezTo>
                      <a:pt x="63" y="27"/>
                      <a:pt x="63" y="27"/>
                      <a:pt x="63" y="27"/>
                    </a:cubicBezTo>
                    <a:close/>
                    <a:moveTo>
                      <a:pt x="40" y="69"/>
                    </a:moveTo>
                    <a:cubicBezTo>
                      <a:pt x="40" y="71"/>
                      <a:pt x="40" y="71"/>
                      <a:pt x="40" y="71"/>
                    </a:cubicBezTo>
                    <a:cubicBezTo>
                      <a:pt x="40" y="77"/>
                      <a:pt x="40" y="77"/>
                      <a:pt x="40" y="77"/>
                    </a:cubicBezTo>
                    <a:cubicBezTo>
                      <a:pt x="40" y="79"/>
                      <a:pt x="38" y="81"/>
                      <a:pt x="36" y="81"/>
                    </a:cubicBezTo>
                    <a:cubicBezTo>
                      <a:pt x="33" y="81"/>
                      <a:pt x="31" y="79"/>
                      <a:pt x="31" y="77"/>
                    </a:cubicBezTo>
                    <a:cubicBezTo>
                      <a:pt x="31" y="73"/>
                      <a:pt x="31" y="73"/>
                      <a:pt x="31" y="73"/>
                    </a:cubicBezTo>
                    <a:cubicBezTo>
                      <a:pt x="31" y="71"/>
                      <a:pt x="31" y="71"/>
                      <a:pt x="31" y="71"/>
                    </a:cubicBezTo>
                    <a:cubicBezTo>
                      <a:pt x="31" y="69"/>
                      <a:pt x="31" y="69"/>
                      <a:pt x="31" y="69"/>
                    </a:cubicBezTo>
                    <a:cubicBezTo>
                      <a:pt x="31" y="65"/>
                      <a:pt x="31" y="65"/>
                      <a:pt x="31" y="65"/>
                    </a:cubicBezTo>
                    <a:cubicBezTo>
                      <a:pt x="31" y="62"/>
                      <a:pt x="33" y="60"/>
                      <a:pt x="36" y="60"/>
                    </a:cubicBezTo>
                    <a:cubicBezTo>
                      <a:pt x="37" y="60"/>
                      <a:pt x="38" y="61"/>
                      <a:pt x="39" y="62"/>
                    </a:cubicBezTo>
                    <a:cubicBezTo>
                      <a:pt x="39" y="62"/>
                      <a:pt x="39" y="62"/>
                      <a:pt x="39" y="62"/>
                    </a:cubicBezTo>
                    <a:cubicBezTo>
                      <a:pt x="39" y="62"/>
                      <a:pt x="39" y="62"/>
                      <a:pt x="39" y="62"/>
                    </a:cubicBezTo>
                    <a:cubicBezTo>
                      <a:pt x="39" y="62"/>
                      <a:pt x="39" y="62"/>
                      <a:pt x="39" y="62"/>
                    </a:cubicBezTo>
                    <a:cubicBezTo>
                      <a:pt x="39" y="62"/>
                      <a:pt x="39" y="62"/>
                      <a:pt x="39" y="62"/>
                    </a:cubicBezTo>
                    <a:cubicBezTo>
                      <a:pt x="40" y="63"/>
                      <a:pt x="40" y="64"/>
                      <a:pt x="40" y="65"/>
                    </a:cubicBezTo>
                    <a:lnTo>
                      <a:pt x="40" y="69"/>
                    </a:lnTo>
                    <a:close/>
                    <a:moveTo>
                      <a:pt x="54" y="41"/>
                    </a:moveTo>
                    <a:cubicBezTo>
                      <a:pt x="18" y="41"/>
                      <a:pt x="18" y="41"/>
                      <a:pt x="18" y="41"/>
                    </a:cubicBezTo>
                    <a:cubicBezTo>
                      <a:pt x="18" y="27"/>
                      <a:pt x="18" y="27"/>
                      <a:pt x="18" y="27"/>
                    </a:cubicBezTo>
                    <a:cubicBezTo>
                      <a:pt x="18" y="17"/>
                      <a:pt x="26" y="9"/>
                      <a:pt x="36" y="9"/>
                    </a:cubicBezTo>
                    <a:cubicBezTo>
                      <a:pt x="46" y="9"/>
                      <a:pt x="54" y="17"/>
                      <a:pt x="54" y="27"/>
                    </a:cubicBezTo>
                    <a:cubicBezTo>
                      <a:pt x="54" y="41"/>
                      <a:pt x="54" y="41"/>
                      <a:pt x="54" y="4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grpSp>
        <p:sp>
          <p:nvSpPr>
            <p:cNvPr id="199" name="Freeform 28"/>
            <p:cNvSpPr>
              <a:spLocks noEditPoints="1"/>
            </p:cNvSpPr>
            <p:nvPr/>
          </p:nvSpPr>
          <p:spPr bwMode="auto">
            <a:xfrm>
              <a:off x="2112399" y="2394127"/>
              <a:ext cx="461340" cy="460948"/>
            </a:xfrm>
            <a:custGeom>
              <a:avLst/>
              <a:gdLst>
                <a:gd name="T0" fmla="*/ 68 w 165"/>
                <a:gd name="T1" fmla="*/ 7 h 165"/>
                <a:gd name="T2" fmla="*/ 68 w 165"/>
                <a:gd name="T3" fmla="*/ 20 h 165"/>
                <a:gd name="T4" fmla="*/ 100 w 165"/>
                <a:gd name="T5" fmla="*/ 37 h 165"/>
                <a:gd name="T6" fmla="*/ 110 w 165"/>
                <a:gd name="T7" fmla="*/ 49 h 165"/>
                <a:gd name="T8" fmla="*/ 102 w 165"/>
                <a:gd name="T9" fmla="*/ 78 h 165"/>
                <a:gd name="T10" fmla="*/ 81 w 165"/>
                <a:gd name="T11" fmla="*/ 115 h 165"/>
                <a:gd name="T12" fmla="*/ 73 w 165"/>
                <a:gd name="T13" fmla="*/ 72 h 165"/>
                <a:gd name="T14" fmla="*/ 68 w 165"/>
                <a:gd name="T15" fmla="*/ 66 h 165"/>
                <a:gd name="T16" fmla="*/ 77 w 165"/>
                <a:gd name="T17" fmla="*/ 97 h 165"/>
                <a:gd name="T18" fmla="*/ 37 w 165"/>
                <a:gd name="T19" fmla="*/ 99 h 165"/>
                <a:gd name="T20" fmla="*/ 33 w 165"/>
                <a:gd name="T21" fmla="*/ 69 h 165"/>
                <a:gd name="T22" fmla="*/ 10 w 165"/>
                <a:gd name="T23" fmla="*/ 69 h 165"/>
                <a:gd name="T24" fmla="*/ 165 w 165"/>
                <a:gd name="T25" fmla="*/ 82 h 165"/>
                <a:gd name="T26" fmla="*/ 135 w 165"/>
                <a:gd name="T27" fmla="*/ 56 h 165"/>
                <a:gd name="T28" fmla="*/ 133 w 165"/>
                <a:gd name="T29" fmla="*/ 54 h 165"/>
                <a:gd name="T30" fmla="*/ 114 w 165"/>
                <a:gd name="T31" fmla="*/ 14 h 165"/>
                <a:gd name="T32" fmla="*/ 107 w 165"/>
                <a:gd name="T33" fmla="*/ 41 h 165"/>
                <a:gd name="T34" fmla="*/ 109 w 165"/>
                <a:gd name="T35" fmla="*/ 31 h 165"/>
                <a:gd name="T36" fmla="*/ 119 w 165"/>
                <a:gd name="T37" fmla="*/ 33 h 165"/>
                <a:gd name="T38" fmla="*/ 117 w 165"/>
                <a:gd name="T39" fmla="*/ 43 h 165"/>
                <a:gd name="T40" fmla="*/ 99 w 165"/>
                <a:gd name="T41" fmla="*/ 65 h 165"/>
                <a:gd name="T42" fmla="*/ 114 w 165"/>
                <a:gd name="T43" fmla="*/ 60 h 165"/>
                <a:gd name="T44" fmla="*/ 106 w 165"/>
                <a:gd name="T45" fmla="*/ 72 h 165"/>
                <a:gd name="T46" fmla="*/ 103 w 165"/>
                <a:gd name="T47" fmla="*/ 78 h 165"/>
                <a:gd name="T48" fmla="*/ 112 w 165"/>
                <a:gd name="T49" fmla="*/ 50 h 165"/>
                <a:gd name="T50" fmla="*/ 122 w 165"/>
                <a:gd name="T51" fmla="*/ 79 h 165"/>
                <a:gd name="T52" fmla="*/ 84 w 165"/>
                <a:gd name="T53" fmla="*/ 118 h 165"/>
                <a:gd name="T54" fmla="*/ 155 w 165"/>
                <a:gd name="T55" fmla="*/ 80 h 165"/>
                <a:gd name="T56" fmla="*/ 110 w 165"/>
                <a:gd name="T57" fmla="*/ 115 h 165"/>
                <a:gd name="T58" fmla="*/ 82 w 165"/>
                <a:gd name="T59" fmla="*/ 120 h 165"/>
                <a:gd name="T60" fmla="*/ 145 w 165"/>
                <a:gd name="T61" fmla="*/ 90 h 165"/>
                <a:gd name="T62" fmla="*/ 143 w 165"/>
                <a:gd name="T63" fmla="*/ 88 h 165"/>
                <a:gd name="T64" fmla="*/ 145 w 165"/>
                <a:gd name="T65" fmla="*/ 86 h 165"/>
                <a:gd name="T66" fmla="*/ 147 w 165"/>
                <a:gd name="T67" fmla="*/ 88 h 165"/>
                <a:gd name="T68" fmla="*/ 102 w 165"/>
                <a:gd name="T69" fmla="*/ 134 h 165"/>
                <a:gd name="T70" fmla="*/ 95 w 165"/>
                <a:gd name="T71" fmla="*/ 126 h 165"/>
                <a:gd name="T72" fmla="*/ 110 w 165"/>
                <a:gd name="T73" fmla="*/ 121 h 165"/>
                <a:gd name="T74" fmla="*/ 69 w 165"/>
                <a:gd name="T75" fmla="*/ 91 h 165"/>
                <a:gd name="T76" fmla="*/ 67 w 165"/>
                <a:gd name="T77" fmla="*/ 80 h 165"/>
                <a:gd name="T78" fmla="*/ 77 w 165"/>
                <a:gd name="T79" fmla="*/ 78 h 165"/>
                <a:gd name="T80" fmla="*/ 79 w 165"/>
                <a:gd name="T81" fmla="*/ 89 h 165"/>
                <a:gd name="T82" fmla="*/ 64 w 165"/>
                <a:gd name="T83" fmla="*/ 115 h 165"/>
                <a:gd name="T84" fmla="*/ 76 w 165"/>
                <a:gd name="T85" fmla="*/ 115 h 165"/>
                <a:gd name="T86" fmla="*/ 76 w 165"/>
                <a:gd name="T87" fmla="*/ 127 h 165"/>
                <a:gd name="T88" fmla="*/ 64 w 165"/>
                <a:gd name="T89" fmla="*/ 127 h 165"/>
                <a:gd name="T90" fmla="*/ 22 w 165"/>
                <a:gd name="T91" fmla="*/ 127 h 165"/>
                <a:gd name="T92" fmla="*/ 12 w 165"/>
                <a:gd name="T93" fmla="*/ 92 h 165"/>
                <a:gd name="T94" fmla="*/ 23 w 165"/>
                <a:gd name="T95" fmla="*/ 99 h 165"/>
                <a:gd name="T96" fmla="*/ 23 w 165"/>
                <a:gd name="T97" fmla="*/ 96 h 165"/>
                <a:gd name="T98" fmla="*/ 25 w 165"/>
                <a:gd name="T99" fmla="*/ 99 h 165"/>
                <a:gd name="T100" fmla="*/ 35 w 165"/>
                <a:gd name="T101" fmla="*/ 100 h 165"/>
                <a:gd name="T102" fmla="*/ 27 w 165"/>
                <a:gd name="T103" fmla="*/ 132 h 165"/>
                <a:gd name="T104" fmla="*/ 70 w 165"/>
                <a:gd name="T105" fmla="*/ 134 h 165"/>
                <a:gd name="T106" fmla="*/ 82 w 165"/>
                <a:gd name="T107" fmla="*/ 157 h 165"/>
                <a:gd name="T108" fmla="*/ 90 w 165"/>
                <a:gd name="T109" fmla="*/ 124 h 165"/>
                <a:gd name="T110" fmla="*/ 84 w 165"/>
                <a:gd name="T111" fmla="*/ 157 h 165"/>
                <a:gd name="T112" fmla="*/ 116 w 165"/>
                <a:gd name="T113" fmla="*/ 125 h 165"/>
                <a:gd name="T114" fmla="*/ 111 w 165"/>
                <a:gd name="T115" fmla="*/ 117 h 165"/>
                <a:gd name="T116" fmla="*/ 156 w 165"/>
                <a:gd name="T117" fmla="*/ 82 h 165"/>
                <a:gd name="T118" fmla="*/ 116 w 165"/>
                <a:gd name="T119" fmla="*/ 12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 h="165">
                  <a:moveTo>
                    <a:pt x="83" y="0"/>
                  </a:moveTo>
                  <a:cubicBezTo>
                    <a:pt x="75" y="0"/>
                    <a:pt x="68" y="0"/>
                    <a:pt x="62" y="2"/>
                  </a:cubicBezTo>
                  <a:cubicBezTo>
                    <a:pt x="63" y="2"/>
                    <a:pt x="63" y="2"/>
                    <a:pt x="63" y="2"/>
                  </a:cubicBezTo>
                  <a:cubicBezTo>
                    <a:pt x="66" y="2"/>
                    <a:pt x="68" y="4"/>
                    <a:pt x="68" y="7"/>
                  </a:cubicBezTo>
                  <a:cubicBezTo>
                    <a:pt x="68" y="8"/>
                    <a:pt x="68" y="8"/>
                    <a:pt x="68" y="8"/>
                  </a:cubicBezTo>
                  <a:cubicBezTo>
                    <a:pt x="72" y="7"/>
                    <a:pt x="76" y="7"/>
                    <a:pt x="81" y="7"/>
                  </a:cubicBezTo>
                  <a:cubicBezTo>
                    <a:pt x="77" y="9"/>
                    <a:pt x="73" y="13"/>
                    <a:pt x="68" y="17"/>
                  </a:cubicBezTo>
                  <a:cubicBezTo>
                    <a:pt x="68" y="20"/>
                    <a:pt x="68" y="20"/>
                    <a:pt x="68" y="20"/>
                  </a:cubicBezTo>
                  <a:cubicBezTo>
                    <a:pt x="75" y="14"/>
                    <a:pt x="81" y="9"/>
                    <a:pt x="84" y="7"/>
                  </a:cubicBezTo>
                  <a:cubicBezTo>
                    <a:pt x="94" y="7"/>
                    <a:pt x="104" y="9"/>
                    <a:pt x="112" y="13"/>
                  </a:cubicBezTo>
                  <a:cubicBezTo>
                    <a:pt x="113" y="16"/>
                    <a:pt x="113" y="20"/>
                    <a:pt x="113" y="24"/>
                  </a:cubicBezTo>
                  <a:cubicBezTo>
                    <a:pt x="106" y="24"/>
                    <a:pt x="100" y="30"/>
                    <a:pt x="100" y="37"/>
                  </a:cubicBezTo>
                  <a:cubicBezTo>
                    <a:pt x="89" y="33"/>
                    <a:pt x="78" y="31"/>
                    <a:pt x="68" y="31"/>
                  </a:cubicBezTo>
                  <a:cubicBezTo>
                    <a:pt x="68" y="33"/>
                    <a:pt x="68" y="33"/>
                    <a:pt x="68" y="33"/>
                  </a:cubicBezTo>
                  <a:cubicBezTo>
                    <a:pt x="78" y="33"/>
                    <a:pt x="89" y="35"/>
                    <a:pt x="100" y="39"/>
                  </a:cubicBezTo>
                  <a:cubicBezTo>
                    <a:pt x="101" y="44"/>
                    <a:pt x="105" y="48"/>
                    <a:pt x="110" y="49"/>
                  </a:cubicBezTo>
                  <a:cubicBezTo>
                    <a:pt x="110" y="51"/>
                    <a:pt x="109" y="52"/>
                    <a:pt x="109" y="53"/>
                  </a:cubicBezTo>
                  <a:cubicBezTo>
                    <a:pt x="108" y="53"/>
                    <a:pt x="108" y="53"/>
                    <a:pt x="107" y="53"/>
                  </a:cubicBezTo>
                  <a:cubicBezTo>
                    <a:pt x="99" y="53"/>
                    <a:pt x="94" y="59"/>
                    <a:pt x="94" y="66"/>
                  </a:cubicBezTo>
                  <a:cubicBezTo>
                    <a:pt x="94" y="71"/>
                    <a:pt x="97" y="76"/>
                    <a:pt x="102" y="78"/>
                  </a:cubicBezTo>
                  <a:cubicBezTo>
                    <a:pt x="99" y="86"/>
                    <a:pt x="90" y="103"/>
                    <a:pt x="86" y="110"/>
                  </a:cubicBezTo>
                  <a:cubicBezTo>
                    <a:pt x="85" y="112"/>
                    <a:pt x="84" y="115"/>
                    <a:pt x="82" y="117"/>
                  </a:cubicBezTo>
                  <a:cubicBezTo>
                    <a:pt x="82" y="117"/>
                    <a:pt x="82" y="117"/>
                    <a:pt x="82" y="117"/>
                  </a:cubicBezTo>
                  <a:cubicBezTo>
                    <a:pt x="82" y="116"/>
                    <a:pt x="81" y="115"/>
                    <a:pt x="81" y="115"/>
                  </a:cubicBezTo>
                  <a:cubicBezTo>
                    <a:pt x="81" y="108"/>
                    <a:pt x="80" y="102"/>
                    <a:pt x="79" y="97"/>
                  </a:cubicBezTo>
                  <a:cubicBezTo>
                    <a:pt x="79" y="97"/>
                    <a:pt x="79" y="97"/>
                    <a:pt x="79" y="96"/>
                  </a:cubicBezTo>
                  <a:cubicBezTo>
                    <a:pt x="83" y="94"/>
                    <a:pt x="86" y="90"/>
                    <a:pt x="86" y="85"/>
                  </a:cubicBezTo>
                  <a:cubicBezTo>
                    <a:pt x="86" y="77"/>
                    <a:pt x="81" y="72"/>
                    <a:pt x="73" y="72"/>
                  </a:cubicBezTo>
                  <a:cubicBezTo>
                    <a:pt x="73" y="72"/>
                    <a:pt x="73" y="72"/>
                    <a:pt x="72" y="72"/>
                  </a:cubicBezTo>
                  <a:cubicBezTo>
                    <a:pt x="71" y="68"/>
                    <a:pt x="69" y="65"/>
                    <a:pt x="68" y="62"/>
                  </a:cubicBezTo>
                  <a:cubicBezTo>
                    <a:pt x="68" y="64"/>
                    <a:pt x="68" y="64"/>
                    <a:pt x="68" y="64"/>
                  </a:cubicBezTo>
                  <a:cubicBezTo>
                    <a:pt x="68" y="65"/>
                    <a:pt x="68" y="65"/>
                    <a:pt x="68" y="66"/>
                  </a:cubicBezTo>
                  <a:cubicBezTo>
                    <a:pt x="69" y="68"/>
                    <a:pt x="69" y="70"/>
                    <a:pt x="70" y="72"/>
                  </a:cubicBezTo>
                  <a:cubicBezTo>
                    <a:pt x="65" y="73"/>
                    <a:pt x="60" y="78"/>
                    <a:pt x="60" y="85"/>
                  </a:cubicBezTo>
                  <a:cubicBezTo>
                    <a:pt x="60" y="92"/>
                    <a:pt x="66" y="98"/>
                    <a:pt x="73" y="98"/>
                  </a:cubicBezTo>
                  <a:cubicBezTo>
                    <a:pt x="75" y="98"/>
                    <a:pt x="76" y="97"/>
                    <a:pt x="77" y="97"/>
                  </a:cubicBezTo>
                  <a:cubicBezTo>
                    <a:pt x="78" y="102"/>
                    <a:pt x="78" y="107"/>
                    <a:pt x="79" y="112"/>
                  </a:cubicBezTo>
                  <a:cubicBezTo>
                    <a:pt x="76" y="109"/>
                    <a:pt x="73" y="108"/>
                    <a:pt x="70" y="108"/>
                  </a:cubicBezTo>
                  <a:cubicBezTo>
                    <a:pt x="65" y="108"/>
                    <a:pt x="62" y="110"/>
                    <a:pt x="59" y="113"/>
                  </a:cubicBezTo>
                  <a:cubicBezTo>
                    <a:pt x="50" y="109"/>
                    <a:pt x="43" y="104"/>
                    <a:pt x="37" y="99"/>
                  </a:cubicBezTo>
                  <a:cubicBezTo>
                    <a:pt x="38" y="97"/>
                    <a:pt x="38" y="95"/>
                    <a:pt x="38" y="92"/>
                  </a:cubicBezTo>
                  <a:cubicBezTo>
                    <a:pt x="38" y="87"/>
                    <a:pt x="35" y="83"/>
                    <a:pt x="31" y="81"/>
                  </a:cubicBezTo>
                  <a:cubicBezTo>
                    <a:pt x="32" y="77"/>
                    <a:pt x="34" y="73"/>
                    <a:pt x="35" y="69"/>
                  </a:cubicBezTo>
                  <a:cubicBezTo>
                    <a:pt x="33" y="69"/>
                    <a:pt x="33" y="69"/>
                    <a:pt x="33" y="69"/>
                  </a:cubicBezTo>
                  <a:cubicBezTo>
                    <a:pt x="31" y="73"/>
                    <a:pt x="30" y="76"/>
                    <a:pt x="29" y="80"/>
                  </a:cubicBezTo>
                  <a:cubicBezTo>
                    <a:pt x="28" y="80"/>
                    <a:pt x="26" y="80"/>
                    <a:pt x="25" y="80"/>
                  </a:cubicBezTo>
                  <a:cubicBezTo>
                    <a:pt x="23" y="80"/>
                    <a:pt x="21" y="80"/>
                    <a:pt x="19" y="81"/>
                  </a:cubicBezTo>
                  <a:cubicBezTo>
                    <a:pt x="15" y="77"/>
                    <a:pt x="12" y="72"/>
                    <a:pt x="10" y="69"/>
                  </a:cubicBezTo>
                  <a:cubicBezTo>
                    <a:pt x="1" y="69"/>
                    <a:pt x="1" y="69"/>
                    <a:pt x="1" y="69"/>
                  </a:cubicBezTo>
                  <a:cubicBezTo>
                    <a:pt x="1" y="73"/>
                    <a:pt x="0" y="78"/>
                    <a:pt x="0" y="82"/>
                  </a:cubicBezTo>
                  <a:cubicBezTo>
                    <a:pt x="0" y="128"/>
                    <a:pt x="37" y="165"/>
                    <a:pt x="83" y="165"/>
                  </a:cubicBezTo>
                  <a:cubicBezTo>
                    <a:pt x="128" y="165"/>
                    <a:pt x="165" y="128"/>
                    <a:pt x="165" y="82"/>
                  </a:cubicBezTo>
                  <a:cubicBezTo>
                    <a:pt x="165" y="37"/>
                    <a:pt x="128" y="0"/>
                    <a:pt x="83" y="0"/>
                  </a:cubicBezTo>
                  <a:close/>
                  <a:moveTo>
                    <a:pt x="158" y="78"/>
                  </a:moveTo>
                  <a:cubicBezTo>
                    <a:pt x="158" y="78"/>
                    <a:pt x="158" y="79"/>
                    <a:pt x="157" y="79"/>
                  </a:cubicBezTo>
                  <a:cubicBezTo>
                    <a:pt x="150" y="69"/>
                    <a:pt x="142" y="62"/>
                    <a:pt x="135" y="56"/>
                  </a:cubicBezTo>
                  <a:cubicBezTo>
                    <a:pt x="138" y="46"/>
                    <a:pt x="140" y="38"/>
                    <a:pt x="140" y="33"/>
                  </a:cubicBezTo>
                  <a:cubicBezTo>
                    <a:pt x="151" y="46"/>
                    <a:pt x="157" y="61"/>
                    <a:pt x="158" y="78"/>
                  </a:cubicBezTo>
                  <a:close/>
                  <a:moveTo>
                    <a:pt x="139" y="31"/>
                  </a:moveTo>
                  <a:cubicBezTo>
                    <a:pt x="138" y="35"/>
                    <a:pt x="137" y="44"/>
                    <a:pt x="133" y="54"/>
                  </a:cubicBezTo>
                  <a:cubicBezTo>
                    <a:pt x="129" y="51"/>
                    <a:pt x="126" y="49"/>
                    <a:pt x="122" y="47"/>
                  </a:cubicBezTo>
                  <a:cubicBezTo>
                    <a:pt x="124" y="44"/>
                    <a:pt x="126" y="41"/>
                    <a:pt x="126" y="37"/>
                  </a:cubicBezTo>
                  <a:cubicBezTo>
                    <a:pt x="126" y="30"/>
                    <a:pt x="121" y="25"/>
                    <a:pt x="115" y="24"/>
                  </a:cubicBezTo>
                  <a:cubicBezTo>
                    <a:pt x="115" y="21"/>
                    <a:pt x="115" y="17"/>
                    <a:pt x="114" y="14"/>
                  </a:cubicBezTo>
                  <a:cubicBezTo>
                    <a:pt x="124" y="18"/>
                    <a:pt x="132" y="24"/>
                    <a:pt x="139" y="31"/>
                  </a:cubicBezTo>
                  <a:close/>
                  <a:moveTo>
                    <a:pt x="109" y="43"/>
                  </a:moveTo>
                  <a:cubicBezTo>
                    <a:pt x="109" y="44"/>
                    <a:pt x="108" y="44"/>
                    <a:pt x="107" y="43"/>
                  </a:cubicBezTo>
                  <a:cubicBezTo>
                    <a:pt x="107" y="42"/>
                    <a:pt x="107" y="42"/>
                    <a:pt x="107" y="41"/>
                  </a:cubicBezTo>
                  <a:cubicBezTo>
                    <a:pt x="111" y="37"/>
                    <a:pt x="111" y="37"/>
                    <a:pt x="111" y="37"/>
                  </a:cubicBezTo>
                  <a:cubicBezTo>
                    <a:pt x="108" y="33"/>
                    <a:pt x="107" y="33"/>
                    <a:pt x="107" y="33"/>
                  </a:cubicBezTo>
                  <a:cubicBezTo>
                    <a:pt x="107" y="32"/>
                    <a:pt x="107" y="31"/>
                    <a:pt x="107" y="31"/>
                  </a:cubicBezTo>
                  <a:cubicBezTo>
                    <a:pt x="108" y="30"/>
                    <a:pt x="109" y="30"/>
                    <a:pt x="109" y="31"/>
                  </a:cubicBezTo>
                  <a:cubicBezTo>
                    <a:pt x="113" y="34"/>
                    <a:pt x="113" y="35"/>
                    <a:pt x="113" y="35"/>
                  </a:cubicBezTo>
                  <a:cubicBezTo>
                    <a:pt x="117" y="31"/>
                    <a:pt x="117" y="31"/>
                    <a:pt x="117" y="31"/>
                  </a:cubicBezTo>
                  <a:cubicBezTo>
                    <a:pt x="118" y="30"/>
                    <a:pt x="119" y="30"/>
                    <a:pt x="119" y="31"/>
                  </a:cubicBezTo>
                  <a:cubicBezTo>
                    <a:pt x="120" y="31"/>
                    <a:pt x="120" y="32"/>
                    <a:pt x="119" y="33"/>
                  </a:cubicBezTo>
                  <a:cubicBezTo>
                    <a:pt x="116" y="36"/>
                    <a:pt x="115" y="37"/>
                    <a:pt x="115" y="37"/>
                  </a:cubicBezTo>
                  <a:cubicBezTo>
                    <a:pt x="119" y="40"/>
                    <a:pt x="119" y="41"/>
                    <a:pt x="119" y="41"/>
                  </a:cubicBezTo>
                  <a:cubicBezTo>
                    <a:pt x="120" y="42"/>
                    <a:pt x="120" y="42"/>
                    <a:pt x="119" y="43"/>
                  </a:cubicBezTo>
                  <a:cubicBezTo>
                    <a:pt x="119" y="44"/>
                    <a:pt x="118" y="44"/>
                    <a:pt x="117" y="43"/>
                  </a:cubicBezTo>
                  <a:cubicBezTo>
                    <a:pt x="114" y="39"/>
                    <a:pt x="113" y="39"/>
                    <a:pt x="113" y="39"/>
                  </a:cubicBezTo>
                  <a:cubicBezTo>
                    <a:pt x="110" y="42"/>
                    <a:pt x="109" y="43"/>
                    <a:pt x="109" y="43"/>
                  </a:cubicBezTo>
                  <a:close/>
                  <a:moveTo>
                    <a:pt x="99" y="67"/>
                  </a:moveTo>
                  <a:cubicBezTo>
                    <a:pt x="99" y="66"/>
                    <a:pt x="99" y="65"/>
                    <a:pt x="99" y="65"/>
                  </a:cubicBezTo>
                  <a:cubicBezTo>
                    <a:pt x="100" y="64"/>
                    <a:pt x="101" y="64"/>
                    <a:pt x="101" y="65"/>
                  </a:cubicBezTo>
                  <a:cubicBezTo>
                    <a:pt x="101" y="65"/>
                    <a:pt x="101" y="65"/>
                    <a:pt x="105" y="69"/>
                  </a:cubicBezTo>
                  <a:cubicBezTo>
                    <a:pt x="105" y="69"/>
                    <a:pt x="105" y="69"/>
                    <a:pt x="112" y="60"/>
                  </a:cubicBezTo>
                  <a:cubicBezTo>
                    <a:pt x="112" y="60"/>
                    <a:pt x="113" y="59"/>
                    <a:pt x="114" y="60"/>
                  </a:cubicBezTo>
                  <a:cubicBezTo>
                    <a:pt x="115" y="60"/>
                    <a:pt x="115" y="61"/>
                    <a:pt x="114" y="62"/>
                  </a:cubicBezTo>
                  <a:cubicBezTo>
                    <a:pt x="114" y="62"/>
                    <a:pt x="114" y="62"/>
                    <a:pt x="107" y="72"/>
                  </a:cubicBezTo>
                  <a:cubicBezTo>
                    <a:pt x="107" y="72"/>
                    <a:pt x="106" y="72"/>
                    <a:pt x="106" y="72"/>
                  </a:cubicBezTo>
                  <a:cubicBezTo>
                    <a:pt x="106" y="72"/>
                    <a:pt x="106" y="72"/>
                    <a:pt x="106" y="72"/>
                  </a:cubicBezTo>
                  <a:cubicBezTo>
                    <a:pt x="105" y="72"/>
                    <a:pt x="105" y="72"/>
                    <a:pt x="105" y="72"/>
                  </a:cubicBezTo>
                  <a:cubicBezTo>
                    <a:pt x="105" y="72"/>
                    <a:pt x="105" y="72"/>
                    <a:pt x="99" y="67"/>
                  </a:cubicBezTo>
                  <a:close/>
                  <a:moveTo>
                    <a:pt x="88" y="111"/>
                  </a:moveTo>
                  <a:cubicBezTo>
                    <a:pt x="91" y="107"/>
                    <a:pt x="99" y="89"/>
                    <a:pt x="103" y="78"/>
                  </a:cubicBezTo>
                  <a:cubicBezTo>
                    <a:pt x="105" y="79"/>
                    <a:pt x="106" y="79"/>
                    <a:pt x="107" y="79"/>
                  </a:cubicBezTo>
                  <a:cubicBezTo>
                    <a:pt x="114" y="79"/>
                    <a:pt x="120" y="73"/>
                    <a:pt x="120" y="66"/>
                  </a:cubicBezTo>
                  <a:cubicBezTo>
                    <a:pt x="120" y="60"/>
                    <a:pt x="116" y="56"/>
                    <a:pt x="111" y="54"/>
                  </a:cubicBezTo>
                  <a:cubicBezTo>
                    <a:pt x="111" y="52"/>
                    <a:pt x="112" y="51"/>
                    <a:pt x="112" y="50"/>
                  </a:cubicBezTo>
                  <a:cubicBezTo>
                    <a:pt x="113" y="50"/>
                    <a:pt x="113" y="50"/>
                    <a:pt x="113" y="50"/>
                  </a:cubicBezTo>
                  <a:cubicBezTo>
                    <a:pt x="116" y="50"/>
                    <a:pt x="118" y="49"/>
                    <a:pt x="120" y="48"/>
                  </a:cubicBezTo>
                  <a:cubicBezTo>
                    <a:pt x="124" y="50"/>
                    <a:pt x="128" y="53"/>
                    <a:pt x="132" y="56"/>
                  </a:cubicBezTo>
                  <a:cubicBezTo>
                    <a:pt x="130" y="63"/>
                    <a:pt x="127" y="71"/>
                    <a:pt x="122" y="79"/>
                  </a:cubicBezTo>
                  <a:cubicBezTo>
                    <a:pt x="114" y="91"/>
                    <a:pt x="103" y="104"/>
                    <a:pt x="86" y="115"/>
                  </a:cubicBezTo>
                  <a:cubicBezTo>
                    <a:pt x="87" y="113"/>
                    <a:pt x="87" y="112"/>
                    <a:pt x="88" y="111"/>
                  </a:cubicBezTo>
                  <a:close/>
                  <a:moveTo>
                    <a:pt x="82" y="120"/>
                  </a:moveTo>
                  <a:cubicBezTo>
                    <a:pt x="83" y="120"/>
                    <a:pt x="83" y="119"/>
                    <a:pt x="84" y="118"/>
                  </a:cubicBezTo>
                  <a:cubicBezTo>
                    <a:pt x="103" y="108"/>
                    <a:pt x="116" y="93"/>
                    <a:pt x="123" y="80"/>
                  </a:cubicBezTo>
                  <a:cubicBezTo>
                    <a:pt x="128" y="72"/>
                    <a:pt x="132" y="65"/>
                    <a:pt x="134" y="58"/>
                  </a:cubicBezTo>
                  <a:cubicBezTo>
                    <a:pt x="141" y="64"/>
                    <a:pt x="149" y="71"/>
                    <a:pt x="155" y="80"/>
                  </a:cubicBezTo>
                  <a:cubicBezTo>
                    <a:pt x="155" y="80"/>
                    <a:pt x="155" y="80"/>
                    <a:pt x="155" y="80"/>
                  </a:cubicBezTo>
                  <a:cubicBezTo>
                    <a:pt x="152" y="77"/>
                    <a:pt x="149" y="75"/>
                    <a:pt x="145" y="75"/>
                  </a:cubicBezTo>
                  <a:cubicBezTo>
                    <a:pt x="138" y="75"/>
                    <a:pt x="132" y="81"/>
                    <a:pt x="132" y="88"/>
                  </a:cubicBezTo>
                  <a:cubicBezTo>
                    <a:pt x="132" y="90"/>
                    <a:pt x="132" y="92"/>
                    <a:pt x="133" y="94"/>
                  </a:cubicBezTo>
                  <a:cubicBezTo>
                    <a:pt x="126" y="100"/>
                    <a:pt x="118" y="107"/>
                    <a:pt x="110" y="115"/>
                  </a:cubicBezTo>
                  <a:cubicBezTo>
                    <a:pt x="108" y="114"/>
                    <a:pt x="106" y="114"/>
                    <a:pt x="103" y="114"/>
                  </a:cubicBezTo>
                  <a:cubicBezTo>
                    <a:pt x="97" y="114"/>
                    <a:pt x="92" y="117"/>
                    <a:pt x="91" y="122"/>
                  </a:cubicBezTo>
                  <a:cubicBezTo>
                    <a:pt x="87" y="122"/>
                    <a:pt x="85" y="122"/>
                    <a:pt x="82" y="121"/>
                  </a:cubicBezTo>
                  <a:lnTo>
                    <a:pt x="82" y="120"/>
                  </a:lnTo>
                  <a:close/>
                  <a:moveTo>
                    <a:pt x="151" y="92"/>
                  </a:moveTo>
                  <a:cubicBezTo>
                    <a:pt x="151" y="93"/>
                    <a:pt x="151" y="94"/>
                    <a:pt x="151" y="94"/>
                  </a:cubicBezTo>
                  <a:cubicBezTo>
                    <a:pt x="150" y="95"/>
                    <a:pt x="149" y="95"/>
                    <a:pt x="149" y="94"/>
                  </a:cubicBezTo>
                  <a:cubicBezTo>
                    <a:pt x="145" y="91"/>
                    <a:pt x="145" y="90"/>
                    <a:pt x="145" y="90"/>
                  </a:cubicBezTo>
                  <a:cubicBezTo>
                    <a:pt x="141" y="94"/>
                    <a:pt x="141" y="94"/>
                    <a:pt x="141" y="94"/>
                  </a:cubicBezTo>
                  <a:cubicBezTo>
                    <a:pt x="140" y="95"/>
                    <a:pt x="139" y="95"/>
                    <a:pt x="139" y="94"/>
                  </a:cubicBezTo>
                  <a:cubicBezTo>
                    <a:pt x="138" y="94"/>
                    <a:pt x="138" y="93"/>
                    <a:pt x="139" y="92"/>
                  </a:cubicBezTo>
                  <a:cubicBezTo>
                    <a:pt x="142" y="89"/>
                    <a:pt x="143" y="88"/>
                    <a:pt x="143" y="88"/>
                  </a:cubicBezTo>
                  <a:cubicBezTo>
                    <a:pt x="139" y="85"/>
                    <a:pt x="139" y="84"/>
                    <a:pt x="139" y="84"/>
                  </a:cubicBezTo>
                  <a:cubicBezTo>
                    <a:pt x="138" y="84"/>
                    <a:pt x="138" y="83"/>
                    <a:pt x="139" y="82"/>
                  </a:cubicBezTo>
                  <a:cubicBezTo>
                    <a:pt x="139" y="82"/>
                    <a:pt x="140" y="82"/>
                    <a:pt x="141" y="82"/>
                  </a:cubicBezTo>
                  <a:cubicBezTo>
                    <a:pt x="144" y="86"/>
                    <a:pt x="145" y="86"/>
                    <a:pt x="145" y="86"/>
                  </a:cubicBezTo>
                  <a:cubicBezTo>
                    <a:pt x="149" y="82"/>
                    <a:pt x="149" y="82"/>
                    <a:pt x="149" y="82"/>
                  </a:cubicBezTo>
                  <a:cubicBezTo>
                    <a:pt x="149" y="82"/>
                    <a:pt x="150" y="82"/>
                    <a:pt x="151" y="82"/>
                  </a:cubicBezTo>
                  <a:cubicBezTo>
                    <a:pt x="151" y="83"/>
                    <a:pt x="151" y="84"/>
                    <a:pt x="151" y="84"/>
                  </a:cubicBezTo>
                  <a:cubicBezTo>
                    <a:pt x="147" y="88"/>
                    <a:pt x="147" y="88"/>
                    <a:pt x="147" y="88"/>
                  </a:cubicBezTo>
                  <a:cubicBezTo>
                    <a:pt x="150" y="92"/>
                    <a:pt x="151" y="92"/>
                    <a:pt x="151" y="92"/>
                  </a:cubicBezTo>
                  <a:close/>
                  <a:moveTo>
                    <a:pt x="110" y="123"/>
                  </a:moveTo>
                  <a:cubicBezTo>
                    <a:pt x="110" y="123"/>
                    <a:pt x="110" y="123"/>
                    <a:pt x="103" y="133"/>
                  </a:cubicBezTo>
                  <a:cubicBezTo>
                    <a:pt x="102" y="133"/>
                    <a:pt x="102" y="134"/>
                    <a:pt x="102" y="134"/>
                  </a:cubicBezTo>
                  <a:cubicBezTo>
                    <a:pt x="101" y="134"/>
                    <a:pt x="101" y="134"/>
                    <a:pt x="101" y="134"/>
                  </a:cubicBezTo>
                  <a:cubicBezTo>
                    <a:pt x="101" y="134"/>
                    <a:pt x="101" y="133"/>
                    <a:pt x="100" y="133"/>
                  </a:cubicBezTo>
                  <a:cubicBezTo>
                    <a:pt x="100" y="133"/>
                    <a:pt x="100" y="133"/>
                    <a:pt x="95" y="128"/>
                  </a:cubicBezTo>
                  <a:cubicBezTo>
                    <a:pt x="95" y="128"/>
                    <a:pt x="95" y="126"/>
                    <a:pt x="95" y="126"/>
                  </a:cubicBezTo>
                  <a:cubicBezTo>
                    <a:pt x="96" y="125"/>
                    <a:pt x="97" y="125"/>
                    <a:pt x="97" y="126"/>
                  </a:cubicBezTo>
                  <a:cubicBezTo>
                    <a:pt x="97" y="126"/>
                    <a:pt x="97" y="126"/>
                    <a:pt x="101" y="130"/>
                  </a:cubicBezTo>
                  <a:cubicBezTo>
                    <a:pt x="101" y="130"/>
                    <a:pt x="101" y="130"/>
                    <a:pt x="108" y="121"/>
                  </a:cubicBezTo>
                  <a:cubicBezTo>
                    <a:pt x="108" y="121"/>
                    <a:pt x="109" y="121"/>
                    <a:pt x="110" y="121"/>
                  </a:cubicBezTo>
                  <a:cubicBezTo>
                    <a:pt x="111" y="122"/>
                    <a:pt x="111" y="122"/>
                    <a:pt x="110" y="123"/>
                  </a:cubicBezTo>
                  <a:close/>
                  <a:moveTo>
                    <a:pt x="77" y="91"/>
                  </a:moveTo>
                  <a:cubicBezTo>
                    <a:pt x="74" y="87"/>
                    <a:pt x="73" y="87"/>
                    <a:pt x="73" y="87"/>
                  </a:cubicBezTo>
                  <a:cubicBezTo>
                    <a:pt x="70" y="90"/>
                    <a:pt x="69" y="91"/>
                    <a:pt x="69" y="91"/>
                  </a:cubicBezTo>
                  <a:cubicBezTo>
                    <a:pt x="69" y="91"/>
                    <a:pt x="68" y="91"/>
                    <a:pt x="67" y="91"/>
                  </a:cubicBezTo>
                  <a:cubicBezTo>
                    <a:pt x="67" y="90"/>
                    <a:pt x="67" y="89"/>
                    <a:pt x="67" y="89"/>
                  </a:cubicBezTo>
                  <a:cubicBezTo>
                    <a:pt x="71" y="85"/>
                    <a:pt x="71" y="85"/>
                    <a:pt x="71" y="85"/>
                  </a:cubicBezTo>
                  <a:cubicBezTo>
                    <a:pt x="68" y="81"/>
                    <a:pt x="67" y="80"/>
                    <a:pt x="67" y="80"/>
                  </a:cubicBezTo>
                  <a:cubicBezTo>
                    <a:pt x="67" y="80"/>
                    <a:pt x="67" y="79"/>
                    <a:pt x="67" y="78"/>
                  </a:cubicBezTo>
                  <a:cubicBezTo>
                    <a:pt x="68" y="78"/>
                    <a:pt x="69" y="78"/>
                    <a:pt x="69" y="78"/>
                  </a:cubicBezTo>
                  <a:cubicBezTo>
                    <a:pt x="73" y="82"/>
                    <a:pt x="73" y="83"/>
                    <a:pt x="73" y="83"/>
                  </a:cubicBezTo>
                  <a:cubicBezTo>
                    <a:pt x="77" y="78"/>
                    <a:pt x="77" y="78"/>
                    <a:pt x="77" y="78"/>
                  </a:cubicBezTo>
                  <a:cubicBezTo>
                    <a:pt x="78" y="78"/>
                    <a:pt x="79" y="78"/>
                    <a:pt x="79" y="78"/>
                  </a:cubicBezTo>
                  <a:cubicBezTo>
                    <a:pt x="80" y="79"/>
                    <a:pt x="80" y="80"/>
                    <a:pt x="79" y="80"/>
                  </a:cubicBezTo>
                  <a:cubicBezTo>
                    <a:pt x="76" y="84"/>
                    <a:pt x="75" y="85"/>
                    <a:pt x="75" y="85"/>
                  </a:cubicBezTo>
                  <a:cubicBezTo>
                    <a:pt x="79" y="88"/>
                    <a:pt x="79" y="89"/>
                    <a:pt x="79" y="89"/>
                  </a:cubicBezTo>
                  <a:cubicBezTo>
                    <a:pt x="80" y="89"/>
                    <a:pt x="80" y="90"/>
                    <a:pt x="79" y="91"/>
                  </a:cubicBezTo>
                  <a:cubicBezTo>
                    <a:pt x="79" y="91"/>
                    <a:pt x="78" y="91"/>
                    <a:pt x="77" y="91"/>
                  </a:cubicBezTo>
                  <a:close/>
                  <a:moveTo>
                    <a:pt x="64" y="117"/>
                  </a:moveTo>
                  <a:cubicBezTo>
                    <a:pt x="63" y="116"/>
                    <a:pt x="63" y="115"/>
                    <a:pt x="64" y="115"/>
                  </a:cubicBezTo>
                  <a:cubicBezTo>
                    <a:pt x="64" y="114"/>
                    <a:pt x="65" y="114"/>
                    <a:pt x="66" y="115"/>
                  </a:cubicBezTo>
                  <a:cubicBezTo>
                    <a:pt x="69" y="118"/>
                    <a:pt x="70" y="119"/>
                    <a:pt x="70" y="119"/>
                  </a:cubicBezTo>
                  <a:cubicBezTo>
                    <a:pt x="74" y="115"/>
                    <a:pt x="74" y="115"/>
                    <a:pt x="74" y="115"/>
                  </a:cubicBezTo>
                  <a:cubicBezTo>
                    <a:pt x="74" y="114"/>
                    <a:pt x="75" y="114"/>
                    <a:pt x="76" y="115"/>
                  </a:cubicBezTo>
                  <a:cubicBezTo>
                    <a:pt x="76" y="115"/>
                    <a:pt x="76" y="116"/>
                    <a:pt x="76" y="117"/>
                  </a:cubicBezTo>
                  <a:cubicBezTo>
                    <a:pt x="72" y="120"/>
                    <a:pt x="72" y="121"/>
                    <a:pt x="72" y="121"/>
                  </a:cubicBezTo>
                  <a:cubicBezTo>
                    <a:pt x="75" y="124"/>
                    <a:pt x="76" y="125"/>
                    <a:pt x="76" y="125"/>
                  </a:cubicBezTo>
                  <a:cubicBezTo>
                    <a:pt x="76" y="125"/>
                    <a:pt x="76" y="126"/>
                    <a:pt x="76" y="127"/>
                  </a:cubicBezTo>
                  <a:cubicBezTo>
                    <a:pt x="75" y="128"/>
                    <a:pt x="74" y="128"/>
                    <a:pt x="74" y="127"/>
                  </a:cubicBezTo>
                  <a:cubicBezTo>
                    <a:pt x="70" y="123"/>
                    <a:pt x="70" y="123"/>
                    <a:pt x="70" y="123"/>
                  </a:cubicBezTo>
                  <a:cubicBezTo>
                    <a:pt x="66" y="126"/>
                    <a:pt x="66" y="127"/>
                    <a:pt x="66" y="127"/>
                  </a:cubicBezTo>
                  <a:cubicBezTo>
                    <a:pt x="65" y="128"/>
                    <a:pt x="64" y="128"/>
                    <a:pt x="64" y="127"/>
                  </a:cubicBezTo>
                  <a:cubicBezTo>
                    <a:pt x="63" y="126"/>
                    <a:pt x="63" y="125"/>
                    <a:pt x="64" y="125"/>
                  </a:cubicBezTo>
                  <a:cubicBezTo>
                    <a:pt x="67" y="121"/>
                    <a:pt x="68" y="121"/>
                    <a:pt x="68" y="121"/>
                  </a:cubicBezTo>
                  <a:cubicBezTo>
                    <a:pt x="64" y="117"/>
                    <a:pt x="64" y="117"/>
                    <a:pt x="64" y="117"/>
                  </a:cubicBezTo>
                  <a:close/>
                  <a:moveTo>
                    <a:pt x="22" y="127"/>
                  </a:moveTo>
                  <a:cubicBezTo>
                    <a:pt x="13" y="114"/>
                    <a:pt x="7" y="99"/>
                    <a:pt x="7" y="82"/>
                  </a:cubicBezTo>
                  <a:cubicBezTo>
                    <a:pt x="7" y="78"/>
                    <a:pt x="8" y="74"/>
                    <a:pt x="8" y="70"/>
                  </a:cubicBezTo>
                  <a:cubicBezTo>
                    <a:pt x="10" y="74"/>
                    <a:pt x="13" y="78"/>
                    <a:pt x="17" y="82"/>
                  </a:cubicBezTo>
                  <a:cubicBezTo>
                    <a:pt x="14" y="85"/>
                    <a:pt x="12" y="88"/>
                    <a:pt x="12" y="92"/>
                  </a:cubicBezTo>
                  <a:cubicBezTo>
                    <a:pt x="12" y="99"/>
                    <a:pt x="17" y="104"/>
                    <a:pt x="24" y="105"/>
                  </a:cubicBezTo>
                  <a:cubicBezTo>
                    <a:pt x="23" y="112"/>
                    <a:pt x="22" y="119"/>
                    <a:pt x="22" y="127"/>
                  </a:cubicBezTo>
                  <a:close/>
                  <a:moveTo>
                    <a:pt x="24" y="99"/>
                  </a:moveTo>
                  <a:cubicBezTo>
                    <a:pt x="23" y="99"/>
                    <a:pt x="23" y="99"/>
                    <a:pt x="23" y="99"/>
                  </a:cubicBezTo>
                  <a:cubicBezTo>
                    <a:pt x="23" y="99"/>
                    <a:pt x="23" y="99"/>
                    <a:pt x="17" y="94"/>
                  </a:cubicBezTo>
                  <a:cubicBezTo>
                    <a:pt x="17" y="93"/>
                    <a:pt x="17" y="92"/>
                    <a:pt x="17" y="92"/>
                  </a:cubicBezTo>
                  <a:cubicBezTo>
                    <a:pt x="18" y="91"/>
                    <a:pt x="19" y="91"/>
                    <a:pt x="19" y="92"/>
                  </a:cubicBezTo>
                  <a:cubicBezTo>
                    <a:pt x="19" y="92"/>
                    <a:pt x="19" y="92"/>
                    <a:pt x="23" y="96"/>
                  </a:cubicBezTo>
                  <a:cubicBezTo>
                    <a:pt x="23" y="96"/>
                    <a:pt x="23" y="96"/>
                    <a:pt x="30" y="87"/>
                  </a:cubicBezTo>
                  <a:cubicBezTo>
                    <a:pt x="31" y="87"/>
                    <a:pt x="32" y="86"/>
                    <a:pt x="32" y="87"/>
                  </a:cubicBezTo>
                  <a:cubicBezTo>
                    <a:pt x="33" y="87"/>
                    <a:pt x="33" y="88"/>
                    <a:pt x="32" y="89"/>
                  </a:cubicBezTo>
                  <a:cubicBezTo>
                    <a:pt x="32" y="89"/>
                    <a:pt x="32" y="89"/>
                    <a:pt x="25" y="99"/>
                  </a:cubicBezTo>
                  <a:cubicBezTo>
                    <a:pt x="25" y="99"/>
                    <a:pt x="24" y="99"/>
                    <a:pt x="24" y="99"/>
                  </a:cubicBezTo>
                  <a:close/>
                  <a:moveTo>
                    <a:pt x="24" y="130"/>
                  </a:moveTo>
                  <a:cubicBezTo>
                    <a:pt x="24" y="121"/>
                    <a:pt x="25" y="113"/>
                    <a:pt x="26" y="106"/>
                  </a:cubicBezTo>
                  <a:cubicBezTo>
                    <a:pt x="30" y="105"/>
                    <a:pt x="33" y="103"/>
                    <a:pt x="35" y="100"/>
                  </a:cubicBezTo>
                  <a:cubicBezTo>
                    <a:pt x="42" y="106"/>
                    <a:pt x="49" y="111"/>
                    <a:pt x="58" y="115"/>
                  </a:cubicBezTo>
                  <a:cubicBezTo>
                    <a:pt x="57" y="117"/>
                    <a:pt x="57" y="119"/>
                    <a:pt x="57" y="121"/>
                  </a:cubicBezTo>
                  <a:cubicBezTo>
                    <a:pt x="57" y="123"/>
                    <a:pt x="57" y="125"/>
                    <a:pt x="58" y="127"/>
                  </a:cubicBezTo>
                  <a:cubicBezTo>
                    <a:pt x="49" y="130"/>
                    <a:pt x="38" y="132"/>
                    <a:pt x="27" y="132"/>
                  </a:cubicBezTo>
                  <a:cubicBezTo>
                    <a:pt x="26" y="132"/>
                    <a:pt x="25" y="131"/>
                    <a:pt x="24" y="130"/>
                  </a:cubicBezTo>
                  <a:close/>
                  <a:moveTo>
                    <a:pt x="29" y="134"/>
                  </a:moveTo>
                  <a:cubicBezTo>
                    <a:pt x="40" y="133"/>
                    <a:pt x="50" y="131"/>
                    <a:pt x="59" y="129"/>
                  </a:cubicBezTo>
                  <a:cubicBezTo>
                    <a:pt x="62" y="132"/>
                    <a:pt x="65" y="134"/>
                    <a:pt x="70" y="134"/>
                  </a:cubicBezTo>
                  <a:cubicBezTo>
                    <a:pt x="70" y="134"/>
                    <a:pt x="70" y="134"/>
                    <a:pt x="70" y="134"/>
                  </a:cubicBezTo>
                  <a:cubicBezTo>
                    <a:pt x="64" y="143"/>
                    <a:pt x="58" y="150"/>
                    <a:pt x="55" y="152"/>
                  </a:cubicBezTo>
                  <a:cubicBezTo>
                    <a:pt x="45" y="148"/>
                    <a:pt x="36" y="142"/>
                    <a:pt x="29" y="134"/>
                  </a:cubicBezTo>
                  <a:close/>
                  <a:moveTo>
                    <a:pt x="82" y="157"/>
                  </a:moveTo>
                  <a:cubicBezTo>
                    <a:pt x="74" y="157"/>
                    <a:pt x="65" y="156"/>
                    <a:pt x="57" y="153"/>
                  </a:cubicBezTo>
                  <a:cubicBezTo>
                    <a:pt x="60" y="150"/>
                    <a:pt x="66" y="143"/>
                    <a:pt x="74" y="133"/>
                  </a:cubicBezTo>
                  <a:cubicBezTo>
                    <a:pt x="78" y="132"/>
                    <a:pt x="81" y="128"/>
                    <a:pt x="82" y="123"/>
                  </a:cubicBezTo>
                  <a:cubicBezTo>
                    <a:pt x="85" y="124"/>
                    <a:pt x="87" y="124"/>
                    <a:pt x="90" y="124"/>
                  </a:cubicBezTo>
                  <a:cubicBezTo>
                    <a:pt x="90" y="125"/>
                    <a:pt x="90" y="126"/>
                    <a:pt x="90" y="127"/>
                  </a:cubicBezTo>
                  <a:cubicBezTo>
                    <a:pt x="90" y="130"/>
                    <a:pt x="91" y="133"/>
                    <a:pt x="94" y="136"/>
                  </a:cubicBezTo>
                  <a:cubicBezTo>
                    <a:pt x="89" y="142"/>
                    <a:pt x="85" y="150"/>
                    <a:pt x="82" y="157"/>
                  </a:cubicBezTo>
                  <a:close/>
                  <a:moveTo>
                    <a:pt x="84" y="157"/>
                  </a:moveTo>
                  <a:cubicBezTo>
                    <a:pt x="87" y="150"/>
                    <a:pt x="91" y="143"/>
                    <a:pt x="95" y="137"/>
                  </a:cubicBezTo>
                  <a:cubicBezTo>
                    <a:pt x="97" y="139"/>
                    <a:pt x="100" y="140"/>
                    <a:pt x="103" y="140"/>
                  </a:cubicBezTo>
                  <a:cubicBezTo>
                    <a:pt x="110" y="140"/>
                    <a:pt x="116" y="134"/>
                    <a:pt x="116" y="127"/>
                  </a:cubicBezTo>
                  <a:cubicBezTo>
                    <a:pt x="116" y="125"/>
                    <a:pt x="116" y="125"/>
                    <a:pt x="116" y="125"/>
                  </a:cubicBezTo>
                  <a:cubicBezTo>
                    <a:pt x="126" y="125"/>
                    <a:pt x="137" y="123"/>
                    <a:pt x="149" y="119"/>
                  </a:cubicBezTo>
                  <a:cubicBezTo>
                    <a:pt x="136" y="141"/>
                    <a:pt x="112" y="157"/>
                    <a:pt x="84" y="157"/>
                  </a:cubicBezTo>
                  <a:close/>
                  <a:moveTo>
                    <a:pt x="116" y="123"/>
                  </a:moveTo>
                  <a:cubicBezTo>
                    <a:pt x="115" y="121"/>
                    <a:pt x="113" y="118"/>
                    <a:pt x="111" y="117"/>
                  </a:cubicBezTo>
                  <a:cubicBezTo>
                    <a:pt x="119" y="108"/>
                    <a:pt x="127" y="101"/>
                    <a:pt x="134" y="96"/>
                  </a:cubicBezTo>
                  <a:cubicBezTo>
                    <a:pt x="137" y="99"/>
                    <a:pt x="140" y="101"/>
                    <a:pt x="145" y="101"/>
                  </a:cubicBezTo>
                  <a:cubicBezTo>
                    <a:pt x="152" y="101"/>
                    <a:pt x="158" y="96"/>
                    <a:pt x="158" y="88"/>
                  </a:cubicBezTo>
                  <a:cubicBezTo>
                    <a:pt x="158" y="86"/>
                    <a:pt x="157" y="84"/>
                    <a:pt x="156" y="82"/>
                  </a:cubicBezTo>
                  <a:cubicBezTo>
                    <a:pt x="156" y="82"/>
                    <a:pt x="156" y="81"/>
                    <a:pt x="156" y="81"/>
                  </a:cubicBezTo>
                  <a:cubicBezTo>
                    <a:pt x="157" y="82"/>
                    <a:pt x="158" y="83"/>
                    <a:pt x="158" y="84"/>
                  </a:cubicBezTo>
                  <a:cubicBezTo>
                    <a:pt x="158" y="95"/>
                    <a:pt x="155" y="106"/>
                    <a:pt x="150" y="116"/>
                  </a:cubicBezTo>
                  <a:cubicBezTo>
                    <a:pt x="138" y="121"/>
                    <a:pt x="126" y="123"/>
                    <a:pt x="116" y="12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latin typeface="CiscoSansTT Light"/>
                <a:cs typeface="CiscoSansTT Light"/>
              </a:endParaRPr>
            </a:p>
          </p:txBody>
        </p:sp>
      </p:grpSp>
      <p:grpSp>
        <p:nvGrpSpPr>
          <p:cNvPr id="14" name="Group 13"/>
          <p:cNvGrpSpPr/>
          <p:nvPr/>
        </p:nvGrpSpPr>
        <p:grpSpPr>
          <a:xfrm>
            <a:off x="7022031" y="3716803"/>
            <a:ext cx="887996" cy="882284"/>
            <a:chOff x="7469276" y="3666865"/>
            <a:chExt cx="887996" cy="882284"/>
          </a:xfrm>
        </p:grpSpPr>
        <p:sp>
          <p:nvSpPr>
            <p:cNvPr id="253" name="Oval 252"/>
            <p:cNvSpPr/>
            <p:nvPr/>
          </p:nvSpPr>
          <p:spPr>
            <a:xfrm>
              <a:off x="7518642" y="366686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4" name="Text Placeholder 2"/>
            <p:cNvSpPr txBox="1">
              <a:spLocks/>
            </p:cNvSpPr>
            <p:nvPr/>
          </p:nvSpPr>
          <p:spPr>
            <a:xfrm>
              <a:off x="7469276" y="4422191"/>
              <a:ext cx="887996" cy="126958"/>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err="1"/>
                <a:t>NetFlow</a:t>
              </a:r>
              <a:r>
                <a:rPr lang="en-US" sz="800" dirty="0"/>
                <a:t> Collectors</a:t>
              </a:r>
            </a:p>
          </p:txBody>
        </p:sp>
        <p:sp>
          <p:nvSpPr>
            <p:cNvPr id="6" name="Oval 5"/>
            <p:cNvSpPr/>
            <p:nvPr/>
          </p:nvSpPr>
          <p:spPr>
            <a:xfrm>
              <a:off x="7964991" y="3968644"/>
              <a:ext cx="125906" cy="120427"/>
            </a:xfrm>
            <a:prstGeom prst="ellipse">
              <a:avLst/>
            </a:prstGeom>
            <a:solidFill>
              <a:srgbClr val="00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5" name="Oval 254"/>
            <p:cNvSpPr/>
            <p:nvPr/>
          </p:nvSpPr>
          <p:spPr>
            <a:xfrm>
              <a:off x="7728721" y="4082727"/>
              <a:ext cx="125906" cy="120427"/>
            </a:xfrm>
            <a:prstGeom prst="ellipse">
              <a:avLst/>
            </a:prstGeom>
            <a:solidFill>
              <a:srgbClr val="000000"/>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9" name="Straight Connector 8"/>
            <p:cNvCxnSpPr>
              <a:stCxn id="256" idx="1"/>
              <a:endCxn id="6" idx="1"/>
            </p:cNvCxnSpPr>
            <p:nvPr/>
          </p:nvCxnSpPr>
          <p:spPr>
            <a:xfrm>
              <a:off x="7807377" y="3837611"/>
              <a:ext cx="176053" cy="148669"/>
            </a:xfrm>
            <a:prstGeom prst="line">
              <a:avLst/>
            </a:prstGeom>
            <a:ln w="38100" cmpd="sng">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cxnSp>
          <p:nvCxnSpPr>
            <p:cNvPr id="257" name="Straight Connector 256"/>
            <p:cNvCxnSpPr/>
            <p:nvPr/>
          </p:nvCxnSpPr>
          <p:spPr>
            <a:xfrm flipV="1">
              <a:off x="7843678" y="4044065"/>
              <a:ext cx="128803" cy="71506"/>
            </a:xfrm>
            <a:prstGeom prst="line">
              <a:avLst/>
            </a:prstGeom>
            <a:ln w="57150" cmpd="sng">
              <a:solidFill>
                <a:schemeClr val="tx1"/>
              </a:solidFill>
            </a:ln>
          </p:spPr>
          <p:style>
            <a:lnRef idx="2">
              <a:schemeClr val="accent1"/>
            </a:lnRef>
            <a:fillRef idx="0">
              <a:schemeClr val="accent1"/>
            </a:fillRef>
            <a:effectRef idx="1">
              <a:schemeClr val="accent1"/>
            </a:effectRef>
            <a:fontRef idx="minor">
              <a:schemeClr val="tx1"/>
            </a:fontRef>
          </p:style>
        </p:cxnSp>
        <p:sp>
          <p:nvSpPr>
            <p:cNvPr id="256" name="Oval 255"/>
            <p:cNvSpPr/>
            <p:nvPr/>
          </p:nvSpPr>
          <p:spPr>
            <a:xfrm>
              <a:off x="7788938" y="3819975"/>
              <a:ext cx="125906" cy="120427"/>
            </a:xfrm>
            <a:prstGeom prst="ellipse">
              <a:avLst/>
            </a:prstGeom>
            <a:solidFill>
              <a:schemeClr val="tx1">
                <a:lumMod val="50000"/>
                <a:lumOff val="5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10" name="Group 9"/>
          <p:cNvGrpSpPr/>
          <p:nvPr/>
        </p:nvGrpSpPr>
        <p:grpSpPr>
          <a:xfrm>
            <a:off x="4115090" y="4206237"/>
            <a:ext cx="425632" cy="81958"/>
            <a:chOff x="4516040" y="4191424"/>
            <a:chExt cx="598098" cy="117233"/>
          </a:xfrm>
        </p:grpSpPr>
        <p:sp>
          <p:nvSpPr>
            <p:cNvPr id="156" name="Freeform 155"/>
            <p:cNvSpPr/>
            <p:nvPr/>
          </p:nvSpPr>
          <p:spPr>
            <a:xfrm>
              <a:off x="4516040" y="4192613"/>
              <a:ext cx="598098" cy="116044"/>
            </a:xfrm>
            <a:custGeom>
              <a:avLst/>
              <a:gdLst>
                <a:gd name="connsiteX0" fmla="*/ 1460161 w 3122645"/>
                <a:gd name="connsiteY0" fmla="*/ 226448 h 605862"/>
                <a:gd name="connsiteX1" fmla="*/ 1406146 w 3122645"/>
                <a:gd name="connsiteY1" fmla="*/ 280462 h 605862"/>
                <a:gd name="connsiteX2" fmla="*/ 1406146 w 3122645"/>
                <a:gd name="connsiteY2" fmla="*/ 325401 h 605862"/>
                <a:gd name="connsiteX3" fmla="*/ 1460161 w 3122645"/>
                <a:gd name="connsiteY3" fmla="*/ 379416 h 605862"/>
                <a:gd name="connsiteX4" fmla="*/ 2756325 w 3122645"/>
                <a:gd name="connsiteY4" fmla="*/ 379416 h 605862"/>
                <a:gd name="connsiteX5" fmla="*/ 2810340 w 3122645"/>
                <a:gd name="connsiteY5" fmla="*/ 325401 h 605862"/>
                <a:gd name="connsiteX6" fmla="*/ 2810340 w 3122645"/>
                <a:gd name="connsiteY6" fmla="*/ 280462 h 605862"/>
                <a:gd name="connsiteX7" fmla="*/ 2756325 w 3122645"/>
                <a:gd name="connsiteY7" fmla="*/ 226448 h 605862"/>
                <a:gd name="connsiteX8" fmla="*/ 393855 w 3122645"/>
                <a:gd name="connsiteY8" fmla="*/ 226366 h 605862"/>
                <a:gd name="connsiteX9" fmla="*/ 317290 w 3122645"/>
                <a:gd name="connsiteY9" fmla="*/ 302931 h 605862"/>
                <a:gd name="connsiteX10" fmla="*/ 393855 w 3122645"/>
                <a:gd name="connsiteY10" fmla="*/ 379496 h 605862"/>
                <a:gd name="connsiteX11" fmla="*/ 470420 w 3122645"/>
                <a:gd name="connsiteY11" fmla="*/ 302931 h 605862"/>
                <a:gd name="connsiteX12" fmla="*/ 393855 w 3122645"/>
                <a:gd name="connsiteY12" fmla="*/ 226366 h 605862"/>
                <a:gd name="connsiteX13" fmla="*/ 160899 w 3122645"/>
                <a:gd name="connsiteY13" fmla="*/ 0 h 605862"/>
                <a:gd name="connsiteX14" fmla="*/ 1747765 w 3122645"/>
                <a:gd name="connsiteY14" fmla="*/ 0 h 605862"/>
                <a:gd name="connsiteX15" fmla="*/ 1799922 w 3122645"/>
                <a:gd name="connsiteY15" fmla="*/ 43033 h 605862"/>
                <a:gd name="connsiteX16" fmla="*/ 2194684 w 3122645"/>
                <a:gd name="connsiteY16" fmla="*/ 163616 h 605862"/>
                <a:gd name="connsiteX17" fmla="*/ 2589447 w 3122645"/>
                <a:gd name="connsiteY17" fmla="*/ 43033 h 605862"/>
                <a:gd name="connsiteX18" fmla="*/ 2641603 w 3122645"/>
                <a:gd name="connsiteY18" fmla="*/ 0 h 605862"/>
                <a:gd name="connsiteX19" fmla="*/ 2961746 w 3122645"/>
                <a:gd name="connsiteY19" fmla="*/ 0 h 605862"/>
                <a:gd name="connsiteX20" fmla="*/ 3122645 w 3122645"/>
                <a:gd name="connsiteY20" fmla="*/ 160899 h 605862"/>
                <a:gd name="connsiteX21" fmla="*/ 3122645 w 3122645"/>
                <a:gd name="connsiteY21" fmla="*/ 444963 h 605862"/>
                <a:gd name="connsiteX22" fmla="*/ 2961746 w 3122645"/>
                <a:gd name="connsiteY22" fmla="*/ 605862 h 605862"/>
                <a:gd name="connsiteX23" fmla="*/ 160899 w 3122645"/>
                <a:gd name="connsiteY23" fmla="*/ 605862 h 605862"/>
                <a:gd name="connsiteX24" fmla="*/ 0 w 3122645"/>
                <a:gd name="connsiteY24" fmla="*/ 444963 h 605862"/>
                <a:gd name="connsiteX25" fmla="*/ 0 w 3122645"/>
                <a:gd name="connsiteY25" fmla="*/ 160899 h 605862"/>
                <a:gd name="connsiteX26" fmla="*/ 160899 w 3122645"/>
                <a:gd name="connsiteY26" fmla="*/ 0 h 60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22645" h="605862">
                  <a:moveTo>
                    <a:pt x="1460161" y="226448"/>
                  </a:moveTo>
                  <a:cubicBezTo>
                    <a:pt x="1430329" y="226448"/>
                    <a:pt x="1406146" y="250631"/>
                    <a:pt x="1406146" y="280462"/>
                  </a:cubicBezTo>
                  <a:lnTo>
                    <a:pt x="1406146" y="325401"/>
                  </a:lnTo>
                  <a:cubicBezTo>
                    <a:pt x="1406146" y="355233"/>
                    <a:pt x="1430329" y="379416"/>
                    <a:pt x="1460161" y="379416"/>
                  </a:cubicBezTo>
                  <a:lnTo>
                    <a:pt x="2756325" y="379416"/>
                  </a:lnTo>
                  <a:cubicBezTo>
                    <a:pt x="2786157" y="379416"/>
                    <a:pt x="2810340" y="355233"/>
                    <a:pt x="2810340" y="325401"/>
                  </a:cubicBezTo>
                  <a:lnTo>
                    <a:pt x="2810340" y="280462"/>
                  </a:lnTo>
                  <a:cubicBezTo>
                    <a:pt x="2810340" y="250631"/>
                    <a:pt x="2786157" y="226448"/>
                    <a:pt x="2756325" y="226448"/>
                  </a:cubicBezTo>
                  <a:close/>
                  <a:moveTo>
                    <a:pt x="393855" y="226366"/>
                  </a:moveTo>
                  <a:cubicBezTo>
                    <a:pt x="351570" y="226366"/>
                    <a:pt x="317290" y="260646"/>
                    <a:pt x="317290" y="302931"/>
                  </a:cubicBezTo>
                  <a:cubicBezTo>
                    <a:pt x="317290" y="345216"/>
                    <a:pt x="351570" y="379496"/>
                    <a:pt x="393855" y="379496"/>
                  </a:cubicBezTo>
                  <a:cubicBezTo>
                    <a:pt x="436140" y="379496"/>
                    <a:pt x="470420" y="345216"/>
                    <a:pt x="470420" y="302931"/>
                  </a:cubicBezTo>
                  <a:cubicBezTo>
                    <a:pt x="470420" y="260646"/>
                    <a:pt x="436140" y="226366"/>
                    <a:pt x="393855" y="226366"/>
                  </a:cubicBezTo>
                  <a:close/>
                  <a:moveTo>
                    <a:pt x="160899" y="0"/>
                  </a:moveTo>
                  <a:lnTo>
                    <a:pt x="1747765" y="0"/>
                  </a:lnTo>
                  <a:lnTo>
                    <a:pt x="1799922" y="43033"/>
                  </a:lnTo>
                  <a:cubicBezTo>
                    <a:pt x="1912609" y="119163"/>
                    <a:pt x="2048455" y="163616"/>
                    <a:pt x="2194684" y="163616"/>
                  </a:cubicBezTo>
                  <a:cubicBezTo>
                    <a:pt x="2340913" y="163616"/>
                    <a:pt x="2476760" y="119163"/>
                    <a:pt x="2589447" y="43033"/>
                  </a:cubicBezTo>
                  <a:lnTo>
                    <a:pt x="2641603" y="0"/>
                  </a:lnTo>
                  <a:lnTo>
                    <a:pt x="2961746" y="0"/>
                  </a:lnTo>
                  <a:cubicBezTo>
                    <a:pt x="3050608" y="0"/>
                    <a:pt x="3122645" y="72037"/>
                    <a:pt x="3122645" y="160899"/>
                  </a:cubicBezTo>
                  <a:lnTo>
                    <a:pt x="3122645" y="444963"/>
                  </a:lnTo>
                  <a:cubicBezTo>
                    <a:pt x="3122645" y="533825"/>
                    <a:pt x="3050608" y="605862"/>
                    <a:pt x="2961746" y="605862"/>
                  </a:cubicBezTo>
                  <a:lnTo>
                    <a:pt x="160899" y="605862"/>
                  </a:lnTo>
                  <a:cubicBezTo>
                    <a:pt x="72037" y="605862"/>
                    <a:pt x="0" y="533825"/>
                    <a:pt x="0" y="444963"/>
                  </a:cubicBezTo>
                  <a:lnTo>
                    <a:pt x="0" y="160899"/>
                  </a:lnTo>
                  <a:cubicBezTo>
                    <a:pt x="0" y="72037"/>
                    <a:pt x="72037" y="0"/>
                    <a:pt x="160899" y="0"/>
                  </a:cubicBezTo>
                  <a:close/>
                </a:path>
              </a:pathLst>
            </a:cu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18288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sz="300" dirty="0">
                <a:solidFill>
                  <a:schemeClr val="bg1">
                    <a:lumMod val="50000"/>
                  </a:schemeClr>
                </a:solidFill>
              </a:endParaRPr>
            </a:p>
          </p:txBody>
        </p:sp>
        <p:sp>
          <p:nvSpPr>
            <p:cNvPr id="8" name="Rounded Rectangle 7"/>
            <p:cNvSpPr/>
            <p:nvPr/>
          </p:nvSpPr>
          <p:spPr>
            <a:xfrm>
              <a:off x="4785594" y="4191424"/>
              <a:ext cx="312155" cy="45719"/>
            </a:xfrm>
            <a:prstGeom prst="roundRect">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159" name="Group 158"/>
          <p:cNvGrpSpPr/>
          <p:nvPr/>
        </p:nvGrpSpPr>
        <p:grpSpPr>
          <a:xfrm>
            <a:off x="5859866" y="3697712"/>
            <a:ext cx="1062242" cy="981873"/>
            <a:chOff x="4905916" y="3667735"/>
            <a:chExt cx="1062242" cy="981873"/>
          </a:xfrm>
        </p:grpSpPr>
        <p:sp>
          <p:nvSpPr>
            <p:cNvPr id="160" name="Oval 159"/>
            <p:cNvSpPr/>
            <p:nvPr/>
          </p:nvSpPr>
          <p:spPr>
            <a:xfrm>
              <a:off x="5083522" y="366773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02" name="Text Placeholder 2"/>
            <p:cNvSpPr txBox="1">
              <a:spLocks/>
            </p:cNvSpPr>
            <p:nvPr/>
          </p:nvSpPr>
          <p:spPr>
            <a:xfrm>
              <a:off x="4905916" y="4395692"/>
              <a:ext cx="1062242" cy="253916"/>
            </a:xfrm>
            <a:prstGeom prst="rect">
              <a:avLst/>
            </a:prstGeom>
          </p:spPr>
          <p:txBody>
            <a:bodyPr wrap="squar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Advanced</a:t>
              </a:r>
              <a:br>
                <a:rPr lang="en-US" sz="800" dirty="0"/>
              </a:br>
              <a:r>
                <a:rPr lang="en-US" sz="800" dirty="0"/>
                <a:t>Malware Protection</a:t>
              </a:r>
            </a:p>
          </p:txBody>
        </p:sp>
        <p:sp>
          <p:nvSpPr>
            <p:cNvPr id="203" name="Freeform 202"/>
            <p:cNvSpPr>
              <a:spLocks/>
            </p:cNvSpPr>
            <p:nvPr/>
          </p:nvSpPr>
          <p:spPr bwMode="auto">
            <a:xfrm>
              <a:off x="5178174" y="3783977"/>
              <a:ext cx="533222" cy="353006"/>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204" name="Freeform 203"/>
            <p:cNvSpPr>
              <a:spLocks noChangeAspect="1" noEditPoints="1"/>
            </p:cNvSpPr>
            <p:nvPr/>
          </p:nvSpPr>
          <p:spPr bwMode="auto">
            <a:xfrm>
              <a:off x="5249299" y="3942745"/>
              <a:ext cx="362156" cy="134692"/>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tx1"/>
            </a:solidFill>
          </p:spPr>
          <p:txBody>
            <a:bodyPr wrap="square" lIns="182784" tIns="182784" rIns="182784" bIns="182784"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50">
                <a:spcBef>
                  <a:spcPts val="1080"/>
                </a:spcBef>
                <a:buClr>
                  <a:srgbClr val="D81F28"/>
                </a:buClr>
                <a:buSzPct val="90000"/>
              </a:pPr>
              <a:endParaRPr lang="en-US">
                <a:cs typeface="CiscoSans"/>
              </a:endParaRPr>
            </a:p>
          </p:txBody>
        </p:sp>
      </p:grpSp>
      <p:sp>
        <p:nvSpPr>
          <p:cNvPr id="162" name="Freeform 6"/>
          <p:cNvSpPr>
            <a:spLocks noEditPoints="1"/>
          </p:cNvSpPr>
          <p:nvPr/>
        </p:nvSpPr>
        <p:spPr bwMode="auto">
          <a:xfrm>
            <a:off x="6256520" y="3971643"/>
            <a:ext cx="261796" cy="111406"/>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126" tIns="21564" rIns="43126" bIns="21564" rtlCol="0" anchor="ctr"/>
          <a:lstStyle/>
          <a:p>
            <a:pPr algn="ctr"/>
            <a:endParaRPr lang="en-US" sz="1300" dirty="0">
              <a:solidFill>
                <a:srgbClr val="FFFFFF"/>
              </a:solidFill>
              <a:latin typeface="Arial"/>
            </a:endParaRPr>
          </a:p>
        </p:txBody>
      </p:sp>
      <p:pic>
        <p:nvPicPr>
          <p:cNvPr id="214" name="Picture 6" descr="AnyConnect Icon 256.png"/>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4225073" y="2426448"/>
            <a:ext cx="805365" cy="798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3" name="Group 242"/>
          <p:cNvGrpSpPr/>
          <p:nvPr/>
        </p:nvGrpSpPr>
        <p:grpSpPr>
          <a:xfrm>
            <a:off x="7926843" y="3726913"/>
            <a:ext cx="1062242" cy="854915"/>
            <a:chOff x="4905916" y="3667735"/>
            <a:chExt cx="1062242" cy="854915"/>
          </a:xfrm>
        </p:grpSpPr>
        <p:sp>
          <p:nvSpPr>
            <p:cNvPr id="258" name="Oval 257"/>
            <p:cNvSpPr/>
            <p:nvPr/>
          </p:nvSpPr>
          <p:spPr>
            <a:xfrm>
              <a:off x="5083522" y="3667735"/>
              <a:ext cx="694819" cy="694820"/>
            </a:xfrm>
            <a:prstGeom prst="ellipse">
              <a:avLst/>
            </a:prstGeom>
            <a:solidFill>
              <a:srgbClr val="D9D9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endParaRPr>
            </a:p>
          </p:txBody>
        </p:sp>
        <p:sp>
          <p:nvSpPr>
            <p:cNvPr id="259" name="Text Placeholder 2"/>
            <p:cNvSpPr txBox="1">
              <a:spLocks/>
            </p:cNvSpPr>
            <p:nvPr/>
          </p:nvSpPr>
          <p:spPr>
            <a:xfrm>
              <a:off x="4905916" y="4395692"/>
              <a:ext cx="1062242" cy="126958"/>
            </a:xfrm>
            <a:prstGeom prst="rect">
              <a:avLst/>
            </a:prstGeom>
          </p:spPr>
          <p:txBody>
            <a:bodyPr wrap="squar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800" dirty="0"/>
                <a:t>Roaming Protection</a:t>
              </a:r>
            </a:p>
          </p:txBody>
        </p:sp>
        <p:sp>
          <p:nvSpPr>
            <p:cNvPr id="260" name="Freeform 259"/>
            <p:cNvSpPr>
              <a:spLocks/>
            </p:cNvSpPr>
            <p:nvPr/>
          </p:nvSpPr>
          <p:spPr bwMode="auto">
            <a:xfrm>
              <a:off x="5178174" y="3783977"/>
              <a:ext cx="533222" cy="353006"/>
            </a:xfrm>
            <a:custGeom>
              <a:avLst/>
              <a:gdLst>
                <a:gd name="T0" fmla="*/ 611 w 690"/>
                <a:gd name="T1" fmla="*/ 231 h 460"/>
                <a:gd name="T2" fmla="*/ 613 w 690"/>
                <a:gd name="T3" fmla="*/ 210 h 460"/>
                <a:gd name="T4" fmla="*/ 612 w 690"/>
                <a:gd name="T5" fmla="*/ 198 h 460"/>
                <a:gd name="T6" fmla="*/ 608 w 690"/>
                <a:gd name="T7" fmla="*/ 178 h 460"/>
                <a:gd name="T8" fmla="*/ 600 w 690"/>
                <a:gd name="T9" fmla="*/ 158 h 460"/>
                <a:gd name="T10" fmla="*/ 588 w 690"/>
                <a:gd name="T11" fmla="*/ 140 h 460"/>
                <a:gd name="T12" fmla="*/ 573 w 690"/>
                <a:gd name="T13" fmla="*/ 125 h 460"/>
                <a:gd name="T14" fmla="*/ 555 w 690"/>
                <a:gd name="T15" fmla="*/ 115 h 460"/>
                <a:gd name="T16" fmla="*/ 537 w 690"/>
                <a:gd name="T17" fmla="*/ 107 h 460"/>
                <a:gd name="T18" fmla="*/ 515 w 690"/>
                <a:gd name="T19" fmla="*/ 101 h 460"/>
                <a:gd name="T20" fmla="*/ 504 w 690"/>
                <a:gd name="T21" fmla="*/ 101 h 460"/>
                <a:gd name="T22" fmla="*/ 487 w 690"/>
                <a:gd name="T23" fmla="*/ 103 h 460"/>
                <a:gd name="T24" fmla="*/ 481 w 690"/>
                <a:gd name="T25" fmla="*/ 92 h 460"/>
                <a:gd name="T26" fmla="*/ 466 w 690"/>
                <a:gd name="T27" fmla="*/ 71 h 460"/>
                <a:gd name="T28" fmla="*/ 449 w 690"/>
                <a:gd name="T29" fmla="*/ 53 h 460"/>
                <a:gd name="T30" fmla="*/ 430 w 690"/>
                <a:gd name="T31" fmla="*/ 36 h 460"/>
                <a:gd name="T32" fmla="*/ 408 w 690"/>
                <a:gd name="T33" fmla="*/ 23 h 460"/>
                <a:gd name="T34" fmla="*/ 386 w 690"/>
                <a:gd name="T35" fmla="*/ 12 h 460"/>
                <a:gd name="T36" fmla="*/ 361 w 690"/>
                <a:gd name="T37" fmla="*/ 4 h 460"/>
                <a:gd name="T38" fmla="*/ 334 w 690"/>
                <a:gd name="T39" fmla="*/ 1 h 460"/>
                <a:gd name="T40" fmla="*/ 321 w 690"/>
                <a:gd name="T41" fmla="*/ 0 h 460"/>
                <a:gd name="T42" fmla="*/ 288 w 690"/>
                <a:gd name="T43" fmla="*/ 3 h 460"/>
                <a:gd name="T44" fmla="*/ 257 w 690"/>
                <a:gd name="T45" fmla="*/ 12 h 460"/>
                <a:gd name="T46" fmla="*/ 229 w 690"/>
                <a:gd name="T47" fmla="*/ 26 h 460"/>
                <a:gd name="T48" fmla="*/ 203 w 690"/>
                <a:gd name="T49" fmla="*/ 43 h 460"/>
                <a:gd name="T50" fmla="*/ 181 w 690"/>
                <a:gd name="T51" fmla="*/ 65 h 460"/>
                <a:gd name="T52" fmla="*/ 163 w 690"/>
                <a:gd name="T53" fmla="*/ 90 h 460"/>
                <a:gd name="T54" fmla="*/ 150 w 690"/>
                <a:gd name="T55" fmla="*/ 117 h 460"/>
                <a:gd name="T56" fmla="*/ 140 w 690"/>
                <a:gd name="T57" fmla="*/ 148 h 460"/>
                <a:gd name="T58" fmla="*/ 125 w 690"/>
                <a:gd name="T59" fmla="*/ 151 h 460"/>
                <a:gd name="T60" fmla="*/ 98 w 690"/>
                <a:gd name="T61" fmla="*/ 159 h 460"/>
                <a:gd name="T62" fmla="*/ 73 w 690"/>
                <a:gd name="T63" fmla="*/ 171 h 460"/>
                <a:gd name="T64" fmla="*/ 50 w 690"/>
                <a:gd name="T65" fmla="*/ 189 h 460"/>
                <a:gd name="T66" fmla="*/ 31 w 690"/>
                <a:gd name="T67" fmla="*/ 209 h 460"/>
                <a:gd name="T68" fmla="*/ 16 w 690"/>
                <a:gd name="T69" fmla="*/ 233 h 460"/>
                <a:gd name="T70" fmla="*/ 7 w 690"/>
                <a:gd name="T71" fmla="*/ 260 h 460"/>
                <a:gd name="T72" fmla="*/ 1 w 690"/>
                <a:gd name="T73" fmla="*/ 289 h 460"/>
                <a:gd name="T74" fmla="*/ 0 w 690"/>
                <a:gd name="T75" fmla="*/ 303 h 460"/>
                <a:gd name="T76" fmla="*/ 3 w 690"/>
                <a:gd name="T77" fmla="*/ 336 h 460"/>
                <a:gd name="T78" fmla="*/ 12 w 690"/>
                <a:gd name="T79" fmla="*/ 364 h 460"/>
                <a:gd name="T80" fmla="*/ 27 w 690"/>
                <a:gd name="T81" fmla="*/ 391 h 460"/>
                <a:gd name="T82" fmla="*/ 46 w 690"/>
                <a:gd name="T83" fmla="*/ 414 h 460"/>
                <a:gd name="T84" fmla="*/ 69 w 690"/>
                <a:gd name="T85" fmla="*/ 433 h 460"/>
                <a:gd name="T86" fmla="*/ 96 w 690"/>
                <a:gd name="T87" fmla="*/ 448 h 460"/>
                <a:gd name="T88" fmla="*/ 124 w 690"/>
                <a:gd name="T89" fmla="*/ 457 h 460"/>
                <a:gd name="T90" fmla="*/ 156 w 690"/>
                <a:gd name="T91" fmla="*/ 460 h 460"/>
                <a:gd name="T92" fmla="*/ 248 w 690"/>
                <a:gd name="T93" fmla="*/ 460 h 460"/>
                <a:gd name="T94" fmla="*/ 573 w 690"/>
                <a:gd name="T95" fmla="*/ 460 h 460"/>
                <a:gd name="T96" fmla="*/ 596 w 690"/>
                <a:gd name="T97" fmla="*/ 457 h 460"/>
                <a:gd name="T98" fmla="*/ 619 w 690"/>
                <a:gd name="T99" fmla="*/ 450 h 460"/>
                <a:gd name="T100" fmla="*/ 638 w 690"/>
                <a:gd name="T101" fmla="*/ 440 h 460"/>
                <a:gd name="T102" fmla="*/ 655 w 690"/>
                <a:gd name="T103" fmla="*/ 425 h 460"/>
                <a:gd name="T104" fmla="*/ 670 w 690"/>
                <a:gd name="T105" fmla="*/ 407 h 460"/>
                <a:gd name="T106" fmla="*/ 681 w 690"/>
                <a:gd name="T107" fmla="*/ 387 h 460"/>
                <a:gd name="T108" fmla="*/ 688 w 690"/>
                <a:gd name="T109" fmla="*/ 365 h 460"/>
                <a:gd name="T110" fmla="*/ 690 w 690"/>
                <a:gd name="T111" fmla="*/ 341 h 460"/>
                <a:gd name="T112" fmla="*/ 689 w 690"/>
                <a:gd name="T113" fmla="*/ 322 h 460"/>
                <a:gd name="T114" fmla="*/ 678 w 690"/>
                <a:gd name="T115" fmla="*/ 289 h 460"/>
                <a:gd name="T116" fmla="*/ 657 w 690"/>
                <a:gd name="T117" fmla="*/ 259 h 460"/>
                <a:gd name="T118" fmla="*/ 627 w 690"/>
                <a:gd name="T119" fmla="*/ 237 h 460"/>
                <a:gd name="T120" fmla="*/ 611 w 690"/>
                <a:gd name="T121" fmla="*/ 231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90" h="460">
                  <a:moveTo>
                    <a:pt x="611" y="231"/>
                  </a:moveTo>
                  <a:lnTo>
                    <a:pt x="611" y="231"/>
                  </a:lnTo>
                  <a:lnTo>
                    <a:pt x="612" y="220"/>
                  </a:lnTo>
                  <a:lnTo>
                    <a:pt x="613" y="210"/>
                  </a:lnTo>
                  <a:lnTo>
                    <a:pt x="613" y="210"/>
                  </a:lnTo>
                  <a:lnTo>
                    <a:pt x="612" y="198"/>
                  </a:lnTo>
                  <a:lnTo>
                    <a:pt x="611" y="187"/>
                  </a:lnTo>
                  <a:lnTo>
                    <a:pt x="608" y="178"/>
                  </a:lnTo>
                  <a:lnTo>
                    <a:pt x="604" y="167"/>
                  </a:lnTo>
                  <a:lnTo>
                    <a:pt x="600" y="158"/>
                  </a:lnTo>
                  <a:lnTo>
                    <a:pt x="595" y="150"/>
                  </a:lnTo>
                  <a:lnTo>
                    <a:pt x="588" y="140"/>
                  </a:lnTo>
                  <a:lnTo>
                    <a:pt x="581" y="134"/>
                  </a:lnTo>
                  <a:lnTo>
                    <a:pt x="573" y="125"/>
                  </a:lnTo>
                  <a:lnTo>
                    <a:pt x="565" y="120"/>
                  </a:lnTo>
                  <a:lnTo>
                    <a:pt x="555" y="115"/>
                  </a:lnTo>
                  <a:lnTo>
                    <a:pt x="546" y="109"/>
                  </a:lnTo>
                  <a:lnTo>
                    <a:pt x="537" y="107"/>
                  </a:lnTo>
                  <a:lnTo>
                    <a:pt x="526" y="104"/>
                  </a:lnTo>
                  <a:lnTo>
                    <a:pt x="515" y="101"/>
                  </a:lnTo>
                  <a:lnTo>
                    <a:pt x="504" y="101"/>
                  </a:lnTo>
                  <a:lnTo>
                    <a:pt x="504" y="101"/>
                  </a:lnTo>
                  <a:lnTo>
                    <a:pt x="496" y="101"/>
                  </a:lnTo>
                  <a:lnTo>
                    <a:pt x="487" y="103"/>
                  </a:lnTo>
                  <a:lnTo>
                    <a:pt x="487" y="103"/>
                  </a:lnTo>
                  <a:lnTo>
                    <a:pt x="481" y="92"/>
                  </a:lnTo>
                  <a:lnTo>
                    <a:pt x="475" y="81"/>
                  </a:lnTo>
                  <a:lnTo>
                    <a:pt x="466" y="71"/>
                  </a:lnTo>
                  <a:lnTo>
                    <a:pt x="458" y="61"/>
                  </a:lnTo>
                  <a:lnTo>
                    <a:pt x="449" y="53"/>
                  </a:lnTo>
                  <a:lnTo>
                    <a:pt x="441" y="43"/>
                  </a:lnTo>
                  <a:lnTo>
                    <a:pt x="430" y="36"/>
                  </a:lnTo>
                  <a:lnTo>
                    <a:pt x="419" y="28"/>
                  </a:lnTo>
                  <a:lnTo>
                    <a:pt x="408" y="23"/>
                  </a:lnTo>
                  <a:lnTo>
                    <a:pt x="398" y="16"/>
                  </a:lnTo>
                  <a:lnTo>
                    <a:pt x="386" y="12"/>
                  </a:lnTo>
                  <a:lnTo>
                    <a:pt x="373" y="8"/>
                  </a:lnTo>
                  <a:lnTo>
                    <a:pt x="361" y="4"/>
                  </a:lnTo>
                  <a:lnTo>
                    <a:pt x="348" y="3"/>
                  </a:lnTo>
                  <a:lnTo>
                    <a:pt x="334" y="1"/>
                  </a:lnTo>
                  <a:lnTo>
                    <a:pt x="321" y="0"/>
                  </a:lnTo>
                  <a:lnTo>
                    <a:pt x="321" y="0"/>
                  </a:lnTo>
                  <a:lnTo>
                    <a:pt x="305" y="1"/>
                  </a:lnTo>
                  <a:lnTo>
                    <a:pt x="288" y="3"/>
                  </a:lnTo>
                  <a:lnTo>
                    <a:pt x="272" y="7"/>
                  </a:lnTo>
                  <a:lnTo>
                    <a:pt x="257" y="12"/>
                  </a:lnTo>
                  <a:lnTo>
                    <a:pt x="243" y="18"/>
                  </a:lnTo>
                  <a:lnTo>
                    <a:pt x="229" y="26"/>
                  </a:lnTo>
                  <a:lnTo>
                    <a:pt x="216" y="34"/>
                  </a:lnTo>
                  <a:lnTo>
                    <a:pt x="203" y="43"/>
                  </a:lnTo>
                  <a:lnTo>
                    <a:pt x="191" y="53"/>
                  </a:lnTo>
                  <a:lnTo>
                    <a:pt x="181" y="65"/>
                  </a:lnTo>
                  <a:lnTo>
                    <a:pt x="171" y="77"/>
                  </a:lnTo>
                  <a:lnTo>
                    <a:pt x="163" y="90"/>
                  </a:lnTo>
                  <a:lnTo>
                    <a:pt x="155" y="104"/>
                  </a:lnTo>
                  <a:lnTo>
                    <a:pt x="150" y="117"/>
                  </a:lnTo>
                  <a:lnTo>
                    <a:pt x="144" y="134"/>
                  </a:lnTo>
                  <a:lnTo>
                    <a:pt x="140" y="148"/>
                  </a:lnTo>
                  <a:lnTo>
                    <a:pt x="140" y="148"/>
                  </a:lnTo>
                  <a:lnTo>
                    <a:pt x="125" y="151"/>
                  </a:lnTo>
                  <a:lnTo>
                    <a:pt x="112" y="154"/>
                  </a:lnTo>
                  <a:lnTo>
                    <a:pt x="98" y="159"/>
                  </a:lnTo>
                  <a:lnTo>
                    <a:pt x="85" y="165"/>
                  </a:lnTo>
                  <a:lnTo>
                    <a:pt x="73" y="171"/>
                  </a:lnTo>
                  <a:lnTo>
                    <a:pt x="61" y="179"/>
                  </a:lnTo>
                  <a:lnTo>
                    <a:pt x="50" y="189"/>
                  </a:lnTo>
                  <a:lnTo>
                    <a:pt x="40" y="198"/>
                  </a:lnTo>
                  <a:lnTo>
                    <a:pt x="31" y="209"/>
                  </a:lnTo>
                  <a:lnTo>
                    <a:pt x="23" y="221"/>
                  </a:lnTo>
                  <a:lnTo>
                    <a:pt x="16" y="233"/>
                  </a:lnTo>
                  <a:lnTo>
                    <a:pt x="11" y="247"/>
                  </a:lnTo>
                  <a:lnTo>
                    <a:pt x="7" y="260"/>
                  </a:lnTo>
                  <a:lnTo>
                    <a:pt x="3" y="274"/>
                  </a:lnTo>
                  <a:lnTo>
                    <a:pt x="1" y="289"/>
                  </a:lnTo>
                  <a:lnTo>
                    <a:pt x="0" y="303"/>
                  </a:lnTo>
                  <a:lnTo>
                    <a:pt x="0" y="303"/>
                  </a:lnTo>
                  <a:lnTo>
                    <a:pt x="1" y="320"/>
                  </a:lnTo>
                  <a:lnTo>
                    <a:pt x="3" y="336"/>
                  </a:lnTo>
                  <a:lnTo>
                    <a:pt x="7" y="351"/>
                  </a:lnTo>
                  <a:lnTo>
                    <a:pt x="12" y="364"/>
                  </a:lnTo>
                  <a:lnTo>
                    <a:pt x="19" y="378"/>
                  </a:lnTo>
                  <a:lnTo>
                    <a:pt x="27" y="391"/>
                  </a:lnTo>
                  <a:lnTo>
                    <a:pt x="35" y="403"/>
                  </a:lnTo>
                  <a:lnTo>
                    <a:pt x="46" y="414"/>
                  </a:lnTo>
                  <a:lnTo>
                    <a:pt x="57" y="425"/>
                  </a:lnTo>
                  <a:lnTo>
                    <a:pt x="69" y="433"/>
                  </a:lnTo>
                  <a:lnTo>
                    <a:pt x="82" y="441"/>
                  </a:lnTo>
                  <a:lnTo>
                    <a:pt x="96" y="448"/>
                  </a:lnTo>
                  <a:lnTo>
                    <a:pt x="109" y="453"/>
                  </a:lnTo>
                  <a:lnTo>
                    <a:pt x="124" y="457"/>
                  </a:lnTo>
                  <a:lnTo>
                    <a:pt x="140" y="458"/>
                  </a:lnTo>
                  <a:lnTo>
                    <a:pt x="156" y="460"/>
                  </a:lnTo>
                  <a:lnTo>
                    <a:pt x="187" y="460"/>
                  </a:lnTo>
                  <a:lnTo>
                    <a:pt x="248" y="460"/>
                  </a:lnTo>
                  <a:lnTo>
                    <a:pt x="573" y="460"/>
                  </a:lnTo>
                  <a:lnTo>
                    <a:pt x="573" y="460"/>
                  </a:lnTo>
                  <a:lnTo>
                    <a:pt x="585" y="458"/>
                  </a:lnTo>
                  <a:lnTo>
                    <a:pt x="596" y="457"/>
                  </a:lnTo>
                  <a:lnTo>
                    <a:pt x="608" y="454"/>
                  </a:lnTo>
                  <a:lnTo>
                    <a:pt x="619" y="450"/>
                  </a:lnTo>
                  <a:lnTo>
                    <a:pt x="628" y="445"/>
                  </a:lnTo>
                  <a:lnTo>
                    <a:pt x="638" y="440"/>
                  </a:lnTo>
                  <a:lnTo>
                    <a:pt x="647" y="433"/>
                  </a:lnTo>
                  <a:lnTo>
                    <a:pt x="655" y="425"/>
                  </a:lnTo>
                  <a:lnTo>
                    <a:pt x="663" y="417"/>
                  </a:lnTo>
                  <a:lnTo>
                    <a:pt x="670" y="407"/>
                  </a:lnTo>
                  <a:lnTo>
                    <a:pt x="677" y="398"/>
                  </a:lnTo>
                  <a:lnTo>
                    <a:pt x="681" y="387"/>
                  </a:lnTo>
                  <a:lnTo>
                    <a:pt x="685" y="376"/>
                  </a:lnTo>
                  <a:lnTo>
                    <a:pt x="688" y="365"/>
                  </a:lnTo>
                  <a:lnTo>
                    <a:pt x="690" y="353"/>
                  </a:lnTo>
                  <a:lnTo>
                    <a:pt x="690" y="341"/>
                  </a:lnTo>
                  <a:lnTo>
                    <a:pt x="690" y="341"/>
                  </a:lnTo>
                  <a:lnTo>
                    <a:pt x="689" y="322"/>
                  </a:lnTo>
                  <a:lnTo>
                    <a:pt x="685" y="305"/>
                  </a:lnTo>
                  <a:lnTo>
                    <a:pt x="678" y="289"/>
                  </a:lnTo>
                  <a:lnTo>
                    <a:pt x="667" y="272"/>
                  </a:lnTo>
                  <a:lnTo>
                    <a:pt x="657" y="259"/>
                  </a:lnTo>
                  <a:lnTo>
                    <a:pt x="643" y="247"/>
                  </a:lnTo>
                  <a:lnTo>
                    <a:pt x="627" y="237"/>
                  </a:lnTo>
                  <a:lnTo>
                    <a:pt x="611" y="231"/>
                  </a:lnTo>
                  <a:lnTo>
                    <a:pt x="611" y="231"/>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400"/>
            </a:p>
          </p:txBody>
        </p:sp>
        <p:sp>
          <p:nvSpPr>
            <p:cNvPr id="261" name="Freeform 260"/>
            <p:cNvSpPr>
              <a:spLocks noChangeAspect="1" noEditPoints="1"/>
            </p:cNvSpPr>
            <p:nvPr/>
          </p:nvSpPr>
          <p:spPr bwMode="auto">
            <a:xfrm>
              <a:off x="5249299" y="3942745"/>
              <a:ext cx="362156" cy="134692"/>
            </a:xfrm>
            <a:custGeom>
              <a:avLst/>
              <a:gdLst>
                <a:gd name="T0" fmla="*/ 4420 w 5953"/>
                <a:gd name="T1" fmla="*/ 372 h 2214"/>
                <a:gd name="T2" fmla="*/ 3947 w 5953"/>
                <a:gd name="T3" fmla="*/ 585 h 2214"/>
                <a:gd name="T4" fmla="*/ 3540 w 5953"/>
                <a:gd name="T5" fmla="*/ 852 h 2214"/>
                <a:gd name="T6" fmla="*/ 3279 w 5953"/>
                <a:gd name="T7" fmla="*/ 1058 h 2214"/>
                <a:gd name="T8" fmla="*/ 3237 w 5953"/>
                <a:gd name="T9" fmla="*/ 1120 h 2214"/>
                <a:gd name="T10" fmla="*/ 3434 w 5953"/>
                <a:gd name="T11" fmla="*/ 1282 h 2214"/>
                <a:gd name="T12" fmla="*/ 3800 w 5953"/>
                <a:gd name="T13" fmla="*/ 1540 h 2214"/>
                <a:gd name="T14" fmla="*/ 4259 w 5953"/>
                <a:gd name="T15" fmla="*/ 1784 h 2214"/>
                <a:gd name="T16" fmla="*/ 4738 w 5953"/>
                <a:gd name="T17" fmla="*/ 1902 h 2214"/>
                <a:gd name="T18" fmla="*/ 5243 w 5953"/>
                <a:gd name="T19" fmla="*/ 1813 h 2214"/>
                <a:gd name="T20" fmla="*/ 5541 w 5953"/>
                <a:gd name="T21" fmla="*/ 1566 h 2214"/>
                <a:gd name="T22" fmla="*/ 5671 w 5953"/>
                <a:gd name="T23" fmla="*/ 1255 h 2214"/>
                <a:gd name="T24" fmla="*/ 5671 w 5953"/>
                <a:gd name="T25" fmla="*/ 959 h 2214"/>
                <a:gd name="T26" fmla="*/ 5541 w 5953"/>
                <a:gd name="T27" fmla="*/ 650 h 2214"/>
                <a:gd name="T28" fmla="*/ 5243 w 5953"/>
                <a:gd name="T29" fmla="*/ 401 h 2214"/>
                <a:gd name="T30" fmla="*/ 1114 w 5953"/>
                <a:gd name="T31" fmla="*/ 312 h 2214"/>
                <a:gd name="T32" fmla="*/ 646 w 5953"/>
                <a:gd name="T33" fmla="*/ 435 h 2214"/>
                <a:gd name="T34" fmla="*/ 381 w 5953"/>
                <a:gd name="T35" fmla="*/ 699 h 2214"/>
                <a:gd name="T36" fmla="*/ 274 w 5953"/>
                <a:gd name="T37" fmla="*/ 1009 h 2214"/>
                <a:gd name="T38" fmla="*/ 294 w 5953"/>
                <a:gd name="T39" fmla="*/ 1307 h 2214"/>
                <a:gd name="T40" fmla="*/ 450 w 5953"/>
                <a:gd name="T41" fmla="*/ 1613 h 2214"/>
                <a:gd name="T42" fmla="*/ 778 w 5953"/>
                <a:gd name="T43" fmla="*/ 1842 h 2214"/>
                <a:gd name="T44" fmla="*/ 1293 w 5953"/>
                <a:gd name="T45" fmla="*/ 1896 h 2214"/>
                <a:gd name="T46" fmla="*/ 1773 w 5953"/>
                <a:gd name="T47" fmla="*/ 1750 h 2214"/>
                <a:gd name="T48" fmla="*/ 2223 w 5953"/>
                <a:gd name="T49" fmla="*/ 1495 h 2214"/>
                <a:gd name="T50" fmla="*/ 2566 w 5953"/>
                <a:gd name="T51" fmla="*/ 1244 h 2214"/>
                <a:gd name="T52" fmla="*/ 2726 w 5953"/>
                <a:gd name="T53" fmla="*/ 1111 h 2214"/>
                <a:gd name="T54" fmla="*/ 2643 w 5953"/>
                <a:gd name="T55" fmla="*/ 1033 h 2214"/>
                <a:gd name="T56" fmla="*/ 2353 w 5953"/>
                <a:gd name="T57" fmla="*/ 809 h 2214"/>
                <a:gd name="T58" fmla="*/ 1930 w 5953"/>
                <a:gd name="T59" fmla="*/ 544 h 2214"/>
                <a:gd name="T60" fmla="*/ 1452 w 5953"/>
                <a:gd name="T61" fmla="*/ 349 h 2214"/>
                <a:gd name="T62" fmla="*/ 4940 w 5953"/>
                <a:gd name="T63" fmla="*/ 5 h 2214"/>
                <a:gd name="T64" fmla="*/ 5472 w 5953"/>
                <a:gd name="T65" fmla="*/ 188 h 2214"/>
                <a:gd name="T66" fmla="*/ 5839 w 5953"/>
                <a:gd name="T67" fmla="*/ 616 h 2214"/>
                <a:gd name="T68" fmla="*/ 5951 w 5953"/>
                <a:gd name="T69" fmla="*/ 1179 h 2214"/>
                <a:gd name="T70" fmla="*/ 5776 w 5953"/>
                <a:gd name="T71" fmla="*/ 1712 h 2214"/>
                <a:gd name="T72" fmla="*/ 5398 w 5953"/>
                <a:gd name="T73" fmla="*/ 2071 h 2214"/>
                <a:gd name="T74" fmla="*/ 4833 w 5953"/>
                <a:gd name="T75" fmla="*/ 2214 h 2214"/>
                <a:gd name="T76" fmla="*/ 4113 w 5953"/>
                <a:gd name="T77" fmla="*/ 2061 h 2214"/>
                <a:gd name="T78" fmla="*/ 3308 w 5953"/>
                <a:gd name="T79" fmla="*/ 1600 h 2214"/>
                <a:gd name="T80" fmla="*/ 2645 w 5953"/>
                <a:gd name="T81" fmla="*/ 1600 h 2214"/>
                <a:gd name="T82" fmla="*/ 1840 w 5953"/>
                <a:gd name="T83" fmla="*/ 2061 h 2214"/>
                <a:gd name="T84" fmla="*/ 1119 w 5953"/>
                <a:gd name="T85" fmla="*/ 2214 h 2214"/>
                <a:gd name="T86" fmla="*/ 554 w 5953"/>
                <a:gd name="T87" fmla="*/ 2071 h 2214"/>
                <a:gd name="T88" fmla="*/ 177 w 5953"/>
                <a:gd name="T89" fmla="*/ 1712 h 2214"/>
                <a:gd name="T90" fmla="*/ 2 w 5953"/>
                <a:gd name="T91" fmla="*/ 1179 h 2214"/>
                <a:gd name="T92" fmla="*/ 114 w 5953"/>
                <a:gd name="T93" fmla="*/ 616 h 2214"/>
                <a:gd name="T94" fmla="*/ 480 w 5953"/>
                <a:gd name="T95" fmla="*/ 188 h 2214"/>
                <a:gd name="T96" fmla="*/ 1013 w 5953"/>
                <a:gd name="T97" fmla="*/ 5 h 2214"/>
                <a:gd name="T98" fmla="*/ 1708 w 5953"/>
                <a:gd name="T99" fmla="*/ 105 h 2214"/>
                <a:gd name="T100" fmla="*/ 2513 w 5953"/>
                <a:gd name="T101" fmla="*/ 518 h 2214"/>
                <a:gd name="T102" fmla="*/ 3181 w 5953"/>
                <a:gd name="T103" fmla="*/ 715 h 2214"/>
                <a:gd name="T104" fmla="*/ 3985 w 5953"/>
                <a:gd name="T105" fmla="*/ 208 h 2214"/>
                <a:gd name="T106" fmla="*/ 4727 w 5953"/>
                <a:gd name="T107" fmla="*/ 4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53" h="2214">
                  <a:moveTo>
                    <a:pt x="4839" y="312"/>
                  </a:moveTo>
                  <a:lnTo>
                    <a:pt x="4738" y="312"/>
                  </a:lnTo>
                  <a:lnTo>
                    <a:pt x="4660" y="318"/>
                  </a:lnTo>
                  <a:lnTo>
                    <a:pt x="4580" y="330"/>
                  </a:lnTo>
                  <a:lnTo>
                    <a:pt x="4501" y="349"/>
                  </a:lnTo>
                  <a:lnTo>
                    <a:pt x="4420" y="372"/>
                  </a:lnTo>
                  <a:lnTo>
                    <a:pt x="4340" y="399"/>
                  </a:lnTo>
                  <a:lnTo>
                    <a:pt x="4259" y="430"/>
                  </a:lnTo>
                  <a:lnTo>
                    <a:pt x="4180" y="464"/>
                  </a:lnTo>
                  <a:lnTo>
                    <a:pt x="4100" y="502"/>
                  </a:lnTo>
                  <a:lnTo>
                    <a:pt x="4023" y="544"/>
                  </a:lnTo>
                  <a:lnTo>
                    <a:pt x="3947" y="585"/>
                  </a:lnTo>
                  <a:lnTo>
                    <a:pt x="3873" y="628"/>
                  </a:lnTo>
                  <a:lnTo>
                    <a:pt x="3800" y="674"/>
                  </a:lnTo>
                  <a:lnTo>
                    <a:pt x="3730" y="719"/>
                  </a:lnTo>
                  <a:lnTo>
                    <a:pt x="3663" y="764"/>
                  </a:lnTo>
                  <a:lnTo>
                    <a:pt x="3600" y="809"/>
                  </a:lnTo>
                  <a:lnTo>
                    <a:pt x="3540" y="852"/>
                  </a:lnTo>
                  <a:lnTo>
                    <a:pt x="3485" y="894"/>
                  </a:lnTo>
                  <a:lnTo>
                    <a:pt x="3434" y="932"/>
                  </a:lnTo>
                  <a:lnTo>
                    <a:pt x="3387" y="970"/>
                  </a:lnTo>
                  <a:lnTo>
                    <a:pt x="3346" y="1002"/>
                  </a:lnTo>
                  <a:lnTo>
                    <a:pt x="3309" y="1033"/>
                  </a:lnTo>
                  <a:lnTo>
                    <a:pt x="3279" y="1058"/>
                  </a:lnTo>
                  <a:lnTo>
                    <a:pt x="3255" y="1078"/>
                  </a:lnTo>
                  <a:lnTo>
                    <a:pt x="3237" y="1094"/>
                  </a:lnTo>
                  <a:lnTo>
                    <a:pt x="3226" y="1103"/>
                  </a:lnTo>
                  <a:lnTo>
                    <a:pt x="3223" y="1107"/>
                  </a:lnTo>
                  <a:lnTo>
                    <a:pt x="3226" y="1111"/>
                  </a:lnTo>
                  <a:lnTo>
                    <a:pt x="3237" y="1120"/>
                  </a:lnTo>
                  <a:lnTo>
                    <a:pt x="3255" y="1136"/>
                  </a:lnTo>
                  <a:lnTo>
                    <a:pt x="3279" y="1156"/>
                  </a:lnTo>
                  <a:lnTo>
                    <a:pt x="3309" y="1181"/>
                  </a:lnTo>
                  <a:lnTo>
                    <a:pt x="3346" y="1212"/>
                  </a:lnTo>
                  <a:lnTo>
                    <a:pt x="3387" y="1244"/>
                  </a:lnTo>
                  <a:lnTo>
                    <a:pt x="3434" y="1282"/>
                  </a:lnTo>
                  <a:lnTo>
                    <a:pt x="3485" y="1322"/>
                  </a:lnTo>
                  <a:lnTo>
                    <a:pt x="3540" y="1363"/>
                  </a:lnTo>
                  <a:lnTo>
                    <a:pt x="3600" y="1407"/>
                  </a:lnTo>
                  <a:lnTo>
                    <a:pt x="3663" y="1450"/>
                  </a:lnTo>
                  <a:lnTo>
                    <a:pt x="3730" y="1495"/>
                  </a:lnTo>
                  <a:lnTo>
                    <a:pt x="3800" y="1540"/>
                  </a:lnTo>
                  <a:lnTo>
                    <a:pt x="3873" y="1586"/>
                  </a:lnTo>
                  <a:lnTo>
                    <a:pt x="3947" y="1629"/>
                  </a:lnTo>
                  <a:lnTo>
                    <a:pt x="4023" y="1670"/>
                  </a:lnTo>
                  <a:lnTo>
                    <a:pt x="4100" y="1712"/>
                  </a:lnTo>
                  <a:lnTo>
                    <a:pt x="4180" y="1750"/>
                  </a:lnTo>
                  <a:lnTo>
                    <a:pt x="4259" y="1784"/>
                  </a:lnTo>
                  <a:lnTo>
                    <a:pt x="4340" y="1817"/>
                  </a:lnTo>
                  <a:lnTo>
                    <a:pt x="4420" y="1844"/>
                  </a:lnTo>
                  <a:lnTo>
                    <a:pt x="4501" y="1865"/>
                  </a:lnTo>
                  <a:lnTo>
                    <a:pt x="4580" y="1884"/>
                  </a:lnTo>
                  <a:lnTo>
                    <a:pt x="4660" y="1896"/>
                  </a:lnTo>
                  <a:lnTo>
                    <a:pt x="4738" y="1902"/>
                  </a:lnTo>
                  <a:lnTo>
                    <a:pt x="4839" y="1902"/>
                  </a:lnTo>
                  <a:lnTo>
                    <a:pt x="4933" y="1896"/>
                  </a:lnTo>
                  <a:lnTo>
                    <a:pt x="5019" y="1884"/>
                  </a:lnTo>
                  <a:lnTo>
                    <a:pt x="5100" y="1865"/>
                  </a:lnTo>
                  <a:lnTo>
                    <a:pt x="5174" y="1842"/>
                  </a:lnTo>
                  <a:lnTo>
                    <a:pt x="5243" y="1813"/>
                  </a:lnTo>
                  <a:lnTo>
                    <a:pt x="5306" y="1781"/>
                  </a:lnTo>
                  <a:lnTo>
                    <a:pt x="5364" y="1743"/>
                  </a:lnTo>
                  <a:lnTo>
                    <a:pt x="5416" y="1703"/>
                  </a:lnTo>
                  <a:lnTo>
                    <a:pt x="5462" y="1660"/>
                  </a:lnTo>
                  <a:lnTo>
                    <a:pt x="5503" y="1613"/>
                  </a:lnTo>
                  <a:lnTo>
                    <a:pt x="5541" y="1566"/>
                  </a:lnTo>
                  <a:lnTo>
                    <a:pt x="5572" y="1515"/>
                  </a:lnTo>
                  <a:lnTo>
                    <a:pt x="5601" y="1465"/>
                  </a:lnTo>
                  <a:lnTo>
                    <a:pt x="5624" y="1412"/>
                  </a:lnTo>
                  <a:lnTo>
                    <a:pt x="5642" y="1360"/>
                  </a:lnTo>
                  <a:lnTo>
                    <a:pt x="5658" y="1307"/>
                  </a:lnTo>
                  <a:lnTo>
                    <a:pt x="5671" y="1255"/>
                  </a:lnTo>
                  <a:lnTo>
                    <a:pt x="5678" y="1205"/>
                  </a:lnTo>
                  <a:lnTo>
                    <a:pt x="5684" y="1154"/>
                  </a:lnTo>
                  <a:lnTo>
                    <a:pt x="5685" y="1107"/>
                  </a:lnTo>
                  <a:lnTo>
                    <a:pt x="5684" y="1060"/>
                  </a:lnTo>
                  <a:lnTo>
                    <a:pt x="5678" y="1009"/>
                  </a:lnTo>
                  <a:lnTo>
                    <a:pt x="5671" y="959"/>
                  </a:lnTo>
                  <a:lnTo>
                    <a:pt x="5658" y="908"/>
                  </a:lnTo>
                  <a:lnTo>
                    <a:pt x="5642" y="856"/>
                  </a:lnTo>
                  <a:lnTo>
                    <a:pt x="5624" y="804"/>
                  </a:lnTo>
                  <a:lnTo>
                    <a:pt x="5601" y="751"/>
                  </a:lnTo>
                  <a:lnTo>
                    <a:pt x="5572" y="699"/>
                  </a:lnTo>
                  <a:lnTo>
                    <a:pt x="5541" y="650"/>
                  </a:lnTo>
                  <a:lnTo>
                    <a:pt x="5503" y="601"/>
                  </a:lnTo>
                  <a:lnTo>
                    <a:pt x="5462" y="554"/>
                  </a:lnTo>
                  <a:lnTo>
                    <a:pt x="5416" y="511"/>
                  </a:lnTo>
                  <a:lnTo>
                    <a:pt x="5364" y="471"/>
                  </a:lnTo>
                  <a:lnTo>
                    <a:pt x="5306" y="435"/>
                  </a:lnTo>
                  <a:lnTo>
                    <a:pt x="5243" y="401"/>
                  </a:lnTo>
                  <a:lnTo>
                    <a:pt x="5174" y="374"/>
                  </a:lnTo>
                  <a:lnTo>
                    <a:pt x="5100" y="349"/>
                  </a:lnTo>
                  <a:lnTo>
                    <a:pt x="5019" y="330"/>
                  </a:lnTo>
                  <a:lnTo>
                    <a:pt x="4933" y="318"/>
                  </a:lnTo>
                  <a:lnTo>
                    <a:pt x="4839" y="312"/>
                  </a:lnTo>
                  <a:close/>
                  <a:moveTo>
                    <a:pt x="1114" y="312"/>
                  </a:moveTo>
                  <a:lnTo>
                    <a:pt x="1020" y="318"/>
                  </a:lnTo>
                  <a:lnTo>
                    <a:pt x="933" y="330"/>
                  </a:lnTo>
                  <a:lnTo>
                    <a:pt x="852" y="349"/>
                  </a:lnTo>
                  <a:lnTo>
                    <a:pt x="778" y="374"/>
                  </a:lnTo>
                  <a:lnTo>
                    <a:pt x="710" y="401"/>
                  </a:lnTo>
                  <a:lnTo>
                    <a:pt x="646" y="435"/>
                  </a:lnTo>
                  <a:lnTo>
                    <a:pt x="589" y="471"/>
                  </a:lnTo>
                  <a:lnTo>
                    <a:pt x="536" y="511"/>
                  </a:lnTo>
                  <a:lnTo>
                    <a:pt x="491" y="554"/>
                  </a:lnTo>
                  <a:lnTo>
                    <a:pt x="450" y="601"/>
                  </a:lnTo>
                  <a:lnTo>
                    <a:pt x="412" y="650"/>
                  </a:lnTo>
                  <a:lnTo>
                    <a:pt x="381" y="699"/>
                  </a:lnTo>
                  <a:lnTo>
                    <a:pt x="352" y="751"/>
                  </a:lnTo>
                  <a:lnTo>
                    <a:pt x="329" y="804"/>
                  </a:lnTo>
                  <a:lnTo>
                    <a:pt x="311" y="856"/>
                  </a:lnTo>
                  <a:lnTo>
                    <a:pt x="294" y="908"/>
                  </a:lnTo>
                  <a:lnTo>
                    <a:pt x="282" y="959"/>
                  </a:lnTo>
                  <a:lnTo>
                    <a:pt x="274" y="1009"/>
                  </a:lnTo>
                  <a:lnTo>
                    <a:pt x="269" y="1060"/>
                  </a:lnTo>
                  <a:lnTo>
                    <a:pt x="267" y="1107"/>
                  </a:lnTo>
                  <a:lnTo>
                    <a:pt x="269" y="1154"/>
                  </a:lnTo>
                  <a:lnTo>
                    <a:pt x="274" y="1205"/>
                  </a:lnTo>
                  <a:lnTo>
                    <a:pt x="282" y="1255"/>
                  </a:lnTo>
                  <a:lnTo>
                    <a:pt x="294" y="1307"/>
                  </a:lnTo>
                  <a:lnTo>
                    <a:pt x="311" y="1360"/>
                  </a:lnTo>
                  <a:lnTo>
                    <a:pt x="329" y="1412"/>
                  </a:lnTo>
                  <a:lnTo>
                    <a:pt x="352" y="1465"/>
                  </a:lnTo>
                  <a:lnTo>
                    <a:pt x="381" y="1515"/>
                  </a:lnTo>
                  <a:lnTo>
                    <a:pt x="412" y="1566"/>
                  </a:lnTo>
                  <a:lnTo>
                    <a:pt x="450" y="1613"/>
                  </a:lnTo>
                  <a:lnTo>
                    <a:pt x="491" y="1660"/>
                  </a:lnTo>
                  <a:lnTo>
                    <a:pt x="536" y="1703"/>
                  </a:lnTo>
                  <a:lnTo>
                    <a:pt x="589" y="1743"/>
                  </a:lnTo>
                  <a:lnTo>
                    <a:pt x="646" y="1781"/>
                  </a:lnTo>
                  <a:lnTo>
                    <a:pt x="710" y="1813"/>
                  </a:lnTo>
                  <a:lnTo>
                    <a:pt x="778" y="1842"/>
                  </a:lnTo>
                  <a:lnTo>
                    <a:pt x="852" y="1865"/>
                  </a:lnTo>
                  <a:lnTo>
                    <a:pt x="933" y="1884"/>
                  </a:lnTo>
                  <a:lnTo>
                    <a:pt x="1020" y="1896"/>
                  </a:lnTo>
                  <a:lnTo>
                    <a:pt x="1114" y="1902"/>
                  </a:lnTo>
                  <a:lnTo>
                    <a:pt x="1215" y="1902"/>
                  </a:lnTo>
                  <a:lnTo>
                    <a:pt x="1293" y="1896"/>
                  </a:lnTo>
                  <a:lnTo>
                    <a:pt x="1372" y="1884"/>
                  </a:lnTo>
                  <a:lnTo>
                    <a:pt x="1452" y="1865"/>
                  </a:lnTo>
                  <a:lnTo>
                    <a:pt x="1533" y="1844"/>
                  </a:lnTo>
                  <a:lnTo>
                    <a:pt x="1612" y="1817"/>
                  </a:lnTo>
                  <a:lnTo>
                    <a:pt x="1694" y="1784"/>
                  </a:lnTo>
                  <a:lnTo>
                    <a:pt x="1773" y="1750"/>
                  </a:lnTo>
                  <a:lnTo>
                    <a:pt x="1852" y="1712"/>
                  </a:lnTo>
                  <a:lnTo>
                    <a:pt x="1930" y="1670"/>
                  </a:lnTo>
                  <a:lnTo>
                    <a:pt x="2006" y="1629"/>
                  </a:lnTo>
                  <a:lnTo>
                    <a:pt x="2080" y="1586"/>
                  </a:lnTo>
                  <a:lnTo>
                    <a:pt x="2152" y="1540"/>
                  </a:lnTo>
                  <a:lnTo>
                    <a:pt x="2223" y="1495"/>
                  </a:lnTo>
                  <a:lnTo>
                    <a:pt x="2289" y="1450"/>
                  </a:lnTo>
                  <a:lnTo>
                    <a:pt x="2353" y="1407"/>
                  </a:lnTo>
                  <a:lnTo>
                    <a:pt x="2412" y="1363"/>
                  </a:lnTo>
                  <a:lnTo>
                    <a:pt x="2468" y="1322"/>
                  </a:lnTo>
                  <a:lnTo>
                    <a:pt x="2519" y="1282"/>
                  </a:lnTo>
                  <a:lnTo>
                    <a:pt x="2566" y="1244"/>
                  </a:lnTo>
                  <a:lnTo>
                    <a:pt x="2607" y="1212"/>
                  </a:lnTo>
                  <a:lnTo>
                    <a:pt x="2643" y="1181"/>
                  </a:lnTo>
                  <a:lnTo>
                    <a:pt x="2674" y="1156"/>
                  </a:lnTo>
                  <a:lnTo>
                    <a:pt x="2697" y="1136"/>
                  </a:lnTo>
                  <a:lnTo>
                    <a:pt x="2715" y="1120"/>
                  </a:lnTo>
                  <a:lnTo>
                    <a:pt x="2726" y="1111"/>
                  </a:lnTo>
                  <a:lnTo>
                    <a:pt x="2730" y="1107"/>
                  </a:lnTo>
                  <a:lnTo>
                    <a:pt x="2726" y="1103"/>
                  </a:lnTo>
                  <a:lnTo>
                    <a:pt x="2715" y="1094"/>
                  </a:lnTo>
                  <a:lnTo>
                    <a:pt x="2697" y="1078"/>
                  </a:lnTo>
                  <a:lnTo>
                    <a:pt x="2674" y="1058"/>
                  </a:lnTo>
                  <a:lnTo>
                    <a:pt x="2643" y="1033"/>
                  </a:lnTo>
                  <a:lnTo>
                    <a:pt x="2607" y="1002"/>
                  </a:lnTo>
                  <a:lnTo>
                    <a:pt x="2566" y="970"/>
                  </a:lnTo>
                  <a:lnTo>
                    <a:pt x="2519" y="932"/>
                  </a:lnTo>
                  <a:lnTo>
                    <a:pt x="2468" y="894"/>
                  </a:lnTo>
                  <a:lnTo>
                    <a:pt x="2412" y="852"/>
                  </a:lnTo>
                  <a:lnTo>
                    <a:pt x="2353" y="809"/>
                  </a:lnTo>
                  <a:lnTo>
                    <a:pt x="2289" y="764"/>
                  </a:lnTo>
                  <a:lnTo>
                    <a:pt x="2223" y="719"/>
                  </a:lnTo>
                  <a:lnTo>
                    <a:pt x="2152" y="674"/>
                  </a:lnTo>
                  <a:lnTo>
                    <a:pt x="2080" y="628"/>
                  </a:lnTo>
                  <a:lnTo>
                    <a:pt x="2006" y="585"/>
                  </a:lnTo>
                  <a:lnTo>
                    <a:pt x="1930" y="544"/>
                  </a:lnTo>
                  <a:lnTo>
                    <a:pt x="1852" y="502"/>
                  </a:lnTo>
                  <a:lnTo>
                    <a:pt x="1773" y="464"/>
                  </a:lnTo>
                  <a:lnTo>
                    <a:pt x="1694" y="430"/>
                  </a:lnTo>
                  <a:lnTo>
                    <a:pt x="1612" y="399"/>
                  </a:lnTo>
                  <a:lnTo>
                    <a:pt x="1533" y="372"/>
                  </a:lnTo>
                  <a:lnTo>
                    <a:pt x="1452" y="349"/>
                  </a:lnTo>
                  <a:lnTo>
                    <a:pt x="1372" y="330"/>
                  </a:lnTo>
                  <a:lnTo>
                    <a:pt x="1293" y="318"/>
                  </a:lnTo>
                  <a:lnTo>
                    <a:pt x="1215" y="312"/>
                  </a:lnTo>
                  <a:lnTo>
                    <a:pt x="1114" y="312"/>
                  </a:lnTo>
                  <a:close/>
                  <a:moveTo>
                    <a:pt x="4833" y="0"/>
                  </a:moveTo>
                  <a:lnTo>
                    <a:pt x="4940" y="5"/>
                  </a:lnTo>
                  <a:lnTo>
                    <a:pt x="5046" y="18"/>
                  </a:lnTo>
                  <a:lnTo>
                    <a:pt x="5151" y="43"/>
                  </a:lnTo>
                  <a:lnTo>
                    <a:pt x="5236" y="69"/>
                  </a:lnTo>
                  <a:lnTo>
                    <a:pt x="5319" y="103"/>
                  </a:lnTo>
                  <a:lnTo>
                    <a:pt x="5398" y="143"/>
                  </a:lnTo>
                  <a:lnTo>
                    <a:pt x="5472" y="188"/>
                  </a:lnTo>
                  <a:lnTo>
                    <a:pt x="5545" y="242"/>
                  </a:lnTo>
                  <a:lnTo>
                    <a:pt x="5611" y="300"/>
                  </a:lnTo>
                  <a:lnTo>
                    <a:pt x="5678" y="372"/>
                  </a:lnTo>
                  <a:lnTo>
                    <a:pt x="5740" y="450"/>
                  </a:lnTo>
                  <a:lnTo>
                    <a:pt x="5794" y="531"/>
                  </a:lnTo>
                  <a:lnTo>
                    <a:pt x="5839" y="616"/>
                  </a:lnTo>
                  <a:lnTo>
                    <a:pt x="5879" y="706"/>
                  </a:lnTo>
                  <a:lnTo>
                    <a:pt x="5909" y="796"/>
                  </a:lnTo>
                  <a:lnTo>
                    <a:pt x="5931" y="890"/>
                  </a:lnTo>
                  <a:lnTo>
                    <a:pt x="5945" y="986"/>
                  </a:lnTo>
                  <a:lnTo>
                    <a:pt x="5953" y="1084"/>
                  </a:lnTo>
                  <a:lnTo>
                    <a:pt x="5951" y="1179"/>
                  </a:lnTo>
                  <a:lnTo>
                    <a:pt x="5940" y="1277"/>
                  </a:lnTo>
                  <a:lnTo>
                    <a:pt x="5922" y="1372"/>
                  </a:lnTo>
                  <a:lnTo>
                    <a:pt x="5893" y="1466"/>
                  </a:lnTo>
                  <a:lnTo>
                    <a:pt x="5857" y="1558"/>
                  </a:lnTo>
                  <a:lnTo>
                    <a:pt x="5819" y="1636"/>
                  </a:lnTo>
                  <a:lnTo>
                    <a:pt x="5776" y="1712"/>
                  </a:lnTo>
                  <a:lnTo>
                    <a:pt x="5725" y="1784"/>
                  </a:lnTo>
                  <a:lnTo>
                    <a:pt x="5671" y="1851"/>
                  </a:lnTo>
                  <a:lnTo>
                    <a:pt x="5611" y="1914"/>
                  </a:lnTo>
                  <a:lnTo>
                    <a:pt x="5545" y="1974"/>
                  </a:lnTo>
                  <a:lnTo>
                    <a:pt x="5472" y="2026"/>
                  </a:lnTo>
                  <a:lnTo>
                    <a:pt x="5398" y="2071"/>
                  </a:lnTo>
                  <a:lnTo>
                    <a:pt x="5319" y="2111"/>
                  </a:lnTo>
                  <a:lnTo>
                    <a:pt x="5236" y="2145"/>
                  </a:lnTo>
                  <a:lnTo>
                    <a:pt x="5151" y="2172"/>
                  </a:lnTo>
                  <a:lnTo>
                    <a:pt x="5046" y="2196"/>
                  </a:lnTo>
                  <a:lnTo>
                    <a:pt x="4940" y="2210"/>
                  </a:lnTo>
                  <a:lnTo>
                    <a:pt x="4833" y="2214"/>
                  </a:lnTo>
                  <a:lnTo>
                    <a:pt x="4727" y="2212"/>
                  </a:lnTo>
                  <a:lnTo>
                    <a:pt x="4606" y="2198"/>
                  </a:lnTo>
                  <a:lnTo>
                    <a:pt x="4483" y="2176"/>
                  </a:lnTo>
                  <a:lnTo>
                    <a:pt x="4364" y="2147"/>
                  </a:lnTo>
                  <a:lnTo>
                    <a:pt x="4245" y="2109"/>
                  </a:lnTo>
                  <a:lnTo>
                    <a:pt x="4113" y="2061"/>
                  </a:lnTo>
                  <a:lnTo>
                    <a:pt x="3985" y="2006"/>
                  </a:lnTo>
                  <a:lnTo>
                    <a:pt x="3856" y="1945"/>
                  </a:lnTo>
                  <a:lnTo>
                    <a:pt x="3714" y="1869"/>
                  </a:lnTo>
                  <a:lnTo>
                    <a:pt x="3575" y="1786"/>
                  </a:lnTo>
                  <a:lnTo>
                    <a:pt x="3439" y="1696"/>
                  </a:lnTo>
                  <a:lnTo>
                    <a:pt x="3308" y="1600"/>
                  </a:lnTo>
                  <a:lnTo>
                    <a:pt x="3181" y="1499"/>
                  </a:lnTo>
                  <a:lnTo>
                    <a:pt x="3076" y="1409"/>
                  </a:lnTo>
                  <a:lnTo>
                    <a:pt x="2975" y="1315"/>
                  </a:lnTo>
                  <a:lnTo>
                    <a:pt x="2876" y="1409"/>
                  </a:lnTo>
                  <a:lnTo>
                    <a:pt x="2771" y="1499"/>
                  </a:lnTo>
                  <a:lnTo>
                    <a:pt x="2645" y="1600"/>
                  </a:lnTo>
                  <a:lnTo>
                    <a:pt x="2513" y="1696"/>
                  </a:lnTo>
                  <a:lnTo>
                    <a:pt x="2378" y="1786"/>
                  </a:lnTo>
                  <a:lnTo>
                    <a:pt x="2239" y="1869"/>
                  </a:lnTo>
                  <a:lnTo>
                    <a:pt x="2096" y="1945"/>
                  </a:lnTo>
                  <a:lnTo>
                    <a:pt x="1968" y="2006"/>
                  </a:lnTo>
                  <a:lnTo>
                    <a:pt x="1840" y="2061"/>
                  </a:lnTo>
                  <a:lnTo>
                    <a:pt x="1708" y="2109"/>
                  </a:lnTo>
                  <a:lnTo>
                    <a:pt x="1589" y="2147"/>
                  </a:lnTo>
                  <a:lnTo>
                    <a:pt x="1470" y="2176"/>
                  </a:lnTo>
                  <a:lnTo>
                    <a:pt x="1347" y="2198"/>
                  </a:lnTo>
                  <a:lnTo>
                    <a:pt x="1226" y="2212"/>
                  </a:lnTo>
                  <a:lnTo>
                    <a:pt x="1119" y="2214"/>
                  </a:lnTo>
                  <a:lnTo>
                    <a:pt x="1013" y="2210"/>
                  </a:lnTo>
                  <a:lnTo>
                    <a:pt x="906" y="2196"/>
                  </a:lnTo>
                  <a:lnTo>
                    <a:pt x="802" y="2172"/>
                  </a:lnTo>
                  <a:lnTo>
                    <a:pt x="717" y="2145"/>
                  </a:lnTo>
                  <a:lnTo>
                    <a:pt x="634" y="2111"/>
                  </a:lnTo>
                  <a:lnTo>
                    <a:pt x="554" y="2071"/>
                  </a:lnTo>
                  <a:lnTo>
                    <a:pt x="480" y="2026"/>
                  </a:lnTo>
                  <a:lnTo>
                    <a:pt x="408" y="1974"/>
                  </a:lnTo>
                  <a:lnTo>
                    <a:pt x="341" y="1914"/>
                  </a:lnTo>
                  <a:lnTo>
                    <a:pt x="282" y="1851"/>
                  </a:lnTo>
                  <a:lnTo>
                    <a:pt x="227" y="1784"/>
                  </a:lnTo>
                  <a:lnTo>
                    <a:pt x="177" y="1712"/>
                  </a:lnTo>
                  <a:lnTo>
                    <a:pt x="134" y="1636"/>
                  </a:lnTo>
                  <a:lnTo>
                    <a:pt x="96" y="1558"/>
                  </a:lnTo>
                  <a:lnTo>
                    <a:pt x="60" y="1466"/>
                  </a:lnTo>
                  <a:lnTo>
                    <a:pt x="31" y="1372"/>
                  </a:lnTo>
                  <a:lnTo>
                    <a:pt x="13" y="1277"/>
                  </a:lnTo>
                  <a:lnTo>
                    <a:pt x="2" y="1179"/>
                  </a:lnTo>
                  <a:lnTo>
                    <a:pt x="0" y="1084"/>
                  </a:lnTo>
                  <a:lnTo>
                    <a:pt x="7" y="986"/>
                  </a:lnTo>
                  <a:lnTo>
                    <a:pt x="22" y="890"/>
                  </a:lnTo>
                  <a:lnTo>
                    <a:pt x="43" y="796"/>
                  </a:lnTo>
                  <a:lnTo>
                    <a:pt x="74" y="706"/>
                  </a:lnTo>
                  <a:lnTo>
                    <a:pt x="114" y="616"/>
                  </a:lnTo>
                  <a:lnTo>
                    <a:pt x="159" y="531"/>
                  </a:lnTo>
                  <a:lnTo>
                    <a:pt x="213" y="450"/>
                  </a:lnTo>
                  <a:lnTo>
                    <a:pt x="273" y="372"/>
                  </a:lnTo>
                  <a:lnTo>
                    <a:pt x="341" y="300"/>
                  </a:lnTo>
                  <a:lnTo>
                    <a:pt x="408" y="242"/>
                  </a:lnTo>
                  <a:lnTo>
                    <a:pt x="480" y="188"/>
                  </a:lnTo>
                  <a:lnTo>
                    <a:pt x="554" y="143"/>
                  </a:lnTo>
                  <a:lnTo>
                    <a:pt x="634" y="103"/>
                  </a:lnTo>
                  <a:lnTo>
                    <a:pt x="717" y="69"/>
                  </a:lnTo>
                  <a:lnTo>
                    <a:pt x="802" y="43"/>
                  </a:lnTo>
                  <a:lnTo>
                    <a:pt x="906" y="18"/>
                  </a:lnTo>
                  <a:lnTo>
                    <a:pt x="1013" y="5"/>
                  </a:lnTo>
                  <a:lnTo>
                    <a:pt x="1119" y="0"/>
                  </a:lnTo>
                  <a:lnTo>
                    <a:pt x="1226" y="4"/>
                  </a:lnTo>
                  <a:lnTo>
                    <a:pt x="1347" y="16"/>
                  </a:lnTo>
                  <a:lnTo>
                    <a:pt x="1470" y="38"/>
                  </a:lnTo>
                  <a:lnTo>
                    <a:pt x="1589" y="69"/>
                  </a:lnTo>
                  <a:lnTo>
                    <a:pt x="1708" y="105"/>
                  </a:lnTo>
                  <a:lnTo>
                    <a:pt x="1840" y="153"/>
                  </a:lnTo>
                  <a:lnTo>
                    <a:pt x="1968" y="208"/>
                  </a:lnTo>
                  <a:lnTo>
                    <a:pt x="2096" y="269"/>
                  </a:lnTo>
                  <a:lnTo>
                    <a:pt x="2239" y="345"/>
                  </a:lnTo>
                  <a:lnTo>
                    <a:pt x="2378" y="428"/>
                  </a:lnTo>
                  <a:lnTo>
                    <a:pt x="2513" y="518"/>
                  </a:lnTo>
                  <a:lnTo>
                    <a:pt x="2645" y="614"/>
                  </a:lnTo>
                  <a:lnTo>
                    <a:pt x="2771" y="715"/>
                  </a:lnTo>
                  <a:lnTo>
                    <a:pt x="2876" y="805"/>
                  </a:lnTo>
                  <a:lnTo>
                    <a:pt x="2975" y="899"/>
                  </a:lnTo>
                  <a:lnTo>
                    <a:pt x="3076" y="805"/>
                  </a:lnTo>
                  <a:lnTo>
                    <a:pt x="3181" y="715"/>
                  </a:lnTo>
                  <a:lnTo>
                    <a:pt x="3308" y="614"/>
                  </a:lnTo>
                  <a:lnTo>
                    <a:pt x="3439" y="518"/>
                  </a:lnTo>
                  <a:lnTo>
                    <a:pt x="3575" y="428"/>
                  </a:lnTo>
                  <a:lnTo>
                    <a:pt x="3714" y="345"/>
                  </a:lnTo>
                  <a:lnTo>
                    <a:pt x="3856" y="269"/>
                  </a:lnTo>
                  <a:lnTo>
                    <a:pt x="3985" y="208"/>
                  </a:lnTo>
                  <a:lnTo>
                    <a:pt x="4113" y="153"/>
                  </a:lnTo>
                  <a:lnTo>
                    <a:pt x="4245" y="105"/>
                  </a:lnTo>
                  <a:lnTo>
                    <a:pt x="4364" y="69"/>
                  </a:lnTo>
                  <a:lnTo>
                    <a:pt x="4483" y="38"/>
                  </a:lnTo>
                  <a:lnTo>
                    <a:pt x="4606" y="16"/>
                  </a:lnTo>
                  <a:lnTo>
                    <a:pt x="4727" y="4"/>
                  </a:lnTo>
                  <a:lnTo>
                    <a:pt x="4833" y="0"/>
                  </a:lnTo>
                  <a:close/>
                </a:path>
              </a:pathLst>
            </a:custGeom>
            <a:solidFill>
              <a:schemeClr val="tx1"/>
            </a:solidFill>
          </p:spPr>
          <p:txBody>
            <a:bodyPr wrap="square" lIns="182784" tIns="182784" rIns="182784" bIns="182784"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450">
                <a:spcBef>
                  <a:spcPts val="1080"/>
                </a:spcBef>
                <a:buClr>
                  <a:srgbClr val="D81F28"/>
                </a:buClr>
                <a:buSzPct val="90000"/>
              </a:pPr>
              <a:endParaRPr lang="en-US">
                <a:cs typeface="CiscoSans"/>
              </a:endParaRPr>
            </a:p>
          </p:txBody>
        </p:sp>
      </p:grpSp>
      <p:grpSp>
        <p:nvGrpSpPr>
          <p:cNvPr id="25" name="Group 24"/>
          <p:cNvGrpSpPr/>
          <p:nvPr/>
        </p:nvGrpSpPr>
        <p:grpSpPr>
          <a:xfrm>
            <a:off x="8067119" y="1278397"/>
            <a:ext cx="1004296" cy="1004297"/>
            <a:chOff x="9801612" y="1193105"/>
            <a:chExt cx="1004296" cy="1004297"/>
          </a:xfrm>
        </p:grpSpPr>
        <p:sp>
          <p:nvSpPr>
            <p:cNvPr id="274" name="Oval 273"/>
            <p:cNvSpPr/>
            <p:nvPr/>
          </p:nvSpPr>
          <p:spPr>
            <a:xfrm>
              <a:off x="9801612" y="1193105"/>
              <a:ext cx="1004296" cy="1004297"/>
            </a:xfrm>
            <a:prstGeom prst="ellipse">
              <a:avLst/>
            </a:prstGeom>
            <a:solidFill>
              <a:srgbClr val="FF663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914400" rIns="0" bIns="0" rtlCol="0" anchor="b"/>
            <a:lstStyle/>
            <a:p>
              <a:pPr algn="ctr"/>
              <a:r>
                <a:rPr lang="en-US" sz="800" dirty="0">
                  <a:solidFill>
                    <a:schemeClr val="bg1"/>
                  </a:solidFill>
                  <a:cs typeface="CiscoSansTT Light"/>
                </a:rPr>
                <a:t>ODNS </a:t>
              </a:r>
            </a:p>
            <a:p>
              <a:pPr algn="ctr"/>
              <a:r>
                <a:rPr lang="en-US" sz="800" dirty="0">
                  <a:solidFill>
                    <a:schemeClr val="bg1"/>
                  </a:solidFill>
                  <a:cs typeface="CiscoSansTT Light"/>
                </a:rPr>
                <a:t>Plugin</a:t>
              </a:r>
            </a:p>
          </p:txBody>
        </p:sp>
        <p:sp>
          <p:nvSpPr>
            <p:cNvPr id="268" name="Freeform 267"/>
            <p:cNvSpPr>
              <a:spLocks noEditPoints="1"/>
            </p:cNvSpPr>
            <p:nvPr/>
          </p:nvSpPr>
          <p:spPr bwMode="auto">
            <a:xfrm>
              <a:off x="10089677" y="1364786"/>
              <a:ext cx="417495" cy="417366"/>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chemeClr val="bg1">
                <a:lumMod val="65000"/>
              </a:schemeClr>
            </a:solidFill>
            <a:ln w="9525">
              <a:noFill/>
              <a:round/>
              <a:headEnd/>
              <a:tailEnd/>
            </a:ln>
            <a:effectLst/>
          </p:spPr>
          <p:txBody>
            <a:bodyPr vert="horz" wrap="square" lIns="68589" tIns="34295" rIns="68589" bIns="34295" numCol="1" anchor="t" anchorCtr="0" compatLnSpc="1">
              <a:prstTxWarp prst="textNoShape">
                <a:avLst/>
              </a:prstTxWarp>
            </a:bodyPr>
            <a:lstStyle/>
            <a:p>
              <a:endParaRPr lang="en-US" dirty="0">
                <a:cs typeface="CiscoSansTT Light"/>
              </a:endParaRPr>
            </a:p>
          </p:txBody>
        </p:sp>
      </p:grpSp>
      <p:pic>
        <p:nvPicPr>
          <p:cNvPr id="280" name="Picture 27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56732" y="3916859"/>
            <a:ext cx="240355" cy="258681"/>
          </a:xfrm>
          <a:prstGeom prst="rect">
            <a:avLst/>
          </a:prstGeom>
          <a:solidFill>
            <a:srgbClr val="BFBFBF"/>
          </a:solidFill>
          <a:ln>
            <a:noFill/>
          </a:ln>
        </p:spPr>
      </p:pic>
      <p:sp>
        <p:nvSpPr>
          <p:cNvPr id="290" name="Text Placeholder 2"/>
          <p:cNvSpPr txBox="1">
            <a:spLocks/>
          </p:cNvSpPr>
          <p:nvPr/>
        </p:nvSpPr>
        <p:spPr>
          <a:xfrm>
            <a:off x="8040691" y="1067983"/>
            <a:ext cx="989980" cy="153888"/>
          </a:xfrm>
          <a:prstGeom prst="rect">
            <a:avLst/>
          </a:prstGeom>
        </p:spPr>
        <p:txBody>
          <a:bodyPr wrap="none" lIns="0" tIns="0" rIns="0" bIns="0">
            <a:sp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lnSpc>
                <a:spcPct val="100000"/>
              </a:lnSpc>
              <a:buNone/>
            </a:pPr>
            <a:r>
              <a:rPr lang="en-US" sz="1000" b="1" dirty="0" smtClean="0">
                <a:solidFill>
                  <a:srgbClr val="FB3F07"/>
                </a:solidFill>
              </a:rPr>
              <a:t>COMING</a:t>
            </a:r>
            <a:r>
              <a:rPr lang="ja-JP" altLang="en-US" sz="1000" b="1" dirty="0" smtClean="0">
                <a:solidFill>
                  <a:srgbClr val="FB3F07"/>
                </a:solidFill>
              </a:rPr>
              <a:t>　</a:t>
            </a:r>
            <a:r>
              <a:rPr lang="en-US" altLang="ja-JP" sz="1000" b="1" dirty="0" smtClean="0">
                <a:solidFill>
                  <a:srgbClr val="FB3F07"/>
                </a:solidFill>
              </a:rPr>
              <a:t>SOON</a:t>
            </a:r>
            <a:endParaRPr lang="en-US" sz="1000" b="1" dirty="0">
              <a:solidFill>
                <a:srgbClr val="FB3F07"/>
              </a:solidFill>
            </a:endParaRPr>
          </a:p>
        </p:txBody>
      </p:sp>
      <p:pic>
        <p:nvPicPr>
          <p:cNvPr id="293" name="Picture 29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445936" y="1534907"/>
            <a:ext cx="230393" cy="247960"/>
          </a:xfrm>
          <a:prstGeom prst="rect">
            <a:avLst/>
          </a:prstGeom>
          <a:solidFill>
            <a:srgbClr val="BFBFBF"/>
          </a:solidFill>
          <a:ln>
            <a:noFill/>
          </a:ln>
        </p:spPr>
      </p:pic>
    </p:spTree>
    <p:extLst>
      <p:ext uri="{BB962C8B-B14F-4D97-AF65-F5344CB8AC3E}">
        <p14:creationId xmlns:p14="http://schemas.microsoft.com/office/powerpoint/2010/main" val="155871844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68110" y="2008924"/>
            <a:ext cx="1199665" cy="1467307"/>
            <a:chOff x="6502400" y="3370263"/>
            <a:chExt cx="430213" cy="503238"/>
          </a:xfrm>
          <a:solidFill>
            <a:schemeClr val="accent2"/>
          </a:solidFill>
        </p:grpSpPr>
        <p:sp>
          <p:nvSpPr>
            <p:cNvPr id="4" name="Freeform 246"/>
            <p:cNvSpPr>
              <a:spLocks noEditPoints="1"/>
            </p:cNvSpPr>
            <p:nvPr/>
          </p:nvSpPr>
          <p:spPr bwMode="auto">
            <a:xfrm>
              <a:off x="6581775" y="3448050"/>
              <a:ext cx="271463" cy="55563"/>
            </a:xfrm>
            <a:custGeom>
              <a:avLst/>
              <a:gdLst>
                <a:gd name="T0" fmla="*/ 327 w 343"/>
                <a:gd name="T1" fmla="*/ 0 h 71"/>
                <a:gd name="T2" fmla="*/ 337 w 343"/>
                <a:gd name="T3" fmla="*/ 5 h 71"/>
                <a:gd name="T4" fmla="*/ 343 w 343"/>
                <a:gd name="T5" fmla="*/ 17 h 71"/>
                <a:gd name="T6" fmla="*/ 343 w 343"/>
                <a:gd name="T7" fmla="*/ 54 h 71"/>
                <a:gd name="T8" fmla="*/ 337 w 343"/>
                <a:gd name="T9" fmla="*/ 67 h 71"/>
                <a:gd name="T10" fmla="*/ 327 w 343"/>
                <a:gd name="T11" fmla="*/ 71 h 71"/>
                <a:gd name="T12" fmla="*/ 17 w 343"/>
                <a:gd name="T13" fmla="*/ 71 h 71"/>
                <a:gd name="T14" fmla="*/ 4 w 343"/>
                <a:gd name="T15" fmla="*/ 67 h 71"/>
                <a:gd name="T16" fmla="*/ 0 w 343"/>
                <a:gd name="T17" fmla="*/ 54 h 71"/>
                <a:gd name="T18" fmla="*/ 0 w 343"/>
                <a:gd name="T19" fmla="*/ 17 h 71"/>
                <a:gd name="T20" fmla="*/ 4 w 343"/>
                <a:gd name="T21" fmla="*/ 5 h 71"/>
                <a:gd name="T22" fmla="*/ 17 w 343"/>
                <a:gd name="T23" fmla="*/ 0 h 71"/>
                <a:gd name="T24" fmla="*/ 166 w 343"/>
                <a:gd name="T25" fmla="*/ 29 h 71"/>
                <a:gd name="T26" fmla="*/ 162 w 343"/>
                <a:gd name="T27" fmla="*/ 30 h 71"/>
                <a:gd name="T28" fmla="*/ 158 w 343"/>
                <a:gd name="T29" fmla="*/ 34 h 71"/>
                <a:gd name="T30" fmla="*/ 158 w 343"/>
                <a:gd name="T31" fmla="*/ 37 h 71"/>
                <a:gd name="T32" fmla="*/ 159 w 343"/>
                <a:gd name="T33" fmla="*/ 44 h 71"/>
                <a:gd name="T34" fmla="*/ 166 w 343"/>
                <a:gd name="T35" fmla="*/ 46 h 71"/>
                <a:gd name="T36" fmla="*/ 298 w 343"/>
                <a:gd name="T37" fmla="*/ 46 h 71"/>
                <a:gd name="T38" fmla="*/ 304 w 343"/>
                <a:gd name="T39" fmla="*/ 44 h 71"/>
                <a:gd name="T40" fmla="*/ 306 w 343"/>
                <a:gd name="T41" fmla="*/ 37 h 71"/>
                <a:gd name="T42" fmla="*/ 305 w 343"/>
                <a:gd name="T43" fmla="*/ 34 h 71"/>
                <a:gd name="T44" fmla="*/ 301 w 343"/>
                <a:gd name="T45" fmla="*/ 30 h 71"/>
                <a:gd name="T46" fmla="*/ 166 w 343"/>
                <a:gd name="T47" fmla="*/ 29 h 71"/>
                <a:gd name="T48" fmla="*/ 44 w 343"/>
                <a:gd name="T49" fmla="*/ 29 h 71"/>
                <a:gd name="T50" fmla="*/ 37 w 343"/>
                <a:gd name="T51" fmla="*/ 31 h 71"/>
                <a:gd name="T52" fmla="*/ 35 w 343"/>
                <a:gd name="T53" fmla="*/ 37 h 71"/>
                <a:gd name="T54" fmla="*/ 35 w 343"/>
                <a:gd name="T55" fmla="*/ 41 h 71"/>
                <a:gd name="T56" fmla="*/ 39 w 343"/>
                <a:gd name="T57" fmla="*/ 45 h 71"/>
                <a:gd name="T58" fmla="*/ 44 w 343"/>
                <a:gd name="T59" fmla="*/ 46 h 71"/>
                <a:gd name="T60" fmla="*/ 49 w 343"/>
                <a:gd name="T61" fmla="*/ 44 h 71"/>
                <a:gd name="T62" fmla="*/ 52 w 343"/>
                <a:gd name="T63" fmla="*/ 37 h 71"/>
                <a:gd name="T64" fmla="*/ 50 w 343"/>
                <a:gd name="T65" fmla="*/ 34 h 71"/>
                <a:gd name="T66" fmla="*/ 46 w 343"/>
                <a:gd name="T67" fmla="*/ 30 h 71"/>
                <a:gd name="T68" fmla="*/ 44 w 343"/>
                <a:gd name="T69"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71">
                  <a:moveTo>
                    <a:pt x="327" y="0"/>
                  </a:moveTo>
                  <a:lnTo>
                    <a:pt x="327" y="0"/>
                  </a:lnTo>
                  <a:lnTo>
                    <a:pt x="333" y="2"/>
                  </a:lnTo>
                  <a:lnTo>
                    <a:pt x="337" y="5"/>
                  </a:lnTo>
                  <a:lnTo>
                    <a:pt x="342" y="10"/>
                  </a:lnTo>
                  <a:lnTo>
                    <a:pt x="343" y="17"/>
                  </a:lnTo>
                  <a:lnTo>
                    <a:pt x="343" y="54"/>
                  </a:lnTo>
                  <a:lnTo>
                    <a:pt x="343" y="54"/>
                  </a:lnTo>
                  <a:lnTo>
                    <a:pt x="342" y="61"/>
                  </a:lnTo>
                  <a:lnTo>
                    <a:pt x="337" y="67"/>
                  </a:lnTo>
                  <a:lnTo>
                    <a:pt x="333" y="69"/>
                  </a:lnTo>
                  <a:lnTo>
                    <a:pt x="327" y="71"/>
                  </a:lnTo>
                  <a:lnTo>
                    <a:pt x="17" y="71"/>
                  </a:lnTo>
                  <a:lnTo>
                    <a:pt x="17" y="71"/>
                  </a:lnTo>
                  <a:lnTo>
                    <a:pt x="10" y="69"/>
                  </a:lnTo>
                  <a:lnTo>
                    <a:pt x="4" y="67"/>
                  </a:lnTo>
                  <a:lnTo>
                    <a:pt x="2" y="61"/>
                  </a:lnTo>
                  <a:lnTo>
                    <a:pt x="0" y="54"/>
                  </a:lnTo>
                  <a:lnTo>
                    <a:pt x="0" y="17"/>
                  </a:lnTo>
                  <a:lnTo>
                    <a:pt x="0" y="17"/>
                  </a:lnTo>
                  <a:lnTo>
                    <a:pt x="2" y="10"/>
                  </a:lnTo>
                  <a:lnTo>
                    <a:pt x="4" y="5"/>
                  </a:lnTo>
                  <a:lnTo>
                    <a:pt x="10" y="2"/>
                  </a:lnTo>
                  <a:lnTo>
                    <a:pt x="17" y="0"/>
                  </a:lnTo>
                  <a:lnTo>
                    <a:pt x="327" y="0"/>
                  </a:lnTo>
                  <a:close/>
                  <a:moveTo>
                    <a:pt x="166" y="29"/>
                  </a:moveTo>
                  <a:lnTo>
                    <a:pt x="166" y="29"/>
                  </a:lnTo>
                  <a:lnTo>
                    <a:pt x="162" y="30"/>
                  </a:lnTo>
                  <a:lnTo>
                    <a:pt x="159" y="31"/>
                  </a:lnTo>
                  <a:lnTo>
                    <a:pt x="158" y="34"/>
                  </a:lnTo>
                  <a:lnTo>
                    <a:pt x="158" y="37"/>
                  </a:lnTo>
                  <a:lnTo>
                    <a:pt x="158" y="37"/>
                  </a:lnTo>
                  <a:lnTo>
                    <a:pt x="158" y="41"/>
                  </a:lnTo>
                  <a:lnTo>
                    <a:pt x="159" y="44"/>
                  </a:lnTo>
                  <a:lnTo>
                    <a:pt x="162" y="45"/>
                  </a:lnTo>
                  <a:lnTo>
                    <a:pt x="166" y="46"/>
                  </a:lnTo>
                  <a:lnTo>
                    <a:pt x="298" y="46"/>
                  </a:lnTo>
                  <a:lnTo>
                    <a:pt x="298" y="46"/>
                  </a:lnTo>
                  <a:lnTo>
                    <a:pt x="301" y="45"/>
                  </a:lnTo>
                  <a:lnTo>
                    <a:pt x="304" y="44"/>
                  </a:lnTo>
                  <a:lnTo>
                    <a:pt x="305" y="41"/>
                  </a:lnTo>
                  <a:lnTo>
                    <a:pt x="306" y="37"/>
                  </a:lnTo>
                  <a:lnTo>
                    <a:pt x="306" y="37"/>
                  </a:lnTo>
                  <a:lnTo>
                    <a:pt x="305" y="34"/>
                  </a:lnTo>
                  <a:lnTo>
                    <a:pt x="304" y="31"/>
                  </a:lnTo>
                  <a:lnTo>
                    <a:pt x="301" y="30"/>
                  </a:lnTo>
                  <a:lnTo>
                    <a:pt x="298" y="29"/>
                  </a:lnTo>
                  <a:lnTo>
                    <a:pt x="166" y="29"/>
                  </a:lnTo>
                  <a:close/>
                  <a:moveTo>
                    <a:pt x="44" y="29"/>
                  </a:moveTo>
                  <a:lnTo>
                    <a:pt x="44" y="29"/>
                  </a:lnTo>
                  <a:lnTo>
                    <a:pt x="39" y="30"/>
                  </a:lnTo>
                  <a:lnTo>
                    <a:pt x="37" y="31"/>
                  </a:lnTo>
                  <a:lnTo>
                    <a:pt x="35" y="34"/>
                  </a:lnTo>
                  <a:lnTo>
                    <a:pt x="35" y="37"/>
                  </a:lnTo>
                  <a:lnTo>
                    <a:pt x="35" y="37"/>
                  </a:lnTo>
                  <a:lnTo>
                    <a:pt x="35" y="41"/>
                  </a:lnTo>
                  <a:lnTo>
                    <a:pt x="37" y="44"/>
                  </a:lnTo>
                  <a:lnTo>
                    <a:pt x="39" y="45"/>
                  </a:lnTo>
                  <a:lnTo>
                    <a:pt x="44" y="46"/>
                  </a:lnTo>
                  <a:lnTo>
                    <a:pt x="44" y="46"/>
                  </a:lnTo>
                  <a:lnTo>
                    <a:pt x="46" y="45"/>
                  </a:lnTo>
                  <a:lnTo>
                    <a:pt x="49" y="44"/>
                  </a:lnTo>
                  <a:lnTo>
                    <a:pt x="50" y="41"/>
                  </a:lnTo>
                  <a:lnTo>
                    <a:pt x="52" y="37"/>
                  </a:lnTo>
                  <a:lnTo>
                    <a:pt x="52" y="37"/>
                  </a:lnTo>
                  <a:lnTo>
                    <a:pt x="50" y="34"/>
                  </a:lnTo>
                  <a:lnTo>
                    <a:pt x="49" y="31"/>
                  </a:lnTo>
                  <a:lnTo>
                    <a:pt x="46" y="30"/>
                  </a:lnTo>
                  <a:lnTo>
                    <a:pt x="44" y="29"/>
                  </a:lnTo>
                  <a:lnTo>
                    <a:pt x="4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sp>
          <p:nvSpPr>
            <p:cNvPr id="5" name="Freeform 247"/>
            <p:cNvSpPr>
              <a:spLocks noEditPoints="1"/>
            </p:cNvSpPr>
            <p:nvPr/>
          </p:nvSpPr>
          <p:spPr bwMode="auto">
            <a:xfrm>
              <a:off x="6581775" y="3519488"/>
              <a:ext cx="271463" cy="57150"/>
            </a:xfrm>
            <a:custGeom>
              <a:avLst/>
              <a:gdLst>
                <a:gd name="T0" fmla="*/ 327 w 343"/>
                <a:gd name="T1" fmla="*/ 0 h 71"/>
                <a:gd name="T2" fmla="*/ 337 w 343"/>
                <a:gd name="T3" fmla="*/ 5 h 71"/>
                <a:gd name="T4" fmla="*/ 343 w 343"/>
                <a:gd name="T5" fmla="*/ 16 h 71"/>
                <a:gd name="T6" fmla="*/ 343 w 343"/>
                <a:gd name="T7" fmla="*/ 54 h 71"/>
                <a:gd name="T8" fmla="*/ 337 w 343"/>
                <a:gd name="T9" fmla="*/ 66 h 71"/>
                <a:gd name="T10" fmla="*/ 327 w 343"/>
                <a:gd name="T11" fmla="*/ 71 h 71"/>
                <a:gd name="T12" fmla="*/ 17 w 343"/>
                <a:gd name="T13" fmla="*/ 71 h 71"/>
                <a:gd name="T14" fmla="*/ 4 w 343"/>
                <a:gd name="T15" fmla="*/ 66 h 71"/>
                <a:gd name="T16" fmla="*/ 0 w 343"/>
                <a:gd name="T17" fmla="*/ 54 h 71"/>
                <a:gd name="T18" fmla="*/ 0 w 343"/>
                <a:gd name="T19" fmla="*/ 16 h 71"/>
                <a:gd name="T20" fmla="*/ 4 w 343"/>
                <a:gd name="T21" fmla="*/ 5 h 71"/>
                <a:gd name="T22" fmla="*/ 17 w 343"/>
                <a:gd name="T23" fmla="*/ 0 h 71"/>
                <a:gd name="T24" fmla="*/ 166 w 343"/>
                <a:gd name="T25" fmla="*/ 28 h 71"/>
                <a:gd name="T26" fmla="*/ 162 w 343"/>
                <a:gd name="T27" fmla="*/ 29 h 71"/>
                <a:gd name="T28" fmla="*/ 158 w 343"/>
                <a:gd name="T29" fmla="*/ 34 h 71"/>
                <a:gd name="T30" fmla="*/ 158 w 343"/>
                <a:gd name="T31" fmla="*/ 38 h 71"/>
                <a:gd name="T32" fmla="*/ 159 w 343"/>
                <a:gd name="T33" fmla="*/ 43 h 71"/>
                <a:gd name="T34" fmla="*/ 166 w 343"/>
                <a:gd name="T35" fmla="*/ 46 h 71"/>
                <a:gd name="T36" fmla="*/ 298 w 343"/>
                <a:gd name="T37" fmla="*/ 46 h 71"/>
                <a:gd name="T38" fmla="*/ 304 w 343"/>
                <a:gd name="T39" fmla="*/ 43 h 71"/>
                <a:gd name="T40" fmla="*/ 306 w 343"/>
                <a:gd name="T41" fmla="*/ 38 h 71"/>
                <a:gd name="T42" fmla="*/ 305 w 343"/>
                <a:gd name="T43" fmla="*/ 34 h 71"/>
                <a:gd name="T44" fmla="*/ 301 w 343"/>
                <a:gd name="T45" fmla="*/ 29 h 71"/>
                <a:gd name="T46" fmla="*/ 166 w 343"/>
                <a:gd name="T47" fmla="*/ 28 h 71"/>
                <a:gd name="T48" fmla="*/ 44 w 343"/>
                <a:gd name="T49" fmla="*/ 28 h 71"/>
                <a:gd name="T50" fmla="*/ 37 w 343"/>
                <a:gd name="T51" fmla="*/ 31 h 71"/>
                <a:gd name="T52" fmla="*/ 35 w 343"/>
                <a:gd name="T53" fmla="*/ 38 h 71"/>
                <a:gd name="T54" fmla="*/ 35 w 343"/>
                <a:gd name="T55" fmla="*/ 40 h 71"/>
                <a:gd name="T56" fmla="*/ 39 w 343"/>
                <a:gd name="T57" fmla="*/ 44 h 71"/>
                <a:gd name="T58" fmla="*/ 44 w 343"/>
                <a:gd name="T59" fmla="*/ 46 h 71"/>
                <a:gd name="T60" fmla="*/ 49 w 343"/>
                <a:gd name="T61" fmla="*/ 43 h 71"/>
                <a:gd name="T62" fmla="*/ 52 w 343"/>
                <a:gd name="T63" fmla="*/ 38 h 71"/>
                <a:gd name="T64" fmla="*/ 50 w 343"/>
                <a:gd name="T65" fmla="*/ 34 h 71"/>
                <a:gd name="T66" fmla="*/ 46 w 343"/>
                <a:gd name="T67" fmla="*/ 29 h 71"/>
                <a:gd name="T68" fmla="*/ 44 w 343"/>
                <a:gd name="T69" fmla="*/ 2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71">
                  <a:moveTo>
                    <a:pt x="327" y="0"/>
                  </a:moveTo>
                  <a:lnTo>
                    <a:pt x="327" y="0"/>
                  </a:lnTo>
                  <a:lnTo>
                    <a:pt x="333" y="1"/>
                  </a:lnTo>
                  <a:lnTo>
                    <a:pt x="337" y="5"/>
                  </a:lnTo>
                  <a:lnTo>
                    <a:pt x="342" y="11"/>
                  </a:lnTo>
                  <a:lnTo>
                    <a:pt x="343" y="16"/>
                  </a:lnTo>
                  <a:lnTo>
                    <a:pt x="343" y="54"/>
                  </a:lnTo>
                  <a:lnTo>
                    <a:pt x="343" y="54"/>
                  </a:lnTo>
                  <a:lnTo>
                    <a:pt x="342" y="60"/>
                  </a:lnTo>
                  <a:lnTo>
                    <a:pt x="337" y="66"/>
                  </a:lnTo>
                  <a:lnTo>
                    <a:pt x="333" y="70"/>
                  </a:lnTo>
                  <a:lnTo>
                    <a:pt x="327" y="71"/>
                  </a:lnTo>
                  <a:lnTo>
                    <a:pt x="17" y="71"/>
                  </a:lnTo>
                  <a:lnTo>
                    <a:pt x="17" y="71"/>
                  </a:lnTo>
                  <a:lnTo>
                    <a:pt x="10" y="70"/>
                  </a:lnTo>
                  <a:lnTo>
                    <a:pt x="4" y="66"/>
                  </a:lnTo>
                  <a:lnTo>
                    <a:pt x="2" y="60"/>
                  </a:lnTo>
                  <a:lnTo>
                    <a:pt x="0" y="54"/>
                  </a:lnTo>
                  <a:lnTo>
                    <a:pt x="0" y="16"/>
                  </a:lnTo>
                  <a:lnTo>
                    <a:pt x="0" y="16"/>
                  </a:lnTo>
                  <a:lnTo>
                    <a:pt x="2" y="11"/>
                  </a:lnTo>
                  <a:lnTo>
                    <a:pt x="4" y="5"/>
                  </a:lnTo>
                  <a:lnTo>
                    <a:pt x="10" y="1"/>
                  </a:lnTo>
                  <a:lnTo>
                    <a:pt x="17" y="0"/>
                  </a:lnTo>
                  <a:lnTo>
                    <a:pt x="327" y="0"/>
                  </a:lnTo>
                  <a:close/>
                  <a:moveTo>
                    <a:pt x="166" y="28"/>
                  </a:moveTo>
                  <a:lnTo>
                    <a:pt x="166" y="28"/>
                  </a:lnTo>
                  <a:lnTo>
                    <a:pt x="162" y="29"/>
                  </a:lnTo>
                  <a:lnTo>
                    <a:pt x="159" y="31"/>
                  </a:lnTo>
                  <a:lnTo>
                    <a:pt x="158" y="34"/>
                  </a:lnTo>
                  <a:lnTo>
                    <a:pt x="158" y="38"/>
                  </a:lnTo>
                  <a:lnTo>
                    <a:pt x="158" y="38"/>
                  </a:lnTo>
                  <a:lnTo>
                    <a:pt x="158" y="40"/>
                  </a:lnTo>
                  <a:lnTo>
                    <a:pt x="159" y="43"/>
                  </a:lnTo>
                  <a:lnTo>
                    <a:pt x="162" y="44"/>
                  </a:lnTo>
                  <a:lnTo>
                    <a:pt x="166" y="46"/>
                  </a:lnTo>
                  <a:lnTo>
                    <a:pt x="298" y="46"/>
                  </a:lnTo>
                  <a:lnTo>
                    <a:pt x="298" y="46"/>
                  </a:lnTo>
                  <a:lnTo>
                    <a:pt x="301" y="44"/>
                  </a:lnTo>
                  <a:lnTo>
                    <a:pt x="304" y="43"/>
                  </a:lnTo>
                  <a:lnTo>
                    <a:pt x="305" y="40"/>
                  </a:lnTo>
                  <a:lnTo>
                    <a:pt x="306" y="38"/>
                  </a:lnTo>
                  <a:lnTo>
                    <a:pt x="306" y="38"/>
                  </a:lnTo>
                  <a:lnTo>
                    <a:pt x="305" y="34"/>
                  </a:lnTo>
                  <a:lnTo>
                    <a:pt x="304" y="31"/>
                  </a:lnTo>
                  <a:lnTo>
                    <a:pt x="301" y="29"/>
                  </a:lnTo>
                  <a:lnTo>
                    <a:pt x="298" y="28"/>
                  </a:lnTo>
                  <a:lnTo>
                    <a:pt x="166" y="28"/>
                  </a:lnTo>
                  <a:close/>
                  <a:moveTo>
                    <a:pt x="44" y="28"/>
                  </a:moveTo>
                  <a:lnTo>
                    <a:pt x="44" y="28"/>
                  </a:lnTo>
                  <a:lnTo>
                    <a:pt x="39" y="29"/>
                  </a:lnTo>
                  <a:lnTo>
                    <a:pt x="37" y="31"/>
                  </a:lnTo>
                  <a:lnTo>
                    <a:pt x="35" y="34"/>
                  </a:lnTo>
                  <a:lnTo>
                    <a:pt x="35" y="38"/>
                  </a:lnTo>
                  <a:lnTo>
                    <a:pt x="35" y="38"/>
                  </a:lnTo>
                  <a:lnTo>
                    <a:pt x="35" y="40"/>
                  </a:lnTo>
                  <a:lnTo>
                    <a:pt x="37" y="43"/>
                  </a:lnTo>
                  <a:lnTo>
                    <a:pt x="39" y="44"/>
                  </a:lnTo>
                  <a:lnTo>
                    <a:pt x="44" y="46"/>
                  </a:lnTo>
                  <a:lnTo>
                    <a:pt x="44" y="46"/>
                  </a:lnTo>
                  <a:lnTo>
                    <a:pt x="46" y="44"/>
                  </a:lnTo>
                  <a:lnTo>
                    <a:pt x="49" y="43"/>
                  </a:lnTo>
                  <a:lnTo>
                    <a:pt x="50" y="40"/>
                  </a:lnTo>
                  <a:lnTo>
                    <a:pt x="52" y="38"/>
                  </a:lnTo>
                  <a:lnTo>
                    <a:pt x="52" y="38"/>
                  </a:lnTo>
                  <a:lnTo>
                    <a:pt x="50" y="34"/>
                  </a:lnTo>
                  <a:lnTo>
                    <a:pt x="49" y="31"/>
                  </a:lnTo>
                  <a:lnTo>
                    <a:pt x="46" y="29"/>
                  </a:lnTo>
                  <a:lnTo>
                    <a:pt x="44" y="28"/>
                  </a:lnTo>
                  <a:lnTo>
                    <a:pt x="4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sp>
          <p:nvSpPr>
            <p:cNvPr id="6" name="Freeform 248"/>
            <p:cNvSpPr>
              <a:spLocks noEditPoints="1"/>
            </p:cNvSpPr>
            <p:nvPr/>
          </p:nvSpPr>
          <p:spPr bwMode="auto">
            <a:xfrm>
              <a:off x="6581775" y="3592513"/>
              <a:ext cx="271463" cy="55563"/>
            </a:xfrm>
            <a:custGeom>
              <a:avLst/>
              <a:gdLst>
                <a:gd name="T0" fmla="*/ 327 w 343"/>
                <a:gd name="T1" fmla="*/ 0 h 72"/>
                <a:gd name="T2" fmla="*/ 337 w 343"/>
                <a:gd name="T3" fmla="*/ 6 h 72"/>
                <a:gd name="T4" fmla="*/ 343 w 343"/>
                <a:gd name="T5" fmla="*/ 16 h 72"/>
                <a:gd name="T6" fmla="*/ 343 w 343"/>
                <a:gd name="T7" fmla="*/ 54 h 72"/>
                <a:gd name="T8" fmla="*/ 337 w 343"/>
                <a:gd name="T9" fmla="*/ 66 h 72"/>
                <a:gd name="T10" fmla="*/ 327 w 343"/>
                <a:gd name="T11" fmla="*/ 72 h 72"/>
                <a:gd name="T12" fmla="*/ 17 w 343"/>
                <a:gd name="T13" fmla="*/ 72 h 72"/>
                <a:gd name="T14" fmla="*/ 4 w 343"/>
                <a:gd name="T15" fmla="*/ 66 h 72"/>
                <a:gd name="T16" fmla="*/ 0 w 343"/>
                <a:gd name="T17" fmla="*/ 54 h 72"/>
                <a:gd name="T18" fmla="*/ 0 w 343"/>
                <a:gd name="T19" fmla="*/ 16 h 72"/>
                <a:gd name="T20" fmla="*/ 4 w 343"/>
                <a:gd name="T21" fmla="*/ 6 h 72"/>
                <a:gd name="T22" fmla="*/ 17 w 343"/>
                <a:gd name="T23" fmla="*/ 0 h 72"/>
                <a:gd name="T24" fmla="*/ 166 w 343"/>
                <a:gd name="T25" fmla="*/ 30 h 72"/>
                <a:gd name="T26" fmla="*/ 162 w 343"/>
                <a:gd name="T27" fmla="*/ 30 h 72"/>
                <a:gd name="T28" fmla="*/ 158 w 343"/>
                <a:gd name="T29" fmla="*/ 34 h 72"/>
                <a:gd name="T30" fmla="*/ 158 w 343"/>
                <a:gd name="T31" fmla="*/ 38 h 72"/>
                <a:gd name="T32" fmla="*/ 159 w 343"/>
                <a:gd name="T33" fmla="*/ 43 h 72"/>
                <a:gd name="T34" fmla="*/ 166 w 343"/>
                <a:gd name="T35" fmla="*/ 46 h 72"/>
                <a:gd name="T36" fmla="*/ 298 w 343"/>
                <a:gd name="T37" fmla="*/ 46 h 72"/>
                <a:gd name="T38" fmla="*/ 304 w 343"/>
                <a:gd name="T39" fmla="*/ 43 h 72"/>
                <a:gd name="T40" fmla="*/ 306 w 343"/>
                <a:gd name="T41" fmla="*/ 38 h 72"/>
                <a:gd name="T42" fmla="*/ 305 w 343"/>
                <a:gd name="T43" fmla="*/ 34 h 72"/>
                <a:gd name="T44" fmla="*/ 301 w 343"/>
                <a:gd name="T45" fmla="*/ 30 h 72"/>
                <a:gd name="T46" fmla="*/ 166 w 343"/>
                <a:gd name="T47" fmla="*/ 30 h 72"/>
                <a:gd name="T48" fmla="*/ 44 w 343"/>
                <a:gd name="T49" fmla="*/ 30 h 72"/>
                <a:gd name="T50" fmla="*/ 37 w 343"/>
                <a:gd name="T51" fmla="*/ 31 h 72"/>
                <a:gd name="T52" fmla="*/ 35 w 343"/>
                <a:gd name="T53" fmla="*/ 38 h 72"/>
                <a:gd name="T54" fmla="*/ 35 w 343"/>
                <a:gd name="T55" fmla="*/ 41 h 72"/>
                <a:gd name="T56" fmla="*/ 39 w 343"/>
                <a:gd name="T57" fmla="*/ 45 h 72"/>
                <a:gd name="T58" fmla="*/ 44 w 343"/>
                <a:gd name="T59" fmla="*/ 46 h 72"/>
                <a:gd name="T60" fmla="*/ 49 w 343"/>
                <a:gd name="T61" fmla="*/ 43 h 72"/>
                <a:gd name="T62" fmla="*/ 52 w 343"/>
                <a:gd name="T63" fmla="*/ 38 h 72"/>
                <a:gd name="T64" fmla="*/ 50 w 343"/>
                <a:gd name="T65" fmla="*/ 34 h 72"/>
                <a:gd name="T66" fmla="*/ 46 w 343"/>
                <a:gd name="T67" fmla="*/ 30 h 72"/>
                <a:gd name="T68" fmla="*/ 44 w 343"/>
                <a:gd name="T69" fmla="*/ 3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72">
                  <a:moveTo>
                    <a:pt x="327" y="0"/>
                  </a:moveTo>
                  <a:lnTo>
                    <a:pt x="327" y="0"/>
                  </a:lnTo>
                  <a:lnTo>
                    <a:pt x="333" y="1"/>
                  </a:lnTo>
                  <a:lnTo>
                    <a:pt x="337" y="6"/>
                  </a:lnTo>
                  <a:lnTo>
                    <a:pt x="342" y="11"/>
                  </a:lnTo>
                  <a:lnTo>
                    <a:pt x="343" y="16"/>
                  </a:lnTo>
                  <a:lnTo>
                    <a:pt x="343" y="54"/>
                  </a:lnTo>
                  <a:lnTo>
                    <a:pt x="343" y="54"/>
                  </a:lnTo>
                  <a:lnTo>
                    <a:pt x="342" y="61"/>
                  </a:lnTo>
                  <a:lnTo>
                    <a:pt x="337" y="66"/>
                  </a:lnTo>
                  <a:lnTo>
                    <a:pt x="333" y="70"/>
                  </a:lnTo>
                  <a:lnTo>
                    <a:pt x="327" y="72"/>
                  </a:lnTo>
                  <a:lnTo>
                    <a:pt x="17" y="72"/>
                  </a:lnTo>
                  <a:lnTo>
                    <a:pt x="17" y="72"/>
                  </a:lnTo>
                  <a:lnTo>
                    <a:pt x="10" y="70"/>
                  </a:lnTo>
                  <a:lnTo>
                    <a:pt x="4" y="66"/>
                  </a:lnTo>
                  <a:lnTo>
                    <a:pt x="2" y="61"/>
                  </a:lnTo>
                  <a:lnTo>
                    <a:pt x="0" y="54"/>
                  </a:lnTo>
                  <a:lnTo>
                    <a:pt x="0" y="16"/>
                  </a:lnTo>
                  <a:lnTo>
                    <a:pt x="0" y="16"/>
                  </a:lnTo>
                  <a:lnTo>
                    <a:pt x="2" y="11"/>
                  </a:lnTo>
                  <a:lnTo>
                    <a:pt x="4" y="6"/>
                  </a:lnTo>
                  <a:lnTo>
                    <a:pt x="10" y="1"/>
                  </a:lnTo>
                  <a:lnTo>
                    <a:pt x="17" y="0"/>
                  </a:lnTo>
                  <a:lnTo>
                    <a:pt x="327" y="0"/>
                  </a:lnTo>
                  <a:close/>
                  <a:moveTo>
                    <a:pt x="166" y="30"/>
                  </a:moveTo>
                  <a:lnTo>
                    <a:pt x="166" y="30"/>
                  </a:lnTo>
                  <a:lnTo>
                    <a:pt x="162" y="30"/>
                  </a:lnTo>
                  <a:lnTo>
                    <a:pt x="159" y="31"/>
                  </a:lnTo>
                  <a:lnTo>
                    <a:pt x="158" y="34"/>
                  </a:lnTo>
                  <a:lnTo>
                    <a:pt x="158" y="38"/>
                  </a:lnTo>
                  <a:lnTo>
                    <a:pt x="158" y="38"/>
                  </a:lnTo>
                  <a:lnTo>
                    <a:pt x="158" y="41"/>
                  </a:lnTo>
                  <a:lnTo>
                    <a:pt x="159" y="43"/>
                  </a:lnTo>
                  <a:lnTo>
                    <a:pt x="162" y="45"/>
                  </a:lnTo>
                  <a:lnTo>
                    <a:pt x="166" y="46"/>
                  </a:lnTo>
                  <a:lnTo>
                    <a:pt x="298" y="46"/>
                  </a:lnTo>
                  <a:lnTo>
                    <a:pt x="298" y="46"/>
                  </a:lnTo>
                  <a:lnTo>
                    <a:pt x="301" y="45"/>
                  </a:lnTo>
                  <a:lnTo>
                    <a:pt x="304" y="43"/>
                  </a:lnTo>
                  <a:lnTo>
                    <a:pt x="305" y="41"/>
                  </a:lnTo>
                  <a:lnTo>
                    <a:pt x="306" y="38"/>
                  </a:lnTo>
                  <a:lnTo>
                    <a:pt x="306" y="38"/>
                  </a:lnTo>
                  <a:lnTo>
                    <a:pt x="305" y="34"/>
                  </a:lnTo>
                  <a:lnTo>
                    <a:pt x="304" y="31"/>
                  </a:lnTo>
                  <a:lnTo>
                    <a:pt x="301" y="30"/>
                  </a:lnTo>
                  <a:lnTo>
                    <a:pt x="298" y="30"/>
                  </a:lnTo>
                  <a:lnTo>
                    <a:pt x="166" y="30"/>
                  </a:lnTo>
                  <a:close/>
                  <a:moveTo>
                    <a:pt x="44" y="30"/>
                  </a:moveTo>
                  <a:lnTo>
                    <a:pt x="44" y="30"/>
                  </a:lnTo>
                  <a:lnTo>
                    <a:pt x="39" y="30"/>
                  </a:lnTo>
                  <a:lnTo>
                    <a:pt x="37" y="31"/>
                  </a:lnTo>
                  <a:lnTo>
                    <a:pt x="35" y="34"/>
                  </a:lnTo>
                  <a:lnTo>
                    <a:pt x="35" y="38"/>
                  </a:lnTo>
                  <a:lnTo>
                    <a:pt x="35" y="38"/>
                  </a:lnTo>
                  <a:lnTo>
                    <a:pt x="35" y="41"/>
                  </a:lnTo>
                  <a:lnTo>
                    <a:pt x="37" y="43"/>
                  </a:lnTo>
                  <a:lnTo>
                    <a:pt x="39" y="45"/>
                  </a:lnTo>
                  <a:lnTo>
                    <a:pt x="44" y="46"/>
                  </a:lnTo>
                  <a:lnTo>
                    <a:pt x="44" y="46"/>
                  </a:lnTo>
                  <a:lnTo>
                    <a:pt x="46" y="45"/>
                  </a:lnTo>
                  <a:lnTo>
                    <a:pt x="49" y="43"/>
                  </a:lnTo>
                  <a:lnTo>
                    <a:pt x="50" y="41"/>
                  </a:lnTo>
                  <a:lnTo>
                    <a:pt x="52" y="38"/>
                  </a:lnTo>
                  <a:lnTo>
                    <a:pt x="52" y="38"/>
                  </a:lnTo>
                  <a:lnTo>
                    <a:pt x="50" y="34"/>
                  </a:lnTo>
                  <a:lnTo>
                    <a:pt x="49" y="31"/>
                  </a:lnTo>
                  <a:lnTo>
                    <a:pt x="46" y="30"/>
                  </a:lnTo>
                  <a:lnTo>
                    <a:pt x="44" y="30"/>
                  </a:lnTo>
                  <a:lnTo>
                    <a:pt x="4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sp>
          <p:nvSpPr>
            <p:cNvPr id="7" name="Freeform 249"/>
            <p:cNvSpPr>
              <a:spLocks noEditPoints="1"/>
            </p:cNvSpPr>
            <p:nvPr/>
          </p:nvSpPr>
          <p:spPr bwMode="auto">
            <a:xfrm>
              <a:off x="6581775" y="3663950"/>
              <a:ext cx="271463" cy="55563"/>
            </a:xfrm>
            <a:custGeom>
              <a:avLst/>
              <a:gdLst>
                <a:gd name="T0" fmla="*/ 327 w 343"/>
                <a:gd name="T1" fmla="*/ 0 h 72"/>
                <a:gd name="T2" fmla="*/ 337 w 343"/>
                <a:gd name="T3" fmla="*/ 6 h 72"/>
                <a:gd name="T4" fmla="*/ 343 w 343"/>
                <a:gd name="T5" fmla="*/ 18 h 72"/>
                <a:gd name="T6" fmla="*/ 343 w 343"/>
                <a:gd name="T7" fmla="*/ 54 h 72"/>
                <a:gd name="T8" fmla="*/ 337 w 343"/>
                <a:gd name="T9" fmla="*/ 67 h 72"/>
                <a:gd name="T10" fmla="*/ 327 w 343"/>
                <a:gd name="T11" fmla="*/ 72 h 72"/>
                <a:gd name="T12" fmla="*/ 17 w 343"/>
                <a:gd name="T13" fmla="*/ 72 h 72"/>
                <a:gd name="T14" fmla="*/ 4 w 343"/>
                <a:gd name="T15" fmla="*/ 67 h 72"/>
                <a:gd name="T16" fmla="*/ 0 w 343"/>
                <a:gd name="T17" fmla="*/ 54 h 72"/>
                <a:gd name="T18" fmla="*/ 0 w 343"/>
                <a:gd name="T19" fmla="*/ 18 h 72"/>
                <a:gd name="T20" fmla="*/ 4 w 343"/>
                <a:gd name="T21" fmla="*/ 6 h 72"/>
                <a:gd name="T22" fmla="*/ 17 w 343"/>
                <a:gd name="T23" fmla="*/ 0 h 72"/>
                <a:gd name="T24" fmla="*/ 166 w 343"/>
                <a:gd name="T25" fmla="*/ 30 h 72"/>
                <a:gd name="T26" fmla="*/ 162 w 343"/>
                <a:gd name="T27" fmla="*/ 30 h 72"/>
                <a:gd name="T28" fmla="*/ 158 w 343"/>
                <a:gd name="T29" fmla="*/ 36 h 72"/>
                <a:gd name="T30" fmla="*/ 158 w 343"/>
                <a:gd name="T31" fmla="*/ 38 h 72"/>
                <a:gd name="T32" fmla="*/ 159 w 343"/>
                <a:gd name="T33" fmla="*/ 44 h 72"/>
                <a:gd name="T34" fmla="*/ 166 w 343"/>
                <a:gd name="T35" fmla="*/ 46 h 72"/>
                <a:gd name="T36" fmla="*/ 298 w 343"/>
                <a:gd name="T37" fmla="*/ 46 h 72"/>
                <a:gd name="T38" fmla="*/ 304 w 343"/>
                <a:gd name="T39" fmla="*/ 44 h 72"/>
                <a:gd name="T40" fmla="*/ 306 w 343"/>
                <a:gd name="T41" fmla="*/ 38 h 72"/>
                <a:gd name="T42" fmla="*/ 305 w 343"/>
                <a:gd name="T43" fmla="*/ 36 h 72"/>
                <a:gd name="T44" fmla="*/ 301 w 343"/>
                <a:gd name="T45" fmla="*/ 30 h 72"/>
                <a:gd name="T46" fmla="*/ 166 w 343"/>
                <a:gd name="T47" fmla="*/ 30 h 72"/>
                <a:gd name="T48" fmla="*/ 44 w 343"/>
                <a:gd name="T49" fmla="*/ 30 h 72"/>
                <a:gd name="T50" fmla="*/ 37 w 343"/>
                <a:gd name="T51" fmla="*/ 33 h 72"/>
                <a:gd name="T52" fmla="*/ 35 w 343"/>
                <a:gd name="T53" fmla="*/ 38 h 72"/>
                <a:gd name="T54" fmla="*/ 35 w 343"/>
                <a:gd name="T55" fmla="*/ 41 h 72"/>
                <a:gd name="T56" fmla="*/ 39 w 343"/>
                <a:gd name="T57" fmla="*/ 46 h 72"/>
                <a:gd name="T58" fmla="*/ 44 w 343"/>
                <a:gd name="T59" fmla="*/ 46 h 72"/>
                <a:gd name="T60" fmla="*/ 49 w 343"/>
                <a:gd name="T61" fmla="*/ 44 h 72"/>
                <a:gd name="T62" fmla="*/ 52 w 343"/>
                <a:gd name="T63" fmla="*/ 38 h 72"/>
                <a:gd name="T64" fmla="*/ 50 w 343"/>
                <a:gd name="T65" fmla="*/ 36 h 72"/>
                <a:gd name="T66" fmla="*/ 46 w 343"/>
                <a:gd name="T67" fmla="*/ 30 h 72"/>
                <a:gd name="T68" fmla="*/ 44 w 343"/>
                <a:gd name="T69" fmla="*/ 3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72">
                  <a:moveTo>
                    <a:pt x="327" y="0"/>
                  </a:moveTo>
                  <a:lnTo>
                    <a:pt x="327" y="0"/>
                  </a:lnTo>
                  <a:lnTo>
                    <a:pt x="333" y="2"/>
                  </a:lnTo>
                  <a:lnTo>
                    <a:pt x="337" y="6"/>
                  </a:lnTo>
                  <a:lnTo>
                    <a:pt x="342" y="11"/>
                  </a:lnTo>
                  <a:lnTo>
                    <a:pt x="343" y="18"/>
                  </a:lnTo>
                  <a:lnTo>
                    <a:pt x="343" y="54"/>
                  </a:lnTo>
                  <a:lnTo>
                    <a:pt x="343" y="54"/>
                  </a:lnTo>
                  <a:lnTo>
                    <a:pt x="342" y="61"/>
                  </a:lnTo>
                  <a:lnTo>
                    <a:pt x="337" y="67"/>
                  </a:lnTo>
                  <a:lnTo>
                    <a:pt x="333" y="71"/>
                  </a:lnTo>
                  <a:lnTo>
                    <a:pt x="327" y="72"/>
                  </a:lnTo>
                  <a:lnTo>
                    <a:pt x="17" y="72"/>
                  </a:lnTo>
                  <a:lnTo>
                    <a:pt x="17" y="72"/>
                  </a:lnTo>
                  <a:lnTo>
                    <a:pt x="10" y="71"/>
                  </a:lnTo>
                  <a:lnTo>
                    <a:pt x="4" y="67"/>
                  </a:lnTo>
                  <a:lnTo>
                    <a:pt x="2" y="61"/>
                  </a:lnTo>
                  <a:lnTo>
                    <a:pt x="0" y="54"/>
                  </a:lnTo>
                  <a:lnTo>
                    <a:pt x="0" y="18"/>
                  </a:lnTo>
                  <a:lnTo>
                    <a:pt x="0" y="18"/>
                  </a:lnTo>
                  <a:lnTo>
                    <a:pt x="2" y="11"/>
                  </a:lnTo>
                  <a:lnTo>
                    <a:pt x="4" y="6"/>
                  </a:lnTo>
                  <a:lnTo>
                    <a:pt x="10" y="2"/>
                  </a:lnTo>
                  <a:lnTo>
                    <a:pt x="17" y="0"/>
                  </a:lnTo>
                  <a:lnTo>
                    <a:pt x="327" y="0"/>
                  </a:lnTo>
                  <a:close/>
                  <a:moveTo>
                    <a:pt x="166" y="30"/>
                  </a:moveTo>
                  <a:lnTo>
                    <a:pt x="166" y="30"/>
                  </a:lnTo>
                  <a:lnTo>
                    <a:pt x="162" y="30"/>
                  </a:lnTo>
                  <a:lnTo>
                    <a:pt x="159" y="33"/>
                  </a:lnTo>
                  <a:lnTo>
                    <a:pt x="158" y="36"/>
                  </a:lnTo>
                  <a:lnTo>
                    <a:pt x="158" y="38"/>
                  </a:lnTo>
                  <a:lnTo>
                    <a:pt x="158" y="38"/>
                  </a:lnTo>
                  <a:lnTo>
                    <a:pt x="158" y="41"/>
                  </a:lnTo>
                  <a:lnTo>
                    <a:pt x="159" y="44"/>
                  </a:lnTo>
                  <a:lnTo>
                    <a:pt x="162" y="46"/>
                  </a:lnTo>
                  <a:lnTo>
                    <a:pt x="166" y="46"/>
                  </a:lnTo>
                  <a:lnTo>
                    <a:pt x="298" y="46"/>
                  </a:lnTo>
                  <a:lnTo>
                    <a:pt x="298" y="46"/>
                  </a:lnTo>
                  <a:lnTo>
                    <a:pt x="301" y="46"/>
                  </a:lnTo>
                  <a:lnTo>
                    <a:pt x="304" y="44"/>
                  </a:lnTo>
                  <a:lnTo>
                    <a:pt x="305" y="41"/>
                  </a:lnTo>
                  <a:lnTo>
                    <a:pt x="306" y="38"/>
                  </a:lnTo>
                  <a:lnTo>
                    <a:pt x="306" y="38"/>
                  </a:lnTo>
                  <a:lnTo>
                    <a:pt x="305" y="36"/>
                  </a:lnTo>
                  <a:lnTo>
                    <a:pt x="304" y="33"/>
                  </a:lnTo>
                  <a:lnTo>
                    <a:pt x="301" y="30"/>
                  </a:lnTo>
                  <a:lnTo>
                    <a:pt x="298" y="30"/>
                  </a:lnTo>
                  <a:lnTo>
                    <a:pt x="166" y="30"/>
                  </a:lnTo>
                  <a:close/>
                  <a:moveTo>
                    <a:pt x="44" y="30"/>
                  </a:moveTo>
                  <a:lnTo>
                    <a:pt x="44" y="30"/>
                  </a:lnTo>
                  <a:lnTo>
                    <a:pt x="39" y="30"/>
                  </a:lnTo>
                  <a:lnTo>
                    <a:pt x="37" y="33"/>
                  </a:lnTo>
                  <a:lnTo>
                    <a:pt x="35" y="36"/>
                  </a:lnTo>
                  <a:lnTo>
                    <a:pt x="35" y="38"/>
                  </a:lnTo>
                  <a:lnTo>
                    <a:pt x="35" y="38"/>
                  </a:lnTo>
                  <a:lnTo>
                    <a:pt x="35" y="41"/>
                  </a:lnTo>
                  <a:lnTo>
                    <a:pt x="37" y="44"/>
                  </a:lnTo>
                  <a:lnTo>
                    <a:pt x="39" y="46"/>
                  </a:lnTo>
                  <a:lnTo>
                    <a:pt x="44" y="46"/>
                  </a:lnTo>
                  <a:lnTo>
                    <a:pt x="44" y="46"/>
                  </a:lnTo>
                  <a:lnTo>
                    <a:pt x="46" y="46"/>
                  </a:lnTo>
                  <a:lnTo>
                    <a:pt x="49" y="44"/>
                  </a:lnTo>
                  <a:lnTo>
                    <a:pt x="50" y="41"/>
                  </a:lnTo>
                  <a:lnTo>
                    <a:pt x="52" y="38"/>
                  </a:lnTo>
                  <a:lnTo>
                    <a:pt x="52" y="38"/>
                  </a:lnTo>
                  <a:lnTo>
                    <a:pt x="50" y="36"/>
                  </a:lnTo>
                  <a:lnTo>
                    <a:pt x="49" y="33"/>
                  </a:lnTo>
                  <a:lnTo>
                    <a:pt x="46" y="30"/>
                  </a:lnTo>
                  <a:lnTo>
                    <a:pt x="44" y="30"/>
                  </a:lnTo>
                  <a:lnTo>
                    <a:pt x="44"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sp>
          <p:nvSpPr>
            <p:cNvPr id="8" name="Freeform 250"/>
            <p:cNvSpPr>
              <a:spLocks noEditPoints="1"/>
            </p:cNvSpPr>
            <p:nvPr/>
          </p:nvSpPr>
          <p:spPr bwMode="auto">
            <a:xfrm>
              <a:off x="6581775" y="3735388"/>
              <a:ext cx="271463" cy="57150"/>
            </a:xfrm>
            <a:custGeom>
              <a:avLst/>
              <a:gdLst>
                <a:gd name="T0" fmla="*/ 327 w 343"/>
                <a:gd name="T1" fmla="*/ 0 h 71"/>
                <a:gd name="T2" fmla="*/ 337 w 343"/>
                <a:gd name="T3" fmla="*/ 5 h 71"/>
                <a:gd name="T4" fmla="*/ 343 w 343"/>
                <a:gd name="T5" fmla="*/ 17 h 71"/>
                <a:gd name="T6" fmla="*/ 343 w 343"/>
                <a:gd name="T7" fmla="*/ 55 h 71"/>
                <a:gd name="T8" fmla="*/ 337 w 343"/>
                <a:gd name="T9" fmla="*/ 66 h 71"/>
                <a:gd name="T10" fmla="*/ 327 w 343"/>
                <a:gd name="T11" fmla="*/ 71 h 71"/>
                <a:gd name="T12" fmla="*/ 17 w 343"/>
                <a:gd name="T13" fmla="*/ 71 h 71"/>
                <a:gd name="T14" fmla="*/ 4 w 343"/>
                <a:gd name="T15" fmla="*/ 66 h 71"/>
                <a:gd name="T16" fmla="*/ 0 w 343"/>
                <a:gd name="T17" fmla="*/ 55 h 71"/>
                <a:gd name="T18" fmla="*/ 0 w 343"/>
                <a:gd name="T19" fmla="*/ 17 h 71"/>
                <a:gd name="T20" fmla="*/ 4 w 343"/>
                <a:gd name="T21" fmla="*/ 5 h 71"/>
                <a:gd name="T22" fmla="*/ 17 w 343"/>
                <a:gd name="T23" fmla="*/ 0 h 71"/>
                <a:gd name="T24" fmla="*/ 166 w 343"/>
                <a:gd name="T25" fmla="*/ 29 h 71"/>
                <a:gd name="T26" fmla="*/ 162 w 343"/>
                <a:gd name="T27" fmla="*/ 29 h 71"/>
                <a:gd name="T28" fmla="*/ 158 w 343"/>
                <a:gd name="T29" fmla="*/ 35 h 71"/>
                <a:gd name="T30" fmla="*/ 158 w 343"/>
                <a:gd name="T31" fmla="*/ 38 h 71"/>
                <a:gd name="T32" fmla="*/ 159 w 343"/>
                <a:gd name="T33" fmla="*/ 43 h 71"/>
                <a:gd name="T34" fmla="*/ 166 w 343"/>
                <a:gd name="T35" fmla="*/ 46 h 71"/>
                <a:gd name="T36" fmla="*/ 298 w 343"/>
                <a:gd name="T37" fmla="*/ 46 h 71"/>
                <a:gd name="T38" fmla="*/ 304 w 343"/>
                <a:gd name="T39" fmla="*/ 43 h 71"/>
                <a:gd name="T40" fmla="*/ 306 w 343"/>
                <a:gd name="T41" fmla="*/ 38 h 71"/>
                <a:gd name="T42" fmla="*/ 305 w 343"/>
                <a:gd name="T43" fmla="*/ 35 h 71"/>
                <a:gd name="T44" fmla="*/ 301 w 343"/>
                <a:gd name="T45" fmla="*/ 29 h 71"/>
                <a:gd name="T46" fmla="*/ 166 w 343"/>
                <a:gd name="T47" fmla="*/ 29 h 71"/>
                <a:gd name="T48" fmla="*/ 44 w 343"/>
                <a:gd name="T49" fmla="*/ 29 h 71"/>
                <a:gd name="T50" fmla="*/ 37 w 343"/>
                <a:gd name="T51" fmla="*/ 32 h 71"/>
                <a:gd name="T52" fmla="*/ 35 w 343"/>
                <a:gd name="T53" fmla="*/ 38 h 71"/>
                <a:gd name="T54" fmla="*/ 35 w 343"/>
                <a:gd name="T55" fmla="*/ 40 h 71"/>
                <a:gd name="T56" fmla="*/ 39 w 343"/>
                <a:gd name="T57" fmla="*/ 46 h 71"/>
                <a:gd name="T58" fmla="*/ 44 w 343"/>
                <a:gd name="T59" fmla="*/ 46 h 71"/>
                <a:gd name="T60" fmla="*/ 49 w 343"/>
                <a:gd name="T61" fmla="*/ 43 h 71"/>
                <a:gd name="T62" fmla="*/ 52 w 343"/>
                <a:gd name="T63" fmla="*/ 38 h 71"/>
                <a:gd name="T64" fmla="*/ 50 w 343"/>
                <a:gd name="T65" fmla="*/ 35 h 71"/>
                <a:gd name="T66" fmla="*/ 46 w 343"/>
                <a:gd name="T67" fmla="*/ 29 h 71"/>
                <a:gd name="T68" fmla="*/ 44 w 343"/>
                <a:gd name="T69"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3" h="71">
                  <a:moveTo>
                    <a:pt x="327" y="0"/>
                  </a:moveTo>
                  <a:lnTo>
                    <a:pt x="327" y="0"/>
                  </a:lnTo>
                  <a:lnTo>
                    <a:pt x="333" y="1"/>
                  </a:lnTo>
                  <a:lnTo>
                    <a:pt x="337" y="5"/>
                  </a:lnTo>
                  <a:lnTo>
                    <a:pt x="342" y="11"/>
                  </a:lnTo>
                  <a:lnTo>
                    <a:pt x="343" y="17"/>
                  </a:lnTo>
                  <a:lnTo>
                    <a:pt x="343" y="55"/>
                  </a:lnTo>
                  <a:lnTo>
                    <a:pt x="343" y="55"/>
                  </a:lnTo>
                  <a:lnTo>
                    <a:pt x="342" y="60"/>
                  </a:lnTo>
                  <a:lnTo>
                    <a:pt x="337" y="66"/>
                  </a:lnTo>
                  <a:lnTo>
                    <a:pt x="333" y="70"/>
                  </a:lnTo>
                  <a:lnTo>
                    <a:pt x="327" y="71"/>
                  </a:lnTo>
                  <a:lnTo>
                    <a:pt x="17" y="71"/>
                  </a:lnTo>
                  <a:lnTo>
                    <a:pt x="17" y="71"/>
                  </a:lnTo>
                  <a:lnTo>
                    <a:pt x="10" y="70"/>
                  </a:lnTo>
                  <a:lnTo>
                    <a:pt x="4" y="66"/>
                  </a:lnTo>
                  <a:lnTo>
                    <a:pt x="2" y="60"/>
                  </a:lnTo>
                  <a:lnTo>
                    <a:pt x="0" y="55"/>
                  </a:lnTo>
                  <a:lnTo>
                    <a:pt x="0" y="17"/>
                  </a:lnTo>
                  <a:lnTo>
                    <a:pt x="0" y="17"/>
                  </a:lnTo>
                  <a:lnTo>
                    <a:pt x="2" y="11"/>
                  </a:lnTo>
                  <a:lnTo>
                    <a:pt x="4" y="5"/>
                  </a:lnTo>
                  <a:lnTo>
                    <a:pt x="10" y="1"/>
                  </a:lnTo>
                  <a:lnTo>
                    <a:pt x="17" y="0"/>
                  </a:lnTo>
                  <a:lnTo>
                    <a:pt x="327" y="0"/>
                  </a:lnTo>
                  <a:close/>
                  <a:moveTo>
                    <a:pt x="166" y="29"/>
                  </a:moveTo>
                  <a:lnTo>
                    <a:pt x="166" y="29"/>
                  </a:lnTo>
                  <a:lnTo>
                    <a:pt x="162" y="29"/>
                  </a:lnTo>
                  <a:lnTo>
                    <a:pt x="159" y="32"/>
                  </a:lnTo>
                  <a:lnTo>
                    <a:pt x="158" y="35"/>
                  </a:lnTo>
                  <a:lnTo>
                    <a:pt x="158" y="38"/>
                  </a:lnTo>
                  <a:lnTo>
                    <a:pt x="158" y="38"/>
                  </a:lnTo>
                  <a:lnTo>
                    <a:pt x="158" y="42"/>
                  </a:lnTo>
                  <a:lnTo>
                    <a:pt x="159" y="43"/>
                  </a:lnTo>
                  <a:lnTo>
                    <a:pt x="162" y="46"/>
                  </a:lnTo>
                  <a:lnTo>
                    <a:pt x="166" y="46"/>
                  </a:lnTo>
                  <a:lnTo>
                    <a:pt x="298" y="46"/>
                  </a:lnTo>
                  <a:lnTo>
                    <a:pt x="298" y="46"/>
                  </a:lnTo>
                  <a:lnTo>
                    <a:pt x="301" y="46"/>
                  </a:lnTo>
                  <a:lnTo>
                    <a:pt x="304" y="43"/>
                  </a:lnTo>
                  <a:lnTo>
                    <a:pt x="305" y="42"/>
                  </a:lnTo>
                  <a:lnTo>
                    <a:pt x="306" y="38"/>
                  </a:lnTo>
                  <a:lnTo>
                    <a:pt x="306" y="38"/>
                  </a:lnTo>
                  <a:lnTo>
                    <a:pt x="305" y="35"/>
                  </a:lnTo>
                  <a:lnTo>
                    <a:pt x="304" y="32"/>
                  </a:lnTo>
                  <a:lnTo>
                    <a:pt x="301" y="29"/>
                  </a:lnTo>
                  <a:lnTo>
                    <a:pt x="298" y="29"/>
                  </a:lnTo>
                  <a:lnTo>
                    <a:pt x="166" y="29"/>
                  </a:lnTo>
                  <a:close/>
                  <a:moveTo>
                    <a:pt x="44" y="29"/>
                  </a:moveTo>
                  <a:lnTo>
                    <a:pt x="44" y="29"/>
                  </a:lnTo>
                  <a:lnTo>
                    <a:pt x="39" y="29"/>
                  </a:lnTo>
                  <a:lnTo>
                    <a:pt x="37" y="32"/>
                  </a:lnTo>
                  <a:lnTo>
                    <a:pt x="35" y="35"/>
                  </a:lnTo>
                  <a:lnTo>
                    <a:pt x="35" y="38"/>
                  </a:lnTo>
                  <a:lnTo>
                    <a:pt x="35" y="38"/>
                  </a:lnTo>
                  <a:lnTo>
                    <a:pt x="35" y="40"/>
                  </a:lnTo>
                  <a:lnTo>
                    <a:pt x="37" y="43"/>
                  </a:lnTo>
                  <a:lnTo>
                    <a:pt x="39" y="46"/>
                  </a:lnTo>
                  <a:lnTo>
                    <a:pt x="44" y="46"/>
                  </a:lnTo>
                  <a:lnTo>
                    <a:pt x="44" y="46"/>
                  </a:lnTo>
                  <a:lnTo>
                    <a:pt x="46" y="46"/>
                  </a:lnTo>
                  <a:lnTo>
                    <a:pt x="49" y="43"/>
                  </a:lnTo>
                  <a:lnTo>
                    <a:pt x="50" y="40"/>
                  </a:lnTo>
                  <a:lnTo>
                    <a:pt x="52" y="38"/>
                  </a:lnTo>
                  <a:lnTo>
                    <a:pt x="52" y="38"/>
                  </a:lnTo>
                  <a:lnTo>
                    <a:pt x="50" y="35"/>
                  </a:lnTo>
                  <a:lnTo>
                    <a:pt x="49" y="32"/>
                  </a:lnTo>
                  <a:lnTo>
                    <a:pt x="46" y="29"/>
                  </a:lnTo>
                  <a:lnTo>
                    <a:pt x="44" y="29"/>
                  </a:lnTo>
                  <a:lnTo>
                    <a:pt x="44" y="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sp>
          <p:nvSpPr>
            <p:cNvPr id="9" name="Freeform 251"/>
            <p:cNvSpPr>
              <a:spLocks noEditPoints="1"/>
            </p:cNvSpPr>
            <p:nvPr/>
          </p:nvSpPr>
          <p:spPr bwMode="auto">
            <a:xfrm>
              <a:off x="6550025" y="3416300"/>
              <a:ext cx="333375" cy="417513"/>
            </a:xfrm>
            <a:custGeom>
              <a:avLst/>
              <a:gdLst>
                <a:gd name="T0" fmla="*/ 406 w 421"/>
                <a:gd name="T1" fmla="*/ 16 h 526"/>
                <a:gd name="T2" fmla="*/ 389 w 421"/>
                <a:gd name="T3" fmla="*/ 4 h 526"/>
                <a:gd name="T4" fmla="*/ 370 w 421"/>
                <a:gd name="T5" fmla="*/ 0 h 526"/>
                <a:gd name="T6" fmla="*/ 52 w 421"/>
                <a:gd name="T7" fmla="*/ 0 h 526"/>
                <a:gd name="T8" fmla="*/ 31 w 421"/>
                <a:gd name="T9" fmla="*/ 4 h 526"/>
                <a:gd name="T10" fmla="*/ 15 w 421"/>
                <a:gd name="T11" fmla="*/ 16 h 526"/>
                <a:gd name="T12" fmla="*/ 8 w 421"/>
                <a:gd name="T13" fmla="*/ 23 h 526"/>
                <a:gd name="T14" fmla="*/ 2 w 421"/>
                <a:gd name="T15" fmla="*/ 42 h 526"/>
                <a:gd name="T16" fmla="*/ 0 w 421"/>
                <a:gd name="T17" fmla="*/ 460 h 526"/>
                <a:gd name="T18" fmla="*/ 0 w 421"/>
                <a:gd name="T19" fmla="*/ 467 h 526"/>
                <a:gd name="T20" fmla="*/ 4 w 421"/>
                <a:gd name="T21" fmla="*/ 479 h 526"/>
                <a:gd name="T22" fmla="*/ 14 w 421"/>
                <a:gd name="T23" fmla="*/ 495 h 526"/>
                <a:gd name="T24" fmla="*/ 25 w 421"/>
                <a:gd name="T25" fmla="*/ 503 h 526"/>
                <a:gd name="T26" fmla="*/ 23 w 421"/>
                <a:gd name="T27" fmla="*/ 503 h 526"/>
                <a:gd name="T28" fmla="*/ 26 w 421"/>
                <a:gd name="T29" fmla="*/ 512 h 526"/>
                <a:gd name="T30" fmla="*/ 30 w 421"/>
                <a:gd name="T31" fmla="*/ 519 h 526"/>
                <a:gd name="T32" fmla="*/ 38 w 421"/>
                <a:gd name="T33" fmla="*/ 525 h 526"/>
                <a:gd name="T34" fmla="*/ 46 w 421"/>
                <a:gd name="T35" fmla="*/ 526 h 526"/>
                <a:gd name="T36" fmla="*/ 76 w 421"/>
                <a:gd name="T37" fmla="*/ 526 h 526"/>
                <a:gd name="T38" fmla="*/ 89 w 421"/>
                <a:gd name="T39" fmla="*/ 522 h 526"/>
                <a:gd name="T40" fmla="*/ 97 w 421"/>
                <a:gd name="T41" fmla="*/ 511 h 526"/>
                <a:gd name="T42" fmla="*/ 324 w 421"/>
                <a:gd name="T43" fmla="*/ 511 h 526"/>
                <a:gd name="T44" fmla="*/ 332 w 421"/>
                <a:gd name="T45" fmla="*/ 522 h 526"/>
                <a:gd name="T46" fmla="*/ 345 w 421"/>
                <a:gd name="T47" fmla="*/ 526 h 526"/>
                <a:gd name="T48" fmla="*/ 374 w 421"/>
                <a:gd name="T49" fmla="*/ 526 h 526"/>
                <a:gd name="T50" fmla="*/ 383 w 421"/>
                <a:gd name="T51" fmla="*/ 525 h 526"/>
                <a:gd name="T52" fmla="*/ 390 w 421"/>
                <a:gd name="T53" fmla="*/ 519 h 526"/>
                <a:gd name="T54" fmla="*/ 395 w 421"/>
                <a:gd name="T55" fmla="*/ 512 h 526"/>
                <a:gd name="T56" fmla="*/ 397 w 421"/>
                <a:gd name="T57" fmla="*/ 503 h 526"/>
                <a:gd name="T58" fmla="*/ 397 w 421"/>
                <a:gd name="T59" fmla="*/ 503 h 526"/>
                <a:gd name="T60" fmla="*/ 406 w 421"/>
                <a:gd name="T61" fmla="*/ 495 h 526"/>
                <a:gd name="T62" fmla="*/ 417 w 421"/>
                <a:gd name="T63" fmla="*/ 479 h 526"/>
                <a:gd name="T64" fmla="*/ 420 w 421"/>
                <a:gd name="T65" fmla="*/ 467 h 526"/>
                <a:gd name="T66" fmla="*/ 421 w 421"/>
                <a:gd name="T67" fmla="*/ 51 h 526"/>
                <a:gd name="T68" fmla="*/ 420 w 421"/>
                <a:gd name="T69" fmla="*/ 42 h 526"/>
                <a:gd name="T70" fmla="*/ 412 w 421"/>
                <a:gd name="T71" fmla="*/ 23 h 526"/>
                <a:gd name="T72" fmla="*/ 406 w 421"/>
                <a:gd name="T73" fmla="*/ 16 h 526"/>
                <a:gd name="T74" fmla="*/ 403 w 421"/>
                <a:gd name="T75" fmla="*/ 460 h 526"/>
                <a:gd name="T76" fmla="*/ 401 w 421"/>
                <a:gd name="T77" fmla="*/ 473 h 526"/>
                <a:gd name="T78" fmla="*/ 394 w 421"/>
                <a:gd name="T79" fmla="*/ 484 h 526"/>
                <a:gd name="T80" fmla="*/ 383 w 421"/>
                <a:gd name="T81" fmla="*/ 492 h 526"/>
                <a:gd name="T82" fmla="*/ 370 w 421"/>
                <a:gd name="T83" fmla="*/ 495 h 526"/>
                <a:gd name="T84" fmla="*/ 52 w 421"/>
                <a:gd name="T85" fmla="*/ 495 h 526"/>
                <a:gd name="T86" fmla="*/ 38 w 421"/>
                <a:gd name="T87" fmla="*/ 492 h 526"/>
                <a:gd name="T88" fmla="*/ 27 w 421"/>
                <a:gd name="T89" fmla="*/ 484 h 526"/>
                <a:gd name="T90" fmla="*/ 19 w 421"/>
                <a:gd name="T91" fmla="*/ 473 h 526"/>
                <a:gd name="T92" fmla="*/ 16 w 421"/>
                <a:gd name="T93" fmla="*/ 460 h 526"/>
                <a:gd name="T94" fmla="*/ 16 w 421"/>
                <a:gd name="T95" fmla="*/ 51 h 526"/>
                <a:gd name="T96" fmla="*/ 19 w 421"/>
                <a:gd name="T97" fmla="*/ 39 h 526"/>
                <a:gd name="T98" fmla="*/ 27 w 421"/>
                <a:gd name="T99" fmla="*/ 27 h 526"/>
                <a:gd name="T100" fmla="*/ 33 w 421"/>
                <a:gd name="T101" fmla="*/ 23 h 526"/>
                <a:gd name="T102" fmla="*/ 45 w 421"/>
                <a:gd name="T103" fmla="*/ 18 h 526"/>
                <a:gd name="T104" fmla="*/ 370 w 421"/>
                <a:gd name="T105" fmla="*/ 18 h 526"/>
                <a:gd name="T106" fmla="*/ 376 w 421"/>
                <a:gd name="T107" fmla="*/ 18 h 526"/>
                <a:gd name="T108" fmla="*/ 389 w 421"/>
                <a:gd name="T109" fmla="*/ 23 h 526"/>
                <a:gd name="T110" fmla="*/ 394 w 421"/>
                <a:gd name="T111" fmla="*/ 27 h 526"/>
                <a:gd name="T112" fmla="*/ 401 w 421"/>
                <a:gd name="T113" fmla="*/ 39 h 526"/>
                <a:gd name="T114" fmla="*/ 403 w 421"/>
                <a:gd name="T115" fmla="*/ 51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526">
                  <a:moveTo>
                    <a:pt x="406" y="16"/>
                  </a:moveTo>
                  <a:lnTo>
                    <a:pt x="406" y="16"/>
                  </a:lnTo>
                  <a:lnTo>
                    <a:pt x="398" y="9"/>
                  </a:lnTo>
                  <a:lnTo>
                    <a:pt x="389" y="4"/>
                  </a:lnTo>
                  <a:lnTo>
                    <a:pt x="379" y="1"/>
                  </a:lnTo>
                  <a:lnTo>
                    <a:pt x="370" y="0"/>
                  </a:lnTo>
                  <a:lnTo>
                    <a:pt x="52" y="0"/>
                  </a:lnTo>
                  <a:lnTo>
                    <a:pt x="52" y="0"/>
                  </a:lnTo>
                  <a:lnTo>
                    <a:pt x="42" y="1"/>
                  </a:lnTo>
                  <a:lnTo>
                    <a:pt x="31" y="4"/>
                  </a:lnTo>
                  <a:lnTo>
                    <a:pt x="23" y="9"/>
                  </a:lnTo>
                  <a:lnTo>
                    <a:pt x="15" y="16"/>
                  </a:lnTo>
                  <a:lnTo>
                    <a:pt x="15" y="16"/>
                  </a:lnTo>
                  <a:lnTo>
                    <a:pt x="8" y="23"/>
                  </a:lnTo>
                  <a:lnTo>
                    <a:pt x="4" y="32"/>
                  </a:lnTo>
                  <a:lnTo>
                    <a:pt x="2" y="42"/>
                  </a:lnTo>
                  <a:lnTo>
                    <a:pt x="0" y="51"/>
                  </a:lnTo>
                  <a:lnTo>
                    <a:pt x="0" y="460"/>
                  </a:lnTo>
                  <a:lnTo>
                    <a:pt x="0" y="460"/>
                  </a:lnTo>
                  <a:lnTo>
                    <a:pt x="0" y="467"/>
                  </a:lnTo>
                  <a:lnTo>
                    <a:pt x="2" y="473"/>
                  </a:lnTo>
                  <a:lnTo>
                    <a:pt x="4" y="479"/>
                  </a:lnTo>
                  <a:lnTo>
                    <a:pt x="7" y="484"/>
                  </a:lnTo>
                  <a:lnTo>
                    <a:pt x="14" y="495"/>
                  </a:lnTo>
                  <a:lnTo>
                    <a:pt x="25" y="503"/>
                  </a:lnTo>
                  <a:lnTo>
                    <a:pt x="25" y="503"/>
                  </a:lnTo>
                  <a:lnTo>
                    <a:pt x="23" y="503"/>
                  </a:lnTo>
                  <a:lnTo>
                    <a:pt x="23" y="503"/>
                  </a:lnTo>
                  <a:lnTo>
                    <a:pt x="25" y="508"/>
                  </a:lnTo>
                  <a:lnTo>
                    <a:pt x="26" y="512"/>
                  </a:lnTo>
                  <a:lnTo>
                    <a:pt x="27" y="516"/>
                  </a:lnTo>
                  <a:lnTo>
                    <a:pt x="30" y="519"/>
                  </a:lnTo>
                  <a:lnTo>
                    <a:pt x="34" y="522"/>
                  </a:lnTo>
                  <a:lnTo>
                    <a:pt x="38" y="525"/>
                  </a:lnTo>
                  <a:lnTo>
                    <a:pt x="42" y="526"/>
                  </a:lnTo>
                  <a:lnTo>
                    <a:pt x="46" y="526"/>
                  </a:lnTo>
                  <a:lnTo>
                    <a:pt x="76" y="526"/>
                  </a:lnTo>
                  <a:lnTo>
                    <a:pt x="76" y="526"/>
                  </a:lnTo>
                  <a:lnTo>
                    <a:pt x="83" y="525"/>
                  </a:lnTo>
                  <a:lnTo>
                    <a:pt x="89" y="522"/>
                  </a:lnTo>
                  <a:lnTo>
                    <a:pt x="93" y="516"/>
                  </a:lnTo>
                  <a:lnTo>
                    <a:pt x="97" y="511"/>
                  </a:lnTo>
                  <a:lnTo>
                    <a:pt x="324" y="511"/>
                  </a:lnTo>
                  <a:lnTo>
                    <a:pt x="324" y="511"/>
                  </a:lnTo>
                  <a:lnTo>
                    <a:pt x="328" y="516"/>
                  </a:lnTo>
                  <a:lnTo>
                    <a:pt x="332" y="522"/>
                  </a:lnTo>
                  <a:lnTo>
                    <a:pt x="339" y="525"/>
                  </a:lnTo>
                  <a:lnTo>
                    <a:pt x="345" y="526"/>
                  </a:lnTo>
                  <a:lnTo>
                    <a:pt x="374" y="526"/>
                  </a:lnTo>
                  <a:lnTo>
                    <a:pt x="374" y="526"/>
                  </a:lnTo>
                  <a:lnTo>
                    <a:pt x="379" y="526"/>
                  </a:lnTo>
                  <a:lnTo>
                    <a:pt x="383" y="525"/>
                  </a:lnTo>
                  <a:lnTo>
                    <a:pt x="387" y="522"/>
                  </a:lnTo>
                  <a:lnTo>
                    <a:pt x="390" y="519"/>
                  </a:lnTo>
                  <a:lnTo>
                    <a:pt x="393" y="516"/>
                  </a:lnTo>
                  <a:lnTo>
                    <a:pt x="395" y="512"/>
                  </a:lnTo>
                  <a:lnTo>
                    <a:pt x="397" y="508"/>
                  </a:lnTo>
                  <a:lnTo>
                    <a:pt x="397" y="503"/>
                  </a:lnTo>
                  <a:lnTo>
                    <a:pt x="397" y="503"/>
                  </a:lnTo>
                  <a:lnTo>
                    <a:pt x="397" y="503"/>
                  </a:lnTo>
                  <a:lnTo>
                    <a:pt x="397" y="503"/>
                  </a:lnTo>
                  <a:lnTo>
                    <a:pt x="406" y="495"/>
                  </a:lnTo>
                  <a:lnTo>
                    <a:pt x="414" y="484"/>
                  </a:lnTo>
                  <a:lnTo>
                    <a:pt x="417" y="479"/>
                  </a:lnTo>
                  <a:lnTo>
                    <a:pt x="418" y="473"/>
                  </a:lnTo>
                  <a:lnTo>
                    <a:pt x="420" y="467"/>
                  </a:lnTo>
                  <a:lnTo>
                    <a:pt x="421" y="460"/>
                  </a:lnTo>
                  <a:lnTo>
                    <a:pt x="421" y="51"/>
                  </a:lnTo>
                  <a:lnTo>
                    <a:pt x="421" y="51"/>
                  </a:lnTo>
                  <a:lnTo>
                    <a:pt x="420" y="42"/>
                  </a:lnTo>
                  <a:lnTo>
                    <a:pt x="417" y="32"/>
                  </a:lnTo>
                  <a:lnTo>
                    <a:pt x="412" y="23"/>
                  </a:lnTo>
                  <a:lnTo>
                    <a:pt x="406" y="16"/>
                  </a:lnTo>
                  <a:lnTo>
                    <a:pt x="406" y="16"/>
                  </a:lnTo>
                  <a:close/>
                  <a:moveTo>
                    <a:pt x="403" y="460"/>
                  </a:moveTo>
                  <a:lnTo>
                    <a:pt x="403" y="460"/>
                  </a:lnTo>
                  <a:lnTo>
                    <a:pt x="403" y="467"/>
                  </a:lnTo>
                  <a:lnTo>
                    <a:pt x="401" y="473"/>
                  </a:lnTo>
                  <a:lnTo>
                    <a:pt x="398" y="479"/>
                  </a:lnTo>
                  <a:lnTo>
                    <a:pt x="394" y="484"/>
                  </a:lnTo>
                  <a:lnTo>
                    <a:pt x="389" y="488"/>
                  </a:lnTo>
                  <a:lnTo>
                    <a:pt x="383" y="492"/>
                  </a:lnTo>
                  <a:lnTo>
                    <a:pt x="376" y="494"/>
                  </a:lnTo>
                  <a:lnTo>
                    <a:pt x="370" y="495"/>
                  </a:lnTo>
                  <a:lnTo>
                    <a:pt x="52" y="495"/>
                  </a:lnTo>
                  <a:lnTo>
                    <a:pt x="52" y="495"/>
                  </a:lnTo>
                  <a:lnTo>
                    <a:pt x="45" y="494"/>
                  </a:lnTo>
                  <a:lnTo>
                    <a:pt x="38" y="492"/>
                  </a:lnTo>
                  <a:lnTo>
                    <a:pt x="33" y="488"/>
                  </a:lnTo>
                  <a:lnTo>
                    <a:pt x="27" y="484"/>
                  </a:lnTo>
                  <a:lnTo>
                    <a:pt x="23" y="479"/>
                  </a:lnTo>
                  <a:lnTo>
                    <a:pt x="19" y="473"/>
                  </a:lnTo>
                  <a:lnTo>
                    <a:pt x="18" y="467"/>
                  </a:lnTo>
                  <a:lnTo>
                    <a:pt x="16" y="460"/>
                  </a:lnTo>
                  <a:lnTo>
                    <a:pt x="16" y="51"/>
                  </a:lnTo>
                  <a:lnTo>
                    <a:pt x="16" y="51"/>
                  </a:lnTo>
                  <a:lnTo>
                    <a:pt x="18" y="45"/>
                  </a:lnTo>
                  <a:lnTo>
                    <a:pt x="19" y="39"/>
                  </a:lnTo>
                  <a:lnTo>
                    <a:pt x="23" y="32"/>
                  </a:lnTo>
                  <a:lnTo>
                    <a:pt x="27" y="27"/>
                  </a:lnTo>
                  <a:lnTo>
                    <a:pt x="27" y="27"/>
                  </a:lnTo>
                  <a:lnTo>
                    <a:pt x="33" y="23"/>
                  </a:lnTo>
                  <a:lnTo>
                    <a:pt x="38" y="20"/>
                  </a:lnTo>
                  <a:lnTo>
                    <a:pt x="45" y="18"/>
                  </a:lnTo>
                  <a:lnTo>
                    <a:pt x="52" y="18"/>
                  </a:lnTo>
                  <a:lnTo>
                    <a:pt x="370" y="18"/>
                  </a:lnTo>
                  <a:lnTo>
                    <a:pt x="370" y="18"/>
                  </a:lnTo>
                  <a:lnTo>
                    <a:pt x="376" y="18"/>
                  </a:lnTo>
                  <a:lnTo>
                    <a:pt x="382" y="20"/>
                  </a:lnTo>
                  <a:lnTo>
                    <a:pt x="389" y="23"/>
                  </a:lnTo>
                  <a:lnTo>
                    <a:pt x="394" y="27"/>
                  </a:lnTo>
                  <a:lnTo>
                    <a:pt x="394" y="27"/>
                  </a:lnTo>
                  <a:lnTo>
                    <a:pt x="398" y="32"/>
                  </a:lnTo>
                  <a:lnTo>
                    <a:pt x="401" y="39"/>
                  </a:lnTo>
                  <a:lnTo>
                    <a:pt x="403" y="45"/>
                  </a:lnTo>
                  <a:lnTo>
                    <a:pt x="403" y="51"/>
                  </a:lnTo>
                  <a:lnTo>
                    <a:pt x="403" y="4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sp>
          <p:nvSpPr>
            <p:cNvPr id="10" name="Freeform 252"/>
            <p:cNvSpPr>
              <a:spLocks noEditPoints="1"/>
            </p:cNvSpPr>
            <p:nvPr/>
          </p:nvSpPr>
          <p:spPr bwMode="auto">
            <a:xfrm>
              <a:off x="6502400" y="3370263"/>
              <a:ext cx="430213" cy="503238"/>
            </a:xfrm>
            <a:custGeom>
              <a:avLst/>
              <a:gdLst>
                <a:gd name="T0" fmla="*/ 422 w 542"/>
                <a:gd name="T1" fmla="*/ 612 h 634"/>
                <a:gd name="T2" fmla="*/ 387 w 542"/>
                <a:gd name="T3" fmla="*/ 634 h 634"/>
                <a:gd name="T4" fmla="*/ 387 w 542"/>
                <a:gd name="T5" fmla="*/ 612 h 634"/>
                <a:gd name="T6" fmla="*/ 245 w 542"/>
                <a:gd name="T7" fmla="*/ 634 h 634"/>
                <a:gd name="T8" fmla="*/ 298 w 542"/>
                <a:gd name="T9" fmla="*/ 634 h 634"/>
                <a:gd name="T10" fmla="*/ 156 w 542"/>
                <a:gd name="T11" fmla="*/ 612 h 634"/>
                <a:gd name="T12" fmla="*/ 121 w 542"/>
                <a:gd name="T13" fmla="*/ 634 h 634"/>
                <a:gd name="T14" fmla="*/ 121 w 542"/>
                <a:gd name="T15" fmla="*/ 612 h 634"/>
                <a:gd name="T16" fmla="*/ 29 w 542"/>
                <a:gd name="T17" fmla="*/ 622 h 634"/>
                <a:gd name="T18" fmla="*/ 12 w 542"/>
                <a:gd name="T19" fmla="*/ 603 h 634"/>
                <a:gd name="T20" fmla="*/ 1 w 542"/>
                <a:gd name="T21" fmla="*/ 577 h 634"/>
                <a:gd name="T22" fmla="*/ 17 w 542"/>
                <a:gd name="T23" fmla="*/ 558 h 634"/>
                <a:gd name="T24" fmla="*/ 23 w 542"/>
                <a:gd name="T25" fmla="*/ 584 h 634"/>
                <a:gd name="T26" fmla="*/ 29 w 542"/>
                <a:gd name="T27" fmla="*/ 622 h 634"/>
                <a:gd name="T28" fmla="*/ 504 w 542"/>
                <a:gd name="T29" fmla="*/ 603 h 634"/>
                <a:gd name="T30" fmla="*/ 523 w 542"/>
                <a:gd name="T31" fmla="*/ 570 h 634"/>
                <a:gd name="T32" fmla="*/ 542 w 542"/>
                <a:gd name="T33" fmla="*/ 556 h 634"/>
                <a:gd name="T34" fmla="*/ 540 w 542"/>
                <a:gd name="T35" fmla="*/ 576 h 634"/>
                <a:gd name="T36" fmla="*/ 531 w 542"/>
                <a:gd name="T37" fmla="*/ 601 h 634"/>
                <a:gd name="T38" fmla="*/ 515 w 542"/>
                <a:gd name="T39" fmla="*/ 620 h 634"/>
                <a:gd name="T40" fmla="*/ 0 w 542"/>
                <a:gd name="T41" fmla="*/ 515 h 634"/>
                <a:gd name="T42" fmla="*/ 17 w 542"/>
                <a:gd name="T43" fmla="*/ 515 h 634"/>
                <a:gd name="T44" fmla="*/ 524 w 542"/>
                <a:gd name="T45" fmla="*/ 446 h 634"/>
                <a:gd name="T46" fmla="*/ 17 w 542"/>
                <a:gd name="T47" fmla="*/ 406 h 634"/>
                <a:gd name="T48" fmla="*/ 17 w 542"/>
                <a:gd name="T49" fmla="*/ 340 h 634"/>
                <a:gd name="T50" fmla="*/ 524 w 542"/>
                <a:gd name="T51" fmla="*/ 403 h 634"/>
                <a:gd name="T52" fmla="*/ 542 w 542"/>
                <a:gd name="T53" fmla="*/ 403 h 634"/>
                <a:gd name="T54" fmla="*/ 0 w 542"/>
                <a:gd name="T55" fmla="*/ 231 h 634"/>
                <a:gd name="T56" fmla="*/ 542 w 542"/>
                <a:gd name="T57" fmla="*/ 294 h 634"/>
                <a:gd name="T58" fmla="*/ 542 w 542"/>
                <a:gd name="T59" fmla="*/ 228 h 634"/>
                <a:gd name="T60" fmla="*/ 0 w 542"/>
                <a:gd name="T61" fmla="*/ 187 h 634"/>
                <a:gd name="T62" fmla="*/ 17 w 542"/>
                <a:gd name="T63" fmla="*/ 187 h 634"/>
                <a:gd name="T64" fmla="*/ 524 w 542"/>
                <a:gd name="T65" fmla="*/ 119 h 634"/>
                <a:gd name="T66" fmla="*/ 0 w 542"/>
                <a:gd name="T67" fmla="*/ 78 h 634"/>
                <a:gd name="T68" fmla="*/ 0 w 542"/>
                <a:gd name="T69" fmla="*/ 67 h 634"/>
                <a:gd name="T70" fmla="*/ 6 w 542"/>
                <a:gd name="T71" fmla="*/ 40 h 634"/>
                <a:gd name="T72" fmla="*/ 21 w 542"/>
                <a:gd name="T73" fmla="*/ 19 h 634"/>
                <a:gd name="T74" fmla="*/ 37 w 542"/>
                <a:gd name="T75" fmla="*/ 31 h 634"/>
                <a:gd name="T76" fmla="*/ 18 w 542"/>
                <a:gd name="T77" fmla="*/ 63 h 634"/>
                <a:gd name="T78" fmla="*/ 524 w 542"/>
                <a:gd name="T79" fmla="*/ 76 h 634"/>
                <a:gd name="T80" fmla="*/ 519 w 542"/>
                <a:gd name="T81" fmla="*/ 50 h 634"/>
                <a:gd name="T82" fmla="*/ 512 w 542"/>
                <a:gd name="T83" fmla="*/ 11 h 634"/>
                <a:gd name="T84" fmla="*/ 524 w 542"/>
                <a:gd name="T85" fmla="*/ 23 h 634"/>
                <a:gd name="T86" fmla="*/ 538 w 542"/>
                <a:gd name="T87" fmla="*/ 47 h 634"/>
                <a:gd name="T88" fmla="*/ 542 w 542"/>
                <a:gd name="T89" fmla="*/ 76 h 634"/>
                <a:gd name="T90" fmla="*/ 420 w 542"/>
                <a:gd name="T91" fmla="*/ 22 h 634"/>
                <a:gd name="T92" fmla="*/ 474 w 542"/>
                <a:gd name="T93" fmla="*/ 22 h 634"/>
                <a:gd name="T94" fmla="*/ 331 w 542"/>
                <a:gd name="T95" fmla="*/ 0 h 634"/>
                <a:gd name="T96" fmla="*/ 296 w 542"/>
                <a:gd name="T97" fmla="*/ 22 h 634"/>
                <a:gd name="T98" fmla="*/ 296 w 542"/>
                <a:gd name="T99" fmla="*/ 0 h 634"/>
                <a:gd name="T100" fmla="*/ 155 w 542"/>
                <a:gd name="T101" fmla="*/ 22 h 634"/>
                <a:gd name="T102" fmla="*/ 207 w 542"/>
                <a:gd name="T103" fmla="*/ 22 h 634"/>
                <a:gd name="T104" fmla="*/ 66 w 542"/>
                <a:gd name="T105"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2" h="634">
                  <a:moveTo>
                    <a:pt x="476" y="634"/>
                  </a:moveTo>
                  <a:lnTo>
                    <a:pt x="422" y="634"/>
                  </a:lnTo>
                  <a:lnTo>
                    <a:pt x="422" y="612"/>
                  </a:lnTo>
                  <a:lnTo>
                    <a:pt x="476" y="612"/>
                  </a:lnTo>
                  <a:lnTo>
                    <a:pt x="476" y="634"/>
                  </a:lnTo>
                  <a:close/>
                  <a:moveTo>
                    <a:pt x="387" y="634"/>
                  </a:moveTo>
                  <a:lnTo>
                    <a:pt x="334" y="634"/>
                  </a:lnTo>
                  <a:lnTo>
                    <a:pt x="334" y="612"/>
                  </a:lnTo>
                  <a:lnTo>
                    <a:pt x="387" y="612"/>
                  </a:lnTo>
                  <a:lnTo>
                    <a:pt x="387" y="634"/>
                  </a:lnTo>
                  <a:close/>
                  <a:moveTo>
                    <a:pt x="298" y="634"/>
                  </a:moveTo>
                  <a:lnTo>
                    <a:pt x="245" y="634"/>
                  </a:lnTo>
                  <a:lnTo>
                    <a:pt x="245" y="612"/>
                  </a:lnTo>
                  <a:lnTo>
                    <a:pt x="298" y="612"/>
                  </a:lnTo>
                  <a:lnTo>
                    <a:pt x="298" y="634"/>
                  </a:lnTo>
                  <a:close/>
                  <a:moveTo>
                    <a:pt x="210" y="634"/>
                  </a:moveTo>
                  <a:lnTo>
                    <a:pt x="156" y="634"/>
                  </a:lnTo>
                  <a:lnTo>
                    <a:pt x="156" y="612"/>
                  </a:lnTo>
                  <a:lnTo>
                    <a:pt x="210" y="612"/>
                  </a:lnTo>
                  <a:lnTo>
                    <a:pt x="210" y="634"/>
                  </a:lnTo>
                  <a:close/>
                  <a:moveTo>
                    <a:pt x="121" y="634"/>
                  </a:moveTo>
                  <a:lnTo>
                    <a:pt x="67" y="634"/>
                  </a:lnTo>
                  <a:lnTo>
                    <a:pt x="67" y="612"/>
                  </a:lnTo>
                  <a:lnTo>
                    <a:pt x="121" y="612"/>
                  </a:lnTo>
                  <a:lnTo>
                    <a:pt x="121" y="634"/>
                  </a:lnTo>
                  <a:close/>
                  <a:moveTo>
                    <a:pt x="29" y="622"/>
                  </a:moveTo>
                  <a:lnTo>
                    <a:pt x="29" y="622"/>
                  </a:lnTo>
                  <a:lnTo>
                    <a:pt x="23" y="616"/>
                  </a:lnTo>
                  <a:lnTo>
                    <a:pt x="17" y="609"/>
                  </a:lnTo>
                  <a:lnTo>
                    <a:pt x="12" y="603"/>
                  </a:lnTo>
                  <a:lnTo>
                    <a:pt x="8" y="595"/>
                  </a:lnTo>
                  <a:lnTo>
                    <a:pt x="4" y="587"/>
                  </a:lnTo>
                  <a:lnTo>
                    <a:pt x="1" y="577"/>
                  </a:lnTo>
                  <a:lnTo>
                    <a:pt x="0" y="568"/>
                  </a:lnTo>
                  <a:lnTo>
                    <a:pt x="0" y="558"/>
                  </a:lnTo>
                  <a:lnTo>
                    <a:pt x="17" y="558"/>
                  </a:lnTo>
                  <a:lnTo>
                    <a:pt x="17" y="558"/>
                  </a:lnTo>
                  <a:lnTo>
                    <a:pt x="18" y="572"/>
                  </a:lnTo>
                  <a:lnTo>
                    <a:pt x="23" y="584"/>
                  </a:lnTo>
                  <a:lnTo>
                    <a:pt x="29" y="595"/>
                  </a:lnTo>
                  <a:lnTo>
                    <a:pt x="39" y="603"/>
                  </a:lnTo>
                  <a:lnTo>
                    <a:pt x="29" y="622"/>
                  </a:lnTo>
                  <a:close/>
                  <a:moveTo>
                    <a:pt x="515" y="620"/>
                  </a:moveTo>
                  <a:lnTo>
                    <a:pt x="504" y="603"/>
                  </a:lnTo>
                  <a:lnTo>
                    <a:pt x="504" y="603"/>
                  </a:lnTo>
                  <a:lnTo>
                    <a:pt x="512" y="593"/>
                  </a:lnTo>
                  <a:lnTo>
                    <a:pt x="519" y="583"/>
                  </a:lnTo>
                  <a:lnTo>
                    <a:pt x="523" y="570"/>
                  </a:lnTo>
                  <a:lnTo>
                    <a:pt x="524" y="556"/>
                  </a:lnTo>
                  <a:lnTo>
                    <a:pt x="542" y="556"/>
                  </a:lnTo>
                  <a:lnTo>
                    <a:pt x="542" y="556"/>
                  </a:lnTo>
                  <a:lnTo>
                    <a:pt x="542" y="556"/>
                  </a:lnTo>
                  <a:lnTo>
                    <a:pt x="542" y="566"/>
                  </a:lnTo>
                  <a:lnTo>
                    <a:pt x="540" y="576"/>
                  </a:lnTo>
                  <a:lnTo>
                    <a:pt x="538" y="584"/>
                  </a:lnTo>
                  <a:lnTo>
                    <a:pt x="535" y="593"/>
                  </a:lnTo>
                  <a:lnTo>
                    <a:pt x="531" y="601"/>
                  </a:lnTo>
                  <a:lnTo>
                    <a:pt x="525" y="608"/>
                  </a:lnTo>
                  <a:lnTo>
                    <a:pt x="520" y="615"/>
                  </a:lnTo>
                  <a:lnTo>
                    <a:pt x="515" y="620"/>
                  </a:lnTo>
                  <a:lnTo>
                    <a:pt x="515" y="620"/>
                  </a:lnTo>
                  <a:close/>
                  <a:moveTo>
                    <a:pt x="17" y="515"/>
                  </a:moveTo>
                  <a:lnTo>
                    <a:pt x="0" y="515"/>
                  </a:lnTo>
                  <a:lnTo>
                    <a:pt x="0" y="449"/>
                  </a:lnTo>
                  <a:lnTo>
                    <a:pt x="17" y="449"/>
                  </a:lnTo>
                  <a:lnTo>
                    <a:pt x="17" y="515"/>
                  </a:lnTo>
                  <a:close/>
                  <a:moveTo>
                    <a:pt x="542" y="512"/>
                  </a:moveTo>
                  <a:lnTo>
                    <a:pt x="524" y="512"/>
                  </a:lnTo>
                  <a:lnTo>
                    <a:pt x="524" y="446"/>
                  </a:lnTo>
                  <a:lnTo>
                    <a:pt x="542" y="446"/>
                  </a:lnTo>
                  <a:lnTo>
                    <a:pt x="542" y="512"/>
                  </a:lnTo>
                  <a:close/>
                  <a:moveTo>
                    <a:pt x="17" y="406"/>
                  </a:moveTo>
                  <a:lnTo>
                    <a:pt x="0" y="406"/>
                  </a:lnTo>
                  <a:lnTo>
                    <a:pt x="0" y="340"/>
                  </a:lnTo>
                  <a:lnTo>
                    <a:pt x="17" y="340"/>
                  </a:lnTo>
                  <a:lnTo>
                    <a:pt x="17" y="406"/>
                  </a:lnTo>
                  <a:close/>
                  <a:moveTo>
                    <a:pt x="542" y="403"/>
                  </a:moveTo>
                  <a:lnTo>
                    <a:pt x="524" y="403"/>
                  </a:lnTo>
                  <a:lnTo>
                    <a:pt x="524" y="337"/>
                  </a:lnTo>
                  <a:lnTo>
                    <a:pt x="542" y="337"/>
                  </a:lnTo>
                  <a:lnTo>
                    <a:pt x="542" y="403"/>
                  </a:lnTo>
                  <a:close/>
                  <a:moveTo>
                    <a:pt x="17" y="297"/>
                  </a:moveTo>
                  <a:lnTo>
                    <a:pt x="0" y="297"/>
                  </a:lnTo>
                  <a:lnTo>
                    <a:pt x="0" y="231"/>
                  </a:lnTo>
                  <a:lnTo>
                    <a:pt x="17" y="231"/>
                  </a:lnTo>
                  <a:lnTo>
                    <a:pt x="17" y="297"/>
                  </a:lnTo>
                  <a:close/>
                  <a:moveTo>
                    <a:pt x="542" y="294"/>
                  </a:moveTo>
                  <a:lnTo>
                    <a:pt x="524" y="294"/>
                  </a:lnTo>
                  <a:lnTo>
                    <a:pt x="524" y="228"/>
                  </a:lnTo>
                  <a:lnTo>
                    <a:pt x="542" y="228"/>
                  </a:lnTo>
                  <a:lnTo>
                    <a:pt x="542" y="294"/>
                  </a:lnTo>
                  <a:close/>
                  <a:moveTo>
                    <a:pt x="17" y="187"/>
                  </a:moveTo>
                  <a:lnTo>
                    <a:pt x="0" y="187"/>
                  </a:lnTo>
                  <a:lnTo>
                    <a:pt x="0" y="121"/>
                  </a:lnTo>
                  <a:lnTo>
                    <a:pt x="17" y="121"/>
                  </a:lnTo>
                  <a:lnTo>
                    <a:pt x="17" y="187"/>
                  </a:lnTo>
                  <a:close/>
                  <a:moveTo>
                    <a:pt x="542" y="185"/>
                  </a:moveTo>
                  <a:lnTo>
                    <a:pt x="524" y="185"/>
                  </a:lnTo>
                  <a:lnTo>
                    <a:pt x="524" y="119"/>
                  </a:lnTo>
                  <a:lnTo>
                    <a:pt x="542" y="119"/>
                  </a:lnTo>
                  <a:lnTo>
                    <a:pt x="542" y="185"/>
                  </a:lnTo>
                  <a:close/>
                  <a:moveTo>
                    <a:pt x="0" y="78"/>
                  </a:moveTo>
                  <a:lnTo>
                    <a:pt x="0" y="78"/>
                  </a:lnTo>
                  <a:lnTo>
                    <a:pt x="0" y="78"/>
                  </a:lnTo>
                  <a:lnTo>
                    <a:pt x="0" y="67"/>
                  </a:lnTo>
                  <a:lnTo>
                    <a:pt x="1" y="58"/>
                  </a:lnTo>
                  <a:lnTo>
                    <a:pt x="4" y="50"/>
                  </a:lnTo>
                  <a:lnTo>
                    <a:pt x="6" y="40"/>
                  </a:lnTo>
                  <a:lnTo>
                    <a:pt x="10" y="32"/>
                  </a:lnTo>
                  <a:lnTo>
                    <a:pt x="16" y="26"/>
                  </a:lnTo>
                  <a:lnTo>
                    <a:pt x="21" y="19"/>
                  </a:lnTo>
                  <a:lnTo>
                    <a:pt x="27" y="14"/>
                  </a:lnTo>
                  <a:lnTo>
                    <a:pt x="37" y="31"/>
                  </a:lnTo>
                  <a:lnTo>
                    <a:pt x="37" y="31"/>
                  </a:lnTo>
                  <a:lnTo>
                    <a:pt x="29" y="40"/>
                  </a:lnTo>
                  <a:lnTo>
                    <a:pt x="23" y="51"/>
                  </a:lnTo>
                  <a:lnTo>
                    <a:pt x="18" y="63"/>
                  </a:lnTo>
                  <a:lnTo>
                    <a:pt x="17" y="78"/>
                  </a:lnTo>
                  <a:lnTo>
                    <a:pt x="0" y="78"/>
                  </a:lnTo>
                  <a:close/>
                  <a:moveTo>
                    <a:pt x="524" y="76"/>
                  </a:moveTo>
                  <a:lnTo>
                    <a:pt x="524" y="76"/>
                  </a:lnTo>
                  <a:lnTo>
                    <a:pt x="523" y="62"/>
                  </a:lnTo>
                  <a:lnTo>
                    <a:pt x="519" y="50"/>
                  </a:lnTo>
                  <a:lnTo>
                    <a:pt x="512" y="39"/>
                  </a:lnTo>
                  <a:lnTo>
                    <a:pt x="503" y="30"/>
                  </a:lnTo>
                  <a:lnTo>
                    <a:pt x="512" y="11"/>
                  </a:lnTo>
                  <a:lnTo>
                    <a:pt x="512" y="11"/>
                  </a:lnTo>
                  <a:lnTo>
                    <a:pt x="519" y="18"/>
                  </a:lnTo>
                  <a:lnTo>
                    <a:pt x="524" y="23"/>
                  </a:lnTo>
                  <a:lnTo>
                    <a:pt x="530" y="31"/>
                  </a:lnTo>
                  <a:lnTo>
                    <a:pt x="534" y="39"/>
                  </a:lnTo>
                  <a:lnTo>
                    <a:pt x="538" y="47"/>
                  </a:lnTo>
                  <a:lnTo>
                    <a:pt x="540" y="55"/>
                  </a:lnTo>
                  <a:lnTo>
                    <a:pt x="542" y="65"/>
                  </a:lnTo>
                  <a:lnTo>
                    <a:pt x="542" y="76"/>
                  </a:lnTo>
                  <a:lnTo>
                    <a:pt x="524" y="76"/>
                  </a:lnTo>
                  <a:close/>
                  <a:moveTo>
                    <a:pt x="474" y="22"/>
                  </a:moveTo>
                  <a:lnTo>
                    <a:pt x="420" y="22"/>
                  </a:lnTo>
                  <a:lnTo>
                    <a:pt x="420" y="0"/>
                  </a:lnTo>
                  <a:lnTo>
                    <a:pt x="474" y="0"/>
                  </a:lnTo>
                  <a:lnTo>
                    <a:pt x="474" y="22"/>
                  </a:lnTo>
                  <a:close/>
                  <a:moveTo>
                    <a:pt x="385" y="22"/>
                  </a:moveTo>
                  <a:lnTo>
                    <a:pt x="331" y="22"/>
                  </a:lnTo>
                  <a:lnTo>
                    <a:pt x="331" y="0"/>
                  </a:lnTo>
                  <a:lnTo>
                    <a:pt x="385" y="0"/>
                  </a:lnTo>
                  <a:lnTo>
                    <a:pt x="385" y="22"/>
                  </a:lnTo>
                  <a:close/>
                  <a:moveTo>
                    <a:pt x="296" y="22"/>
                  </a:moveTo>
                  <a:lnTo>
                    <a:pt x="244" y="22"/>
                  </a:lnTo>
                  <a:lnTo>
                    <a:pt x="244" y="0"/>
                  </a:lnTo>
                  <a:lnTo>
                    <a:pt x="296" y="0"/>
                  </a:lnTo>
                  <a:lnTo>
                    <a:pt x="296" y="22"/>
                  </a:lnTo>
                  <a:close/>
                  <a:moveTo>
                    <a:pt x="207" y="22"/>
                  </a:moveTo>
                  <a:lnTo>
                    <a:pt x="155" y="22"/>
                  </a:lnTo>
                  <a:lnTo>
                    <a:pt x="155" y="0"/>
                  </a:lnTo>
                  <a:lnTo>
                    <a:pt x="207" y="0"/>
                  </a:lnTo>
                  <a:lnTo>
                    <a:pt x="207" y="22"/>
                  </a:lnTo>
                  <a:close/>
                  <a:moveTo>
                    <a:pt x="118" y="22"/>
                  </a:moveTo>
                  <a:lnTo>
                    <a:pt x="66" y="22"/>
                  </a:lnTo>
                  <a:lnTo>
                    <a:pt x="66" y="0"/>
                  </a:lnTo>
                  <a:lnTo>
                    <a:pt x="118" y="0"/>
                  </a:lnTo>
                  <a:lnTo>
                    <a:pt x="118"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a:solidFill>
                  <a:srgbClr val="435153"/>
                </a:solidFill>
              </a:endParaRPr>
            </a:p>
          </p:txBody>
        </p:sp>
      </p:grpSp>
      <p:sp>
        <p:nvSpPr>
          <p:cNvPr id="15" name="Freeform 11"/>
          <p:cNvSpPr>
            <a:spLocks noChangeAspect="1" noEditPoints="1"/>
          </p:cNvSpPr>
          <p:nvPr/>
        </p:nvSpPr>
        <p:spPr bwMode="auto">
          <a:xfrm>
            <a:off x="881796" y="1173964"/>
            <a:ext cx="567863" cy="541211"/>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chemeClr val="accent2"/>
          </a:solidFill>
          <a:ln w="25400" cap="flat" cmpd="sng" algn="ctr">
            <a:noFill/>
            <a:prstDash val="solid"/>
          </a:ln>
          <a:effectLst/>
        </p:spPr>
        <p:txBody>
          <a:bodyPr lIns="68574" tIns="34287" rIns="68574" bIns="34287" anchor="ctr"/>
          <a:lstStyle/>
          <a:p>
            <a:pPr algn="ctr" defTabSz="677075">
              <a:defRPr/>
            </a:pPr>
            <a:endParaRPr lang="en-US" dirty="0">
              <a:solidFill>
                <a:srgbClr val="0096D6"/>
              </a:solidFill>
              <a:latin typeface="CiscoSansTT Light"/>
              <a:cs typeface="CiscoSansTT Light"/>
            </a:endParaRPr>
          </a:p>
        </p:txBody>
      </p:sp>
      <p:sp>
        <p:nvSpPr>
          <p:cNvPr id="59" name="TextBox 58"/>
          <p:cNvSpPr txBox="1"/>
          <p:nvPr/>
        </p:nvSpPr>
        <p:spPr bwMode="auto">
          <a:xfrm>
            <a:off x="148099" y="3918415"/>
            <a:ext cx="4640999" cy="646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24" tIns="45712" rIns="91424" bIns="45712" numCol="1" rtlCol="0" anchor="t" anchorCtr="0" compatLnSpc="1">
            <a:prstTxWarp prst="textNoShape">
              <a:avLst/>
            </a:prstTxWarp>
            <a:spAutoFit/>
          </a:bodyPr>
          <a:lstStyle/>
          <a:p>
            <a:pPr algn="ctr" defTabSz="457200"/>
            <a:r>
              <a:rPr lang="en-US" dirty="0" smtClean="0">
                <a:solidFill>
                  <a:srgbClr val="435153"/>
                </a:solidFill>
                <a:latin typeface="Ciscolight"/>
              </a:rPr>
              <a:t>Cisco Unified Computing System </a:t>
            </a:r>
          </a:p>
          <a:p>
            <a:pPr algn="ctr" defTabSz="457200"/>
            <a:r>
              <a:rPr lang="en-US" dirty="0" smtClean="0">
                <a:solidFill>
                  <a:srgbClr val="435153"/>
                </a:solidFill>
                <a:latin typeface="Ciscolight"/>
              </a:rPr>
              <a:t>(Cisco UCS) </a:t>
            </a:r>
          </a:p>
        </p:txBody>
      </p:sp>
      <p:sp>
        <p:nvSpPr>
          <p:cNvPr id="35" name="Text Placeholder 1"/>
          <p:cNvSpPr>
            <a:spLocks noGrp="1"/>
          </p:cNvSpPr>
          <p:nvPr>
            <p:ph type="body" sz="quarter" idx="10"/>
          </p:nvPr>
        </p:nvSpPr>
        <p:spPr>
          <a:xfrm>
            <a:off x="5029919" y="3113546"/>
            <a:ext cx="1198087" cy="640284"/>
          </a:xfrm>
        </p:spPr>
        <p:txBody>
          <a:bodyPr/>
          <a:lstStyle/>
          <a:p>
            <a:pPr marL="0" indent="0" algn="ctr">
              <a:buNone/>
            </a:pPr>
            <a:r>
              <a:rPr lang="en-US" sz="2400" dirty="0" smtClean="0">
                <a:latin typeface="Ciscolight"/>
              </a:rPr>
              <a:t>190</a:t>
            </a:r>
            <a:endParaRPr lang="en-US" sz="2400" dirty="0">
              <a:latin typeface="Ciscolight"/>
            </a:endParaRPr>
          </a:p>
        </p:txBody>
      </p:sp>
      <p:sp>
        <p:nvSpPr>
          <p:cNvPr id="2" name="Title 1"/>
          <p:cNvSpPr>
            <a:spLocks noGrp="1"/>
          </p:cNvSpPr>
          <p:nvPr>
            <p:ph type="title"/>
          </p:nvPr>
        </p:nvSpPr>
        <p:spPr>
          <a:xfrm>
            <a:off x="437766" y="218719"/>
            <a:ext cx="8345488" cy="1032346"/>
          </a:xfrm>
        </p:spPr>
        <p:txBody>
          <a:bodyPr/>
          <a:lstStyle/>
          <a:p>
            <a:r>
              <a:rPr lang="ja-JP" altLang="en-US" dirty="0" smtClean="0"/>
              <a:t>新しいハイパフォーマンスなハードウェア</a:t>
            </a:r>
            <a:endParaRPr lang="en-US" sz="2000" dirty="0"/>
          </a:p>
        </p:txBody>
      </p:sp>
      <p:grpSp>
        <p:nvGrpSpPr>
          <p:cNvPr id="36" name="Group 35"/>
          <p:cNvGrpSpPr>
            <a:grpSpLocks noChangeAspect="1"/>
          </p:cNvGrpSpPr>
          <p:nvPr/>
        </p:nvGrpSpPr>
        <p:grpSpPr>
          <a:xfrm>
            <a:off x="5338072" y="2570663"/>
            <a:ext cx="636467" cy="495700"/>
            <a:chOff x="12666663" y="4721225"/>
            <a:chExt cx="5699125" cy="4438650"/>
          </a:xfrm>
          <a:solidFill>
            <a:schemeClr val="tx2"/>
          </a:solidFill>
        </p:grpSpPr>
        <p:grpSp>
          <p:nvGrpSpPr>
            <p:cNvPr id="37" name="Group 36"/>
            <p:cNvGrpSpPr/>
            <p:nvPr/>
          </p:nvGrpSpPr>
          <p:grpSpPr>
            <a:xfrm>
              <a:off x="16051213" y="5292725"/>
              <a:ext cx="1289050" cy="2889250"/>
              <a:chOff x="16051213" y="5292725"/>
              <a:chExt cx="1289050" cy="2889250"/>
            </a:xfrm>
            <a:grpFill/>
          </p:grpSpPr>
          <p:sp>
            <p:nvSpPr>
              <p:cNvPr id="53" name="Freeform 13"/>
              <p:cNvSpPr>
                <a:spLocks/>
              </p:cNvSpPr>
              <p:nvPr/>
            </p:nvSpPr>
            <p:spPr bwMode="auto">
              <a:xfrm>
                <a:off x="16457613" y="5292725"/>
                <a:ext cx="473075" cy="466725"/>
              </a:xfrm>
              <a:custGeom>
                <a:avLst/>
                <a:gdLst>
                  <a:gd name="T0" fmla="*/ 120 w 298"/>
                  <a:gd name="T1" fmla="*/ 4 h 294"/>
                  <a:gd name="T2" fmla="*/ 120 w 298"/>
                  <a:gd name="T3" fmla="*/ 4 h 294"/>
                  <a:gd name="T4" fmla="*/ 138 w 298"/>
                  <a:gd name="T5" fmla="*/ 0 h 294"/>
                  <a:gd name="T6" fmla="*/ 156 w 298"/>
                  <a:gd name="T7" fmla="*/ 0 h 294"/>
                  <a:gd name="T8" fmla="*/ 174 w 298"/>
                  <a:gd name="T9" fmla="*/ 2 h 294"/>
                  <a:gd name="T10" fmla="*/ 190 w 298"/>
                  <a:gd name="T11" fmla="*/ 8 h 294"/>
                  <a:gd name="T12" fmla="*/ 208 w 298"/>
                  <a:gd name="T13" fmla="*/ 14 h 294"/>
                  <a:gd name="T14" fmla="*/ 222 w 298"/>
                  <a:gd name="T15" fmla="*/ 22 h 294"/>
                  <a:gd name="T16" fmla="*/ 238 w 298"/>
                  <a:gd name="T17" fmla="*/ 32 h 294"/>
                  <a:gd name="T18" fmla="*/ 252 w 298"/>
                  <a:gd name="T19" fmla="*/ 44 h 294"/>
                  <a:gd name="T20" fmla="*/ 264 w 298"/>
                  <a:gd name="T21" fmla="*/ 56 h 294"/>
                  <a:gd name="T22" fmla="*/ 274 w 298"/>
                  <a:gd name="T23" fmla="*/ 70 h 294"/>
                  <a:gd name="T24" fmla="*/ 284 w 298"/>
                  <a:gd name="T25" fmla="*/ 86 h 294"/>
                  <a:gd name="T26" fmla="*/ 290 w 298"/>
                  <a:gd name="T27" fmla="*/ 102 h 294"/>
                  <a:gd name="T28" fmla="*/ 296 w 298"/>
                  <a:gd name="T29" fmla="*/ 118 h 294"/>
                  <a:gd name="T30" fmla="*/ 298 w 298"/>
                  <a:gd name="T31" fmla="*/ 136 h 294"/>
                  <a:gd name="T32" fmla="*/ 298 w 298"/>
                  <a:gd name="T33" fmla="*/ 154 h 294"/>
                  <a:gd name="T34" fmla="*/ 296 w 298"/>
                  <a:gd name="T35" fmla="*/ 172 h 294"/>
                  <a:gd name="T36" fmla="*/ 296 w 298"/>
                  <a:gd name="T37" fmla="*/ 172 h 294"/>
                  <a:gd name="T38" fmla="*/ 292 w 298"/>
                  <a:gd name="T39" fmla="*/ 196 h 294"/>
                  <a:gd name="T40" fmla="*/ 284 w 298"/>
                  <a:gd name="T41" fmla="*/ 216 h 294"/>
                  <a:gd name="T42" fmla="*/ 274 w 298"/>
                  <a:gd name="T43" fmla="*/ 234 h 294"/>
                  <a:gd name="T44" fmla="*/ 260 w 298"/>
                  <a:gd name="T45" fmla="*/ 250 h 294"/>
                  <a:gd name="T46" fmla="*/ 244 w 298"/>
                  <a:gd name="T47" fmla="*/ 264 h 294"/>
                  <a:gd name="T48" fmla="*/ 226 w 298"/>
                  <a:gd name="T49" fmla="*/ 276 h 294"/>
                  <a:gd name="T50" fmla="*/ 206 w 298"/>
                  <a:gd name="T51" fmla="*/ 284 h 294"/>
                  <a:gd name="T52" fmla="*/ 186 w 298"/>
                  <a:gd name="T53" fmla="*/ 290 h 294"/>
                  <a:gd name="T54" fmla="*/ 164 w 298"/>
                  <a:gd name="T55" fmla="*/ 294 h 294"/>
                  <a:gd name="T56" fmla="*/ 142 w 298"/>
                  <a:gd name="T57" fmla="*/ 294 h 294"/>
                  <a:gd name="T58" fmla="*/ 120 w 298"/>
                  <a:gd name="T59" fmla="*/ 292 h 294"/>
                  <a:gd name="T60" fmla="*/ 100 w 298"/>
                  <a:gd name="T61" fmla="*/ 288 h 294"/>
                  <a:gd name="T62" fmla="*/ 80 w 298"/>
                  <a:gd name="T63" fmla="*/ 280 h 294"/>
                  <a:gd name="T64" fmla="*/ 60 w 298"/>
                  <a:gd name="T65" fmla="*/ 268 h 294"/>
                  <a:gd name="T66" fmla="*/ 44 w 298"/>
                  <a:gd name="T67" fmla="*/ 254 h 294"/>
                  <a:gd name="T68" fmla="*/ 30 w 298"/>
                  <a:gd name="T69" fmla="*/ 236 h 294"/>
                  <a:gd name="T70" fmla="*/ 30 w 298"/>
                  <a:gd name="T71" fmla="*/ 236 h 294"/>
                  <a:gd name="T72" fmla="*/ 18 w 298"/>
                  <a:gd name="T73" fmla="*/ 222 h 294"/>
                  <a:gd name="T74" fmla="*/ 10 w 298"/>
                  <a:gd name="T75" fmla="*/ 204 h 294"/>
                  <a:gd name="T76" fmla="*/ 4 w 298"/>
                  <a:gd name="T77" fmla="*/ 186 h 294"/>
                  <a:gd name="T78" fmla="*/ 0 w 298"/>
                  <a:gd name="T79" fmla="*/ 168 h 294"/>
                  <a:gd name="T80" fmla="*/ 0 w 298"/>
                  <a:gd name="T81" fmla="*/ 150 h 294"/>
                  <a:gd name="T82" fmla="*/ 2 w 298"/>
                  <a:gd name="T83" fmla="*/ 132 h 294"/>
                  <a:gd name="T84" fmla="*/ 6 w 298"/>
                  <a:gd name="T85" fmla="*/ 114 h 294"/>
                  <a:gd name="T86" fmla="*/ 12 w 298"/>
                  <a:gd name="T87" fmla="*/ 98 h 294"/>
                  <a:gd name="T88" fmla="*/ 20 w 298"/>
                  <a:gd name="T89" fmla="*/ 80 h 294"/>
                  <a:gd name="T90" fmla="*/ 30 w 298"/>
                  <a:gd name="T91" fmla="*/ 66 h 294"/>
                  <a:gd name="T92" fmla="*/ 40 w 298"/>
                  <a:gd name="T93" fmla="*/ 50 h 294"/>
                  <a:gd name="T94" fmla="*/ 54 w 298"/>
                  <a:gd name="T95" fmla="*/ 38 h 294"/>
                  <a:gd name="T96" fmla="*/ 68 w 298"/>
                  <a:gd name="T97" fmla="*/ 26 h 294"/>
                  <a:gd name="T98" fmla="*/ 84 w 298"/>
                  <a:gd name="T99" fmla="*/ 16 h 294"/>
                  <a:gd name="T100" fmla="*/ 102 w 298"/>
                  <a:gd name="T101" fmla="*/ 8 h 294"/>
                  <a:gd name="T102" fmla="*/ 120 w 298"/>
                  <a:gd name="T103" fmla="*/ 4 h 294"/>
                  <a:gd name="T104" fmla="*/ 120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20" y="4"/>
                    </a:moveTo>
                    <a:lnTo>
                      <a:pt x="120" y="4"/>
                    </a:lnTo>
                    <a:lnTo>
                      <a:pt x="138" y="0"/>
                    </a:lnTo>
                    <a:lnTo>
                      <a:pt x="156" y="0"/>
                    </a:lnTo>
                    <a:lnTo>
                      <a:pt x="174" y="2"/>
                    </a:lnTo>
                    <a:lnTo>
                      <a:pt x="190" y="8"/>
                    </a:lnTo>
                    <a:lnTo>
                      <a:pt x="208" y="14"/>
                    </a:lnTo>
                    <a:lnTo>
                      <a:pt x="222" y="22"/>
                    </a:lnTo>
                    <a:lnTo>
                      <a:pt x="238" y="32"/>
                    </a:lnTo>
                    <a:lnTo>
                      <a:pt x="252" y="44"/>
                    </a:lnTo>
                    <a:lnTo>
                      <a:pt x="264" y="56"/>
                    </a:lnTo>
                    <a:lnTo>
                      <a:pt x="274" y="70"/>
                    </a:lnTo>
                    <a:lnTo>
                      <a:pt x="284" y="86"/>
                    </a:lnTo>
                    <a:lnTo>
                      <a:pt x="290" y="102"/>
                    </a:lnTo>
                    <a:lnTo>
                      <a:pt x="296" y="118"/>
                    </a:lnTo>
                    <a:lnTo>
                      <a:pt x="298" y="136"/>
                    </a:lnTo>
                    <a:lnTo>
                      <a:pt x="298" y="154"/>
                    </a:lnTo>
                    <a:lnTo>
                      <a:pt x="296" y="172"/>
                    </a:lnTo>
                    <a:lnTo>
                      <a:pt x="296" y="172"/>
                    </a:lnTo>
                    <a:lnTo>
                      <a:pt x="292" y="196"/>
                    </a:lnTo>
                    <a:lnTo>
                      <a:pt x="284" y="216"/>
                    </a:lnTo>
                    <a:lnTo>
                      <a:pt x="274" y="234"/>
                    </a:lnTo>
                    <a:lnTo>
                      <a:pt x="260" y="250"/>
                    </a:lnTo>
                    <a:lnTo>
                      <a:pt x="244" y="264"/>
                    </a:lnTo>
                    <a:lnTo>
                      <a:pt x="226" y="276"/>
                    </a:lnTo>
                    <a:lnTo>
                      <a:pt x="206" y="284"/>
                    </a:lnTo>
                    <a:lnTo>
                      <a:pt x="186" y="290"/>
                    </a:lnTo>
                    <a:lnTo>
                      <a:pt x="164" y="294"/>
                    </a:lnTo>
                    <a:lnTo>
                      <a:pt x="142" y="294"/>
                    </a:lnTo>
                    <a:lnTo>
                      <a:pt x="120" y="292"/>
                    </a:lnTo>
                    <a:lnTo>
                      <a:pt x="100" y="288"/>
                    </a:lnTo>
                    <a:lnTo>
                      <a:pt x="80" y="280"/>
                    </a:lnTo>
                    <a:lnTo>
                      <a:pt x="60" y="268"/>
                    </a:lnTo>
                    <a:lnTo>
                      <a:pt x="44" y="254"/>
                    </a:lnTo>
                    <a:lnTo>
                      <a:pt x="30" y="236"/>
                    </a:lnTo>
                    <a:lnTo>
                      <a:pt x="30" y="236"/>
                    </a:lnTo>
                    <a:lnTo>
                      <a:pt x="18" y="222"/>
                    </a:lnTo>
                    <a:lnTo>
                      <a:pt x="10" y="204"/>
                    </a:lnTo>
                    <a:lnTo>
                      <a:pt x="4" y="186"/>
                    </a:lnTo>
                    <a:lnTo>
                      <a:pt x="0" y="168"/>
                    </a:lnTo>
                    <a:lnTo>
                      <a:pt x="0" y="150"/>
                    </a:lnTo>
                    <a:lnTo>
                      <a:pt x="2" y="132"/>
                    </a:lnTo>
                    <a:lnTo>
                      <a:pt x="6" y="114"/>
                    </a:lnTo>
                    <a:lnTo>
                      <a:pt x="12" y="98"/>
                    </a:lnTo>
                    <a:lnTo>
                      <a:pt x="20" y="80"/>
                    </a:lnTo>
                    <a:lnTo>
                      <a:pt x="30" y="66"/>
                    </a:lnTo>
                    <a:lnTo>
                      <a:pt x="40" y="50"/>
                    </a:lnTo>
                    <a:lnTo>
                      <a:pt x="54" y="38"/>
                    </a:lnTo>
                    <a:lnTo>
                      <a:pt x="68" y="26"/>
                    </a:lnTo>
                    <a:lnTo>
                      <a:pt x="84" y="16"/>
                    </a:lnTo>
                    <a:lnTo>
                      <a:pt x="102" y="8"/>
                    </a:lnTo>
                    <a:lnTo>
                      <a:pt x="120" y="4"/>
                    </a:lnTo>
                    <a:lnTo>
                      <a:pt x="1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54" name="Freeform 14"/>
              <p:cNvSpPr>
                <a:spLocks/>
              </p:cNvSpPr>
              <p:nvPr/>
            </p:nvSpPr>
            <p:spPr bwMode="auto">
              <a:xfrm>
                <a:off x="16051213" y="5835650"/>
                <a:ext cx="1289050" cy="2346325"/>
              </a:xfrm>
              <a:custGeom>
                <a:avLst/>
                <a:gdLst>
                  <a:gd name="T0" fmla="*/ 186 w 812"/>
                  <a:gd name="T1" fmla="*/ 38 h 1478"/>
                  <a:gd name="T2" fmla="*/ 234 w 812"/>
                  <a:gd name="T3" fmla="*/ 12 h 1478"/>
                  <a:gd name="T4" fmla="*/ 304 w 812"/>
                  <a:gd name="T5" fmla="*/ 0 h 1478"/>
                  <a:gd name="T6" fmla="*/ 412 w 812"/>
                  <a:gd name="T7" fmla="*/ 2 h 1478"/>
                  <a:gd name="T8" fmla="*/ 476 w 812"/>
                  <a:gd name="T9" fmla="*/ 0 h 1478"/>
                  <a:gd name="T10" fmla="*/ 564 w 812"/>
                  <a:gd name="T11" fmla="*/ 10 h 1478"/>
                  <a:gd name="T12" fmla="*/ 616 w 812"/>
                  <a:gd name="T13" fmla="*/ 34 h 1478"/>
                  <a:gd name="T14" fmla="*/ 648 w 812"/>
                  <a:gd name="T15" fmla="*/ 62 h 1478"/>
                  <a:gd name="T16" fmla="*/ 676 w 812"/>
                  <a:gd name="T17" fmla="*/ 110 h 1478"/>
                  <a:gd name="T18" fmla="*/ 716 w 812"/>
                  <a:gd name="T19" fmla="*/ 220 h 1478"/>
                  <a:gd name="T20" fmla="*/ 760 w 812"/>
                  <a:gd name="T21" fmla="*/ 370 h 1478"/>
                  <a:gd name="T22" fmla="*/ 780 w 812"/>
                  <a:gd name="T23" fmla="*/ 434 h 1478"/>
                  <a:gd name="T24" fmla="*/ 806 w 812"/>
                  <a:gd name="T25" fmla="*/ 528 h 1478"/>
                  <a:gd name="T26" fmla="*/ 810 w 812"/>
                  <a:gd name="T27" fmla="*/ 610 h 1478"/>
                  <a:gd name="T28" fmla="*/ 792 w 812"/>
                  <a:gd name="T29" fmla="*/ 630 h 1478"/>
                  <a:gd name="T30" fmla="*/ 746 w 812"/>
                  <a:gd name="T31" fmla="*/ 632 h 1478"/>
                  <a:gd name="T32" fmla="*/ 708 w 812"/>
                  <a:gd name="T33" fmla="*/ 610 h 1478"/>
                  <a:gd name="T34" fmla="*/ 670 w 812"/>
                  <a:gd name="T35" fmla="*/ 506 h 1478"/>
                  <a:gd name="T36" fmla="*/ 586 w 812"/>
                  <a:gd name="T37" fmla="*/ 234 h 1478"/>
                  <a:gd name="T38" fmla="*/ 580 w 812"/>
                  <a:gd name="T39" fmla="*/ 220 h 1478"/>
                  <a:gd name="T40" fmla="*/ 550 w 812"/>
                  <a:gd name="T41" fmla="*/ 188 h 1478"/>
                  <a:gd name="T42" fmla="*/ 644 w 812"/>
                  <a:gd name="T43" fmla="*/ 542 h 1478"/>
                  <a:gd name="T44" fmla="*/ 748 w 812"/>
                  <a:gd name="T45" fmla="*/ 892 h 1478"/>
                  <a:gd name="T46" fmla="*/ 570 w 812"/>
                  <a:gd name="T47" fmla="*/ 1020 h 1478"/>
                  <a:gd name="T48" fmla="*/ 570 w 812"/>
                  <a:gd name="T49" fmla="*/ 1398 h 1478"/>
                  <a:gd name="T50" fmla="*/ 566 w 812"/>
                  <a:gd name="T51" fmla="*/ 1426 h 1478"/>
                  <a:gd name="T52" fmla="*/ 542 w 812"/>
                  <a:gd name="T53" fmla="*/ 1464 h 1478"/>
                  <a:gd name="T54" fmla="*/ 502 w 812"/>
                  <a:gd name="T55" fmla="*/ 1478 h 1478"/>
                  <a:gd name="T56" fmla="*/ 474 w 812"/>
                  <a:gd name="T57" fmla="*/ 1472 h 1478"/>
                  <a:gd name="T58" fmla="*/ 444 w 812"/>
                  <a:gd name="T59" fmla="*/ 1442 h 1478"/>
                  <a:gd name="T60" fmla="*/ 436 w 812"/>
                  <a:gd name="T61" fmla="*/ 1400 h 1478"/>
                  <a:gd name="T62" fmla="*/ 436 w 812"/>
                  <a:gd name="T63" fmla="*/ 1146 h 1478"/>
                  <a:gd name="T64" fmla="*/ 434 w 812"/>
                  <a:gd name="T65" fmla="*/ 892 h 1478"/>
                  <a:gd name="T66" fmla="*/ 392 w 812"/>
                  <a:gd name="T67" fmla="*/ 1024 h 1478"/>
                  <a:gd name="T68" fmla="*/ 390 w 812"/>
                  <a:gd name="T69" fmla="*/ 1418 h 1478"/>
                  <a:gd name="T70" fmla="*/ 382 w 812"/>
                  <a:gd name="T71" fmla="*/ 1444 h 1478"/>
                  <a:gd name="T72" fmla="*/ 358 w 812"/>
                  <a:gd name="T73" fmla="*/ 1468 h 1478"/>
                  <a:gd name="T74" fmla="*/ 324 w 812"/>
                  <a:gd name="T75" fmla="*/ 1476 h 1478"/>
                  <a:gd name="T76" fmla="*/ 290 w 812"/>
                  <a:gd name="T77" fmla="*/ 1468 h 1478"/>
                  <a:gd name="T78" fmla="*/ 266 w 812"/>
                  <a:gd name="T79" fmla="*/ 1444 h 1478"/>
                  <a:gd name="T80" fmla="*/ 258 w 812"/>
                  <a:gd name="T81" fmla="*/ 1418 h 1478"/>
                  <a:gd name="T82" fmla="*/ 256 w 812"/>
                  <a:gd name="T83" fmla="*/ 1024 h 1478"/>
                  <a:gd name="T84" fmla="*/ 80 w 812"/>
                  <a:gd name="T85" fmla="*/ 892 h 1478"/>
                  <a:gd name="T86" fmla="*/ 168 w 812"/>
                  <a:gd name="T87" fmla="*/ 546 h 1478"/>
                  <a:gd name="T88" fmla="*/ 254 w 812"/>
                  <a:gd name="T89" fmla="*/ 200 h 1478"/>
                  <a:gd name="T90" fmla="*/ 212 w 812"/>
                  <a:gd name="T91" fmla="*/ 264 h 1478"/>
                  <a:gd name="T92" fmla="*/ 146 w 812"/>
                  <a:gd name="T93" fmla="*/ 502 h 1478"/>
                  <a:gd name="T94" fmla="*/ 116 w 812"/>
                  <a:gd name="T95" fmla="*/ 596 h 1478"/>
                  <a:gd name="T96" fmla="*/ 100 w 812"/>
                  <a:gd name="T97" fmla="*/ 622 h 1478"/>
                  <a:gd name="T98" fmla="*/ 74 w 812"/>
                  <a:gd name="T99" fmla="*/ 634 h 1478"/>
                  <a:gd name="T100" fmla="*/ 44 w 812"/>
                  <a:gd name="T101" fmla="*/ 634 h 1478"/>
                  <a:gd name="T102" fmla="*/ 16 w 812"/>
                  <a:gd name="T103" fmla="*/ 622 h 1478"/>
                  <a:gd name="T104" fmla="*/ 2 w 812"/>
                  <a:gd name="T105" fmla="*/ 598 h 1478"/>
                  <a:gd name="T106" fmla="*/ 4 w 812"/>
                  <a:gd name="T107" fmla="*/ 552 h 1478"/>
                  <a:gd name="T108" fmla="*/ 30 w 812"/>
                  <a:gd name="T109" fmla="*/ 446 h 1478"/>
                  <a:gd name="T110" fmla="*/ 72 w 812"/>
                  <a:gd name="T111" fmla="*/ 308 h 1478"/>
                  <a:gd name="T112" fmla="*/ 110 w 812"/>
                  <a:gd name="T113" fmla="*/ 174 h 1478"/>
                  <a:gd name="T114" fmla="*/ 152 w 812"/>
                  <a:gd name="T115" fmla="*/ 78 h 1478"/>
                  <a:gd name="T116" fmla="*/ 172 w 812"/>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78">
                    <a:moveTo>
                      <a:pt x="172" y="50"/>
                    </a:moveTo>
                    <a:lnTo>
                      <a:pt x="172" y="50"/>
                    </a:lnTo>
                    <a:lnTo>
                      <a:pt x="186" y="38"/>
                    </a:lnTo>
                    <a:lnTo>
                      <a:pt x="202" y="28"/>
                    </a:lnTo>
                    <a:lnTo>
                      <a:pt x="218" y="20"/>
                    </a:lnTo>
                    <a:lnTo>
                      <a:pt x="234" y="12"/>
                    </a:lnTo>
                    <a:lnTo>
                      <a:pt x="250" y="8"/>
                    </a:lnTo>
                    <a:lnTo>
                      <a:pt x="268" y="4"/>
                    </a:lnTo>
                    <a:lnTo>
                      <a:pt x="304" y="0"/>
                    </a:lnTo>
                    <a:lnTo>
                      <a:pt x="340" y="0"/>
                    </a:lnTo>
                    <a:lnTo>
                      <a:pt x="376" y="0"/>
                    </a:lnTo>
                    <a:lnTo>
                      <a:pt x="412" y="2"/>
                    </a:lnTo>
                    <a:lnTo>
                      <a:pt x="446" y="0"/>
                    </a:lnTo>
                    <a:lnTo>
                      <a:pt x="446" y="0"/>
                    </a:lnTo>
                    <a:lnTo>
                      <a:pt x="476" y="0"/>
                    </a:lnTo>
                    <a:lnTo>
                      <a:pt x="506" y="0"/>
                    </a:lnTo>
                    <a:lnTo>
                      <a:pt x="536" y="4"/>
                    </a:lnTo>
                    <a:lnTo>
                      <a:pt x="564" y="10"/>
                    </a:lnTo>
                    <a:lnTo>
                      <a:pt x="592" y="20"/>
                    </a:lnTo>
                    <a:lnTo>
                      <a:pt x="604" y="26"/>
                    </a:lnTo>
                    <a:lnTo>
                      <a:pt x="616" y="34"/>
                    </a:lnTo>
                    <a:lnTo>
                      <a:pt x="628" y="42"/>
                    </a:lnTo>
                    <a:lnTo>
                      <a:pt x="640" y="52"/>
                    </a:lnTo>
                    <a:lnTo>
                      <a:pt x="648" y="62"/>
                    </a:lnTo>
                    <a:lnTo>
                      <a:pt x="658" y="76"/>
                    </a:lnTo>
                    <a:lnTo>
                      <a:pt x="658" y="76"/>
                    </a:lnTo>
                    <a:lnTo>
                      <a:pt x="676" y="110"/>
                    </a:lnTo>
                    <a:lnTo>
                      <a:pt x="692" y="146"/>
                    </a:lnTo>
                    <a:lnTo>
                      <a:pt x="704" y="182"/>
                    </a:lnTo>
                    <a:lnTo>
                      <a:pt x="716" y="220"/>
                    </a:lnTo>
                    <a:lnTo>
                      <a:pt x="738" y="296"/>
                    </a:lnTo>
                    <a:lnTo>
                      <a:pt x="748" y="334"/>
                    </a:lnTo>
                    <a:lnTo>
                      <a:pt x="760" y="370"/>
                    </a:lnTo>
                    <a:lnTo>
                      <a:pt x="760" y="370"/>
                    </a:lnTo>
                    <a:lnTo>
                      <a:pt x="770" y="402"/>
                    </a:lnTo>
                    <a:lnTo>
                      <a:pt x="780" y="434"/>
                    </a:lnTo>
                    <a:lnTo>
                      <a:pt x="790" y="464"/>
                    </a:lnTo>
                    <a:lnTo>
                      <a:pt x="798" y="496"/>
                    </a:lnTo>
                    <a:lnTo>
                      <a:pt x="806" y="528"/>
                    </a:lnTo>
                    <a:lnTo>
                      <a:pt x="810" y="560"/>
                    </a:lnTo>
                    <a:lnTo>
                      <a:pt x="812" y="594"/>
                    </a:lnTo>
                    <a:lnTo>
                      <a:pt x="810" y="610"/>
                    </a:lnTo>
                    <a:lnTo>
                      <a:pt x="806" y="626"/>
                    </a:lnTo>
                    <a:lnTo>
                      <a:pt x="806" y="626"/>
                    </a:lnTo>
                    <a:lnTo>
                      <a:pt x="792" y="630"/>
                    </a:lnTo>
                    <a:lnTo>
                      <a:pt x="776" y="634"/>
                    </a:lnTo>
                    <a:lnTo>
                      <a:pt x="760" y="634"/>
                    </a:lnTo>
                    <a:lnTo>
                      <a:pt x="746" y="632"/>
                    </a:lnTo>
                    <a:lnTo>
                      <a:pt x="732" y="628"/>
                    </a:lnTo>
                    <a:lnTo>
                      <a:pt x="720" y="620"/>
                    </a:lnTo>
                    <a:lnTo>
                      <a:pt x="708" y="610"/>
                    </a:lnTo>
                    <a:lnTo>
                      <a:pt x="700" y="596"/>
                    </a:lnTo>
                    <a:lnTo>
                      <a:pt x="700" y="596"/>
                    </a:lnTo>
                    <a:lnTo>
                      <a:pt x="670" y="506"/>
                    </a:lnTo>
                    <a:lnTo>
                      <a:pt x="642" y="416"/>
                    </a:lnTo>
                    <a:lnTo>
                      <a:pt x="614" y="324"/>
                    </a:lnTo>
                    <a:lnTo>
                      <a:pt x="586" y="234"/>
                    </a:lnTo>
                    <a:lnTo>
                      <a:pt x="586" y="234"/>
                    </a:lnTo>
                    <a:lnTo>
                      <a:pt x="584" y="228"/>
                    </a:lnTo>
                    <a:lnTo>
                      <a:pt x="580" y="220"/>
                    </a:lnTo>
                    <a:lnTo>
                      <a:pt x="570" y="208"/>
                    </a:lnTo>
                    <a:lnTo>
                      <a:pt x="550" y="188"/>
                    </a:lnTo>
                    <a:lnTo>
                      <a:pt x="550" y="188"/>
                    </a:lnTo>
                    <a:lnTo>
                      <a:pt x="570" y="278"/>
                    </a:lnTo>
                    <a:lnTo>
                      <a:pt x="594" y="366"/>
                    </a:lnTo>
                    <a:lnTo>
                      <a:pt x="644" y="542"/>
                    </a:lnTo>
                    <a:lnTo>
                      <a:pt x="696" y="716"/>
                    </a:lnTo>
                    <a:lnTo>
                      <a:pt x="748" y="892"/>
                    </a:lnTo>
                    <a:lnTo>
                      <a:pt x="748" y="892"/>
                    </a:lnTo>
                    <a:lnTo>
                      <a:pt x="572" y="892"/>
                    </a:lnTo>
                    <a:lnTo>
                      <a:pt x="572" y="892"/>
                    </a:lnTo>
                    <a:lnTo>
                      <a:pt x="570" y="1020"/>
                    </a:lnTo>
                    <a:lnTo>
                      <a:pt x="570" y="1146"/>
                    </a:lnTo>
                    <a:lnTo>
                      <a:pt x="572" y="1272"/>
                    </a:lnTo>
                    <a:lnTo>
                      <a:pt x="570" y="1398"/>
                    </a:lnTo>
                    <a:lnTo>
                      <a:pt x="570" y="1398"/>
                    </a:lnTo>
                    <a:lnTo>
                      <a:pt x="568" y="1412"/>
                    </a:lnTo>
                    <a:lnTo>
                      <a:pt x="566" y="1426"/>
                    </a:lnTo>
                    <a:lnTo>
                      <a:pt x="560" y="1440"/>
                    </a:lnTo>
                    <a:lnTo>
                      <a:pt x="552" y="1452"/>
                    </a:lnTo>
                    <a:lnTo>
                      <a:pt x="542" y="1464"/>
                    </a:lnTo>
                    <a:lnTo>
                      <a:pt x="532" y="1472"/>
                    </a:lnTo>
                    <a:lnTo>
                      <a:pt x="518" y="1476"/>
                    </a:lnTo>
                    <a:lnTo>
                      <a:pt x="502" y="1478"/>
                    </a:lnTo>
                    <a:lnTo>
                      <a:pt x="502" y="1478"/>
                    </a:lnTo>
                    <a:lnTo>
                      <a:pt x="488" y="1478"/>
                    </a:lnTo>
                    <a:lnTo>
                      <a:pt x="474" y="1472"/>
                    </a:lnTo>
                    <a:lnTo>
                      <a:pt x="462" y="1464"/>
                    </a:lnTo>
                    <a:lnTo>
                      <a:pt x="452" y="1454"/>
                    </a:lnTo>
                    <a:lnTo>
                      <a:pt x="444" y="1442"/>
                    </a:lnTo>
                    <a:lnTo>
                      <a:pt x="438" y="1430"/>
                    </a:lnTo>
                    <a:lnTo>
                      <a:pt x="436" y="1414"/>
                    </a:lnTo>
                    <a:lnTo>
                      <a:pt x="436" y="1400"/>
                    </a:lnTo>
                    <a:lnTo>
                      <a:pt x="436" y="1400"/>
                    </a:lnTo>
                    <a:lnTo>
                      <a:pt x="434" y="1274"/>
                    </a:lnTo>
                    <a:lnTo>
                      <a:pt x="436" y="1146"/>
                    </a:lnTo>
                    <a:lnTo>
                      <a:pt x="436" y="1020"/>
                    </a:lnTo>
                    <a:lnTo>
                      <a:pt x="434" y="892"/>
                    </a:lnTo>
                    <a:lnTo>
                      <a:pt x="434" y="892"/>
                    </a:lnTo>
                    <a:lnTo>
                      <a:pt x="392" y="894"/>
                    </a:lnTo>
                    <a:lnTo>
                      <a:pt x="392" y="894"/>
                    </a:lnTo>
                    <a:lnTo>
                      <a:pt x="392" y="1024"/>
                    </a:lnTo>
                    <a:lnTo>
                      <a:pt x="392" y="1156"/>
                    </a:lnTo>
                    <a:lnTo>
                      <a:pt x="392" y="1288"/>
                    </a:lnTo>
                    <a:lnTo>
                      <a:pt x="390" y="1418"/>
                    </a:lnTo>
                    <a:lnTo>
                      <a:pt x="390" y="1418"/>
                    </a:lnTo>
                    <a:lnTo>
                      <a:pt x="388" y="1432"/>
                    </a:lnTo>
                    <a:lnTo>
                      <a:pt x="382" y="1444"/>
                    </a:lnTo>
                    <a:lnTo>
                      <a:pt x="376" y="1454"/>
                    </a:lnTo>
                    <a:lnTo>
                      <a:pt x="368" y="1462"/>
                    </a:lnTo>
                    <a:lnTo>
                      <a:pt x="358" y="1468"/>
                    </a:lnTo>
                    <a:lnTo>
                      <a:pt x="348" y="1474"/>
                    </a:lnTo>
                    <a:lnTo>
                      <a:pt x="336" y="1476"/>
                    </a:lnTo>
                    <a:lnTo>
                      <a:pt x="324" y="1476"/>
                    </a:lnTo>
                    <a:lnTo>
                      <a:pt x="312" y="1476"/>
                    </a:lnTo>
                    <a:lnTo>
                      <a:pt x="302" y="1472"/>
                    </a:lnTo>
                    <a:lnTo>
                      <a:pt x="290" y="1468"/>
                    </a:lnTo>
                    <a:lnTo>
                      <a:pt x="282" y="1462"/>
                    </a:lnTo>
                    <a:lnTo>
                      <a:pt x="272" y="1454"/>
                    </a:lnTo>
                    <a:lnTo>
                      <a:pt x="266" y="1444"/>
                    </a:lnTo>
                    <a:lnTo>
                      <a:pt x="260" y="1432"/>
                    </a:lnTo>
                    <a:lnTo>
                      <a:pt x="258" y="1418"/>
                    </a:lnTo>
                    <a:lnTo>
                      <a:pt x="258" y="1418"/>
                    </a:lnTo>
                    <a:lnTo>
                      <a:pt x="256" y="1286"/>
                    </a:lnTo>
                    <a:lnTo>
                      <a:pt x="256" y="1156"/>
                    </a:lnTo>
                    <a:lnTo>
                      <a:pt x="256" y="1024"/>
                    </a:lnTo>
                    <a:lnTo>
                      <a:pt x="256" y="894"/>
                    </a:lnTo>
                    <a:lnTo>
                      <a:pt x="256" y="894"/>
                    </a:lnTo>
                    <a:lnTo>
                      <a:pt x="80" y="892"/>
                    </a:lnTo>
                    <a:lnTo>
                      <a:pt x="80" y="892"/>
                    </a:lnTo>
                    <a:lnTo>
                      <a:pt x="124" y="720"/>
                    </a:lnTo>
                    <a:lnTo>
                      <a:pt x="168" y="546"/>
                    </a:lnTo>
                    <a:lnTo>
                      <a:pt x="212" y="374"/>
                    </a:lnTo>
                    <a:lnTo>
                      <a:pt x="254" y="200"/>
                    </a:lnTo>
                    <a:lnTo>
                      <a:pt x="254" y="200"/>
                    </a:lnTo>
                    <a:lnTo>
                      <a:pt x="228" y="218"/>
                    </a:lnTo>
                    <a:lnTo>
                      <a:pt x="228" y="218"/>
                    </a:lnTo>
                    <a:lnTo>
                      <a:pt x="212" y="264"/>
                    </a:lnTo>
                    <a:lnTo>
                      <a:pt x="198" y="312"/>
                    </a:lnTo>
                    <a:lnTo>
                      <a:pt x="172" y="406"/>
                    </a:lnTo>
                    <a:lnTo>
                      <a:pt x="146" y="502"/>
                    </a:lnTo>
                    <a:lnTo>
                      <a:pt x="132" y="550"/>
                    </a:lnTo>
                    <a:lnTo>
                      <a:pt x="116" y="596"/>
                    </a:lnTo>
                    <a:lnTo>
                      <a:pt x="116" y="596"/>
                    </a:lnTo>
                    <a:lnTo>
                      <a:pt x="112" y="606"/>
                    </a:lnTo>
                    <a:lnTo>
                      <a:pt x="106" y="614"/>
                    </a:lnTo>
                    <a:lnTo>
                      <a:pt x="100" y="622"/>
                    </a:lnTo>
                    <a:lnTo>
                      <a:pt x="92" y="626"/>
                    </a:lnTo>
                    <a:lnTo>
                      <a:pt x="84" y="632"/>
                    </a:lnTo>
                    <a:lnTo>
                      <a:pt x="74" y="634"/>
                    </a:lnTo>
                    <a:lnTo>
                      <a:pt x="64" y="636"/>
                    </a:lnTo>
                    <a:lnTo>
                      <a:pt x="54" y="636"/>
                    </a:lnTo>
                    <a:lnTo>
                      <a:pt x="44" y="634"/>
                    </a:lnTo>
                    <a:lnTo>
                      <a:pt x="34" y="632"/>
                    </a:lnTo>
                    <a:lnTo>
                      <a:pt x="24" y="628"/>
                    </a:lnTo>
                    <a:lnTo>
                      <a:pt x="16" y="622"/>
                    </a:lnTo>
                    <a:lnTo>
                      <a:pt x="10" y="616"/>
                    </a:lnTo>
                    <a:lnTo>
                      <a:pt x="4" y="608"/>
                    </a:lnTo>
                    <a:lnTo>
                      <a:pt x="2" y="598"/>
                    </a:lnTo>
                    <a:lnTo>
                      <a:pt x="0" y="588"/>
                    </a:lnTo>
                    <a:lnTo>
                      <a:pt x="0" y="588"/>
                    </a:lnTo>
                    <a:lnTo>
                      <a:pt x="4" y="552"/>
                    </a:lnTo>
                    <a:lnTo>
                      <a:pt x="12" y="516"/>
                    </a:lnTo>
                    <a:lnTo>
                      <a:pt x="20" y="482"/>
                    </a:lnTo>
                    <a:lnTo>
                      <a:pt x="30" y="446"/>
                    </a:lnTo>
                    <a:lnTo>
                      <a:pt x="52" y="378"/>
                    </a:lnTo>
                    <a:lnTo>
                      <a:pt x="72" y="308"/>
                    </a:lnTo>
                    <a:lnTo>
                      <a:pt x="72" y="308"/>
                    </a:lnTo>
                    <a:lnTo>
                      <a:pt x="82" y="276"/>
                    </a:lnTo>
                    <a:lnTo>
                      <a:pt x="92" y="242"/>
                    </a:lnTo>
                    <a:lnTo>
                      <a:pt x="110" y="174"/>
                    </a:lnTo>
                    <a:lnTo>
                      <a:pt x="120" y="140"/>
                    </a:lnTo>
                    <a:lnTo>
                      <a:pt x="134" y="108"/>
                    </a:lnTo>
                    <a:lnTo>
                      <a:pt x="152" y="78"/>
                    </a:lnTo>
                    <a:lnTo>
                      <a:pt x="162" y="64"/>
                    </a:lnTo>
                    <a:lnTo>
                      <a:pt x="172" y="50"/>
                    </a:lnTo>
                    <a:lnTo>
                      <a:pt x="172"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38" name="Group 37"/>
            <p:cNvGrpSpPr/>
            <p:nvPr/>
          </p:nvGrpSpPr>
          <p:grpSpPr>
            <a:xfrm>
              <a:off x="12666663" y="4721225"/>
              <a:ext cx="1117600" cy="2860675"/>
              <a:chOff x="12666663" y="4721225"/>
              <a:chExt cx="1117600" cy="2860675"/>
            </a:xfrm>
            <a:grpFill/>
          </p:grpSpPr>
          <p:sp>
            <p:nvSpPr>
              <p:cNvPr id="51" name="Freeform 15"/>
              <p:cNvSpPr>
                <a:spLocks/>
              </p:cNvSpPr>
              <p:nvPr/>
            </p:nvSpPr>
            <p:spPr bwMode="auto">
              <a:xfrm>
                <a:off x="13003213" y="4721225"/>
                <a:ext cx="463550" cy="460375"/>
              </a:xfrm>
              <a:custGeom>
                <a:avLst/>
                <a:gdLst>
                  <a:gd name="T0" fmla="*/ 108 w 292"/>
                  <a:gd name="T1" fmla="*/ 6 h 290"/>
                  <a:gd name="T2" fmla="*/ 108 w 292"/>
                  <a:gd name="T3" fmla="*/ 6 h 290"/>
                  <a:gd name="T4" fmla="*/ 128 w 292"/>
                  <a:gd name="T5" fmla="*/ 2 h 290"/>
                  <a:gd name="T6" fmla="*/ 146 w 292"/>
                  <a:gd name="T7" fmla="*/ 0 h 290"/>
                  <a:gd name="T8" fmla="*/ 166 w 292"/>
                  <a:gd name="T9" fmla="*/ 2 h 290"/>
                  <a:gd name="T10" fmla="*/ 186 w 292"/>
                  <a:gd name="T11" fmla="*/ 8 h 290"/>
                  <a:gd name="T12" fmla="*/ 204 w 292"/>
                  <a:gd name="T13" fmla="*/ 14 h 290"/>
                  <a:gd name="T14" fmla="*/ 220 w 292"/>
                  <a:gd name="T15" fmla="*/ 24 h 290"/>
                  <a:gd name="T16" fmla="*/ 236 w 292"/>
                  <a:gd name="T17" fmla="*/ 36 h 290"/>
                  <a:gd name="T18" fmla="*/ 252 w 292"/>
                  <a:gd name="T19" fmla="*/ 50 h 290"/>
                  <a:gd name="T20" fmla="*/ 264 w 292"/>
                  <a:gd name="T21" fmla="*/ 66 h 290"/>
                  <a:gd name="T22" fmla="*/ 274 w 292"/>
                  <a:gd name="T23" fmla="*/ 82 h 290"/>
                  <a:gd name="T24" fmla="*/ 282 w 292"/>
                  <a:gd name="T25" fmla="*/ 100 h 290"/>
                  <a:gd name="T26" fmla="*/ 288 w 292"/>
                  <a:gd name="T27" fmla="*/ 118 h 290"/>
                  <a:gd name="T28" fmla="*/ 292 w 292"/>
                  <a:gd name="T29" fmla="*/ 138 h 290"/>
                  <a:gd name="T30" fmla="*/ 292 w 292"/>
                  <a:gd name="T31" fmla="*/ 156 h 290"/>
                  <a:gd name="T32" fmla="*/ 288 w 292"/>
                  <a:gd name="T33" fmla="*/ 176 h 290"/>
                  <a:gd name="T34" fmla="*/ 280 w 292"/>
                  <a:gd name="T35" fmla="*/ 196 h 290"/>
                  <a:gd name="T36" fmla="*/ 280 w 292"/>
                  <a:gd name="T37" fmla="*/ 196 h 290"/>
                  <a:gd name="T38" fmla="*/ 274 w 292"/>
                  <a:gd name="T39" fmla="*/ 214 h 290"/>
                  <a:gd name="T40" fmla="*/ 264 w 292"/>
                  <a:gd name="T41" fmla="*/ 230 h 290"/>
                  <a:gd name="T42" fmla="*/ 252 w 292"/>
                  <a:gd name="T43" fmla="*/ 246 h 290"/>
                  <a:gd name="T44" fmla="*/ 238 w 292"/>
                  <a:gd name="T45" fmla="*/ 258 h 290"/>
                  <a:gd name="T46" fmla="*/ 222 w 292"/>
                  <a:gd name="T47" fmla="*/ 268 h 290"/>
                  <a:gd name="T48" fmla="*/ 206 w 292"/>
                  <a:gd name="T49" fmla="*/ 278 h 290"/>
                  <a:gd name="T50" fmla="*/ 188 w 292"/>
                  <a:gd name="T51" fmla="*/ 284 h 290"/>
                  <a:gd name="T52" fmla="*/ 170 w 292"/>
                  <a:gd name="T53" fmla="*/ 288 h 290"/>
                  <a:gd name="T54" fmla="*/ 152 w 292"/>
                  <a:gd name="T55" fmla="*/ 290 h 290"/>
                  <a:gd name="T56" fmla="*/ 132 w 292"/>
                  <a:gd name="T57" fmla="*/ 290 h 290"/>
                  <a:gd name="T58" fmla="*/ 114 w 292"/>
                  <a:gd name="T59" fmla="*/ 288 h 290"/>
                  <a:gd name="T60" fmla="*/ 96 w 292"/>
                  <a:gd name="T61" fmla="*/ 284 h 290"/>
                  <a:gd name="T62" fmla="*/ 78 w 292"/>
                  <a:gd name="T63" fmla="*/ 276 h 290"/>
                  <a:gd name="T64" fmla="*/ 62 w 292"/>
                  <a:gd name="T65" fmla="*/ 268 h 290"/>
                  <a:gd name="T66" fmla="*/ 46 w 292"/>
                  <a:gd name="T67" fmla="*/ 256 h 290"/>
                  <a:gd name="T68" fmla="*/ 34 w 292"/>
                  <a:gd name="T69" fmla="*/ 240 h 290"/>
                  <a:gd name="T70" fmla="*/ 34 w 292"/>
                  <a:gd name="T71" fmla="*/ 240 h 290"/>
                  <a:gd name="T72" fmla="*/ 22 w 292"/>
                  <a:gd name="T73" fmla="*/ 226 h 290"/>
                  <a:gd name="T74" fmla="*/ 12 w 292"/>
                  <a:gd name="T75" fmla="*/ 210 h 290"/>
                  <a:gd name="T76" fmla="*/ 6 w 292"/>
                  <a:gd name="T77" fmla="*/ 192 h 290"/>
                  <a:gd name="T78" fmla="*/ 2 w 292"/>
                  <a:gd name="T79" fmla="*/ 176 h 290"/>
                  <a:gd name="T80" fmla="*/ 0 w 292"/>
                  <a:gd name="T81" fmla="*/ 158 h 290"/>
                  <a:gd name="T82" fmla="*/ 0 w 292"/>
                  <a:gd name="T83" fmla="*/ 138 h 290"/>
                  <a:gd name="T84" fmla="*/ 2 w 292"/>
                  <a:gd name="T85" fmla="*/ 120 h 290"/>
                  <a:gd name="T86" fmla="*/ 6 w 292"/>
                  <a:gd name="T87" fmla="*/ 102 h 290"/>
                  <a:gd name="T88" fmla="*/ 12 w 292"/>
                  <a:gd name="T89" fmla="*/ 86 h 290"/>
                  <a:gd name="T90" fmla="*/ 20 w 292"/>
                  <a:gd name="T91" fmla="*/ 70 h 290"/>
                  <a:gd name="T92" fmla="*/ 32 w 292"/>
                  <a:gd name="T93" fmla="*/ 54 h 290"/>
                  <a:gd name="T94" fmla="*/ 44 w 292"/>
                  <a:gd name="T95" fmla="*/ 40 h 290"/>
                  <a:gd name="T96" fmla="*/ 56 w 292"/>
                  <a:gd name="T97" fmla="*/ 28 h 290"/>
                  <a:gd name="T98" fmla="*/ 72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6" y="0"/>
                    </a:lnTo>
                    <a:lnTo>
                      <a:pt x="166" y="2"/>
                    </a:lnTo>
                    <a:lnTo>
                      <a:pt x="186" y="8"/>
                    </a:lnTo>
                    <a:lnTo>
                      <a:pt x="204" y="14"/>
                    </a:lnTo>
                    <a:lnTo>
                      <a:pt x="220" y="24"/>
                    </a:lnTo>
                    <a:lnTo>
                      <a:pt x="236" y="36"/>
                    </a:lnTo>
                    <a:lnTo>
                      <a:pt x="252" y="50"/>
                    </a:lnTo>
                    <a:lnTo>
                      <a:pt x="264" y="66"/>
                    </a:lnTo>
                    <a:lnTo>
                      <a:pt x="274" y="82"/>
                    </a:lnTo>
                    <a:lnTo>
                      <a:pt x="282" y="100"/>
                    </a:lnTo>
                    <a:lnTo>
                      <a:pt x="288" y="118"/>
                    </a:lnTo>
                    <a:lnTo>
                      <a:pt x="292" y="138"/>
                    </a:lnTo>
                    <a:lnTo>
                      <a:pt x="292" y="156"/>
                    </a:lnTo>
                    <a:lnTo>
                      <a:pt x="288" y="176"/>
                    </a:lnTo>
                    <a:lnTo>
                      <a:pt x="280" y="196"/>
                    </a:lnTo>
                    <a:lnTo>
                      <a:pt x="280" y="196"/>
                    </a:lnTo>
                    <a:lnTo>
                      <a:pt x="274" y="214"/>
                    </a:lnTo>
                    <a:lnTo>
                      <a:pt x="264" y="230"/>
                    </a:lnTo>
                    <a:lnTo>
                      <a:pt x="252" y="246"/>
                    </a:lnTo>
                    <a:lnTo>
                      <a:pt x="238" y="258"/>
                    </a:lnTo>
                    <a:lnTo>
                      <a:pt x="222" y="268"/>
                    </a:lnTo>
                    <a:lnTo>
                      <a:pt x="206" y="278"/>
                    </a:lnTo>
                    <a:lnTo>
                      <a:pt x="188" y="284"/>
                    </a:lnTo>
                    <a:lnTo>
                      <a:pt x="170" y="288"/>
                    </a:lnTo>
                    <a:lnTo>
                      <a:pt x="152" y="290"/>
                    </a:lnTo>
                    <a:lnTo>
                      <a:pt x="132" y="290"/>
                    </a:lnTo>
                    <a:lnTo>
                      <a:pt x="114" y="288"/>
                    </a:lnTo>
                    <a:lnTo>
                      <a:pt x="96" y="284"/>
                    </a:lnTo>
                    <a:lnTo>
                      <a:pt x="78" y="276"/>
                    </a:lnTo>
                    <a:lnTo>
                      <a:pt x="62" y="268"/>
                    </a:lnTo>
                    <a:lnTo>
                      <a:pt x="46" y="256"/>
                    </a:lnTo>
                    <a:lnTo>
                      <a:pt x="34" y="240"/>
                    </a:lnTo>
                    <a:lnTo>
                      <a:pt x="34" y="240"/>
                    </a:lnTo>
                    <a:lnTo>
                      <a:pt x="22" y="226"/>
                    </a:lnTo>
                    <a:lnTo>
                      <a:pt x="12" y="210"/>
                    </a:lnTo>
                    <a:lnTo>
                      <a:pt x="6" y="192"/>
                    </a:lnTo>
                    <a:lnTo>
                      <a:pt x="2" y="176"/>
                    </a:lnTo>
                    <a:lnTo>
                      <a:pt x="0" y="158"/>
                    </a:lnTo>
                    <a:lnTo>
                      <a:pt x="0" y="138"/>
                    </a:lnTo>
                    <a:lnTo>
                      <a:pt x="2" y="120"/>
                    </a:lnTo>
                    <a:lnTo>
                      <a:pt x="6" y="102"/>
                    </a:lnTo>
                    <a:lnTo>
                      <a:pt x="12" y="86"/>
                    </a:lnTo>
                    <a:lnTo>
                      <a:pt x="20" y="70"/>
                    </a:lnTo>
                    <a:lnTo>
                      <a:pt x="32" y="54"/>
                    </a:lnTo>
                    <a:lnTo>
                      <a:pt x="44" y="40"/>
                    </a:lnTo>
                    <a:lnTo>
                      <a:pt x="56" y="28"/>
                    </a:lnTo>
                    <a:lnTo>
                      <a:pt x="72"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52" name="Freeform 16"/>
              <p:cNvSpPr>
                <a:spLocks/>
              </p:cNvSpPr>
              <p:nvPr/>
            </p:nvSpPr>
            <p:spPr bwMode="auto">
              <a:xfrm>
                <a:off x="12666663" y="5229225"/>
                <a:ext cx="1117600" cy="2352675"/>
              </a:xfrm>
              <a:custGeom>
                <a:avLst/>
                <a:gdLst>
                  <a:gd name="T0" fmla="*/ 106 w 704"/>
                  <a:gd name="T1" fmla="*/ 18 h 1482"/>
                  <a:gd name="T2" fmla="*/ 200 w 704"/>
                  <a:gd name="T3" fmla="*/ 2 h 1482"/>
                  <a:gd name="T4" fmla="*/ 352 w 704"/>
                  <a:gd name="T5" fmla="*/ 2 h 1482"/>
                  <a:gd name="T6" fmla="*/ 456 w 704"/>
                  <a:gd name="T7" fmla="*/ 0 h 1482"/>
                  <a:gd name="T8" fmla="*/ 556 w 704"/>
                  <a:gd name="T9" fmla="*/ 8 h 1482"/>
                  <a:gd name="T10" fmla="*/ 618 w 704"/>
                  <a:gd name="T11" fmla="*/ 30 h 1482"/>
                  <a:gd name="T12" fmla="*/ 646 w 704"/>
                  <a:gd name="T13" fmla="*/ 50 h 1482"/>
                  <a:gd name="T14" fmla="*/ 678 w 704"/>
                  <a:gd name="T15" fmla="*/ 86 h 1482"/>
                  <a:gd name="T16" fmla="*/ 700 w 704"/>
                  <a:gd name="T17" fmla="*/ 156 h 1482"/>
                  <a:gd name="T18" fmla="*/ 704 w 704"/>
                  <a:gd name="T19" fmla="*/ 230 h 1482"/>
                  <a:gd name="T20" fmla="*/ 702 w 704"/>
                  <a:gd name="T21" fmla="*/ 646 h 1482"/>
                  <a:gd name="T22" fmla="*/ 698 w 704"/>
                  <a:gd name="T23" fmla="*/ 684 h 1482"/>
                  <a:gd name="T24" fmla="*/ 678 w 704"/>
                  <a:gd name="T25" fmla="*/ 716 h 1482"/>
                  <a:gd name="T26" fmla="*/ 652 w 704"/>
                  <a:gd name="T27" fmla="*/ 724 h 1482"/>
                  <a:gd name="T28" fmla="*/ 628 w 704"/>
                  <a:gd name="T29" fmla="*/ 724 h 1482"/>
                  <a:gd name="T30" fmla="*/ 598 w 704"/>
                  <a:gd name="T31" fmla="*/ 704 h 1482"/>
                  <a:gd name="T32" fmla="*/ 580 w 704"/>
                  <a:gd name="T33" fmla="*/ 662 h 1482"/>
                  <a:gd name="T34" fmla="*/ 578 w 704"/>
                  <a:gd name="T35" fmla="*/ 242 h 1482"/>
                  <a:gd name="T36" fmla="*/ 534 w 704"/>
                  <a:gd name="T37" fmla="*/ 242 h 1482"/>
                  <a:gd name="T38" fmla="*/ 532 w 704"/>
                  <a:gd name="T39" fmla="*/ 1400 h 1482"/>
                  <a:gd name="T40" fmla="*/ 528 w 704"/>
                  <a:gd name="T41" fmla="*/ 1432 h 1482"/>
                  <a:gd name="T42" fmla="*/ 500 w 704"/>
                  <a:gd name="T43" fmla="*/ 1466 h 1482"/>
                  <a:gd name="T44" fmla="*/ 458 w 704"/>
                  <a:gd name="T45" fmla="*/ 1480 h 1482"/>
                  <a:gd name="T46" fmla="*/ 414 w 704"/>
                  <a:gd name="T47" fmla="*/ 1476 h 1482"/>
                  <a:gd name="T48" fmla="*/ 382 w 704"/>
                  <a:gd name="T49" fmla="*/ 1450 h 1482"/>
                  <a:gd name="T50" fmla="*/ 372 w 704"/>
                  <a:gd name="T51" fmla="*/ 1418 h 1482"/>
                  <a:gd name="T52" fmla="*/ 370 w 704"/>
                  <a:gd name="T53" fmla="*/ 722 h 1482"/>
                  <a:gd name="T54" fmla="*/ 332 w 704"/>
                  <a:gd name="T55" fmla="*/ 722 h 1482"/>
                  <a:gd name="T56" fmla="*/ 332 w 704"/>
                  <a:gd name="T57" fmla="*/ 1330 h 1482"/>
                  <a:gd name="T58" fmla="*/ 322 w 704"/>
                  <a:gd name="T59" fmla="*/ 1428 h 1482"/>
                  <a:gd name="T60" fmla="*/ 302 w 704"/>
                  <a:gd name="T61" fmla="*/ 1468 h 1482"/>
                  <a:gd name="T62" fmla="*/ 266 w 704"/>
                  <a:gd name="T63" fmla="*/ 1480 h 1482"/>
                  <a:gd name="T64" fmla="*/ 228 w 704"/>
                  <a:gd name="T65" fmla="*/ 1480 h 1482"/>
                  <a:gd name="T66" fmla="*/ 196 w 704"/>
                  <a:gd name="T67" fmla="*/ 1466 h 1482"/>
                  <a:gd name="T68" fmla="*/ 172 w 704"/>
                  <a:gd name="T69" fmla="*/ 1440 h 1482"/>
                  <a:gd name="T70" fmla="*/ 164 w 704"/>
                  <a:gd name="T71" fmla="*/ 1402 h 1482"/>
                  <a:gd name="T72" fmla="*/ 162 w 704"/>
                  <a:gd name="T73" fmla="*/ 824 h 1482"/>
                  <a:gd name="T74" fmla="*/ 162 w 704"/>
                  <a:gd name="T75" fmla="*/ 244 h 1482"/>
                  <a:gd name="T76" fmla="*/ 124 w 704"/>
                  <a:gd name="T77" fmla="*/ 340 h 1482"/>
                  <a:gd name="T78" fmla="*/ 124 w 704"/>
                  <a:gd name="T79" fmla="*/ 628 h 1482"/>
                  <a:gd name="T80" fmla="*/ 114 w 704"/>
                  <a:gd name="T81" fmla="*/ 680 h 1482"/>
                  <a:gd name="T82" fmla="*/ 90 w 704"/>
                  <a:gd name="T83" fmla="*/ 716 h 1482"/>
                  <a:gd name="T84" fmla="*/ 68 w 704"/>
                  <a:gd name="T85" fmla="*/ 724 h 1482"/>
                  <a:gd name="T86" fmla="*/ 50 w 704"/>
                  <a:gd name="T87" fmla="*/ 724 h 1482"/>
                  <a:gd name="T88" fmla="*/ 20 w 704"/>
                  <a:gd name="T89" fmla="*/ 712 h 1482"/>
                  <a:gd name="T90" fmla="*/ 2 w 704"/>
                  <a:gd name="T91" fmla="*/ 684 h 1482"/>
                  <a:gd name="T92" fmla="*/ 0 w 704"/>
                  <a:gd name="T93" fmla="*/ 662 h 1482"/>
                  <a:gd name="T94" fmla="*/ 0 w 704"/>
                  <a:gd name="T95" fmla="*/ 176 h 1482"/>
                  <a:gd name="T96" fmla="*/ 12 w 704"/>
                  <a:gd name="T97" fmla="*/ 106 h 1482"/>
                  <a:gd name="T98" fmla="*/ 50 w 704"/>
                  <a:gd name="T99" fmla="*/ 50 h 1482"/>
                  <a:gd name="T100" fmla="*/ 88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88" y="24"/>
                    </a:moveTo>
                    <a:lnTo>
                      <a:pt x="88" y="24"/>
                    </a:lnTo>
                    <a:lnTo>
                      <a:pt x="106" y="18"/>
                    </a:lnTo>
                    <a:lnTo>
                      <a:pt x="124" y="12"/>
                    </a:lnTo>
                    <a:lnTo>
                      <a:pt x="162" y="6"/>
                    </a:lnTo>
                    <a:lnTo>
                      <a:pt x="200" y="2"/>
                    </a:lnTo>
                    <a:lnTo>
                      <a:pt x="238" y="0"/>
                    </a:lnTo>
                    <a:lnTo>
                      <a:pt x="314" y="0"/>
                    </a:lnTo>
                    <a:lnTo>
                      <a:pt x="352" y="2"/>
                    </a:lnTo>
                    <a:lnTo>
                      <a:pt x="388" y="0"/>
                    </a:lnTo>
                    <a:lnTo>
                      <a:pt x="388" y="0"/>
                    </a:lnTo>
                    <a:lnTo>
                      <a:pt x="456" y="0"/>
                    </a:lnTo>
                    <a:lnTo>
                      <a:pt x="490" y="0"/>
                    </a:lnTo>
                    <a:lnTo>
                      <a:pt x="524" y="2"/>
                    </a:lnTo>
                    <a:lnTo>
                      <a:pt x="556" y="8"/>
                    </a:lnTo>
                    <a:lnTo>
                      <a:pt x="588" y="16"/>
                    </a:lnTo>
                    <a:lnTo>
                      <a:pt x="604" y="22"/>
                    </a:lnTo>
                    <a:lnTo>
                      <a:pt x="618" y="30"/>
                    </a:lnTo>
                    <a:lnTo>
                      <a:pt x="632" y="38"/>
                    </a:lnTo>
                    <a:lnTo>
                      <a:pt x="646" y="50"/>
                    </a:lnTo>
                    <a:lnTo>
                      <a:pt x="646" y="50"/>
                    </a:lnTo>
                    <a:lnTo>
                      <a:pt x="656" y="58"/>
                    </a:lnTo>
                    <a:lnTo>
                      <a:pt x="664" y="66"/>
                    </a:lnTo>
                    <a:lnTo>
                      <a:pt x="678" y="86"/>
                    </a:lnTo>
                    <a:lnTo>
                      <a:pt x="688" y="108"/>
                    </a:lnTo>
                    <a:lnTo>
                      <a:pt x="694" y="132"/>
                    </a:lnTo>
                    <a:lnTo>
                      <a:pt x="700" y="156"/>
                    </a:lnTo>
                    <a:lnTo>
                      <a:pt x="702" y="182"/>
                    </a:lnTo>
                    <a:lnTo>
                      <a:pt x="704" y="230"/>
                    </a:lnTo>
                    <a:lnTo>
                      <a:pt x="704" y="230"/>
                    </a:lnTo>
                    <a:lnTo>
                      <a:pt x="704" y="438"/>
                    </a:lnTo>
                    <a:lnTo>
                      <a:pt x="702" y="646"/>
                    </a:lnTo>
                    <a:lnTo>
                      <a:pt x="702" y="646"/>
                    </a:lnTo>
                    <a:lnTo>
                      <a:pt x="702" y="658"/>
                    </a:lnTo>
                    <a:lnTo>
                      <a:pt x="700" y="672"/>
                    </a:lnTo>
                    <a:lnTo>
                      <a:pt x="698" y="684"/>
                    </a:lnTo>
                    <a:lnTo>
                      <a:pt x="692" y="698"/>
                    </a:lnTo>
                    <a:lnTo>
                      <a:pt x="686" y="708"/>
                    </a:lnTo>
                    <a:lnTo>
                      <a:pt x="678" y="716"/>
                    </a:lnTo>
                    <a:lnTo>
                      <a:pt x="666" y="722"/>
                    </a:lnTo>
                    <a:lnTo>
                      <a:pt x="652" y="724"/>
                    </a:lnTo>
                    <a:lnTo>
                      <a:pt x="652" y="724"/>
                    </a:lnTo>
                    <a:lnTo>
                      <a:pt x="644" y="726"/>
                    </a:lnTo>
                    <a:lnTo>
                      <a:pt x="636" y="726"/>
                    </a:lnTo>
                    <a:lnTo>
                      <a:pt x="628" y="724"/>
                    </a:lnTo>
                    <a:lnTo>
                      <a:pt x="622" y="722"/>
                    </a:lnTo>
                    <a:lnTo>
                      <a:pt x="608" y="714"/>
                    </a:lnTo>
                    <a:lnTo>
                      <a:pt x="598" y="704"/>
                    </a:lnTo>
                    <a:lnTo>
                      <a:pt x="590" y="692"/>
                    </a:lnTo>
                    <a:lnTo>
                      <a:pt x="584" y="676"/>
                    </a:lnTo>
                    <a:lnTo>
                      <a:pt x="580" y="662"/>
                    </a:lnTo>
                    <a:lnTo>
                      <a:pt x="578" y="646"/>
                    </a:lnTo>
                    <a:lnTo>
                      <a:pt x="578" y="646"/>
                    </a:lnTo>
                    <a:lnTo>
                      <a:pt x="578" y="242"/>
                    </a:lnTo>
                    <a:lnTo>
                      <a:pt x="578" y="242"/>
                    </a:lnTo>
                    <a:lnTo>
                      <a:pt x="534" y="242"/>
                    </a:lnTo>
                    <a:lnTo>
                      <a:pt x="534" y="242"/>
                    </a:lnTo>
                    <a:lnTo>
                      <a:pt x="532" y="822"/>
                    </a:lnTo>
                    <a:lnTo>
                      <a:pt x="532" y="1112"/>
                    </a:lnTo>
                    <a:lnTo>
                      <a:pt x="532" y="1400"/>
                    </a:lnTo>
                    <a:lnTo>
                      <a:pt x="532" y="1400"/>
                    </a:lnTo>
                    <a:lnTo>
                      <a:pt x="532" y="1418"/>
                    </a:lnTo>
                    <a:lnTo>
                      <a:pt x="528" y="1432"/>
                    </a:lnTo>
                    <a:lnTo>
                      <a:pt x="522" y="1444"/>
                    </a:lnTo>
                    <a:lnTo>
                      <a:pt x="512" y="1456"/>
                    </a:lnTo>
                    <a:lnTo>
                      <a:pt x="500" y="1466"/>
                    </a:lnTo>
                    <a:lnTo>
                      <a:pt x="488" y="1472"/>
                    </a:lnTo>
                    <a:lnTo>
                      <a:pt x="474" y="1478"/>
                    </a:lnTo>
                    <a:lnTo>
                      <a:pt x="458" y="1480"/>
                    </a:lnTo>
                    <a:lnTo>
                      <a:pt x="444" y="1480"/>
                    </a:lnTo>
                    <a:lnTo>
                      <a:pt x="428" y="1480"/>
                    </a:lnTo>
                    <a:lnTo>
                      <a:pt x="414" y="1476"/>
                    </a:lnTo>
                    <a:lnTo>
                      <a:pt x="402" y="1470"/>
                    </a:lnTo>
                    <a:lnTo>
                      <a:pt x="390" y="1460"/>
                    </a:lnTo>
                    <a:lnTo>
                      <a:pt x="382" y="1450"/>
                    </a:lnTo>
                    <a:lnTo>
                      <a:pt x="374" y="1436"/>
                    </a:lnTo>
                    <a:lnTo>
                      <a:pt x="372" y="1418"/>
                    </a:lnTo>
                    <a:lnTo>
                      <a:pt x="372" y="1418"/>
                    </a:lnTo>
                    <a:lnTo>
                      <a:pt x="370" y="1244"/>
                    </a:lnTo>
                    <a:lnTo>
                      <a:pt x="370" y="1070"/>
                    </a:lnTo>
                    <a:lnTo>
                      <a:pt x="370" y="722"/>
                    </a:lnTo>
                    <a:lnTo>
                      <a:pt x="370" y="722"/>
                    </a:lnTo>
                    <a:lnTo>
                      <a:pt x="332" y="722"/>
                    </a:lnTo>
                    <a:lnTo>
                      <a:pt x="332" y="722"/>
                    </a:lnTo>
                    <a:lnTo>
                      <a:pt x="332" y="1026"/>
                    </a:lnTo>
                    <a:lnTo>
                      <a:pt x="332" y="1330"/>
                    </a:lnTo>
                    <a:lnTo>
                      <a:pt x="332" y="1330"/>
                    </a:lnTo>
                    <a:lnTo>
                      <a:pt x="332" y="1362"/>
                    </a:lnTo>
                    <a:lnTo>
                      <a:pt x="328" y="1396"/>
                    </a:lnTo>
                    <a:lnTo>
                      <a:pt x="322" y="1428"/>
                    </a:lnTo>
                    <a:lnTo>
                      <a:pt x="312" y="1460"/>
                    </a:lnTo>
                    <a:lnTo>
                      <a:pt x="312" y="1460"/>
                    </a:lnTo>
                    <a:lnTo>
                      <a:pt x="302" y="1468"/>
                    </a:lnTo>
                    <a:lnTo>
                      <a:pt x="290" y="1472"/>
                    </a:lnTo>
                    <a:lnTo>
                      <a:pt x="278" y="1478"/>
                    </a:lnTo>
                    <a:lnTo>
                      <a:pt x="266" y="1480"/>
                    </a:lnTo>
                    <a:lnTo>
                      <a:pt x="254" y="1482"/>
                    </a:lnTo>
                    <a:lnTo>
                      <a:pt x="242" y="1482"/>
                    </a:lnTo>
                    <a:lnTo>
                      <a:pt x="228" y="1480"/>
                    </a:lnTo>
                    <a:lnTo>
                      <a:pt x="216" y="1478"/>
                    </a:lnTo>
                    <a:lnTo>
                      <a:pt x="206" y="1472"/>
                    </a:lnTo>
                    <a:lnTo>
                      <a:pt x="196" y="1466"/>
                    </a:lnTo>
                    <a:lnTo>
                      <a:pt x="186" y="1460"/>
                    </a:lnTo>
                    <a:lnTo>
                      <a:pt x="178" y="1450"/>
                    </a:lnTo>
                    <a:lnTo>
                      <a:pt x="172" y="1440"/>
                    </a:lnTo>
                    <a:lnTo>
                      <a:pt x="166" y="1430"/>
                    </a:lnTo>
                    <a:lnTo>
                      <a:pt x="164" y="1416"/>
                    </a:lnTo>
                    <a:lnTo>
                      <a:pt x="164" y="1402"/>
                    </a:lnTo>
                    <a:lnTo>
                      <a:pt x="164" y="1402"/>
                    </a:lnTo>
                    <a:lnTo>
                      <a:pt x="162" y="1114"/>
                    </a:lnTo>
                    <a:lnTo>
                      <a:pt x="162" y="824"/>
                    </a:lnTo>
                    <a:lnTo>
                      <a:pt x="162" y="534"/>
                    </a:lnTo>
                    <a:lnTo>
                      <a:pt x="162" y="244"/>
                    </a:lnTo>
                    <a:lnTo>
                      <a:pt x="162" y="244"/>
                    </a:lnTo>
                    <a:lnTo>
                      <a:pt x="124" y="244"/>
                    </a:lnTo>
                    <a:lnTo>
                      <a:pt x="124" y="244"/>
                    </a:lnTo>
                    <a:lnTo>
                      <a:pt x="124" y="340"/>
                    </a:lnTo>
                    <a:lnTo>
                      <a:pt x="124" y="436"/>
                    </a:lnTo>
                    <a:lnTo>
                      <a:pt x="124" y="628"/>
                    </a:lnTo>
                    <a:lnTo>
                      <a:pt x="124" y="628"/>
                    </a:lnTo>
                    <a:lnTo>
                      <a:pt x="124" y="646"/>
                    </a:lnTo>
                    <a:lnTo>
                      <a:pt x="120" y="662"/>
                    </a:lnTo>
                    <a:lnTo>
                      <a:pt x="114" y="680"/>
                    </a:lnTo>
                    <a:lnTo>
                      <a:pt x="108" y="696"/>
                    </a:lnTo>
                    <a:lnTo>
                      <a:pt x="96" y="710"/>
                    </a:lnTo>
                    <a:lnTo>
                      <a:pt x="90" y="716"/>
                    </a:lnTo>
                    <a:lnTo>
                      <a:pt x="84" y="720"/>
                    </a:lnTo>
                    <a:lnTo>
                      <a:pt x="76" y="724"/>
                    </a:lnTo>
                    <a:lnTo>
                      <a:pt x="68" y="724"/>
                    </a:lnTo>
                    <a:lnTo>
                      <a:pt x="60" y="726"/>
                    </a:lnTo>
                    <a:lnTo>
                      <a:pt x="50" y="724"/>
                    </a:lnTo>
                    <a:lnTo>
                      <a:pt x="50" y="724"/>
                    </a:lnTo>
                    <a:lnTo>
                      <a:pt x="38" y="722"/>
                    </a:lnTo>
                    <a:lnTo>
                      <a:pt x="28" y="720"/>
                    </a:lnTo>
                    <a:lnTo>
                      <a:pt x="20" y="712"/>
                    </a:lnTo>
                    <a:lnTo>
                      <a:pt x="12" y="704"/>
                    </a:lnTo>
                    <a:lnTo>
                      <a:pt x="6" y="694"/>
                    </a:lnTo>
                    <a:lnTo>
                      <a:pt x="2" y="684"/>
                    </a:lnTo>
                    <a:lnTo>
                      <a:pt x="0" y="672"/>
                    </a:lnTo>
                    <a:lnTo>
                      <a:pt x="0" y="662"/>
                    </a:lnTo>
                    <a:lnTo>
                      <a:pt x="0" y="662"/>
                    </a:lnTo>
                    <a:lnTo>
                      <a:pt x="0" y="418"/>
                    </a:lnTo>
                    <a:lnTo>
                      <a:pt x="0" y="176"/>
                    </a:lnTo>
                    <a:lnTo>
                      <a:pt x="0" y="176"/>
                    </a:lnTo>
                    <a:lnTo>
                      <a:pt x="0" y="152"/>
                    </a:lnTo>
                    <a:lnTo>
                      <a:pt x="4" y="130"/>
                    </a:lnTo>
                    <a:lnTo>
                      <a:pt x="12" y="106"/>
                    </a:lnTo>
                    <a:lnTo>
                      <a:pt x="22" y="86"/>
                    </a:lnTo>
                    <a:lnTo>
                      <a:pt x="34" y="66"/>
                    </a:lnTo>
                    <a:lnTo>
                      <a:pt x="50" y="50"/>
                    </a:lnTo>
                    <a:lnTo>
                      <a:pt x="68" y="36"/>
                    </a:lnTo>
                    <a:lnTo>
                      <a:pt x="88" y="24"/>
                    </a:lnTo>
                    <a:lnTo>
                      <a:pt x="8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39" name="Group 38"/>
            <p:cNvGrpSpPr/>
            <p:nvPr/>
          </p:nvGrpSpPr>
          <p:grpSpPr>
            <a:xfrm>
              <a:off x="17248188" y="4721225"/>
              <a:ext cx="1117600" cy="2860675"/>
              <a:chOff x="17248188" y="4721225"/>
              <a:chExt cx="1117600" cy="2860675"/>
            </a:xfrm>
            <a:grpFill/>
          </p:grpSpPr>
          <p:sp>
            <p:nvSpPr>
              <p:cNvPr id="49" name="Freeform 48"/>
              <p:cNvSpPr>
                <a:spLocks/>
              </p:cNvSpPr>
              <p:nvPr/>
            </p:nvSpPr>
            <p:spPr bwMode="auto">
              <a:xfrm>
                <a:off x="17565688" y="4721225"/>
                <a:ext cx="463550" cy="460375"/>
              </a:xfrm>
              <a:custGeom>
                <a:avLst/>
                <a:gdLst>
                  <a:gd name="T0" fmla="*/ 184 w 292"/>
                  <a:gd name="T1" fmla="*/ 6 h 290"/>
                  <a:gd name="T2" fmla="*/ 184 w 292"/>
                  <a:gd name="T3" fmla="*/ 6 h 290"/>
                  <a:gd name="T4" fmla="*/ 164 w 292"/>
                  <a:gd name="T5" fmla="*/ 2 h 290"/>
                  <a:gd name="T6" fmla="*/ 144 w 292"/>
                  <a:gd name="T7" fmla="*/ 0 h 290"/>
                  <a:gd name="T8" fmla="*/ 124 w 292"/>
                  <a:gd name="T9" fmla="*/ 2 h 290"/>
                  <a:gd name="T10" fmla="*/ 106 w 292"/>
                  <a:gd name="T11" fmla="*/ 8 h 290"/>
                  <a:gd name="T12" fmla="*/ 88 w 292"/>
                  <a:gd name="T13" fmla="*/ 14 h 290"/>
                  <a:gd name="T14" fmla="*/ 70 w 292"/>
                  <a:gd name="T15" fmla="*/ 24 h 290"/>
                  <a:gd name="T16" fmla="*/ 54 w 292"/>
                  <a:gd name="T17" fmla="*/ 36 h 290"/>
                  <a:gd name="T18" fmla="*/ 40 w 292"/>
                  <a:gd name="T19" fmla="*/ 50 h 290"/>
                  <a:gd name="T20" fmla="*/ 26 w 292"/>
                  <a:gd name="T21" fmla="*/ 66 h 290"/>
                  <a:gd name="T22" fmla="*/ 16 w 292"/>
                  <a:gd name="T23" fmla="*/ 82 h 290"/>
                  <a:gd name="T24" fmla="*/ 8 w 292"/>
                  <a:gd name="T25" fmla="*/ 100 h 290"/>
                  <a:gd name="T26" fmla="*/ 2 w 292"/>
                  <a:gd name="T27" fmla="*/ 118 h 290"/>
                  <a:gd name="T28" fmla="*/ 0 w 292"/>
                  <a:gd name="T29" fmla="*/ 138 h 290"/>
                  <a:gd name="T30" fmla="*/ 0 w 292"/>
                  <a:gd name="T31" fmla="*/ 156 h 290"/>
                  <a:gd name="T32" fmla="*/ 4 w 292"/>
                  <a:gd name="T33" fmla="*/ 176 h 290"/>
                  <a:gd name="T34" fmla="*/ 10 w 292"/>
                  <a:gd name="T35" fmla="*/ 196 h 290"/>
                  <a:gd name="T36" fmla="*/ 10 w 292"/>
                  <a:gd name="T37" fmla="*/ 196 h 290"/>
                  <a:gd name="T38" fmla="*/ 18 w 292"/>
                  <a:gd name="T39" fmla="*/ 214 h 290"/>
                  <a:gd name="T40" fmla="*/ 26 w 292"/>
                  <a:gd name="T41" fmla="*/ 230 h 290"/>
                  <a:gd name="T42" fmla="*/ 38 w 292"/>
                  <a:gd name="T43" fmla="*/ 246 h 290"/>
                  <a:gd name="T44" fmla="*/ 52 w 292"/>
                  <a:gd name="T45" fmla="*/ 258 h 290"/>
                  <a:gd name="T46" fmla="*/ 68 w 292"/>
                  <a:gd name="T47" fmla="*/ 268 h 290"/>
                  <a:gd name="T48" fmla="*/ 84 w 292"/>
                  <a:gd name="T49" fmla="*/ 278 h 290"/>
                  <a:gd name="T50" fmla="*/ 102 w 292"/>
                  <a:gd name="T51" fmla="*/ 284 h 290"/>
                  <a:gd name="T52" fmla="*/ 120 w 292"/>
                  <a:gd name="T53" fmla="*/ 288 h 290"/>
                  <a:gd name="T54" fmla="*/ 140 w 292"/>
                  <a:gd name="T55" fmla="*/ 290 h 290"/>
                  <a:gd name="T56" fmla="*/ 158 w 292"/>
                  <a:gd name="T57" fmla="*/ 290 h 290"/>
                  <a:gd name="T58" fmla="*/ 178 w 292"/>
                  <a:gd name="T59" fmla="*/ 288 h 290"/>
                  <a:gd name="T60" fmla="*/ 196 w 292"/>
                  <a:gd name="T61" fmla="*/ 284 h 290"/>
                  <a:gd name="T62" fmla="*/ 212 w 292"/>
                  <a:gd name="T63" fmla="*/ 276 h 290"/>
                  <a:gd name="T64" fmla="*/ 230 w 292"/>
                  <a:gd name="T65" fmla="*/ 268 h 290"/>
                  <a:gd name="T66" fmla="*/ 244 w 292"/>
                  <a:gd name="T67" fmla="*/ 256 h 290"/>
                  <a:gd name="T68" fmla="*/ 256 w 292"/>
                  <a:gd name="T69" fmla="*/ 240 h 290"/>
                  <a:gd name="T70" fmla="*/ 256 w 292"/>
                  <a:gd name="T71" fmla="*/ 240 h 290"/>
                  <a:gd name="T72" fmla="*/ 268 w 292"/>
                  <a:gd name="T73" fmla="*/ 226 h 290"/>
                  <a:gd name="T74" fmla="*/ 278 w 292"/>
                  <a:gd name="T75" fmla="*/ 210 h 290"/>
                  <a:gd name="T76" fmla="*/ 284 w 292"/>
                  <a:gd name="T77" fmla="*/ 192 h 290"/>
                  <a:gd name="T78" fmla="*/ 290 w 292"/>
                  <a:gd name="T79" fmla="*/ 176 h 290"/>
                  <a:gd name="T80" fmla="*/ 292 w 292"/>
                  <a:gd name="T81" fmla="*/ 158 h 290"/>
                  <a:gd name="T82" fmla="*/ 292 w 292"/>
                  <a:gd name="T83" fmla="*/ 138 h 290"/>
                  <a:gd name="T84" fmla="*/ 288 w 292"/>
                  <a:gd name="T85" fmla="*/ 120 h 290"/>
                  <a:gd name="T86" fmla="*/ 284 w 292"/>
                  <a:gd name="T87" fmla="*/ 102 h 290"/>
                  <a:gd name="T88" fmla="*/ 278 w 292"/>
                  <a:gd name="T89" fmla="*/ 86 h 290"/>
                  <a:gd name="T90" fmla="*/ 270 w 292"/>
                  <a:gd name="T91" fmla="*/ 70 h 290"/>
                  <a:gd name="T92" fmla="*/ 260 w 292"/>
                  <a:gd name="T93" fmla="*/ 54 h 290"/>
                  <a:gd name="T94" fmla="*/ 248 w 292"/>
                  <a:gd name="T95" fmla="*/ 40 h 290"/>
                  <a:gd name="T96" fmla="*/ 234 w 292"/>
                  <a:gd name="T97" fmla="*/ 28 h 290"/>
                  <a:gd name="T98" fmla="*/ 218 w 292"/>
                  <a:gd name="T99" fmla="*/ 18 h 290"/>
                  <a:gd name="T100" fmla="*/ 202 w 292"/>
                  <a:gd name="T101" fmla="*/ 10 h 290"/>
                  <a:gd name="T102" fmla="*/ 184 w 292"/>
                  <a:gd name="T103" fmla="*/ 6 h 290"/>
                  <a:gd name="T104" fmla="*/ 184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84" y="6"/>
                    </a:moveTo>
                    <a:lnTo>
                      <a:pt x="184" y="6"/>
                    </a:lnTo>
                    <a:lnTo>
                      <a:pt x="164" y="2"/>
                    </a:lnTo>
                    <a:lnTo>
                      <a:pt x="144" y="0"/>
                    </a:lnTo>
                    <a:lnTo>
                      <a:pt x="124" y="2"/>
                    </a:lnTo>
                    <a:lnTo>
                      <a:pt x="106" y="8"/>
                    </a:lnTo>
                    <a:lnTo>
                      <a:pt x="88" y="14"/>
                    </a:lnTo>
                    <a:lnTo>
                      <a:pt x="70" y="24"/>
                    </a:lnTo>
                    <a:lnTo>
                      <a:pt x="54" y="36"/>
                    </a:lnTo>
                    <a:lnTo>
                      <a:pt x="40" y="50"/>
                    </a:lnTo>
                    <a:lnTo>
                      <a:pt x="26" y="66"/>
                    </a:lnTo>
                    <a:lnTo>
                      <a:pt x="16" y="82"/>
                    </a:lnTo>
                    <a:lnTo>
                      <a:pt x="8" y="100"/>
                    </a:lnTo>
                    <a:lnTo>
                      <a:pt x="2" y="118"/>
                    </a:lnTo>
                    <a:lnTo>
                      <a:pt x="0" y="138"/>
                    </a:lnTo>
                    <a:lnTo>
                      <a:pt x="0" y="156"/>
                    </a:lnTo>
                    <a:lnTo>
                      <a:pt x="4" y="176"/>
                    </a:lnTo>
                    <a:lnTo>
                      <a:pt x="10" y="196"/>
                    </a:lnTo>
                    <a:lnTo>
                      <a:pt x="10" y="196"/>
                    </a:lnTo>
                    <a:lnTo>
                      <a:pt x="18" y="214"/>
                    </a:lnTo>
                    <a:lnTo>
                      <a:pt x="26" y="230"/>
                    </a:lnTo>
                    <a:lnTo>
                      <a:pt x="38" y="246"/>
                    </a:lnTo>
                    <a:lnTo>
                      <a:pt x="52" y="258"/>
                    </a:lnTo>
                    <a:lnTo>
                      <a:pt x="68" y="268"/>
                    </a:lnTo>
                    <a:lnTo>
                      <a:pt x="84" y="278"/>
                    </a:lnTo>
                    <a:lnTo>
                      <a:pt x="102" y="284"/>
                    </a:lnTo>
                    <a:lnTo>
                      <a:pt x="120" y="288"/>
                    </a:lnTo>
                    <a:lnTo>
                      <a:pt x="140" y="290"/>
                    </a:lnTo>
                    <a:lnTo>
                      <a:pt x="158" y="290"/>
                    </a:lnTo>
                    <a:lnTo>
                      <a:pt x="178" y="288"/>
                    </a:lnTo>
                    <a:lnTo>
                      <a:pt x="196" y="284"/>
                    </a:lnTo>
                    <a:lnTo>
                      <a:pt x="212" y="276"/>
                    </a:lnTo>
                    <a:lnTo>
                      <a:pt x="230" y="268"/>
                    </a:lnTo>
                    <a:lnTo>
                      <a:pt x="244" y="256"/>
                    </a:lnTo>
                    <a:lnTo>
                      <a:pt x="256" y="240"/>
                    </a:lnTo>
                    <a:lnTo>
                      <a:pt x="256" y="240"/>
                    </a:lnTo>
                    <a:lnTo>
                      <a:pt x="268" y="226"/>
                    </a:lnTo>
                    <a:lnTo>
                      <a:pt x="278" y="210"/>
                    </a:lnTo>
                    <a:lnTo>
                      <a:pt x="284" y="192"/>
                    </a:lnTo>
                    <a:lnTo>
                      <a:pt x="290" y="176"/>
                    </a:lnTo>
                    <a:lnTo>
                      <a:pt x="292" y="158"/>
                    </a:lnTo>
                    <a:lnTo>
                      <a:pt x="292" y="138"/>
                    </a:lnTo>
                    <a:lnTo>
                      <a:pt x="288" y="120"/>
                    </a:lnTo>
                    <a:lnTo>
                      <a:pt x="284" y="102"/>
                    </a:lnTo>
                    <a:lnTo>
                      <a:pt x="278" y="86"/>
                    </a:lnTo>
                    <a:lnTo>
                      <a:pt x="270" y="70"/>
                    </a:lnTo>
                    <a:lnTo>
                      <a:pt x="260" y="54"/>
                    </a:lnTo>
                    <a:lnTo>
                      <a:pt x="248" y="40"/>
                    </a:lnTo>
                    <a:lnTo>
                      <a:pt x="234" y="28"/>
                    </a:lnTo>
                    <a:lnTo>
                      <a:pt x="218" y="18"/>
                    </a:lnTo>
                    <a:lnTo>
                      <a:pt x="202" y="10"/>
                    </a:lnTo>
                    <a:lnTo>
                      <a:pt x="184" y="6"/>
                    </a:lnTo>
                    <a:lnTo>
                      <a:pt x="18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50" name="Freeform 49"/>
              <p:cNvSpPr>
                <a:spLocks/>
              </p:cNvSpPr>
              <p:nvPr/>
            </p:nvSpPr>
            <p:spPr bwMode="auto">
              <a:xfrm>
                <a:off x="17248188" y="5229225"/>
                <a:ext cx="1117600" cy="2352675"/>
              </a:xfrm>
              <a:custGeom>
                <a:avLst/>
                <a:gdLst>
                  <a:gd name="T0" fmla="*/ 596 w 704"/>
                  <a:gd name="T1" fmla="*/ 18 h 1482"/>
                  <a:gd name="T2" fmla="*/ 504 w 704"/>
                  <a:gd name="T3" fmla="*/ 2 h 1482"/>
                  <a:gd name="T4" fmla="*/ 352 w 704"/>
                  <a:gd name="T5" fmla="*/ 2 h 1482"/>
                  <a:gd name="T6" fmla="*/ 248 w 704"/>
                  <a:gd name="T7" fmla="*/ 0 h 1482"/>
                  <a:gd name="T8" fmla="*/ 146 w 704"/>
                  <a:gd name="T9" fmla="*/ 8 h 1482"/>
                  <a:gd name="T10" fmla="*/ 84 w 704"/>
                  <a:gd name="T11" fmla="*/ 30 h 1482"/>
                  <a:gd name="T12" fmla="*/ 56 w 704"/>
                  <a:gd name="T13" fmla="*/ 50 h 1482"/>
                  <a:gd name="T14" fmla="*/ 24 w 704"/>
                  <a:gd name="T15" fmla="*/ 86 h 1482"/>
                  <a:gd name="T16" fmla="*/ 4 w 704"/>
                  <a:gd name="T17" fmla="*/ 156 h 1482"/>
                  <a:gd name="T18" fmla="*/ 0 w 704"/>
                  <a:gd name="T19" fmla="*/ 230 h 1482"/>
                  <a:gd name="T20" fmla="*/ 0 w 704"/>
                  <a:gd name="T21" fmla="*/ 646 h 1482"/>
                  <a:gd name="T22" fmla="*/ 4 w 704"/>
                  <a:gd name="T23" fmla="*/ 684 h 1482"/>
                  <a:gd name="T24" fmla="*/ 26 w 704"/>
                  <a:gd name="T25" fmla="*/ 716 h 1482"/>
                  <a:gd name="T26" fmla="*/ 50 w 704"/>
                  <a:gd name="T27" fmla="*/ 724 h 1482"/>
                  <a:gd name="T28" fmla="*/ 74 w 704"/>
                  <a:gd name="T29" fmla="*/ 724 h 1482"/>
                  <a:gd name="T30" fmla="*/ 104 w 704"/>
                  <a:gd name="T31" fmla="*/ 704 h 1482"/>
                  <a:gd name="T32" fmla="*/ 124 w 704"/>
                  <a:gd name="T33" fmla="*/ 662 h 1482"/>
                  <a:gd name="T34" fmla="*/ 124 w 704"/>
                  <a:gd name="T35" fmla="*/ 242 h 1482"/>
                  <a:gd name="T36" fmla="*/ 170 w 704"/>
                  <a:gd name="T37" fmla="*/ 242 h 1482"/>
                  <a:gd name="T38" fmla="*/ 170 w 704"/>
                  <a:gd name="T39" fmla="*/ 1400 h 1482"/>
                  <a:gd name="T40" fmla="*/ 174 w 704"/>
                  <a:gd name="T41" fmla="*/ 1432 h 1482"/>
                  <a:gd name="T42" fmla="*/ 202 w 704"/>
                  <a:gd name="T43" fmla="*/ 1466 h 1482"/>
                  <a:gd name="T44" fmla="*/ 244 w 704"/>
                  <a:gd name="T45" fmla="*/ 1480 h 1482"/>
                  <a:gd name="T46" fmla="*/ 288 w 704"/>
                  <a:gd name="T47" fmla="*/ 1476 h 1482"/>
                  <a:gd name="T48" fmla="*/ 322 w 704"/>
                  <a:gd name="T49" fmla="*/ 1450 h 1482"/>
                  <a:gd name="T50" fmla="*/ 332 w 704"/>
                  <a:gd name="T51" fmla="*/ 1418 h 1482"/>
                  <a:gd name="T52" fmla="*/ 332 w 704"/>
                  <a:gd name="T53" fmla="*/ 722 h 1482"/>
                  <a:gd name="T54" fmla="*/ 370 w 704"/>
                  <a:gd name="T55" fmla="*/ 722 h 1482"/>
                  <a:gd name="T56" fmla="*/ 370 w 704"/>
                  <a:gd name="T57" fmla="*/ 1330 h 1482"/>
                  <a:gd name="T58" fmla="*/ 380 w 704"/>
                  <a:gd name="T59" fmla="*/ 1428 h 1482"/>
                  <a:gd name="T60" fmla="*/ 400 w 704"/>
                  <a:gd name="T61" fmla="*/ 1468 h 1482"/>
                  <a:gd name="T62" fmla="*/ 436 w 704"/>
                  <a:gd name="T63" fmla="*/ 1480 h 1482"/>
                  <a:gd name="T64" fmla="*/ 474 w 704"/>
                  <a:gd name="T65" fmla="*/ 1480 h 1482"/>
                  <a:gd name="T66" fmla="*/ 508 w 704"/>
                  <a:gd name="T67" fmla="*/ 1466 h 1482"/>
                  <a:gd name="T68" fmla="*/ 532 w 704"/>
                  <a:gd name="T69" fmla="*/ 1440 h 1482"/>
                  <a:gd name="T70" fmla="*/ 540 w 704"/>
                  <a:gd name="T71" fmla="*/ 1402 h 1482"/>
                  <a:gd name="T72" fmla="*/ 540 w 704"/>
                  <a:gd name="T73" fmla="*/ 824 h 1482"/>
                  <a:gd name="T74" fmla="*/ 542 w 704"/>
                  <a:gd name="T75" fmla="*/ 244 h 1482"/>
                  <a:gd name="T76" fmla="*/ 578 w 704"/>
                  <a:gd name="T77" fmla="*/ 340 h 1482"/>
                  <a:gd name="T78" fmla="*/ 578 w 704"/>
                  <a:gd name="T79" fmla="*/ 628 h 1482"/>
                  <a:gd name="T80" fmla="*/ 588 w 704"/>
                  <a:gd name="T81" fmla="*/ 680 h 1482"/>
                  <a:gd name="T82" fmla="*/ 612 w 704"/>
                  <a:gd name="T83" fmla="*/ 716 h 1482"/>
                  <a:gd name="T84" fmla="*/ 634 w 704"/>
                  <a:gd name="T85" fmla="*/ 724 h 1482"/>
                  <a:gd name="T86" fmla="*/ 654 w 704"/>
                  <a:gd name="T87" fmla="*/ 724 h 1482"/>
                  <a:gd name="T88" fmla="*/ 684 w 704"/>
                  <a:gd name="T89" fmla="*/ 712 h 1482"/>
                  <a:gd name="T90" fmla="*/ 700 w 704"/>
                  <a:gd name="T91" fmla="*/ 684 h 1482"/>
                  <a:gd name="T92" fmla="*/ 702 w 704"/>
                  <a:gd name="T93" fmla="*/ 662 h 1482"/>
                  <a:gd name="T94" fmla="*/ 702 w 704"/>
                  <a:gd name="T95" fmla="*/ 176 h 1482"/>
                  <a:gd name="T96" fmla="*/ 692 w 704"/>
                  <a:gd name="T97" fmla="*/ 106 h 1482"/>
                  <a:gd name="T98" fmla="*/ 654 w 704"/>
                  <a:gd name="T99" fmla="*/ 50 h 1482"/>
                  <a:gd name="T100" fmla="*/ 614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614" y="24"/>
                    </a:moveTo>
                    <a:lnTo>
                      <a:pt x="614" y="24"/>
                    </a:lnTo>
                    <a:lnTo>
                      <a:pt x="596" y="18"/>
                    </a:lnTo>
                    <a:lnTo>
                      <a:pt x="578" y="12"/>
                    </a:lnTo>
                    <a:lnTo>
                      <a:pt x="540" y="6"/>
                    </a:lnTo>
                    <a:lnTo>
                      <a:pt x="504" y="2"/>
                    </a:lnTo>
                    <a:lnTo>
                      <a:pt x="466" y="0"/>
                    </a:lnTo>
                    <a:lnTo>
                      <a:pt x="390" y="0"/>
                    </a:lnTo>
                    <a:lnTo>
                      <a:pt x="352" y="2"/>
                    </a:lnTo>
                    <a:lnTo>
                      <a:pt x="314" y="0"/>
                    </a:lnTo>
                    <a:lnTo>
                      <a:pt x="314" y="0"/>
                    </a:lnTo>
                    <a:lnTo>
                      <a:pt x="248" y="0"/>
                    </a:lnTo>
                    <a:lnTo>
                      <a:pt x="214" y="0"/>
                    </a:lnTo>
                    <a:lnTo>
                      <a:pt x="180" y="2"/>
                    </a:lnTo>
                    <a:lnTo>
                      <a:pt x="146" y="8"/>
                    </a:lnTo>
                    <a:lnTo>
                      <a:pt x="114" y="16"/>
                    </a:lnTo>
                    <a:lnTo>
                      <a:pt x="100" y="22"/>
                    </a:lnTo>
                    <a:lnTo>
                      <a:pt x="84" y="30"/>
                    </a:lnTo>
                    <a:lnTo>
                      <a:pt x="70" y="38"/>
                    </a:lnTo>
                    <a:lnTo>
                      <a:pt x="56" y="50"/>
                    </a:lnTo>
                    <a:lnTo>
                      <a:pt x="56" y="50"/>
                    </a:lnTo>
                    <a:lnTo>
                      <a:pt x="46" y="58"/>
                    </a:lnTo>
                    <a:lnTo>
                      <a:pt x="38" y="66"/>
                    </a:lnTo>
                    <a:lnTo>
                      <a:pt x="24" y="86"/>
                    </a:lnTo>
                    <a:lnTo>
                      <a:pt x="14" y="108"/>
                    </a:lnTo>
                    <a:lnTo>
                      <a:pt x="8" y="132"/>
                    </a:lnTo>
                    <a:lnTo>
                      <a:pt x="4" y="156"/>
                    </a:lnTo>
                    <a:lnTo>
                      <a:pt x="0" y="182"/>
                    </a:lnTo>
                    <a:lnTo>
                      <a:pt x="0" y="230"/>
                    </a:lnTo>
                    <a:lnTo>
                      <a:pt x="0" y="230"/>
                    </a:lnTo>
                    <a:lnTo>
                      <a:pt x="0" y="438"/>
                    </a:lnTo>
                    <a:lnTo>
                      <a:pt x="0" y="646"/>
                    </a:lnTo>
                    <a:lnTo>
                      <a:pt x="0" y="646"/>
                    </a:lnTo>
                    <a:lnTo>
                      <a:pt x="0" y="658"/>
                    </a:lnTo>
                    <a:lnTo>
                      <a:pt x="2" y="672"/>
                    </a:lnTo>
                    <a:lnTo>
                      <a:pt x="4" y="684"/>
                    </a:lnTo>
                    <a:lnTo>
                      <a:pt x="10" y="698"/>
                    </a:lnTo>
                    <a:lnTo>
                      <a:pt x="16" y="708"/>
                    </a:lnTo>
                    <a:lnTo>
                      <a:pt x="26" y="716"/>
                    </a:lnTo>
                    <a:lnTo>
                      <a:pt x="36" y="722"/>
                    </a:lnTo>
                    <a:lnTo>
                      <a:pt x="50" y="724"/>
                    </a:lnTo>
                    <a:lnTo>
                      <a:pt x="50" y="724"/>
                    </a:lnTo>
                    <a:lnTo>
                      <a:pt x="58" y="726"/>
                    </a:lnTo>
                    <a:lnTo>
                      <a:pt x="66" y="726"/>
                    </a:lnTo>
                    <a:lnTo>
                      <a:pt x="74" y="724"/>
                    </a:lnTo>
                    <a:lnTo>
                      <a:pt x="80" y="722"/>
                    </a:lnTo>
                    <a:lnTo>
                      <a:pt x="94" y="714"/>
                    </a:lnTo>
                    <a:lnTo>
                      <a:pt x="104" y="704"/>
                    </a:lnTo>
                    <a:lnTo>
                      <a:pt x="114" y="692"/>
                    </a:lnTo>
                    <a:lnTo>
                      <a:pt x="120" y="676"/>
                    </a:lnTo>
                    <a:lnTo>
                      <a:pt x="124" y="662"/>
                    </a:lnTo>
                    <a:lnTo>
                      <a:pt x="124" y="646"/>
                    </a:lnTo>
                    <a:lnTo>
                      <a:pt x="124" y="646"/>
                    </a:lnTo>
                    <a:lnTo>
                      <a:pt x="124" y="242"/>
                    </a:lnTo>
                    <a:lnTo>
                      <a:pt x="124" y="242"/>
                    </a:lnTo>
                    <a:lnTo>
                      <a:pt x="170" y="242"/>
                    </a:lnTo>
                    <a:lnTo>
                      <a:pt x="170" y="242"/>
                    </a:lnTo>
                    <a:lnTo>
                      <a:pt x="170" y="822"/>
                    </a:lnTo>
                    <a:lnTo>
                      <a:pt x="170" y="1112"/>
                    </a:lnTo>
                    <a:lnTo>
                      <a:pt x="170" y="1400"/>
                    </a:lnTo>
                    <a:lnTo>
                      <a:pt x="170" y="1400"/>
                    </a:lnTo>
                    <a:lnTo>
                      <a:pt x="172" y="1418"/>
                    </a:lnTo>
                    <a:lnTo>
                      <a:pt x="174" y="1432"/>
                    </a:lnTo>
                    <a:lnTo>
                      <a:pt x="182" y="1444"/>
                    </a:lnTo>
                    <a:lnTo>
                      <a:pt x="190" y="1456"/>
                    </a:lnTo>
                    <a:lnTo>
                      <a:pt x="202" y="1466"/>
                    </a:lnTo>
                    <a:lnTo>
                      <a:pt x="216" y="1472"/>
                    </a:lnTo>
                    <a:lnTo>
                      <a:pt x="230" y="1478"/>
                    </a:lnTo>
                    <a:lnTo>
                      <a:pt x="244" y="1480"/>
                    </a:lnTo>
                    <a:lnTo>
                      <a:pt x="260" y="1480"/>
                    </a:lnTo>
                    <a:lnTo>
                      <a:pt x="274" y="1480"/>
                    </a:lnTo>
                    <a:lnTo>
                      <a:pt x="288" y="1476"/>
                    </a:lnTo>
                    <a:lnTo>
                      <a:pt x="302" y="1470"/>
                    </a:lnTo>
                    <a:lnTo>
                      <a:pt x="312" y="1460"/>
                    </a:lnTo>
                    <a:lnTo>
                      <a:pt x="322" y="1450"/>
                    </a:lnTo>
                    <a:lnTo>
                      <a:pt x="328" y="1436"/>
                    </a:lnTo>
                    <a:lnTo>
                      <a:pt x="332" y="1418"/>
                    </a:lnTo>
                    <a:lnTo>
                      <a:pt x="332" y="1418"/>
                    </a:lnTo>
                    <a:lnTo>
                      <a:pt x="332" y="1244"/>
                    </a:lnTo>
                    <a:lnTo>
                      <a:pt x="332" y="1070"/>
                    </a:lnTo>
                    <a:lnTo>
                      <a:pt x="332" y="722"/>
                    </a:lnTo>
                    <a:lnTo>
                      <a:pt x="332" y="722"/>
                    </a:lnTo>
                    <a:lnTo>
                      <a:pt x="370" y="722"/>
                    </a:lnTo>
                    <a:lnTo>
                      <a:pt x="370" y="722"/>
                    </a:lnTo>
                    <a:lnTo>
                      <a:pt x="370" y="1026"/>
                    </a:lnTo>
                    <a:lnTo>
                      <a:pt x="370" y="1330"/>
                    </a:lnTo>
                    <a:lnTo>
                      <a:pt x="370" y="1330"/>
                    </a:lnTo>
                    <a:lnTo>
                      <a:pt x="370" y="1362"/>
                    </a:lnTo>
                    <a:lnTo>
                      <a:pt x="374" y="1396"/>
                    </a:lnTo>
                    <a:lnTo>
                      <a:pt x="380" y="1428"/>
                    </a:lnTo>
                    <a:lnTo>
                      <a:pt x="390" y="1460"/>
                    </a:lnTo>
                    <a:lnTo>
                      <a:pt x="390" y="1460"/>
                    </a:lnTo>
                    <a:lnTo>
                      <a:pt x="400" y="1468"/>
                    </a:lnTo>
                    <a:lnTo>
                      <a:pt x="412" y="1472"/>
                    </a:lnTo>
                    <a:lnTo>
                      <a:pt x="424" y="1478"/>
                    </a:lnTo>
                    <a:lnTo>
                      <a:pt x="436" y="1480"/>
                    </a:lnTo>
                    <a:lnTo>
                      <a:pt x="448" y="1482"/>
                    </a:lnTo>
                    <a:lnTo>
                      <a:pt x="462" y="1482"/>
                    </a:lnTo>
                    <a:lnTo>
                      <a:pt x="474" y="1480"/>
                    </a:lnTo>
                    <a:lnTo>
                      <a:pt x="486" y="1476"/>
                    </a:lnTo>
                    <a:lnTo>
                      <a:pt x="498" y="1472"/>
                    </a:lnTo>
                    <a:lnTo>
                      <a:pt x="508" y="1466"/>
                    </a:lnTo>
                    <a:lnTo>
                      <a:pt x="516" y="1460"/>
                    </a:lnTo>
                    <a:lnTo>
                      <a:pt x="524" y="1450"/>
                    </a:lnTo>
                    <a:lnTo>
                      <a:pt x="532" y="1440"/>
                    </a:lnTo>
                    <a:lnTo>
                      <a:pt x="536" y="1430"/>
                    </a:lnTo>
                    <a:lnTo>
                      <a:pt x="538" y="1416"/>
                    </a:lnTo>
                    <a:lnTo>
                      <a:pt x="540" y="1402"/>
                    </a:lnTo>
                    <a:lnTo>
                      <a:pt x="540" y="1402"/>
                    </a:lnTo>
                    <a:lnTo>
                      <a:pt x="540" y="1114"/>
                    </a:lnTo>
                    <a:lnTo>
                      <a:pt x="540" y="824"/>
                    </a:lnTo>
                    <a:lnTo>
                      <a:pt x="540" y="534"/>
                    </a:lnTo>
                    <a:lnTo>
                      <a:pt x="542" y="244"/>
                    </a:lnTo>
                    <a:lnTo>
                      <a:pt x="542" y="244"/>
                    </a:lnTo>
                    <a:lnTo>
                      <a:pt x="578" y="244"/>
                    </a:lnTo>
                    <a:lnTo>
                      <a:pt x="578" y="244"/>
                    </a:lnTo>
                    <a:lnTo>
                      <a:pt x="578" y="340"/>
                    </a:lnTo>
                    <a:lnTo>
                      <a:pt x="578" y="436"/>
                    </a:lnTo>
                    <a:lnTo>
                      <a:pt x="578" y="628"/>
                    </a:lnTo>
                    <a:lnTo>
                      <a:pt x="578" y="628"/>
                    </a:lnTo>
                    <a:lnTo>
                      <a:pt x="580" y="646"/>
                    </a:lnTo>
                    <a:lnTo>
                      <a:pt x="582" y="662"/>
                    </a:lnTo>
                    <a:lnTo>
                      <a:pt x="588" y="680"/>
                    </a:lnTo>
                    <a:lnTo>
                      <a:pt x="596" y="696"/>
                    </a:lnTo>
                    <a:lnTo>
                      <a:pt x="606" y="710"/>
                    </a:lnTo>
                    <a:lnTo>
                      <a:pt x="612" y="716"/>
                    </a:lnTo>
                    <a:lnTo>
                      <a:pt x="618" y="720"/>
                    </a:lnTo>
                    <a:lnTo>
                      <a:pt x="626" y="724"/>
                    </a:lnTo>
                    <a:lnTo>
                      <a:pt x="634" y="724"/>
                    </a:lnTo>
                    <a:lnTo>
                      <a:pt x="644" y="726"/>
                    </a:lnTo>
                    <a:lnTo>
                      <a:pt x="654" y="724"/>
                    </a:lnTo>
                    <a:lnTo>
                      <a:pt x="654" y="724"/>
                    </a:lnTo>
                    <a:lnTo>
                      <a:pt x="664" y="722"/>
                    </a:lnTo>
                    <a:lnTo>
                      <a:pt x="674" y="720"/>
                    </a:lnTo>
                    <a:lnTo>
                      <a:pt x="684" y="712"/>
                    </a:lnTo>
                    <a:lnTo>
                      <a:pt x="690" y="704"/>
                    </a:lnTo>
                    <a:lnTo>
                      <a:pt x="696" y="694"/>
                    </a:lnTo>
                    <a:lnTo>
                      <a:pt x="700" y="684"/>
                    </a:lnTo>
                    <a:lnTo>
                      <a:pt x="702" y="672"/>
                    </a:lnTo>
                    <a:lnTo>
                      <a:pt x="702" y="662"/>
                    </a:lnTo>
                    <a:lnTo>
                      <a:pt x="702" y="662"/>
                    </a:lnTo>
                    <a:lnTo>
                      <a:pt x="704" y="418"/>
                    </a:lnTo>
                    <a:lnTo>
                      <a:pt x="702" y="176"/>
                    </a:lnTo>
                    <a:lnTo>
                      <a:pt x="702" y="176"/>
                    </a:lnTo>
                    <a:lnTo>
                      <a:pt x="702" y="152"/>
                    </a:lnTo>
                    <a:lnTo>
                      <a:pt x="698" y="130"/>
                    </a:lnTo>
                    <a:lnTo>
                      <a:pt x="692" y="106"/>
                    </a:lnTo>
                    <a:lnTo>
                      <a:pt x="682" y="86"/>
                    </a:lnTo>
                    <a:lnTo>
                      <a:pt x="668" y="66"/>
                    </a:lnTo>
                    <a:lnTo>
                      <a:pt x="654" y="50"/>
                    </a:lnTo>
                    <a:lnTo>
                      <a:pt x="636" y="36"/>
                    </a:lnTo>
                    <a:lnTo>
                      <a:pt x="614" y="24"/>
                    </a:lnTo>
                    <a:lnTo>
                      <a:pt x="61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40" name="Group 39"/>
            <p:cNvGrpSpPr/>
            <p:nvPr/>
          </p:nvGrpSpPr>
          <p:grpSpPr>
            <a:xfrm>
              <a:off x="13704888" y="5292725"/>
              <a:ext cx="1285875" cy="2889250"/>
              <a:chOff x="13704888" y="5292725"/>
              <a:chExt cx="1285875" cy="2889250"/>
            </a:xfrm>
            <a:grpFill/>
          </p:grpSpPr>
          <p:sp>
            <p:nvSpPr>
              <p:cNvPr id="47" name="Freeform 19"/>
              <p:cNvSpPr>
                <a:spLocks/>
              </p:cNvSpPr>
              <p:nvPr/>
            </p:nvSpPr>
            <p:spPr bwMode="auto">
              <a:xfrm>
                <a:off x="14111288" y="5292725"/>
                <a:ext cx="473075" cy="466725"/>
              </a:xfrm>
              <a:custGeom>
                <a:avLst/>
                <a:gdLst>
                  <a:gd name="T0" fmla="*/ 178 w 298"/>
                  <a:gd name="T1" fmla="*/ 4 h 294"/>
                  <a:gd name="T2" fmla="*/ 178 w 298"/>
                  <a:gd name="T3" fmla="*/ 4 h 294"/>
                  <a:gd name="T4" fmla="*/ 160 w 298"/>
                  <a:gd name="T5" fmla="*/ 0 h 294"/>
                  <a:gd name="T6" fmla="*/ 142 w 298"/>
                  <a:gd name="T7" fmla="*/ 0 h 294"/>
                  <a:gd name="T8" fmla="*/ 126 w 298"/>
                  <a:gd name="T9" fmla="*/ 2 h 294"/>
                  <a:gd name="T10" fmla="*/ 108 w 298"/>
                  <a:gd name="T11" fmla="*/ 8 h 294"/>
                  <a:gd name="T12" fmla="*/ 92 w 298"/>
                  <a:gd name="T13" fmla="*/ 14 h 294"/>
                  <a:gd name="T14" fmla="*/ 76 w 298"/>
                  <a:gd name="T15" fmla="*/ 22 h 294"/>
                  <a:gd name="T16" fmla="*/ 60 w 298"/>
                  <a:gd name="T17" fmla="*/ 32 h 294"/>
                  <a:gd name="T18" fmla="*/ 48 w 298"/>
                  <a:gd name="T19" fmla="*/ 44 h 294"/>
                  <a:gd name="T20" fmla="*/ 34 w 298"/>
                  <a:gd name="T21" fmla="*/ 56 h 294"/>
                  <a:gd name="T22" fmla="*/ 24 w 298"/>
                  <a:gd name="T23" fmla="*/ 70 h 294"/>
                  <a:gd name="T24" fmla="*/ 16 w 298"/>
                  <a:gd name="T25" fmla="*/ 86 h 294"/>
                  <a:gd name="T26" fmla="*/ 8 w 298"/>
                  <a:gd name="T27" fmla="*/ 102 h 294"/>
                  <a:gd name="T28" fmla="*/ 4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6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8 w 298"/>
                  <a:gd name="T65" fmla="*/ 268 h 294"/>
                  <a:gd name="T66" fmla="*/ 254 w 298"/>
                  <a:gd name="T67" fmla="*/ 254 h 294"/>
                  <a:gd name="T68" fmla="*/ 268 w 298"/>
                  <a:gd name="T69" fmla="*/ 236 h 294"/>
                  <a:gd name="T70" fmla="*/ 268 w 298"/>
                  <a:gd name="T71" fmla="*/ 236 h 294"/>
                  <a:gd name="T72" fmla="*/ 280 w 298"/>
                  <a:gd name="T73" fmla="*/ 222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8 h 294"/>
                  <a:gd name="T88" fmla="*/ 280 w 298"/>
                  <a:gd name="T89" fmla="*/ 80 h 294"/>
                  <a:gd name="T90" fmla="*/ 270 w 298"/>
                  <a:gd name="T91" fmla="*/ 66 h 294"/>
                  <a:gd name="T92" fmla="*/ 258 w 298"/>
                  <a:gd name="T93" fmla="*/ 50 h 294"/>
                  <a:gd name="T94" fmla="*/ 244 w 298"/>
                  <a:gd name="T95" fmla="*/ 38 h 294"/>
                  <a:gd name="T96" fmla="*/ 230 w 298"/>
                  <a:gd name="T97" fmla="*/ 26 h 294"/>
                  <a:gd name="T98" fmla="*/ 214 w 298"/>
                  <a:gd name="T99" fmla="*/ 16 h 294"/>
                  <a:gd name="T100" fmla="*/ 196 w 298"/>
                  <a:gd name="T101" fmla="*/ 8 h 294"/>
                  <a:gd name="T102" fmla="*/ 178 w 298"/>
                  <a:gd name="T103" fmla="*/ 4 h 294"/>
                  <a:gd name="T104" fmla="*/ 178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4"/>
                    </a:moveTo>
                    <a:lnTo>
                      <a:pt x="178" y="4"/>
                    </a:lnTo>
                    <a:lnTo>
                      <a:pt x="160" y="0"/>
                    </a:lnTo>
                    <a:lnTo>
                      <a:pt x="142" y="0"/>
                    </a:lnTo>
                    <a:lnTo>
                      <a:pt x="126" y="2"/>
                    </a:lnTo>
                    <a:lnTo>
                      <a:pt x="108" y="8"/>
                    </a:lnTo>
                    <a:lnTo>
                      <a:pt x="92" y="14"/>
                    </a:lnTo>
                    <a:lnTo>
                      <a:pt x="76" y="22"/>
                    </a:lnTo>
                    <a:lnTo>
                      <a:pt x="60" y="32"/>
                    </a:lnTo>
                    <a:lnTo>
                      <a:pt x="48" y="44"/>
                    </a:lnTo>
                    <a:lnTo>
                      <a:pt x="34" y="56"/>
                    </a:lnTo>
                    <a:lnTo>
                      <a:pt x="24" y="70"/>
                    </a:lnTo>
                    <a:lnTo>
                      <a:pt x="16" y="86"/>
                    </a:lnTo>
                    <a:lnTo>
                      <a:pt x="8" y="102"/>
                    </a:lnTo>
                    <a:lnTo>
                      <a:pt x="4" y="118"/>
                    </a:lnTo>
                    <a:lnTo>
                      <a:pt x="0" y="136"/>
                    </a:lnTo>
                    <a:lnTo>
                      <a:pt x="0" y="154"/>
                    </a:lnTo>
                    <a:lnTo>
                      <a:pt x="2" y="172"/>
                    </a:lnTo>
                    <a:lnTo>
                      <a:pt x="2" y="172"/>
                    </a:lnTo>
                    <a:lnTo>
                      <a:pt x="6" y="196"/>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8" y="268"/>
                    </a:lnTo>
                    <a:lnTo>
                      <a:pt x="254" y="254"/>
                    </a:lnTo>
                    <a:lnTo>
                      <a:pt x="268" y="236"/>
                    </a:lnTo>
                    <a:lnTo>
                      <a:pt x="268" y="236"/>
                    </a:lnTo>
                    <a:lnTo>
                      <a:pt x="280" y="222"/>
                    </a:lnTo>
                    <a:lnTo>
                      <a:pt x="288" y="204"/>
                    </a:lnTo>
                    <a:lnTo>
                      <a:pt x="294" y="186"/>
                    </a:lnTo>
                    <a:lnTo>
                      <a:pt x="298" y="168"/>
                    </a:lnTo>
                    <a:lnTo>
                      <a:pt x="298" y="150"/>
                    </a:lnTo>
                    <a:lnTo>
                      <a:pt x="296" y="132"/>
                    </a:lnTo>
                    <a:lnTo>
                      <a:pt x="292" y="114"/>
                    </a:lnTo>
                    <a:lnTo>
                      <a:pt x="286" y="98"/>
                    </a:lnTo>
                    <a:lnTo>
                      <a:pt x="280" y="80"/>
                    </a:lnTo>
                    <a:lnTo>
                      <a:pt x="270" y="66"/>
                    </a:lnTo>
                    <a:lnTo>
                      <a:pt x="258" y="50"/>
                    </a:lnTo>
                    <a:lnTo>
                      <a:pt x="244" y="38"/>
                    </a:lnTo>
                    <a:lnTo>
                      <a:pt x="230" y="26"/>
                    </a:lnTo>
                    <a:lnTo>
                      <a:pt x="214" y="16"/>
                    </a:lnTo>
                    <a:lnTo>
                      <a:pt x="196" y="8"/>
                    </a:lnTo>
                    <a:lnTo>
                      <a:pt x="178" y="4"/>
                    </a:lnTo>
                    <a:lnTo>
                      <a:pt x="1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48" name="Freeform 20"/>
              <p:cNvSpPr>
                <a:spLocks/>
              </p:cNvSpPr>
              <p:nvPr/>
            </p:nvSpPr>
            <p:spPr bwMode="auto">
              <a:xfrm>
                <a:off x="13704888" y="5835650"/>
                <a:ext cx="1285875" cy="2346325"/>
              </a:xfrm>
              <a:custGeom>
                <a:avLst/>
                <a:gdLst>
                  <a:gd name="T0" fmla="*/ 624 w 810"/>
                  <a:gd name="T1" fmla="*/ 38 h 1478"/>
                  <a:gd name="T2" fmla="*/ 576 w 810"/>
                  <a:gd name="T3" fmla="*/ 12 h 1478"/>
                  <a:gd name="T4" fmla="*/ 508 w 810"/>
                  <a:gd name="T5" fmla="*/ 0 h 1478"/>
                  <a:gd name="T6" fmla="*/ 398 w 810"/>
                  <a:gd name="T7" fmla="*/ 2 h 1478"/>
                  <a:gd name="T8" fmla="*/ 334 w 810"/>
                  <a:gd name="T9" fmla="*/ 0 h 1478"/>
                  <a:gd name="T10" fmla="*/ 246 w 810"/>
                  <a:gd name="T11" fmla="*/ 10 h 1478"/>
                  <a:gd name="T12" fmla="*/ 194 w 810"/>
                  <a:gd name="T13" fmla="*/ 34 h 1478"/>
                  <a:gd name="T14" fmla="*/ 162 w 810"/>
                  <a:gd name="T15" fmla="*/ 62 h 1478"/>
                  <a:gd name="T16" fmla="*/ 134 w 810"/>
                  <a:gd name="T17" fmla="*/ 110 h 1478"/>
                  <a:gd name="T18" fmla="*/ 94 w 810"/>
                  <a:gd name="T19" fmla="*/ 220 h 1478"/>
                  <a:gd name="T20" fmla="*/ 50 w 810"/>
                  <a:gd name="T21" fmla="*/ 370 h 1478"/>
                  <a:gd name="T22" fmla="*/ 32 w 810"/>
                  <a:gd name="T23" fmla="*/ 434 h 1478"/>
                  <a:gd name="T24" fmla="*/ 4 w 810"/>
                  <a:gd name="T25" fmla="*/ 528 h 1478"/>
                  <a:gd name="T26" fmla="*/ 0 w 810"/>
                  <a:gd name="T27" fmla="*/ 610 h 1478"/>
                  <a:gd name="T28" fmla="*/ 18 w 810"/>
                  <a:gd name="T29" fmla="*/ 630 h 1478"/>
                  <a:gd name="T30" fmla="*/ 64 w 810"/>
                  <a:gd name="T31" fmla="*/ 632 h 1478"/>
                  <a:gd name="T32" fmla="*/ 102 w 810"/>
                  <a:gd name="T33" fmla="*/ 610 h 1478"/>
                  <a:gd name="T34" fmla="*/ 140 w 810"/>
                  <a:gd name="T35" fmla="*/ 506 h 1478"/>
                  <a:gd name="T36" fmla="*/ 224 w 810"/>
                  <a:gd name="T37" fmla="*/ 234 h 1478"/>
                  <a:gd name="T38" fmla="*/ 230 w 810"/>
                  <a:gd name="T39" fmla="*/ 220 h 1478"/>
                  <a:gd name="T40" fmla="*/ 262 w 810"/>
                  <a:gd name="T41" fmla="*/ 188 h 1478"/>
                  <a:gd name="T42" fmla="*/ 166 w 810"/>
                  <a:gd name="T43" fmla="*/ 542 h 1478"/>
                  <a:gd name="T44" fmla="*/ 64 w 810"/>
                  <a:gd name="T45" fmla="*/ 892 h 1478"/>
                  <a:gd name="T46" fmla="*/ 240 w 810"/>
                  <a:gd name="T47" fmla="*/ 1020 h 1478"/>
                  <a:gd name="T48" fmla="*/ 240 w 810"/>
                  <a:gd name="T49" fmla="*/ 1398 h 1478"/>
                  <a:gd name="T50" fmla="*/ 244 w 810"/>
                  <a:gd name="T51" fmla="*/ 1426 h 1478"/>
                  <a:gd name="T52" fmla="*/ 268 w 810"/>
                  <a:gd name="T53" fmla="*/ 1464 h 1478"/>
                  <a:gd name="T54" fmla="*/ 308 w 810"/>
                  <a:gd name="T55" fmla="*/ 1478 h 1478"/>
                  <a:gd name="T56" fmla="*/ 336 w 810"/>
                  <a:gd name="T57" fmla="*/ 1472 h 1478"/>
                  <a:gd name="T58" fmla="*/ 366 w 810"/>
                  <a:gd name="T59" fmla="*/ 1442 h 1478"/>
                  <a:gd name="T60" fmla="*/ 376 w 810"/>
                  <a:gd name="T61" fmla="*/ 1400 h 1478"/>
                  <a:gd name="T62" fmla="*/ 376 w 810"/>
                  <a:gd name="T63" fmla="*/ 1146 h 1478"/>
                  <a:gd name="T64" fmla="*/ 376 w 810"/>
                  <a:gd name="T65" fmla="*/ 892 h 1478"/>
                  <a:gd name="T66" fmla="*/ 418 w 810"/>
                  <a:gd name="T67" fmla="*/ 1024 h 1478"/>
                  <a:gd name="T68" fmla="*/ 420 w 810"/>
                  <a:gd name="T69" fmla="*/ 1418 h 1478"/>
                  <a:gd name="T70" fmla="*/ 428 w 810"/>
                  <a:gd name="T71" fmla="*/ 1444 h 1478"/>
                  <a:gd name="T72" fmla="*/ 452 w 810"/>
                  <a:gd name="T73" fmla="*/ 1468 h 1478"/>
                  <a:gd name="T74" fmla="*/ 486 w 810"/>
                  <a:gd name="T75" fmla="*/ 1476 h 1478"/>
                  <a:gd name="T76" fmla="*/ 520 w 810"/>
                  <a:gd name="T77" fmla="*/ 1468 h 1478"/>
                  <a:gd name="T78" fmla="*/ 544 w 810"/>
                  <a:gd name="T79" fmla="*/ 1444 h 1478"/>
                  <a:gd name="T80" fmla="*/ 552 w 810"/>
                  <a:gd name="T81" fmla="*/ 1418 h 1478"/>
                  <a:gd name="T82" fmla="*/ 554 w 810"/>
                  <a:gd name="T83" fmla="*/ 1024 h 1478"/>
                  <a:gd name="T84" fmla="*/ 730 w 810"/>
                  <a:gd name="T85" fmla="*/ 892 h 1478"/>
                  <a:gd name="T86" fmla="*/ 642 w 810"/>
                  <a:gd name="T87" fmla="*/ 546 h 1478"/>
                  <a:gd name="T88" fmla="*/ 556 w 810"/>
                  <a:gd name="T89" fmla="*/ 200 h 1478"/>
                  <a:gd name="T90" fmla="*/ 598 w 810"/>
                  <a:gd name="T91" fmla="*/ 264 h 1478"/>
                  <a:gd name="T92" fmla="*/ 666 w 810"/>
                  <a:gd name="T93" fmla="*/ 502 h 1478"/>
                  <a:gd name="T94" fmla="*/ 694 w 810"/>
                  <a:gd name="T95" fmla="*/ 596 h 1478"/>
                  <a:gd name="T96" fmla="*/ 710 w 810"/>
                  <a:gd name="T97" fmla="*/ 622 h 1478"/>
                  <a:gd name="T98" fmla="*/ 736 w 810"/>
                  <a:gd name="T99" fmla="*/ 634 h 1478"/>
                  <a:gd name="T100" fmla="*/ 768 w 810"/>
                  <a:gd name="T101" fmla="*/ 634 h 1478"/>
                  <a:gd name="T102" fmla="*/ 794 w 810"/>
                  <a:gd name="T103" fmla="*/ 622 h 1478"/>
                  <a:gd name="T104" fmla="*/ 810 w 810"/>
                  <a:gd name="T105" fmla="*/ 598 h 1478"/>
                  <a:gd name="T106" fmla="*/ 806 w 810"/>
                  <a:gd name="T107" fmla="*/ 552 h 1478"/>
                  <a:gd name="T108" fmla="*/ 780 w 810"/>
                  <a:gd name="T109" fmla="*/ 446 h 1478"/>
                  <a:gd name="T110" fmla="*/ 738 w 810"/>
                  <a:gd name="T111" fmla="*/ 308 h 1478"/>
                  <a:gd name="T112" fmla="*/ 700 w 810"/>
                  <a:gd name="T113" fmla="*/ 174 h 1478"/>
                  <a:gd name="T114" fmla="*/ 658 w 810"/>
                  <a:gd name="T115" fmla="*/ 78 h 1478"/>
                  <a:gd name="T116" fmla="*/ 638 w 810"/>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478">
                    <a:moveTo>
                      <a:pt x="638" y="50"/>
                    </a:moveTo>
                    <a:lnTo>
                      <a:pt x="638" y="50"/>
                    </a:lnTo>
                    <a:lnTo>
                      <a:pt x="624" y="38"/>
                    </a:lnTo>
                    <a:lnTo>
                      <a:pt x="608" y="28"/>
                    </a:lnTo>
                    <a:lnTo>
                      <a:pt x="592" y="20"/>
                    </a:lnTo>
                    <a:lnTo>
                      <a:pt x="576" y="12"/>
                    </a:lnTo>
                    <a:lnTo>
                      <a:pt x="560" y="8"/>
                    </a:lnTo>
                    <a:lnTo>
                      <a:pt x="542" y="4"/>
                    </a:lnTo>
                    <a:lnTo>
                      <a:pt x="508" y="0"/>
                    </a:lnTo>
                    <a:lnTo>
                      <a:pt x="470" y="0"/>
                    </a:lnTo>
                    <a:lnTo>
                      <a:pt x="434" y="0"/>
                    </a:lnTo>
                    <a:lnTo>
                      <a:pt x="398" y="2"/>
                    </a:lnTo>
                    <a:lnTo>
                      <a:pt x="364" y="0"/>
                    </a:lnTo>
                    <a:lnTo>
                      <a:pt x="364" y="0"/>
                    </a:lnTo>
                    <a:lnTo>
                      <a:pt x="334" y="0"/>
                    </a:lnTo>
                    <a:lnTo>
                      <a:pt x="304" y="0"/>
                    </a:lnTo>
                    <a:lnTo>
                      <a:pt x="276" y="4"/>
                    </a:lnTo>
                    <a:lnTo>
                      <a:pt x="246" y="10"/>
                    </a:lnTo>
                    <a:lnTo>
                      <a:pt x="218" y="20"/>
                    </a:lnTo>
                    <a:lnTo>
                      <a:pt x="206" y="26"/>
                    </a:lnTo>
                    <a:lnTo>
                      <a:pt x="194" y="34"/>
                    </a:lnTo>
                    <a:lnTo>
                      <a:pt x="182" y="42"/>
                    </a:lnTo>
                    <a:lnTo>
                      <a:pt x="172" y="52"/>
                    </a:lnTo>
                    <a:lnTo>
                      <a:pt x="162" y="62"/>
                    </a:lnTo>
                    <a:lnTo>
                      <a:pt x="152" y="76"/>
                    </a:lnTo>
                    <a:lnTo>
                      <a:pt x="152" y="76"/>
                    </a:lnTo>
                    <a:lnTo>
                      <a:pt x="134" y="110"/>
                    </a:lnTo>
                    <a:lnTo>
                      <a:pt x="118" y="146"/>
                    </a:lnTo>
                    <a:lnTo>
                      <a:pt x="106" y="182"/>
                    </a:lnTo>
                    <a:lnTo>
                      <a:pt x="94" y="220"/>
                    </a:lnTo>
                    <a:lnTo>
                      <a:pt x="74" y="296"/>
                    </a:lnTo>
                    <a:lnTo>
                      <a:pt x="62" y="334"/>
                    </a:lnTo>
                    <a:lnTo>
                      <a:pt x="50" y="370"/>
                    </a:lnTo>
                    <a:lnTo>
                      <a:pt x="50" y="370"/>
                    </a:lnTo>
                    <a:lnTo>
                      <a:pt x="42" y="402"/>
                    </a:lnTo>
                    <a:lnTo>
                      <a:pt x="32" y="434"/>
                    </a:lnTo>
                    <a:lnTo>
                      <a:pt x="20" y="464"/>
                    </a:lnTo>
                    <a:lnTo>
                      <a:pt x="12" y="496"/>
                    </a:lnTo>
                    <a:lnTo>
                      <a:pt x="4" y="528"/>
                    </a:lnTo>
                    <a:lnTo>
                      <a:pt x="0" y="560"/>
                    </a:lnTo>
                    <a:lnTo>
                      <a:pt x="0" y="594"/>
                    </a:lnTo>
                    <a:lnTo>
                      <a:pt x="0" y="610"/>
                    </a:lnTo>
                    <a:lnTo>
                      <a:pt x="4" y="626"/>
                    </a:lnTo>
                    <a:lnTo>
                      <a:pt x="4" y="626"/>
                    </a:lnTo>
                    <a:lnTo>
                      <a:pt x="18" y="630"/>
                    </a:lnTo>
                    <a:lnTo>
                      <a:pt x="34" y="634"/>
                    </a:lnTo>
                    <a:lnTo>
                      <a:pt x="50" y="634"/>
                    </a:lnTo>
                    <a:lnTo>
                      <a:pt x="64" y="632"/>
                    </a:lnTo>
                    <a:lnTo>
                      <a:pt x="78" y="628"/>
                    </a:lnTo>
                    <a:lnTo>
                      <a:pt x="90" y="620"/>
                    </a:lnTo>
                    <a:lnTo>
                      <a:pt x="102" y="610"/>
                    </a:lnTo>
                    <a:lnTo>
                      <a:pt x="110" y="596"/>
                    </a:lnTo>
                    <a:lnTo>
                      <a:pt x="110" y="596"/>
                    </a:lnTo>
                    <a:lnTo>
                      <a:pt x="140" y="506"/>
                    </a:lnTo>
                    <a:lnTo>
                      <a:pt x="168" y="416"/>
                    </a:lnTo>
                    <a:lnTo>
                      <a:pt x="196" y="324"/>
                    </a:lnTo>
                    <a:lnTo>
                      <a:pt x="224" y="234"/>
                    </a:lnTo>
                    <a:lnTo>
                      <a:pt x="224" y="234"/>
                    </a:lnTo>
                    <a:lnTo>
                      <a:pt x="226" y="228"/>
                    </a:lnTo>
                    <a:lnTo>
                      <a:pt x="230" y="220"/>
                    </a:lnTo>
                    <a:lnTo>
                      <a:pt x="240" y="208"/>
                    </a:lnTo>
                    <a:lnTo>
                      <a:pt x="262" y="188"/>
                    </a:lnTo>
                    <a:lnTo>
                      <a:pt x="262" y="188"/>
                    </a:lnTo>
                    <a:lnTo>
                      <a:pt x="240" y="278"/>
                    </a:lnTo>
                    <a:lnTo>
                      <a:pt x="216" y="366"/>
                    </a:lnTo>
                    <a:lnTo>
                      <a:pt x="166" y="542"/>
                    </a:lnTo>
                    <a:lnTo>
                      <a:pt x="114" y="716"/>
                    </a:lnTo>
                    <a:lnTo>
                      <a:pt x="64" y="892"/>
                    </a:lnTo>
                    <a:lnTo>
                      <a:pt x="64" y="892"/>
                    </a:lnTo>
                    <a:lnTo>
                      <a:pt x="238" y="892"/>
                    </a:lnTo>
                    <a:lnTo>
                      <a:pt x="238" y="892"/>
                    </a:lnTo>
                    <a:lnTo>
                      <a:pt x="240" y="1020"/>
                    </a:lnTo>
                    <a:lnTo>
                      <a:pt x="240" y="1146"/>
                    </a:lnTo>
                    <a:lnTo>
                      <a:pt x="240" y="1272"/>
                    </a:lnTo>
                    <a:lnTo>
                      <a:pt x="240" y="1398"/>
                    </a:lnTo>
                    <a:lnTo>
                      <a:pt x="240" y="1398"/>
                    </a:lnTo>
                    <a:lnTo>
                      <a:pt x="242" y="1412"/>
                    </a:lnTo>
                    <a:lnTo>
                      <a:pt x="244" y="1426"/>
                    </a:lnTo>
                    <a:lnTo>
                      <a:pt x="250" y="1440"/>
                    </a:lnTo>
                    <a:lnTo>
                      <a:pt x="258" y="1452"/>
                    </a:lnTo>
                    <a:lnTo>
                      <a:pt x="268" y="1464"/>
                    </a:lnTo>
                    <a:lnTo>
                      <a:pt x="278" y="1472"/>
                    </a:lnTo>
                    <a:lnTo>
                      <a:pt x="292" y="1476"/>
                    </a:lnTo>
                    <a:lnTo>
                      <a:pt x="308" y="1478"/>
                    </a:lnTo>
                    <a:lnTo>
                      <a:pt x="308" y="1478"/>
                    </a:lnTo>
                    <a:lnTo>
                      <a:pt x="322" y="1478"/>
                    </a:lnTo>
                    <a:lnTo>
                      <a:pt x="336" y="1472"/>
                    </a:lnTo>
                    <a:lnTo>
                      <a:pt x="348" y="1464"/>
                    </a:lnTo>
                    <a:lnTo>
                      <a:pt x="358" y="1454"/>
                    </a:lnTo>
                    <a:lnTo>
                      <a:pt x="366" y="1442"/>
                    </a:lnTo>
                    <a:lnTo>
                      <a:pt x="372" y="1430"/>
                    </a:lnTo>
                    <a:lnTo>
                      <a:pt x="376" y="1414"/>
                    </a:lnTo>
                    <a:lnTo>
                      <a:pt x="376" y="1400"/>
                    </a:lnTo>
                    <a:lnTo>
                      <a:pt x="376" y="1400"/>
                    </a:lnTo>
                    <a:lnTo>
                      <a:pt x="376" y="1274"/>
                    </a:lnTo>
                    <a:lnTo>
                      <a:pt x="376" y="1146"/>
                    </a:lnTo>
                    <a:lnTo>
                      <a:pt x="376" y="1020"/>
                    </a:lnTo>
                    <a:lnTo>
                      <a:pt x="376" y="892"/>
                    </a:lnTo>
                    <a:lnTo>
                      <a:pt x="376" y="892"/>
                    </a:lnTo>
                    <a:lnTo>
                      <a:pt x="418" y="894"/>
                    </a:lnTo>
                    <a:lnTo>
                      <a:pt x="418" y="894"/>
                    </a:lnTo>
                    <a:lnTo>
                      <a:pt x="418" y="1024"/>
                    </a:lnTo>
                    <a:lnTo>
                      <a:pt x="418" y="1156"/>
                    </a:lnTo>
                    <a:lnTo>
                      <a:pt x="418" y="1288"/>
                    </a:lnTo>
                    <a:lnTo>
                      <a:pt x="420" y="1418"/>
                    </a:lnTo>
                    <a:lnTo>
                      <a:pt x="420" y="1418"/>
                    </a:lnTo>
                    <a:lnTo>
                      <a:pt x="422" y="1432"/>
                    </a:lnTo>
                    <a:lnTo>
                      <a:pt x="428" y="1444"/>
                    </a:lnTo>
                    <a:lnTo>
                      <a:pt x="434" y="1454"/>
                    </a:lnTo>
                    <a:lnTo>
                      <a:pt x="442" y="1462"/>
                    </a:lnTo>
                    <a:lnTo>
                      <a:pt x="452" y="1468"/>
                    </a:lnTo>
                    <a:lnTo>
                      <a:pt x="462" y="1474"/>
                    </a:lnTo>
                    <a:lnTo>
                      <a:pt x="474" y="1476"/>
                    </a:lnTo>
                    <a:lnTo>
                      <a:pt x="486" y="1476"/>
                    </a:lnTo>
                    <a:lnTo>
                      <a:pt x="498" y="1476"/>
                    </a:lnTo>
                    <a:lnTo>
                      <a:pt x="508" y="1472"/>
                    </a:lnTo>
                    <a:lnTo>
                      <a:pt x="520" y="1468"/>
                    </a:lnTo>
                    <a:lnTo>
                      <a:pt x="530" y="1462"/>
                    </a:lnTo>
                    <a:lnTo>
                      <a:pt x="538" y="1454"/>
                    </a:lnTo>
                    <a:lnTo>
                      <a:pt x="544" y="1444"/>
                    </a:lnTo>
                    <a:lnTo>
                      <a:pt x="550" y="1432"/>
                    </a:lnTo>
                    <a:lnTo>
                      <a:pt x="552" y="1418"/>
                    </a:lnTo>
                    <a:lnTo>
                      <a:pt x="552" y="1418"/>
                    </a:lnTo>
                    <a:lnTo>
                      <a:pt x="554" y="1286"/>
                    </a:lnTo>
                    <a:lnTo>
                      <a:pt x="554" y="1156"/>
                    </a:lnTo>
                    <a:lnTo>
                      <a:pt x="554" y="1024"/>
                    </a:lnTo>
                    <a:lnTo>
                      <a:pt x="554" y="894"/>
                    </a:lnTo>
                    <a:lnTo>
                      <a:pt x="554" y="894"/>
                    </a:lnTo>
                    <a:lnTo>
                      <a:pt x="730" y="892"/>
                    </a:lnTo>
                    <a:lnTo>
                      <a:pt x="730" y="892"/>
                    </a:lnTo>
                    <a:lnTo>
                      <a:pt x="686" y="720"/>
                    </a:lnTo>
                    <a:lnTo>
                      <a:pt x="642" y="546"/>
                    </a:lnTo>
                    <a:lnTo>
                      <a:pt x="598" y="374"/>
                    </a:lnTo>
                    <a:lnTo>
                      <a:pt x="556" y="200"/>
                    </a:lnTo>
                    <a:lnTo>
                      <a:pt x="556" y="200"/>
                    </a:lnTo>
                    <a:lnTo>
                      <a:pt x="582" y="218"/>
                    </a:lnTo>
                    <a:lnTo>
                      <a:pt x="582" y="218"/>
                    </a:lnTo>
                    <a:lnTo>
                      <a:pt x="598" y="264"/>
                    </a:lnTo>
                    <a:lnTo>
                      <a:pt x="612" y="312"/>
                    </a:lnTo>
                    <a:lnTo>
                      <a:pt x="638" y="406"/>
                    </a:lnTo>
                    <a:lnTo>
                      <a:pt x="666" y="502"/>
                    </a:lnTo>
                    <a:lnTo>
                      <a:pt x="680" y="550"/>
                    </a:lnTo>
                    <a:lnTo>
                      <a:pt x="694" y="596"/>
                    </a:lnTo>
                    <a:lnTo>
                      <a:pt x="694" y="596"/>
                    </a:lnTo>
                    <a:lnTo>
                      <a:pt x="698" y="606"/>
                    </a:lnTo>
                    <a:lnTo>
                      <a:pt x="704" y="614"/>
                    </a:lnTo>
                    <a:lnTo>
                      <a:pt x="710" y="622"/>
                    </a:lnTo>
                    <a:lnTo>
                      <a:pt x="718" y="626"/>
                    </a:lnTo>
                    <a:lnTo>
                      <a:pt x="728" y="632"/>
                    </a:lnTo>
                    <a:lnTo>
                      <a:pt x="736" y="634"/>
                    </a:lnTo>
                    <a:lnTo>
                      <a:pt x="746" y="636"/>
                    </a:lnTo>
                    <a:lnTo>
                      <a:pt x="758" y="636"/>
                    </a:lnTo>
                    <a:lnTo>
                      <a:pt x="768" y="634"/>
                    </a:lnTo>
                    <a:lnTo>
                      <a:pt x="776" y="632"/>
                    </a:lnTo>
                    <a:lnTo>
                      <a:pt x="786" y="628"/>
                    </a:lnTo>
                    <a:lnTo>
                      <a:pt x="794" y="622"/>
                    </a:lnTo>
                    <a:lnTo>
                      <a:pt x="800" y="616"/>
                    </a:lnTo>
                    <a:lnTo>
                      <a:pt x="806" y="608"/>
                    </a:lnTo>
                    <a:lnTo>
                      <a:pt x="810" y="598"/>
                    </a:lnTo>
                    <a:lnTo>
                      <a:pt x="810" y="586"/>
                    </a:lnTo>
                    <a:lnTo>
                      <a:pt x="810" y="586"/>
                    </a:lnTo>
                    <a:lnTo>
                      <a:pt x="806" y="552"/>
                    </a:lnTo>
                    <a:lnTo>
                      <a:pt x="798" y="516"/>
                    </a:lnTo>
                    <a:lnTo>
                      <a:pt x="790" y="482"/>
                    </a:lnTo>
                    <a:lnTo>
                      <a:pt x="780" y="446"/>
                    </a:lnTo>
                    <a:lnTo>
                      <a:pt x="758" y="378"/>
                    </a:lnTo>
                    <a:lnTo>
                      <a:pt x="738" y="308"/>
                    </a:lnTo>
                    <a:lnTo>
                      <a:pt x="738" y="308"/>
                    </a:lnTo>
                    <a:lnTo>
                      <a:pt x="728" y="276"/>
                    </a:lnTo>
                    <a:lnTo>
                      <a:pt x="720" y="242"/>
                    </a:lnTo>
                    <a:lnTo>
                      <a:pt x="700" y="174"/>
                    </a:lnTo>
                    <a:lnTo>
                      <a:pt x="690" y="140"/>
                    </a:lnTo>
                    <a:lnTo>
                      <a:pt x="676" y="108"/>
                    </a:lnTo>
                    <a:lnTo>
                      <a:pt x="658" y="78"/>
                    </a:lnTo>
                    <a:lnTo>
                      <a:pt x="648"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41" name="Group 40"/>
            <p:cNvGrpSpPr/>
            <p:nvPr/>
          </p:nvGrpSpPr>
          <p:grpSpPr>
            <a:xfrm>
              <a:off x="14955838" y="4721225"/>
              <a:ext cx="1117600" cy="1660525"/>
              <a:chOff x="14955838" y="4721225"/>
              <a:chExt cx="1117600" cy="1660525"/>
            </a:xfrm>
            <a:grpFill/>
          </p:grpSpPr>
          <p:sp>
            <p:nvSpPr>
              <p:cNvPr id="45" name="Freeform 12"/>
              <p:cNvSpPr>
                <a:spLocks/>
              </p:cNvSpPr>
              <p:nvPr/>
            </p:nvSpPr>
            <p:spPr bwMode="auto">
              <a:xfrm>
                <a:off x="15292388" y="4721225"/>
                <a:ext cx="463550" cy="460375"/>
              </a:xfrm>
              <a:custGeom>
                <a:avLst/>
                <a:gdLst>
                  <a:gd name="T0" fmla="*/ 108 w 292"/>
                  <a:gd name="T1" fmla="*/ 6 h 290"/>
                  <a:gd name="T2" fmla="*/ 108 w 292"/>
                  <a:gd name="T3" fmla="*/ 6 h 290"/>
                  <a:gd name="T4" fmla="*/ 128 w 292"/>
                  <a:gd name="T5" fmla="*/ 2 h 290"/>
                  <a:gd name="T6" fmla="*/ 148 w 292"/>
                  <a:gd name="T7" fmla="*/ 0 h 290"/>
                  <a:gd name="T8" fmla="*/ 168 w 292"/>
                  <a:gd name="T9" fmla="*/ 2 h 290"/>
                  <a:gd name="T10" fmla="*/ 186 w 292"/>
                  <a:gd name="T11" fmla="*/ 8 h 290"/>
                  <a:gd name="T12" fmla="*/ 206 w 292"/>
                  <a:gd name="T13" fmla="*/ 14 h 290"/>
                  <a:gd name="T14" fmla="*/ 222 w 292"/>
                  <a:gd name="T15" fmla="*/ 24 h 290"/>
                  <a:gd name="T16" fmla="*/ 238 w 292"/>
                  <a:gd name="T17" fmla="*/ 36 h 290"/>
                  <a:gd name="T18" fmla="*/ 252 w 292"/>
                  <a:gd name="T19" fmla="*/ 50 h 290"/>
                  <a:gd name="T20" fmla="*/ 266 w 292"/>
                  <a:gd name="T21" fmla="*/ 66 h 290"/>
                  <a:gd name="T22" fmla="*/ 276 w 292"/>
                  <a:gd name="T23" fmla="*/ 82 h 290"/>
                  <a:gd name="T24" fmla="*/ 284 w 292"/>
                  <a:gd name="T25" fmla="*/ 100 h 290"/>
                  <a:gd name="T26" fmla="*/ 290 w 292"/>
                  <a:gd name="T27" fmla="*/ 118 h 290"/>
                  <a:gd name="T28" fmla="*/ 292 w 292"/>
                  <a:gd name="T29" fmla="*/ 138 h 290"/>
                  <a:gd name="T30" fmla="*/ 292 w 292"/>
                  <a:gd name="T31" fmla="*/ 156 h 290"/>
                  <a:gd name="T32" fmla="*/ 290 w 292"/>
                  <a:gd name="T33" fmla="*/ 176 h 290"/>
                  <a:gd name="T34" fmla="*/ 282 w 292"/>
                  <a:gd name="T35" fmla="*/ 196 h 290"/>
                  <a:gd name="T36" fmla="*/ 282 w 292"/>
                  <a:gd name="T37" fmla="*/ 196 h 290"/>
                  <a:gd name="T38" fmla="*/ 276 w 292"/>
                  <a:gd name="T39" fmla="*/ 214 h 290"/>
                  <a:gd name="T40" fmla="*/ 266 w 292"/>
                  <a:gd name="T41" fmla="*/ 230 h 290"/>
                  <a:gd name="T42" fmla="*/ 254 w 292"/>
                  <a:gd name="T43" fmla="*/ 246 h 290"/>
                  <a:gd name="T44" fmla="*/ 240 w 292"/>
                  <a:gd name="T45" fmla="*/ 258 h 290"/>
                  <a:gd name="T46" fmla="*/ 224 w 292"/>
                  <a:gd name="T47" fmla="*/ 268 h 290"/>
                  <a:gd name="T48" fmla="*/ 208 w 292"/>
                  <a:gd name="T49" fmla="*/ 278 h 290"/>
                  <a:gd name="T50" fmla="*/ 190 w 292"/>
                  <a:gd name="T51" fmla="*/ 284 h 290"/>
                  <a:gd name="T52" fmla="*/ 172 w 292"/>
                  <a:gd name="T53" fmla="*/ 288 h 290"/>
                  <a:gd name="T54" fmla="*/ 152 w 292"/>
                  <a:gd name="T55" fmla="*/ 290 h 290"/>
                  <a:gd name="T56" fmla="*/ 134 w 292"/>
                  <a:gd name="T57" fmla="*/ 290 h 290"/>
                  <a:gd name="T58" fmla="*/ 116 w 292"/>
                  <a:gd name="T59" fmla="*/ 288 h 290"/>
                  <a:gd name="T60" fmla="*/ 96 w 292"/>
                  <a:gd name="T61" fmla="*/ 284 h 290"/>
                  <a:gd name="T62" fmla="*/ 80 w 292"/>
                  <a:gd name="T63" fmla="*/ 276 h 290"/>
                  <a:gd name="T64" fmla="*/ 64 w 292"/>
                  <a:gd name="T65" fmla="*/ 268 h 290"/>
                  <a:gd name="T66" fmla="*/ 48 w 292"/>
                  <a:gd name="T67" fmla="*/ 256 h 290"/>
                  <a:gd name="T68" fmla="*/ 36 w 292"/>
                  <a:gd name="T69" fmla="*/ 240 h 290"/>
                  <a:gd name="T70" fmla="*/ 36 w 292"/>
                  <a:gd name="T71" fmla="*/ 240 h 290"/>
                  <a:gd name="T72" fmla="*/ 24 w 292"/>
                  <a:gd name="T73" fmla="*/ 226 h 290"/>
                  <a:gd name="T74" fmla="*/ 14 w 292"/>
                  <a:gd name="T75" fmla="*/ 210 h 290"/>
                  <a:gd name="T76" fmla="*/ 8 w 292"/>
                  <a:gd name="T77" fmla="*/ 192 h 290"/>
                  <a:gd name="T78" fmla="*/ 2 w 292"/>
                  <a:gd name="T79" fmla="*/ 176 h 290"/>
                  <a:gd name="T80" fmla="*/ 0 w 292"/>
                  <a:gd name="T81" fmla="*/ 158 h 290"/>
                  <a:gd name="T82" fmla="*/ 0 w 292"/>
                  <a:gd name="T83" fmla="*/ 138 h 290"/>
                  <a:gd name="T84" fmla="*/ 4 w 292"/>
                  <a:gd name="T85" fmla="*/ 120 h 290"/>
                  <a:gd name="T86" fmla="*/ 8 w 292"/>
                  <a:gd name="T87" fmla="*/ 102 h 290"/>
                  <a:gd name="T88" fmla="*/ 14 w 292"/>
                  <a:gd name="T89" fmla="*/ 86 h 290"/>
                  <a:gd name="T90" fmla="*/ 22 w 292"/>
                  <a:gd name="T91" fmla="*/ 70 h 290"/>
                  <a:gd name="T92" fmla="*/ 32 w 292"/>
                  <a:gd name="T93" fmla="*/ 54 h 290"/>
                  <a:gd name="T94" fmla="*/ 44 w 292"/>
                  <a:gd name="T95" fmla="*/ 40 h 290"/>
                  <a:gd name="T96" fmla="*/ 58 w 292"/>
                  <a:gd name="T97" fmla="*/ 28 h 290"/>
                  <a:gd name="T98" fmla="*/ 74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8" y="0"/>
                    </a:lnTo>
                    <a:lnTo>
                      <a:pt x="168" y="2"/>
                    </a:lnTo>
                    <a:lnTo>
                      <a:pt x="186" y="8"/>
                    </a:lnTo>
                    <a:lnTo>
                      <a:pt x="206" y="14"/>
                    </a:lnTo>
                    <a:lnTo>
                      <a:pt x="222" y="24"/>
                    </a:lnTo>
                    <a:lnTo>
                      <a:pt x="238" y="36"/>
                    </a:lnTo>
                    <a:lnTo>
                      <a:pt x="252" y="50"/>
                    </a:lnTo>
                    <a:lnTo>
                      <a:pt x="266" y="66"/>
                    </a:lnTo>
                    <a:lnTo>
                      <a:pt x="276" y="82"/>
                    </a:lnTo>
                    <a:lnTo>
                      <a:pt x="284" y="100"/>
                    </a:lnTo>
                    <a:lnTo>
                      <a:pt x="290" y="118"/>
                    </a:lnTo>
                    <a:lnTo>
                      <a:pt x="292" y="138"/>
                    </a:lnTo>
                    <a:lnTo>
                      <a:pt x="292" y="156"/>
                    </a:lnTo>
                    <a:lnTo>
                      <a:pt x="290" y="176"/>
                    </a:lnTo>
                    <a:lnTo>
                      <a:pt x="282" y="196"/>
                    </a:lnTo>
                    <a:lnTo>
                      <a:pt x="282" y="196"/>
                    </a:lnTo>
                    <a:lnTo>
                      <a:pt x="276" y="214"/>
                    </a:lnTo>
                    <a:lnTo>
                      <a:pt x="266" y="230"/>
                    </a:lnTo>
                    <a:lnTo>
                      <a:pt x="254" y="246"/>
                    </a:lnTo>
                    <a:lnTo>
                      <a:pt x="240" y="258"/>
                    </a:lnTo>
                    <a:lnTo>
                      <a:pt x="224" y="268"/>
                    </a:lnTo>
                    <a:lnTo>
                      <a:pt x="208" y="278"/>
                    </a:lnTo>
                    <a:lnTo>
                      <a:pt x="190" y="284"/>
                    </a:lnTo>
                    <a:lnTo>
                      <a:pt x="172" y="288"/>
                    </a:lnTo>
                    <a:lnTo>
                      <a:pt x="152" y="290"/>
                    </a:lnTo>
                    <a:lnTo>
                      <a:pt x="134" y="290"/>
                    </a:lnTo>
                    <a:lnTo>
                      <a:pt x="116" y="288"/>
                    </a:lnTo>
                    <a:lnTo>
                      <a:pt x="96" y="284"/>
                    </a:lnTo>
                    <a:lnTo>
                      <a:pt x="80" y="276"/>
                    </a:lnTo>
                    <a:lnTo>
                      <a:pt x="64" y="268"/>
                    </a:lnTo>
                    <a:lnTo>
                      <a:pt x="48" y="256"/>
                    </a:lnTo>
                    <a:lnTo>
                      <a:pt x="36" y="240"/>
                    </a:lnTo>
                    <a:lnTo>
                      <a:pt x="36" y="240"/>
                    </a:lnTo>
                    <a:lnTo>
                      <a:pt x="24" y="226"/>
                    </a:lnTo>
                    <a:lnTo>
                      <a:pt x="14" y="210"/>
                    </a:lnTo>
                    <a:lnTo>
                      <a:pt x="8" y="192"/>
                    </a:lnTo>
                    <a:lnTo>
                      <a:pt x="2" y="176"/>
                    </a:lnTo>
                    <a:lnTo>
                      <a:pt x="0" y="158"/>
                    </a:lnTo>
                    <a:lnTo>
                      <a:pt x="0" y="138"/>
                    </a:lnTo>
                    <a:lnTo>
                      <a:pt x="4" y="120"/>
                    </a:lnTo>
                    <a:lnTo>
                      <a:pt x="8" y="102"/>
                    </a:lnTo>
                    <a:lnTo>
                      <a:pt x="14" y="86"/>
                    </a:lnTo>
                    <a:lnTo>
                      <a:pt x="22" y="70"/>
                    </a:lnTo>
                    <a:lnTo>
                      <a:pt x="32" y="54"/>
                    </a:lnTo>
                    <a:lnTo>
                      <a:pt x="44" y="40"/>
                    </a:lnTo>
                    <a:lnTo>
                      <a:pt x="58" y="28"/>
                    </a:lnTo>
                    <a:lnTo>
                      <a:pt x="74"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46" name="Freeform 22"/>
              <p:cNvSpPr>
                <a:spLocks/>
              </p:cNvSpPr>
              <p:nvPr/>
            </p:nvSpPr>
            <p:spPr bwMode="auto">
              <a:xfrm>
                <a:off x="14955838" y="5229225"/>
                <a:ext cx="1117600" cy="1152525"/>
              </a:xfrm>
              <a:custGeom>
                <a:avLst/>
                <a:gdLst>
                  <a:gd name="T0" fmla="*/ 52 w 704"/>
                  <a:gd name="T1" fmla="*/ 724 h 726"/>
                  <a:gd name="T2" fmla="*/ 70 w 704"/>
                  <a:gd name="T3" fmla="*/ 724 h 726"/>
                  <a:gd name="T4" fmla="*/ 86 w 704"/>
                  <a:gd name="T5" fmla="*/ 720 h 726"/>
                  <a:gd name="T6" fmla="*/ 98 w 704"/>
                  <a:gd name="T7" fmla="*/ 710 h 726"/>
                  <a:gd name="T8" fmla="*/ 116 w 704"/>
                  <a:gd name="T9" fmla="*/ 680 h 726"/>
                  <a:gd name="T10" fmla="*/ 124 w 704"/>
                  <a:gd name="T11" fmla="*/ 646 h 726"/>
                  <a:gd name="T12" fmla="*/ 126 w 704"/>
                  <a:gd name="T13" fmla="*/ 628 h 726"/>
                  <a:gd name="T14" fmla="*/ 126 w 704"/>
                  <a:gd name="T15" fmla="*/ 340 h 726"/>
                  <a:gd name="T16" fmla="*/ 126 w 704"/>
                  <a:gd name="T17" fmla="*/ 244 h 726"/>
                  <a:gd name="T18" fmla="*/ 162 w 704"/>
                  <a:gd name="T19" fmla="*/ 244 h 726"/>
                  <a:gd name="T20" fmla="*/ 164 w 704"/>
                  <a:gd name="T21" fmla="*/ 652 h 726"/>
                  <a:gd name="T22" fmla="*/ 202 w 704"/>
                  <a:gd name="T23" fmla="*/ 614 h 726"/>
                  <a:gd name="T24" fmla="*/ 248 w 704"/>
                  <a:gd name="T25" fmla="*/ 588 h 726"/>
                  <a:gd name="T26" fmla="*/ 296 w 704"/>
                  <a:gd name="T27" fmla="*/ 570 h 726"/>
                  <a:gd name="T28" fmla="*/ 348 w 704"/>
                  <a:gd name="T29" fmla="*/ 564 h 726"/>
                  <a:gd name="T30" fmla="*/ 372 w 704"/>
                  <a:gd name="T31" fmla="*/ 566 h 726"/>
                  <a:gd name="T32" fmla="*/ 396 w 704"/>
                  <a:gd name="T33" fmla="*/ 570 h 726"/>
                  <a:gd name="T34" fmla="*/ 436 w 704"/>
                  <a:gd name="T35" fmla="*/ 582 h 726"/>
                  <a:gd name="T36" fmla="*/ 472 w 704"/>
                  <a:gd name="T37" fmla="*/ 602 h 726"/>
                  <a:gd name="T38" fmla="*/ 506 w 704"/>
                  <a:gd name="T39" fmla="*/ 628 h 726"/>
                  <a:gd name="T40" fmla="*/ 534 w 704"/>
                  <a:gd name="T41" fmla="*/ 658 h 726"/>
                  <a:gd name="T42" fmla="*/ 534 w 704"/>
                  <a:gd name="T43" fmla="*/ 242 h 726"/>
                  <a:gd name="T44" fmla="*/ 580 w 704"/>
                  <a:gd name="T45" fmla="*/ 242 h 726"/>
                  <a:gd name="T46" fmla="*/ 580 w 704"/>
                  <a:gd name="T47" fmla="*/ 646 h 726"/>
                  <a:gd name="T48" fmla="*/ 582 w 704"/>
                  <a:gd name="T49" fmla="*/ 662 h 726"/>
                  <a:gd name="T50" fmla="*/ 592 w 704"/>
                  <a:gd name="T51" fmla="*/ 692 h 726"/>
                  <a:gd name="T52" fmla="*/ 610 w 704"/>
                  <a:gd name="T53" fmla="*/ 714 h 726"/>
                  <a:gd name="T54" fmla="*/ 630 w 704"/>
                  <a:gd name="T55" fmla="*/ 724 h 726"/>
                  <a:gd name="T56" fmla="*/ 646 w 704"/>
                  <a:gd name="T57" fmla="*/ 726 h 726"/>
                  <a:gd name="T58" fmla="*/ 654 w 704"/>
                  <a:gd name="T59" fmla="*/ 724 h 726"/>
                  <a:gd name="T60" fmla="*/ 678 w 704"/>
                  <a:gd name="T61" fmla="*/ 716 h 726"/>
                  <a:gd name="T62" fmla="*/ 694 w 704"/>
                  <a:gd name="T63" fmla="*/ 698 h 726"/>
                  <a:gd name="T64" fmla="*/ 702 w 704"/>
                  <a:gd name="T65" fmla="*/ 672 h 726"/>
                  <a:gd name="T66" fmla="*/ 704 w 704"/>
                  <a:gd name="T67" fmla="*/ 646 h 726"/>
                  <a:gd name="T68" fmla="*/ 704 w 704"/>
                  <a:gd name="T69" fmla="*/ 438 h 726"/>
                  <a:gd name="T70" fmla="*/ 704 w 704"/>
                  <a:gd name="T71" fmla="*/ 230 h 726"/>
                  <a:gd name="T72" fmla="*/ 700 w 704"/>
                  <a:gd name="T73" fmla="*/ 156 h 726"/>
                  <a:gd name="T74" fmla="*/ 690 w 704"/>
                  <a:gd name="T75" fmla="*/ 108 h 726"/>
                  <a:gd name="T76" fmla="*/ 666 w 704"/>
                  <a:gd name="T77" fmla="*/ 66 h 726"/>
                  <a:gd name="T78" fmla="*/ 648 w 704"/>
                  <a:gd name="T79" fmla="*/ 50 h 726"/>
                  <a:gd name="T80" fmla="*/ 634 w 704"/>
                  <a:gd name="T81" fmla="*/ 38 h 726"/>
                  <a:gd name="T82" fmla="*/ 606 w 704"/>
                  <a:gd name="T83" fmla="*/ 22 h 726"/>
                  <a:gd name="T84" fmla="*/ 558 w 704"/>
                  <a:gd name="T85" fmla="*/ 8 h 726"/>
                  <a:gd name="T86" fmla="*/ 492 w 704"/>
                  <a:gd name="T87" fmla="*/ 0 h 726"/>
                  <a:gd name="T88" fmla="*/ 390 w 704"/>
                  <a:gd name="T89" fmla="*/ 0 h 726"/>
                  <a:gd name="T90" fmla="*/ 352 w 704"/>
                  <a:gd name="T91" fmla="*/ 2 h 726"/>
                  <a:gd name="T92" fmla="*/ 238 w 704"/>
                  <a:gd name="T93" fmla="*/ 0 h 726"/>
                  <a:gd name="T94" fmla="*/ 164 w 704"/>
                  <a:gd name="T95" fmla="*/ 6 h 726"/>
                  <a:gd name="T96" fmla="*/ 108 w 704"/>
                  <a:gd name="T97" fmla="*/ 18 h 726"/>
                  <a:gd name="T98" fmla="*/ 90 w 704"/>
                  <a:gd name="T99" fmla="*/ 24 h 726"/>
                  <a:gd name="T100" fmla="*/ 50 w 704"/>
                  <a:gd name="T101" fmla="*/ 50 h 726"/>
                  <a:gd name="T102" fmla="*/ 22 w 704"/>
                  <a:gd name="T103" fmla="*/ 86 h 726"/>
                  <a:gd name="T104" fmla="*/ 6 w 704"/>
                  <a:gd name="T105" fmla="*/ 130 h 726"/>
                  <a:gd name="T106" fmla="*/ 2 w 704"/>
                  <a:gd name="T107" fmla="*/ 176 h 726"/>
                  <a:gd name="T108" fmla="*/ 0 w 704"/>
                  <a:gd name="T109" fmla="*/ 418 h 726"/>
                  <a:gd name="T110" fmla="*/ 2 w 704"/>
                  <a:gd name="T111" fmla="*/ 662 h 726"/>
                  <a:gd name="T112" fmla="*/ 4 w 704"/>
                  <a:gd name="T113" fmla="*/ 684 h 726"/>
                  <a:gd name="T114" fmla="*/ 14 w 704"/>
                  <a:gd name="T115" fmla="*/ 704 h 726"/>
                  <a:gd name="T116" fmla="*/ 30 w 704"/>
                  <a:gd name="T117" fmla="*/ 720 h 726"/>
                  <a:gd name="T118" fmla="*/ 52 w 704"/>
                  <a:gd name="T119" fmla="*/ 72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4" h="726">
                    <a:moveTo>
                      <a:pt x="52" y="724"/>
                    </a:moveTo>
                    <a:lnTo>
                      <a:pt x="52" y="724"/>
                    </a:lnTo>
                    <a:lnTo>
                      <a:pt x="60" y="726"/>
                    </a:lnTo>
                    <a:lnTo>
                      <a:pt x="70" y="724"/>
                    </a:lnTo>
                    <a:lnTo>
                      <a:pt x="78" y="724"/>
                    </a:lnTo>
                    <a:lnTo>
                      <a:pt x="86" y="720"/>
                    </a:lnTo>
                    <a:lnTo>
                      <a:pt x="92" y="716"/>
                    </a:lnTo>
                    <a:lnTo>
                      <a:pt x="98" y="710"/>
                    </a:lnTo>
                    <a:lnTo>
                      <a:pt x="108" y="696"/>
                    </a:lnTo>
                    <a:lnTo>
                      <a:pt x="116" y="680"/>
                    </a:lnTo>
                    <a:lnTo>
                      <a:pt x="122" y="662"/>
                    </a:lnTo>
                    <a:lnTo>
                      <a:pt x="124" y="646"/>
                    </a:lnTo>
                    <a:lnTo>
                      <a:pt x="126" y="628"/>
                    </a:lnTo>
                    <a:lnTo>
                      <a:pt x="126" y="628"/>
                    </a:lnTo>
                    <a:lnTo>
                      <a:pt x="126" y="436"/>
                    </a:lnTo>
                    <a:lnTo>
                      <a:pt x="126" y="340"/>
                    </a:lnTo>
                    <a:lnTo>
                      <a:pt x="126" y="244"/>
                    </a:lnTo>
                    <a:lnTo>
                      <a:pt x="126" y="244"/>
                    </a:lnTo>
                    <a:lnTo>
                      <a:pt x="162" y="244"/>
                    </a:lnTo>
                    <a:lnTo>
                      <a:pt x="162" y="244"/>
                    </a:lnTo>
                    <a:lnTo>
                      <a:pt x="164" y="652"/>
                    </a:lnTo>
                    <a:lnTo>
                      <a:pt x="164" y="652"/>
                    </a:lnTo>
                    <a:lnTo>
                      <a:pt x="182" y="632"/>
                    </a:lnTo>
                    <a:lnTo>
                      <a:pt x="202" y="614"/>
                    </a:lnTo>
                    <a:lnTo>
                      <a:pt x="224" y="600"/>
                    </a:lnTo>
                    <a:lnTo>
                      <a:pt x="248" y="588"/>
                    </a:lnTo>
                    <a:lnTo>
                      <a:pt x="272" y="578"/>
                    </a:lnTo>
                    <a:lnTo>
                      <a:pt x="296" y="570"/>
                    </a:lnTo>
                    <a:lnTo>
                      <a:pt x="322" y="566"/>
                    </a:lnTo>
                    <a:lnTo>
                      <a:pt x="348" y="564"/>
                    </a:lnTo>
                    <a:lnTo>
                      <a:pt x="348" y="564"/>
                    </a:lnTo>
                    <a:lnTo>
                      <a:pt x="372" y="566"/>
                    </a:lnTo>
                    <a:lnTo>
                      <a:pt x="396" y="570"/>
                    </a:lnTo>
                    <a:lnTo>
                      <a:pt x="396" y="570"/>
                    </a:lnTo>
                    <a:lnTo>
                      <a:pt x="416" y="576"/>
                    </a:lnTo>
                    <a:lnTo>
                      <a:pt x="436" y="582"/>
                    </a:lnTo>
                    <a:lnTo>
                      <a:pt x="454" y="592"/>
                    </a:lnTo>
                    <a:lnTo>
                      <a:pt x="472" y="602"/>
                    </a:lnTo>
                    <a:lnTo>
                      <a:pt x="490" y="614"/>
                    </a:lnTo>
                    <a:lnTo>
                      <a:pt x="506" y="628"/>
                    </a:lnTo>
                    <a:lnTo>
                      <a:pt x="520" y="642"/>
                    </a:lnTo>
                    <a:lnTo>
                      <a:pt x="534" y="658"/>
                    </a:lnTo>
                    <a:lnTo>
                      <a:pt x="534" y="658"/>
                    </a:lnTo>
                    <a:lnTo>
                      <a:pt x="534" y="242"/>
                    </a:lnTo>
                    <a:lnTo>
                      <a:pt x="534" y="242"/>
                    </a:lnTo>
                    <a:lnTo>
                      <a:pt x="580" y="242"/>
                    </a:lnTo>
                    <a:lnTo>
                      <a:pt x="580" y="242"/>
                    </a:lnTo>
                    <a:lnTo>
                      <a:pt x="580" y="646"/>
                    </a:lnTo>
                    <a:lnTo>
                      <a:pt x="580" y="646"/>
                    </a:lnTo>
                    <a:lnTo>
                      <a:pt x="582" y="662"/>
                    </a:lnTo>
                    <a:lnTo>
                      <a:pt x="584" y="676"/>
                    </a:lnTo>
                    <a:lnTo>
                      <a:pt x="592" y="692"/>
                    </a:lnTo>
                    <a:lnTo>
                      <a:pt x="600" y="704"/>
                    </a:lnTo>
                    <a:lnTo>
                      <a:pt x="610" y="714"/>
                    </a:lnTo>
                    <a:lnTo>
                      <a:pt x="624" y="722"/>
                    </a:lnTo>
                    <a:lnTo>
                      <a:pt x="630" y="724"/>
                    </a:lnTo>
                    <a:lnTo>
                      <a:pt x="638" y="726"/>
                    </a:lnTo>
                    <a:lnTo>
                      <a:pt x="646" y="726"/>
                    </a:lnTo>
                    <a:lnTo>
                      <a:pt x="654" y="724"/>
                    </a:lnTo>
                    <a:lnTo>
                      <a:pt x="654" y="724"/>
                    </a:lnTo>
                    <a:lnTo>
                      <a:pt x="668" y="722"/>
                    </a:lnTo>
                    <a:lnTo>
                      <a:pt x="678" y="716"/>
                    </a:lnTo>
                    <a:lnTo>
                      <a:pt x="688" y="708"/>
                    </a:lnTo>
                    <a:lnTo>
                      <a:pt x="694" y="698"/>
                    </a:lnTo>
                    <a:lnTo>
                      <a:pt x="700" y="684"/>
                    </a:lnTo>
                    <a:lnTo>
                      <a:pt x="702" y="672"/>
                    </a:lnTo>
                    <a:lnTo>
                      <a:pt x="704" y="658"/>
                    </a:lnTo>
                    <a:lnTo>
                      <a:pt x="704" y="646"/>
                    </a:lnTo>
                    <a:lnTo>
                      <a:pt x="704" y="646"/>
                    </a:lnTo>
                    <a:lnTo>
                      <a:pt x="704" y="438"/>
                    </a:lnTo>
                    <a:lnTo>
                      <a:pt x="704" y="230"/>
                    </a:lnTo>
                    <a:lnTo>
                      <a:pt x="704" y="230"/>
                    </a:lnTo>
                    <a:lnTo>
                      <a:pt x="704" y="182"/>
                    </a:lnTo>
                    <a:lnTo>
                      <a:pt x="700" y="156"/>
                    </a:lnTo>
                    <a:lnTo>
                      <a:pt x="696" y="132"/>
                    </a:lnTo>
                    <a:lnTo>
                      <a:pt x="690" y="108"/>
                    </a:lnTo>
                    <a:lnTo>
                      <a:pt x="680" y="86"/>
                    </a:lnTo>
                    <a:lnTo>
                      <a:pt x="666" y="66"/>
                    </a:lnTo>
                    <a:lnTo>
                      <a:pt x="658" y="58"/>
                    </a:lnTo>
                    <a:lnTo>
                      <a:pt x="648" y="50"/>
                    </a:lnTo>
                    <a:lnTo>
                      <a:pt x="648" y="50"/>
                    </a:lnTo>
                    <a:lnTo>
                      <a:pt x="634" y="38"/>
                    </a:lnTo>
                    <a:lnTo>
                      <a:pt x="620" y="30"/>
                    </a:lnTo>
                    <a:lnTo>
                      <a:pt x="606" y="22"/>
                    </a:lnTo>
                    <a:lnTo>
                      <a:pt x="590" y="16"/>
                    </a:lnTo>
                    <a:lnTo>
                      <a:pt x="558" y="8"/>
                    </a:lnTo>
                    <a:lnTo>
                      <a:pt x="524" y="2"/>
                    </a:lnTo>
                    <a:lnTo>
                      <a:pt x="492" y="0"/>
                    </a:lnTo>
                    <a:lnTo>
                      <a:pt x="458" y="0"/>
                    </a:lnTo>
                    <a:lnTo>
                      <a:pt x="390" y="0"/>
                    </a:lnTo>
                    <a:lnTo>
                      <a:pt x="390" y="0"/>
                    </a:lnTo>
                    <a:lnTo>
                      <a:pt x="352" y="2"/>
                    </a:lnTo>
                    <a:lnTo>
                      <a:pt x="314" y="0"/>
                    </a:lnTo>
                    <a:lnTo>
                      <a:pt x="238" y="0"/>
                    </a:lnTo>
                    <a:lnTo>
                      <a:pt x="200" y="2"/>
                    </a:lnTo>
                    <a:lnTo>
                      <a:pt x="164" y="6"/>
                    </a:lnTo>
                    <a:lnTo>
                      <a:pt x="126" y="12"/>
                    </a:lnTo>
                    <a:lnTo>
                      <a:pt x="108" y="18"/>
                    </a:lnTo>
                    <a:lnTo>
                      <a:pt x="90" y="24"/>
                    </a:lnTo>
                    <a:lnTo>
                      <a:pt x="90" y="24"/>
                    </a:lnTo>
                    <a:lnTo>
                      <a:pt x="70" y="36"/>
                    </a:lnTo>
                    <a:lnTo>
                      <a:pt x="50" y="50"/>
                    </a:lnTo>
                    <a:lnTo>
                      <a:pt x="36" y="66"/>
                    </a:lnTo>
                    <a:lnTo>
                      <a:pt x="22" y="86"/>
                    </a:lnTo>
                    <a:lnTo>
                      <a:pt x="12" y="106"/>
                    </a:lnTo>
                    <a:lnTo>
                      <a:pt x="6" y="130"/>
                    </a:lnTo>
                    <a:lnTo>
                      <a:pt x="2" y="152"/>
                    </a:lnTo>
                    <a:lnTo>
                      <a:pt x="2" y="176"/>
                    </a:lnTo>
                    <a:lnTo>
                      <a:pt x="2" y="176"/>
                    </a:lnTo>
                    <a:lnTo>
                      <a:pt x="0" y="418"/>
                    </a:lnTo>
                    <a:lnTo>
                      <a:pt x="2" y="662"/>
                    </a:lnTo>
                    <a:lnTo>
                      <a:pt x="2" y="662"/>
                    </a:lnTo>
                    <a:lnTo>
                      <a:pt x="2" y="672"/>
                    </a:lnTo>
                    <a:lnTo>
                      <a:pt x="4" y="684"/>
                    </a:lnTo>
                    <a:lnTo>
                      <a:pt x="8" y="694"/>
                    </a:lnTo>
                    <a:lnTo>
                      <a:pt x="14" y="704"/>
                    </a:lnTo>
                    <a:lnTo>
                      <a:pt x="20" y="712"/>
                    </a:lnTo>
                    <a:lnTo>
                      <a:pt x="30" y="720"/>
                    </a:lnTo>
                    <a:lnTo>
                      <a:pt x="40" y="722"/>
                    </a:lnTo>
                    <a:lnTo>
                      <a:pt x="52" y="724"/>
                    </a:lnTo>
                    <a:lnTo>
                      <a:pt x="52" y="7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42" name="Group 41"/>
            <p:cNvGrpSpPr/>
            <p:nvPr/>
          </p:nvGrpSpPr>
          <p:grpSpPr>
            <a:xfrm>
              <a:off x="14860588" y="6270625"/>
              <a:ext cx="1289050" cy="2889250"/>
              <a:chOff x="14860588" y="6270625"/>
              <a:chExt cx="1289050" cy="2889250"/>
            </a:xfrm>
            <a:grpFill/>
          </p:grpSpPr>
          <p:sp>
            <p:nvSpPr>
              <p:cNvPr id="43" name="Freeform 21"/>
              <p:cNvSpPr>
                <a:spLocks/>
              </p:cNvSpPr>
              <p:nvPr/>
            </p:nvSpPr>
            <p:spPr bwMode="auto">
              <a:xfrm>
                <a:off x="15270163" y="6270625"/>
                <a:ext cx="473075" cy="466725"/>
              </a:xfrm>
              <a:custGeom>
                <a:avLst/>
                <a:gdLst>
                  <a:gd name="T0" fmla="*/ 178 w 298"/>
                  <a:gd name="T1" fmla="*/ 2 h 294"/>
                  <a:gd name="T2" fmla="*/ 178 w 298"/>
                  <a:gd name="T3" fmla="*/ 2 h 294"/>
                  <a:gd name="T4" fmla="*/ 160 w 298"/>
                  <a:gd name="T5" fmla="*/ 0 h 294"/>
                  <a:gd name="T6" fmla="*/ 142 w 298"/>
                  <a:gd name="T7" fmla="*/ 0 h 294"/>
                  <a:gd name="T8" fmla="*/ 124 w 298"/>
                  <a:gd name="T9" fmla="*/ 2 h 294"/>
                  <a:gd name="T10" fmla="*/ 108 w 298"/>
                  <a:gd name="T11" fmla="*/ 6 h 294"/>
                  <a:gd name="T12" fmla="*/ 90 w 298"/>
                  <a:gd name="T13" fmla="*/ 14 h 294"/>
                  <a:gd name="T14" fmla="*/ 74 w 298"/>
                  <a:gd name="T15" fmla="*/ 22 h 294"/>
                  <a:gd name="T16" fmla="*/ 60 w 298"/>
                  <a:gd name="T17" fmla="*/ 32 h 294"/>
                  <a:gd name="T18" fmla="*/ 46 w 298"/>
                  <a:gd name="T19" fmla="*/ 42 h 294"/>
                  <a:gd name="T20" fmla="*/ 34 w 298"/>
                  <a:gd name="T21" fmla="*/ 56 h 294"/>
                  <a:gd name="T22" fmla="*/ 24 w 298"/>
                  <a:gd name="T23" fmla="*/ 70 h 294"/>
                  <a:gd name="T24" fmla="*/ 14 w 298"/>
                  <a:gd name="T25" fmla="*/ 84 h 294"/>
                  <a:gd name="T26" fmla="*/ 8 w 298"/>
                  <a:gd name="T27" fmla="*/ 100 h 294"/>
                  <a:gd name="T28" fmla="*/ 2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4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6 w 298"/>
                  <a:gd name="T65" fmla="*/ 268 h 294"/>
                  <a:gd name="T66" fmla="*/ 254 w 298"/>
                  <a:gd name="T67" fmla="*/ 254 h 294"/>
                  <a:gd name="T68" fmla="*/ 268 w 298"/>
                  <a:gd name="T69" fmla="*/ 236 h 294"/>
                  <a:gd name="T70" fmla="*/ 268 w 298"/>
                  <a:gd name="T71" fmla="*/ 236 h 294"/>
                  <a:gd name="T72" fmla="*/ 280 w 298"/>
                  <a:gd name="T73" fmla="*/ 220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6 h 294"/>
                  <a:gd name="T88" fmla="*/ 278 w 298"/>
                  <a:gd name="T89" fmla="*/ 80 h 294"/>
                  <a:gd name="T90" fmla="*/ 268 w 298"/>
                  <a:gd name="T91" fmla="*/ 64 h 294"/>
                  <a:gd name="T92" fmla="*/ 258 w 298"/>
                  <a:gd name="T93" fmla="*/ 50 h 294"/>
                  <a:gd name="T94" fmla="*/ 244 w 298"/>
                  <a:gd name="T95" fmla="*/ 36 h 294"/>
                  <a:gd name="T96" fmla="*/ 230 w 298"/>
                  <a:gd name="T97" fmla="*/ 26 h 294"/>
                  <a:gd name="T98" fmla="*/ 214 w 298"/>
                  <a:gd name="T99" fmla="*/ 16 h 294"/>
                  <a:gd name="T100" fmla="*/ 196 w 298"/>
                  <a:gd name="T101" fmla="*/ 8 h 294"/>
                  <a:gd name="T102" fmla="*/ 178 w 298"/>
                  <a:gd name="T103" fmla="*/ 2 h 294"/>
                  <a:gd name="T104" fmla="*/ 178 w 298"/>
                  <a:gd name="T105" fmla="*/ 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2"/>
                    </a:moveTo>
                    <a:lnTo>
                      <a:pt x="178" y="2"/>
                    </a:lnTo>
                    <a:lnTo>
                      <a:pt x="160" y="0"/>
                    </a:lnTo>
                    <a:lnTo>
                      <a:pt x="142" y="0"/>
                    </a:lnTo>
                    <a:lnTo>
                      <a:pt x="124" y="2"/>
                    </a:lnTo>
                    <a:lnTo>
                      <a:pt x="108" y="6"/>
                    </a:lnTo>
                    <a:lnTo>
                      <a:pt x="90" y="14"/>
                    </a:lnTo>
                    <a:lnTo>
                      <a:pt x="74" y="22"/>
                    </a:lnTo>
                    <a:lnTo>
                      <a:pt x="60" y="32"/>
                    </a:lnTo>
                    <a:lnTo>
                      <a:pt x="46" y="42"/>
                    </a:lnTo>
                    <a:lnTo>
                      <a:pt x="34" y="56"/>
                    </a:lnTo>
                    <a:lnTo>
                      <a:pt x="24" y="70"/>
                    </a:lnTo>
                    <a:lnTo>
                      <a:pt x="14" y="84"/>
                    </a:lnTo>
                    <a:lnTo>
                      <a:pt x="8" y="100"/>
                    </a:lnTo>
                    <a:lnTo>
                      <a:pt x="2" y="118"/>
                    </a:lnTo>
                    <a:lnTo>
                      <a:pt x="0" y="136"/>
                    </a:lnTo>
                    <a:lnTo>
                      <a:pt x="0" y="154"/>
                    </a:lnTo>
                    <a:lnTo>
                      <a:pt x="2" y="172"/>
                    </a:lnTo>
                    <a:lnTo>
                      <a:pt x="2" y="172"/>
                    </a:lnTo>
                    <a:lnTo>
                      <a:pt x="6" y="194"/>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6" y="268"/>
                    </a:lnTo>
                    <a:lnTo>
                      <a:pt x="254" y="254"/>
                    </a:lnTo>
                    <a:lnTo>
                      <a:pt x="268" y="236"/>
                    </a:lnTo>
                    <a:lnTo>
                      <a:pt x="268" y="236"/>
                    </a:lnTo>
                    <a:lnTo>
                      <a:pt x="280" y="220"/>
                    </a:lnTo>
                    <a:lnTo>
                      <a:pt x="288" y="204"/>
                    </a:lnTo>
                    <a:lnTo>
                      <a:pt x="294" y="186"/>
                    </a:lnTo>
                    <a:lnTo>
                      <a:pt x="298" y="168"/>
                    </a:lnTo>
                    <a:lnTo>
                      <a:pt x="298" y="150"/>
                    </a:lnTo>
                    <a:lnTo>
                      <a:pt x="296" y="132"/>
                    </a:lnTo>
                    <a:lnTo>
                      <a:pt x="292" y="114"/>
                    </a:lnTo>
                    <a:lnTo>
                      <a:pt x="286" y="96"/>
                    </a:lnTo>
                    <a:lnTo>
                      <a:pt x="278" y="80"/>
                    </a:lnTo>
                    <a:lnTo>
                      <a:pt x="268" y="64"/>
                    </a:lnTo>
                    <a:lnTo>
                      <a:pt x="258" y="50"/>
                    </a:lnTo>
                    <a:lnTo>
                      <a:pt x="244" y="36"/>
                    </a:lnTo>
                    <a:lnTo>
                      <a:pt x="230" y="26"/>
                    </a:lnTo>
                    <a:lnTo>
                      <a:pt x="214" y="16"/>
                    </a:lnTo>
                    <a:lnTo>
                      <a:pt x="196" y="8"/>
                    </a:lnTo>
                    <a:lnTo>
                      <a:pt x="178" y="2"/>
                    </a:lnTo>
                    <a:lnTo>
                      <a:pt x="17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44" name="Freeform 23"/>
              <p:cNvSpPr>
                <a:spLocks/>
              </p:cNvSpPr>
              <p:nvPr/>
            </p:nvSpPr>
            <p:spPr bwMode="auto">
              <a:xfrm>
                <a:off x="14860588" y="6810375"/>
                <a:ext cx="1289050" cy="2349500"/>
              </a:xfrm>
              <a:custGeom>
                <a:avLst/>
                <a:gdLst>
                  <a:gd name="T0" fmla="*/ 624 w 812"/>
                  <a:gd name="T1" fmla="*/ 38 h 1480"/>
                  <a:gd name="T2" fmla="*/ 578 w 812"/>
                  <a:gd name="T3" fmla="*/ 14 h 1480"/>
                  <a:gd name="T4" fmla="*/ 508 w 812"/>
                  <a:gd name="T5" fmla="*/ 2 h 1480"/>
                  <a:gd name="T6" fmla="*/ 400 w 812"/>
                  <a:gd name="T7" fmla="*/ 2 h 1480"/>
                  <a:gd name="T8" fmla="*/ 336 w 812"/>
                  <a:gd name="T9" fmla="*/ 0 h 1480"/>
                  <a:gd name="T10" fmla="*/ 248 w 812"/>
                  <a:gd name="T11" fmla="*/ 12 h 1480"/>
                  <a:gd name="T12" fmla="*/ 196 w 812"/>
                  <a:gd name="T13" fmla="*/ 34 h 1480"/>
                  <a:gd name="T14" fmla="*/ 162 w 812"/>
                  <a:gd name="T15" fmla="*/ 64 h 1480"/>
                  <a:gd name="T16" fmla="*/ 136 w 812"/>
                  <a:gd name="T17" fmla="*/ 112 h 1480"/>
                  <a:gd name="T18" fmla="*/ 96 w 812"/>
                  <a:gd name="T19" fmla="*/ 222 h 1480"/>
                  <a:gd name="T20" fmla="*/ 52 w 812"/>
                  <a:gd name="T21" fmla="*/ 372 h 1480"/>
                  <a:gd name="T22" fmla="*/ 32 w 812"/>
                  <a:gd name="T23" fmla="*/ 434 h 1480"/>
                  <a:gd name="T24" fmla="*/ 6 w 812"/>
                  <a:gd name="T25" fmla="*/ 530 h 1480"/>
                  <a:gd name="T26" fmla="*/ 2 w 812"/>
                  <a:gd name="T27" fmla="*/ 612 h 1480"/>
                  <a:gd name="T28" fmla="*/ 20 w 812"/>
                  <a:gd name="T29" fmla="*/ 632 h 1480"/>
                  <a:gd name="T30" fmla="*/ 66 w 812"/>
                  <a:gd name="T31" fmla="*/ 634 h 1480"/>
                  <a:gd name="T32" fmla="*/ 102 w 812"/>
                  <a:gd name="T33" fmla="*/ 612 h 1480"/>
                  <a:gd name="T34" fmla="*/ 142 w 812"/>
                  <a:gd name="T35" fmla="*/ 508 h 1480"/>
                  <a:gd name="T36" fmla="*/ 226 w 812"/>
                  <a:gd name="T37" fmla="*/ 236 h 1480"/>
                  <a:gd name="T38" fmla="*/ 232 w 812"/>
                  <a:gd name="T39" fmla="*/ 222 h 1480"/>
                  <a:gd name="T40" fmla="*/ 262 w 812"/>
                  <a:gd name="T41" fmla="*/ 190 h 1480"/>
                  <a:gd name="T42" fmla="*/ 166 w 812"/>
                  <a:gd name="T43" fmla="*/ 542 h 1480"/>
                  <a:gd name="T44" fmla="*/ 64 w 812"/>
                  <a:gd name="T45" fmla="*/ 894 h 1480"/>
                  <a:gd name="T46" fmla="*/ 242 w 812"/>
                  <a:gd name="T47" fmla="*/ 1020 h 1480"/>
                  <a:gd name="T48" fmla="*/ 242 w 812"/>
                  <a:gd name="T49" fmla="*/ 1400 h 1480"/>
                  <a:gd name="T50" fmla="*/ 246 w 812"/>
                  <a:gd name="T51" fmla="*/ 1428 h 1480"/>
                  <a:gd name="T52" fmla="*/ 268 w 812"/>
                  <a:gd name="T53" fmla="*/ 1464 h 1480"/>
                  <a:gd name="T54" fmla="*/ 308 w 812"/>
                  <a:gd name="T55" fmla="*/ 1480 h 1480"/>
                  <a:gd name="T56" fmla="*/ 338 w 812"/>
                  <a:gd name="T57" fmla="*/ 1474 h 1480"/>
                  <a:gd name="T58" fmla="*/ 368 w 812"/>
                  <a:gd name="T59" fmla="*/ 1444 h 1480"/>
                  <a:gd name="T60" fmla="*/ 376 w 812"/>
                  <a:gd name="T61" fmla="*/ 1402 h 1480"/>
                  <a:gd name="T62" fmla="*/ 376 w 812"/>
                  <a:gd name="T63" fmla="*/ 1148 h 1480"/>
                  <a:gd name="T64" fmla="*/ 378 w 812"/>
                  <a:gd name="T65" fmla="*/ 894 h 1480"/>
                  <a:gd name="T66" fmla="*/ 420 w 812"/>
                  <a:gd name="T67" fmla="*/ 1026 h 1480"/>
                  <a:gd name="T68" fmla="*/ 422 w 812"/>
                  <a:gd name="T69" fmla="*/ 1420 h 1480"/>
                  <a:gd name="T70" fmla="*/ 428 w 812"/>
                  <a:gd name="T71" fmla="*/ 1446 h 1480"/>
                  <a:gd name="T72" fmla="*/ 454 w 812"/>
                  <a:gd name="T73" fmla="*/ 1470 h 1480"/>
                  <a:gd name="T74" fmla="*/ 488 w 812"/>
                  <a:gd name="T75" fmla="*/ 1478 h 1480"/>
                  <a:gd name="T76" fmla="*/ 520 w 812"/>
                  <a:gd name="T77" fmla="*/ 1470 h 1480"/>
                  <a:gd name="T78" fmla="*/ 546 w 812"/>
                  <a:gd name="T79" fmla="*/ 1444 h 1480"/>
                  <a:gd name="T80" fmla="*/ 554 w 812"/>
                  <a:gd name="T81" fmla="*/ 1420 h 1480"/>
                  <a:gd name="T82" fmla="*/ 554 w 812"/>
                  <a:gd name="T83" fmla="*/ 1026 h 1480"/>
                  <a:gd name="T84" fmla="*/ 732 w 812"/>
                  <a:gd name="T85" fmla="*/ 894 h 1480"/>
                  <a:gd name="T86" fmla="*/ 644 w 812"/>
                  <a:gd name="T87" fmla="*/ 548 h 1480"/>
                  <a:gd name="T88" fmla="*/ 556 w 812"/>
                  <a:gd name="T89" fmla="*/ 202 h 1480"/>
                  <a:gd name="T90" fmla="*/ 598 w 812"/>
                  <a:gd name="T91" fmla="*/ 266 h 1480"/>
                  <a:gd name="T92" fmla="*/ 666 w 812"/>
                  <a:gd name="T93" fmla="*/ 504 h 1480"/>
                  <a:gd name="T94" fmla="*/ 696 w 812"/>
                  <a:gd name="T95" fmla="*/ 598 h 1480"/>
                  <a:gd name="T96" fmla="*/ 712 w 812"/>
                  <a:gd name="T97" fmla="*/ 622 h 1480"/>
                  <a:gd name="T98" fmla="*/ 738 w 812"/>
                  <a:gd name="T99" fmla="*/ 636 h 1480"/>
                  <a:gd name="T100" fmla="*/ 768 w 812"/>
                  <a:gd name="T101" fmla="*/ 636 h 1480"/>
                  <a:gd name="T102" fmla="*/ 796 w 812"/>
                  <a:gd name="T103" fmla="*/ 624 h 1480"/>
                  <a:gd name="T104" fmla="*/ 810 w 812"/>
                  <a:gd name="T105" fmla="*/ 600 h 1480"/>
                  <a:gd name="T106" fmla="*/ 808 w 812"/>
                  <a:gd name="T107" fmla="*/ 552 h 1480"/>
                  <a:gd name="T108" fmla="*/ 782 w 812"/>
                  <a:gd name="T109" fmla="*/ 448 h 1480"/>
                  <a:gd name="T110" fmla="*/ 740 w 812"/>
                  <a:gd name="T111" fmla="*/ 310 h 1480"/>
                  <a:gd name="T112" fmla="*/ 702 w 812"/>
                  <a:gd name="T113" fmla="*/ 174 h 1480"/>
                  <a:gd name="T114" fmla="*/ 660 w 812"/>
                  <a:gd name="T115" fmla="*/ 78 h 1480"/>
                  <a:gd name="T116" fmla="*/ 638 w 812"/>
                  <a:gd name="T117" fmla="*/ 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80">
                    <a:moveTo>
                      <a:pt x="638" y="50"/>
                    </a:moveTo>
                    <a:lnTo>
                      <a:pt x="638" y="50"/>
                    </a:lnTo>
                    <a:lnTo>
                      <a:pt x="624" y="38"/>
                    </a:lnTo>
                    <a:lnTo>
                      <a:pt x="610" y="28"/>
                    </a:lnTo>
                    <a:lnTo>
                      <a:pt x="594" y="20"/>
                    </a:lnTo>
                    <a:lnTo>
                      <a:pt x="578" y="14"/>
                    </a:lnTo>
                    <a:lnTo>
                      <a:pt x="562" y="10"/>
                    </a:lnTo>
                    <a:lnTo>
                      <a:pt x="544" y="6"/>
                    </a:lnTo>
                    <a:lnTo>
                      <a:pt x="508" y="2"/>
                    </a:lnTo>
                    <a:lnTo>
                      <a:pt x="472" y="2"/>
                    </a:lnTo>
                    <a:lnTo>
                      <a:pt x="436" y="2"/>
                    </a:lnTo>
                    <a:lnTo>
                      <a:pt x="400" y="2"/>
                    </a:lnTo>
                    <a:lnTo>
                      <a:pt x="364" y="2"/>
                    </a:lnTo>
                    <a:lnTo>
                      <a:pt x="364" y="2"/>
                    </a:lnTo>
                    <a:lnTo>
                      <a:pt x="336" y="0"/>
                    </a:lnTo>
                    <a:lnTo>
                      <a:pt x="306" y="2"/>
                    </a:lnTo>
                    <a:lnTo>
                      <a:pt x="276" y="4"/>
                    </a:lnTo>
                    <a:lnTo>
                      <a:pt x="248" y="12"/>
                    </a:lnTo>
                    <a:lnTo>
                      <a:pt x="220" y="20"/>
                    </a:lnTo>
                    <a:lnTo>
                      <a:pt x="208" y="28"/>
                    </a:lnTo>
                    <a:lnTo>
                      <a:pt x="196" y="34"/>
                    </a:lnTo>
                    <a:lnTo>
                      <a:pt x="184" y="44"/>
                    </a:lnTo>
                    <a:lnTo>
                      <a:pt x="172" y="54"/>
                    </a:lnTo>
                    <a:lnTo>
                      <a:pt x="162" y="64"/>
                    </a:lnTo>
                    <a:lnTo>
                      <a:pt x="154" y="76"/>
                    </a:lnTo>
                    <a:lnTo>
                      <a:pt x="154" y="76"/>
                    </a:lnTo>
                    <a:lnTo>
                      <a:pt x="136" y="112"/>
                    </a:lnTo>
                    <a:lnTo>
                      <a:pt x="120" y="148"/>
                    </a:lnTo>
                    <a:lnTo>
                      <a:pt x="106" y="184"/>
                    </a:lnTo>
                    <a:lnTo>
                      <a:pt x="96" y="222"/>
                    </a:lnTo>
                    <a:lnTo>
                      <a:pt x="74" y="298"/>
                    </a:lnTo>
                    <a:lnTo>
                      <a:pt x="64" y="334"/>
                    </a:lnTo>
                    <a:lnTo>
                      <a:pt x="52" y="372"/>
                    </a:lnTo>
                    <a:lnTo>
                      <a:pt x="52" y="372"/>
                    </a:lnTo>
                    <a:lnTo>
                      <a:pt x="42" y="404"/>
                    </a:lnTo>
                    <a:lnTo>
                      <a:pt x="32" y="434"/>
                    </a:lnTo>
                    <a:lnTo>
                      <a:pt x="22" y="466"/>
                    </a:lnTo>
                    <a:lnTo>
                      <a:pt x="12" y="498"/>
                    </a:lnTo>
                    <a:lnTo>
                      <a:pt x="6" y="530"/>
                    </a:lnTo>
                    <a:lnTo>
                      <a:pt x="0" y="562"/>
                    </a:lnTo>
                    <a:lnTo>
                      <a:pt x="0" y="594"/>
                    </a:lnTo>
                    <a:lnTo>
                      <a:pt x="2" y="612"/>
                    </a:lnTo>
                    <a:lnTo>
                      <a:pt x="6" y="628"/>
                    </a:lnTo>
                    <a:lnTo>
                      <a:pt x="6" y="628"/>
                    </a:lnTo>
                    <a:lnTo>
                      <a:pt x="20" y="632"/>
                    </a:lnTo>
                    <a:lnTo>
                      <a:pt x="36" y="634"/>
                    </a:lnTo>
                    <a:lnTo>
                      <a:pt x="50" y="636"/>
                    </a:lnTo>
                    <a:lnTo>
                      <a:pt x="66" y="634"/>
                    </a:lnTo>
                    <a:lnTo>
                      <a:pt x="80" y="630"/>
                    </a:lnTo>
                    <a:lnTo>
                      <a:pt x="92" y="622"/>
                    </a:lnTo>
                    <a:lnTo>
                      <a:pt x="102" y="612"/>
                    </a:lnTo>
                    <a:lnTo>
                      <a:pt x="112" y="596"/>
                    </a:lnTo>
                    <a:lnTo>
                      <a:pt x="112" y="596"/>
                    </a:lnTo>
                    <a:lnTo>
                      <a:pt x="142" y="508"/>
                    </a:lnTo>
                    <a:lnTo>
                      <a:pt x="170" y="416"/>
                    </a:lnTo>
                    <a:lnTo>
                      <a:pt x="196" y="326"/>
                    </a:lnTo>
                    <a:lnTo>
                      <a:pt x="226" y="236"/>
                    </a:lnTo>
                    <a:lnTo>
                      <a:pt x="226" y="236"/>
                    </a:lnTo>
                    <a:lnTo>
                      <a:pt x="228" y="228"/>
                    </a:lnTo>
                    <a:lnTo>
                      <a:pt x="232" y="222"/>
                    </a:lnTo>
                    <a:lnTo>
                      <a:pt x="240" y="210"/>
                    </a:lnTo>
                    <a:lnTo>
                      <a:pt x="262" y="190"/>
                    </a:lnTo>
                    <a:lnTo>
                      <a:pt x="262" y="190"/>
                    </a:lnTo>
                    <a:lnTo>
                      <a:pt x="240" y="278"/>
                    </a:lnTo>
                    <a:lnTo>
                      <a:pt x="218" y="366"/>
                    </a:lnTo>
                    <a:lnTo>
                      <a:pt x="166" y="542"/>
                    </a:lnTo>
                    <a:lnTo>
                      <a:pt x="114" y="718"/>
                    </a:lnTo>
                    <a:lnTo>
                      <a:pt x="64" y="894"/>
                    </a:lnTo>
                    <a:lnTo>
                      <a:pt x="64" y="894"/>
                    </a:lnTo>
                    <a:lnTo>
                      <a:pt x="240" y="894"/>
                    </a:lnTo>
                    <a:lnTo>
                      <a:pt x="240" y="894"/>
                    </a:lnTo>
                    <a:lnTo>
                      <a:pt x="242" y="1020"/>
                    </a:lnTo>
                    <a:lnTo>
                      <a:pt x="240" y="1146"/>
                    </a:lnTo>
                    <a:lnTo>
                      <a:pt x="240" y="1272"/>
                    </a:lnTo>
                    <a:lnTo>
                      <a:pt x="242" y="1400"/>
                    </a:lnTo>
                    <a:lnTo>
                      <a:pt x="242" y="1400"/>
                    </a:lnTo>
                    <a:lnTo>
                      <a:pt x="244" y="1414"/>
                    </a:lnTo>
                    <a:lnTo>
                      <a:pt x="246" y="1428"/>
                    </a:lnTo>
                    <a:lnTo>
                      <a:pt x="252" y="1442"/>
                    </a:lnTo>
                    <a:lnTo>
                      <a:pt x="260" y="1454"/>
                    </a:lnTo>
                    <a:lnTo>
                      <a:pt x="268" y="1464"/>
                    </a:lnTo>
                    <a:lnTo>
                      <a:pt x="280" y="1472"/>
                    </a:lnTo>
                    <a:lnTo>
                      <a:pt x="294" y="1478"/>
                    </a:lnTo>
                    <a:lnTo>
                      <a:pt x="308" y="1480"/>
                    </a:lnTo>
                    <a:lnTo>
                      <a:pt x="308" y="1480"/>
                    </a:lnTo>
                    <a:lnTo>
                      <a:pt x="324" y="1478"/>
                    </a:lnTo>
                    <a:lnTo>
                      <a:pt x="338" y="1474"/>
                    </a:lnTo>
                    <a:lnTo>
                      <a:pt x="350" y="1466"/>
                    </a:lnTo>
                    <a:lnTo>
                      <a:pt x="360" y="1456"/>
                    </a:lnTo>
                    <a:lnTo>
                      <a:pt x="368" y="1444"/>
                    </a:lnTo>
                    <a:lnTo>
                      <a:pt x="374" y="1430"/>
                    </a:lnTo>
                    <a:lnTo>
                      <a:pt x="376" y="1416"/>
                    </a:lnTo>
                    <a:lnTo>
                      <a:pt x="376" y="1402"/>
                    </a:lnTo>
                    <a:lnTo>
                      <a:pt x="376" y="1402"/>
                    </a:lnTo>
                    <a:lnTo>
                      <a:pt x="378" y="1274"/>
                    </a:lnTo>
                    <a:lnTo>
                      <a:pt x="376" y="1148"/>
                    </a:lnTo>
                    <a:lnTo>
                      <a:pt x="376" y="1020"/>
                    </a:lnTo>
                    <a:lnTo>
                      <a:pt x="378" y="894"/>
                    </a:lnTo>
                    <a:lnTo>
                      <a:pt x="378" y="894"/>
                    </a:lnTo>
                    <a:lnTo>
                      <a:pt x="418" y="894"/>
                    </a:lnTo>
                    <a:lnTo>
                      <a:pt x="418" y="894"/>
                    </a:lnTo>
                    <a:lnTo>
                      <a:pt x="420" y="1026"/>
                    </a:lnTo>
                    <a:lnTo>
                      <a:pt x="420" y="1158"/>
                    </a:lnTo>
                    <a:lnTo>
                      <a:pt x="420" y="1288"/>
                    </a:lnTo>
                    <a:lnTo>
                      <a:pt x="422" y="1420"/>
                    </a:lnTo>
                    <a:lnTo>
                      <a:pt x="422" y="1420"/>
                    </a:lnTo>
                    <a:lnTo>
                      <a:pt x="424" y="1434"/>
                    </a:lnTo>
                    <a:lnTo>
                      <a:pt x="428" y="1446"/>
                    </a:lnTo>
                    <a:lnTo>
                      <a:pt x="436" y="1456"/>
                    </a:lnTo>
                    <a:lnTo>
                      <a:pt x="444" y="1464"/>
                    </a:lnTo>
                    <a:lnTo>
                      <a:pt x="454" y="1470"/>
                    </a:lnTo>
                    <a:lnTo>
                      <a:pt x="464" y="1474"/>
                    </a:lnTo>
                    <a:lnTo>
                      <a:pt x="476" y="1478"/>
                    </a:lnTo>
                    <a:lnTo>
                      <a:pt x="488" y="1478"/>
                    </a:lnTo>
                    <a:lnTo>
                      <a:pt x="498" y="1476"/>
                    </a:lnTo>
                    <a:lnTo>
                      <a:pt x="510" y="1474"/>
                    </a:lnTo>
                    <a:lnTo>
                      <a:pt x="520" y="1470"/>
                    </a:lnTo>
                    <a:lnTo>
                      <a:pt x="530" y="1464"/>
                    </a:lnTo>
                    <a:lnTo>
                      <a:pt x="540" y="1454"/>
                    </a:lnTo>
                    <a:lnTo>
                      <a:pt x="546" y="1444"/>
                    </a:lnTo>
                    <a:lnTo>
                      <a:pt x="550" y="1434"/>
                    </a:lnTo>
                    <a:lnTo>
                      <a:pt x="554" y="1420"/>
                    </a:lnTo>
                    <a:lnTo>
                      <a:pt x="554" y="1420"/>
                    </a:lnTo>
                    <a:lnTo>
                      <a:pt x="556" y="1288"/>
                    </a:lnTo>
                    <a:lnTo>
                      <a:pt x="556" y="1158"/>
                    </a:lnTo>
                    <a:lnTo>
                      <a:pt x="554" y="1026"/>
                    </a:lnTo>
                    <a:lnTo>
                      <a:pt x="556" y="894"/>
                    </a:lnTo>
                    <a:lnTo>
                      <a:pt x="556" y="894"/>
                    </a:lnTo>
                    <a:lnTo>
                      <a:pt x="732" y="894"/>
                    </a:lnTo>
                    <a:lnTo>
                      <a:pt x="732" y="894"/>
                    </a:lnTo>
                    <a:lnTo>
                      <a:pt x="688" y="720"/>
                    </a:lnTo>
                    <a:lnTo>
                      <a:pt x="644" y="548"/>
                    </a:lnTo>
                    <a:lnTo>
                      <a:pt x="600" y="376"/>
                    </a:lnTo>
                    <a:lnTo>
                      <a:pt x="556" y="202"/>
                    </a:lnTo>
                    <a:lnTo>
                      <a:pt x="556" y="202"/>
                    </a:lnTo>
                    <a:lnTo>
                      <a:pt x="584" y="220"/>
                    </a:lnTo>
                    <a:lnTo>
                      <a:pt x="584" y="220"/>
                    </a:lnTo>
                    <a:lnTo>
                      <a:pt x="598" y="266"/>
                    </a:lnTo>
                    <a:lnTo>
                      <a:pt x="614" y="314"/>
                    </a:lnTo>
                    <a:lnTo>
                      <a:pt x="640" y="408"/>
                    </a:lnTo>
                    <a:lnTo>
                      <a:pt x="666" y="504"/>
                    </a:lnTo>
                    <a:lnTo>
                      <a:pt x="680" y="550"/>
                    </a:lnTo>
                    <a:lnTo>
                      <a:pt x="696" y="598"/>
                    </a:lnTo>
                    <a:lnTo>
                      <a:pt x="696" y="598"/>
                    </a:lnTo>
                    <a:lnTo>
                      <a:pt x="700" y="608"/>
                    </a:lnTo>
                    <a:lnTo>
                      <a:pt x="704" y="616"/>
                    </a:lnTo>
                    <a:lnTo>
                      <a:pt x="712" y="622"/>
                    </a:lnTo>
                    <a:lnTo>
                      <a:pt x="720" y="628"/>
                    </a:lnTo>
                    <a:lnTo>
                      <a:pt x="728" y="632"/>
                    </a:lnTo>
                    <a:lnTo>
                      <a:pt x="738" y="636"/>
                    </a:lnTo>
                    <a:lnTo>
                      <a:pt x="748" y="638"/>
                    </a:lnTo>
                    <a:lnTo>
                      <a:pt x="758" y="638"/>
                    </a:lnTo>
                    <a:lnTo>
                      <a:pt x="768" y="636"/>
                    </a:lnTo>
                    <a:lnTo>
                      <a:pt x="778" y="634"/>
                    </a:lnTo>
                    <a:lnTo>
                      <a:pt x="788" y="630"/>
                    </a:lnTo>
                    <a:lnTo>
                      <a:pt x="796" y="624"/>
                    </a:lnTo>
                    <a:lnTo>
                      <a:pt x="802" y="618"/>
                    </a:lnTo>
                    <a:lnTo>
                      <a:pt x="808" y="608"/>
                    </a:lnTo>
                    <a:lnTo>
                      <a:pt x="810" y="600"/>
                    </a:lnTo>
                    <a:lnTo>
                      <a:pt x="812" y="588"/>
                    </a:lnTo>
                    <a:lnTo>
                      <a:pt x="812" y="588"/>
                    </a:lnTo>
                    <a:lnTo>
                      <a:pt x="808" y="552"/>
                    </a:lnTo>
                    <a:lnTo>
                      <a:pt x="800" y="518"/>
                    </a:lnTo>
                    <a:lnTo>
                      <a:pt x="792" y="482"/>
                    </a:lnTo>
                    <a:lnTo>
                      <a:pt x="782" y="448"/>
                    </a:lnTo>
                    <a:lnTo>
                      <a:pt x="760" y="380"/>
                    </a:lnTo>
                    <a:lnTo>
                      <a:pt x="740" y="310"/>
                    </a:lnTo>
                    <a:lnTo>
                      <a:pt x="740" y="310"/>
                    </a:lnTo>
                    <a:lnTo>
                      <a:pt x="730" y="276"/>
                    </a:lnTo>
                    <a:lnTo>
                      <a:pt x="720" y="242"/>
                    </a:lnTo>
                    <a:lnTo>
                      <a:pt x="702" y="174"/>
                    </a:lnTo>
                    <a:lnTo>
                      <a:pt x="690" y="142"/>
                    </a:lnTo>
                    <a:lnTo>
                      <a:pt x="678" y="110"/>
                    </a:lnTo>
                    <a:lnTo>
                      <a:pt x="660" y="78"/>
                    </a:lnTo>
                    <a:lnTo>
                      <a:pt x="650"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grpSp>
        <p:nvGrpSpPr>
          <p:cNvPr id="55" name="Group 54"/>
          <p:cNvGrpSpPr/>
          <p:nvPr/>
        </p:nvGrpSpPr>
        <p:grpSpPr>
          <a:xfrm>
            <a:off x="6340934" y="2560399"/>
            <a:ext cx="1176336" cy="1110490"/>
            <a:chOff x="2589594" y="1727060"/>
            <a:chExt cx="1176336" cy="1110490"/>
          </a:xfrm>
        </p:grpSpPr>
        <p:sp>
          <p:nvSpPr>
            <p:cNvPr id="56" name="Text Placeholder 1"/>
            <p:cNvSpPr txBox="1">
              <a:spLocks/>
            </p:cNvSpPr>
            <p:nvPr/>
          </p:nvSpPr>
          <p:spPr>
            <a:xfrm>
              <a:off x="2589594" y="2161334"/>
              <a:ext cx="1176336" cy="676216"/>
            </a:xfrm>
            <a:prstGeom prst="rect">
              <a:avLst/>
            </a:prstGeom>
          </p:spPr>
          <p:txBody>
            <a:bodyPr lIns="91420" tIns="45710" rIns="91420" bIns="45710">
              <a:noAutofit/>
            </a:bodyPr>
            <a:lstStyle>
              <a:lvl1pPr marL="228600" indent="-228600" algn="l" defTabSz="684213" rtl="0" eaLnBrk="1" fontAlgn="base" hangingPunct="1">
                <a:lnSpc>
                  <a:spcPts val="4440"/>
                </a:lnSpc>
                <a:spcBef>
                  <a:spcPts val="0"/>
                </a:spcBef>
                <a:spcAft>
                  <a:spcPct val="0"/>
                </a:spcAft>
                <a:buClr>
                  <a:schemeClr val="tx1"/>
                </a:buClr>
                <a:buSzPct val="80000"/>
                <a:buFont typeface="Arial"/>
                <a:buChar char="•"/>
                <a:defRPr lang="en-US" sz="2400" b="0" i="0" kern="1200">
                  <a:solidFill>
                    <a:schemeClr val="tx1"/>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Clr>
                  <a:srgbClr val="435153"/>
                </a:buClr>
                <a:buFont typeface="Arial"/>
                <a:buNone/>
              </a:pPr>
              <a:r>
                <a:rPr dirty="0" smtClean="0">
                  <a:solidFill>
                    <a:srgbClr val="435153"/>
                  </a:solidFill>
                  <a:latin typeface="Ciscolight"/>
                </a:rPr>
                <a:t>390</a:t>
              </a:r>
              <a:endParaRPr dirty="0">
                <a:solidFill>
                  <a:srgbClr val="435153"/>
                </a:solidFill>
                <a:latin typeface="Ciscolight"/>
              </a:endParaRPr>
            </a:p>
          </p:txBody>
        </p:sp>
        <p:grpSp>
          <p:nvGrpSpPr>
            <p:cNvPr id="57" name="Group 56"/>
            <p:cNvGrpSpPr>
              <a:grpSpLocks noChangeAspect="1"/>
            </p:cNvGrpSpPr>
            <p:nvPr/>
          </p:nvGrpSpPr>
          <p:grpSpPr>
            <a:xfrm>
              <a:off x="2860736" y="1727060"/>
              <a:ext cx="636467" cy="495700"/>
              <a:chOff x="12666663" y="4721225"/>
              <a:chExt cx="5699125" cy="4438650"/>
            </a:xfrm>
            <a:solidFill>
              <a:schemeClr val="tx2">
                <a:lumMod val="50000"/>
                <a:lumOff val="50000"/>
              </a:schemeClr>
            </a:solidFill>
          </p:grpSpPr>
          <p:grpSp>
            <p:nvGrpSpPr>
              <p:cNvPr id="58" name="Group 57"/>
              <p:cNvGrpSpPr/>
              <p:nvPr/>
            </p:nvGrpSpPr>
            <p:grpSpPr>
              <a:xfrm>
                <a:off x="16051213" y="5292725"/>
                <a:ext cx="1289050" cy="2889250"/>
                <a:chOff x="16051213" y="5292725"/>
                <a:chExt cx="1289050" cy="2889250"/>
              </a:xfrm>
              <a:grpFill/>
            </p:grpSpPr>
            <p:sp>
              <p:nvSpPr>
                <p:cNvPr id="75" name="Freeform 13"/>
                <p:cNvSpPr>
                  <a:spLocks/>
                </p:cNvSpPr>
                <p:nvPr/>
              </p:nvSpPr>
              <p:spPr bwMode="auto">
                <a:xfrm>
                  <a:off x="16457613" y="5292725"/>
                  <a:ext cx="473075" cy="466725"/>
                </a:xfrm>
                <a:custGeom>
                  <a:avLst/>
                  <a:gdLst>
                    <a:gd name="T0" fmla="*/ 120 w 298"/>
                    <a:gd name="T1" fmla="*/ 4 h 294"/>
                    <a:gd name="T2" fmla="*/ 120 w 298"/>
                    <a:gd name="T3" fmla="*/ 4 h 294"/>
                    <a:gd name="T4" fmla="*/ 138 w 298"/>
                    <a:gd name="T5" fmla="*/ 0 h 294"/>
                    <a:gd name="T6" fmla="*/ 156 w 298"/>
                    <a:gd name="T7" fmla="*/ 0 h 294"/>
                    <a:gd name="T8" fmla="*/ 174 w 298"/>
                    <a:gd name="T9" fmla="*/ 2 h 294"/>
                    <a:gd name="T10" fmla="*/ 190 w 298"/>
                    <a:gd name="T11" fmla="*/ 8 h 294"/>
                    <a:gd name="T12" fmla="*/ 208 w 298"/>
                    <a:gd name="T13" fmla="*/ 14 h 294"/>
                    <a:gd name="T14" fmla="*/ 222 w 298"/>
                    <a:gd name="T15" fmla="*/ 22 h 294"/>
                    <a:gd name="T16" fmla="*/ 238 w 298"/>
                    <a:gd name="T17" fmla="*/ 32 h 294"/>
                    <a:gd name="T18" fmla="*/ 252 w 298"/>
                    <a:gd name="T19" fmla="*/ 44 h 294"/>
                    <a:gd name="T20" fmla="*/ 264 w 298"/>
                    <a:gd name="T21" fmla="*/ 56 h 294"/>
                    <a:gd name="T22" fmla="*/ 274 w 298"/>
                    <a:gd name="T23" fmla="*/ 70 h 294"/>
                    <a:gd name="T24" fmla="*/ 284 w 298"/>
                    <a:gd name="T25" fmla="*/ 86 h 294"/>
                    <a:gd name="T26" fmla="*/ 290 w 298"/>
                    <a:gd name="T27" fmla="*/ 102 h 294"/>
                    <a:gd name="T28" fmla="*/ 296 w 298"/>
                    <a:gd name="T29" fmla="*/ 118 h 294"/>
                    <a:gd name="T30" fmla="*/ 298 w 298"/>
                    <a:gd name="T31" fmla="*/ 136 h 294"/>
                    <a:gd name="T32" fmla="*/ 298 w 298"/>
                    <a:gd name="T33" fmla="*/ 154 h 294"/>
                    <a:gd name="T34" fmla="*/ 296 w 298"/>
                    <a:gd name="T35" fmla="*/ 172 h 294"/>
                    <a:gd name="T36" fmla="*/ 296 w 298"/>
                    <a:gd name="T37" fmla="*/ 172 h 294"/>
                    <a:gd name="T38" fmla="*/ 292 w 298"/>
                    <a:gd name="T39" fmla="*/ 196 h 294"/>
                    <a:gd name="T40" fmla="*/ 284 w 298"/>
                    <a:gd name="T41" fmla="*/ 216 h 294"/>
                    <a:gd name="T42" fmla="*/ 274 w 298"/>
                    <a:gd name="T43" fmla="*/ 234 h 294"/>
                    <a:gd name="T44" fmla="*/ 260 w 298"/>
                    <a:gd name="T45" fmla="*/ 250 h 294"/>
                    <a:gd name="T46" fmla="*/ 244 w 298"/>
                    <a:gd name="T47" fmla="*/ 264 h 294"/>
                    <a:gd name="T48" fmla="*/ 226 w 298"/>
                    <a:gd name="T49" fmla="*/ 276 h 294"/>
                    <a:gd name="T50" fmla="*/ 206 w 298"/>
                    <a:gd name="T51" fmla="*/ 284 h 294"/>
                    <a:gd name="T52" fmla="*/ 186 w 298"/>
                    <a:gd name="T53" fmla="*/ 290 h 294"/>
                    <a:gd name="T54" fmla="*/ 164 w 298"/>
                    <a:gd name="T55" fmla="*/ 294 h 294"/>
                    <a:gd name="T56" fmla="*/ 142 w 298"/>
                    <a:gd name="T57" fmla="*/ 294 h 294"/>
                    <a:gd name="T58" fmla="*/ 120 w 298"/>
                    <a:gd name="T59" fmla="*/ 292 h 294"/>
                    <a:gd name="T60" fmla="*/ 100 w 298"/>
                    <a:gd name="T61" fmla="*/ 288 h 294"/>
                    <a:gd name="T62" fmla="*/ 80 w 298"/>
                    <a:gd name="T63" fmla="*/ 280 h 294"/>
                    <a:gd name="T64" fmla="*/ 60 w 298"/>
                    <a:gd name="T65" fmla="*/ 268 h 294"/>
                    <a:gd name="T66" fmla="*/ 44 w 298"/>
                    <a:gd name="T67" fmla="*/ 254 h 294"/>
                    <a:gd name="T68" fmla="*/ 30 w 298"/>
                    <a:gd name="T69" fmla="*/ 236 h 294"/>
                    <a:gd name="T70" fmla="*/ 30 w 298"/>
                    <a:gd name="T71" fmla="*/ 236 h 294"/>
                    <a:gd name="T72" fmla="*/ 18 w 298"/>
                    <a:gd name="T73" fmla="*/ 222 h 294"/>
                    <a:gd name="T74" fmla="*/ 10 w 298"/>
                    <a:gd name="T75" fmla="*/ 204 h 294"/>
                    <a:gd name="T76" fmla="*/ 4 w 298"/>
                    <a:gd name="T77" fmla="*/ 186 h 294"/>
                    <a:gd name="T78" fmla="*/ 0 w 298"/>
                    <a:gd name="T79" fmla="*/ 168 h 294"/>
                    <a:gd name="T80" fmla="*/ 0 w 298"/>
                    <a:gd name="T81" fmla="*/ 150 h 294"/>
                    <a:gd name="T82" fmla="*/ 2 w 298"/>
                    <a:gd name="T83" fmla="*/ 132 h 294"/>
                    <a:gd name="T84" fmla="*/ 6 w 298"/>
                    <a:gd name="T85" fmla="*/ 114 h 294"/>
                    <a:gd name="T86" fmla="*/ 12 w 298"/>
                    <a:gd name="T87" fmla="*/ 98 h 294"/>
                    <a:gd name="T88" fmla="*/ 20 w 298"/>
                    <a:gd name="T89" fmla="*/ 80 h 294"/>
                    <a:gd name="T90" fmla="*/ 30 w 298"/>
                    <a:gd name="T91" fmla="*/ 66 h 294"/>
                    <a:gd name="T92" fmla="*/ 40 w 298"/>
                    <a:gd name="T93" fmla="*/ 50 h 294"/>
                    <a:gd name="T94" fmla="*/ 54 w 298"/>
                    <a:gd name="T95" fmla="*/ 38 h 294"/>
                    <a:gd name="T96" fmla="*/ 68 w 298"/>
                    <a:gd name="T97" fmla="*/ 26 h 294"/>
                    <a:gd name="T98" fmla="*/ 84 w 298"/>
                    <a:gd name="T99" fmla="*/ 16 h 294"/>
                    <a:gd name="T100" fmla="*/ 102 w 298"/>
                    <a:gd name="T101" fmla="*/ 8 h 294"/>
                    <a:gd name="T102" fmla="*/ 120 w 298"/>
                    <a:gd name="T103" fmla="*/ 4 h 294"/>
                    <a:gd name="T104" fmla="*/ 120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20" y="4"/>
                      </a:moveTo>
                      <a:lnTo>
                        <a:pt x="120" y="4"/>
                      </a:lnTo>
                      <a:lnTo>
                        <a:pt x="138" y="0"/>
                      </a:lnTo>
                      <a:lnTo>
                        <a:pt x="156" y="0"/>
                      </a:lnTo>
                      <a:lnTo>
                        <a:pt x="174" y="2"/>
                      </a:lnTo>
                      <a:lnTo>
                        <a:pt x="190" y="8"/>
                      </a:lnTo>
                      <a:lnTo>
                        <a:pt x="208" y="14"/>
                      </a:lnTo>
                      <a:lnTo>
                        <a:pt x="222" y="22"/>
                      </a:lnTo>
                      <a:lnTo>
                        <a:pt x="238" y="32"/>
                      </a:lnTo>
                      <a:lnTo>
                        <a:pt x="252" y="44"/>
                      </a:lnTo>
                      <a:lnTo>
                        <a:pt x="264" y="56"/>
                      </a:lnTo>
                      <a:lnTo>
                        <a:pt x="274" y="70"/>
                      </a:lnTo>
                      <a:lnTo>
                        <a:pt x="284" y="86"/>
                      </a:lnTo>
                      <a:lnTo>
                        <a:pt x="290" y="102"/>
                      </a:lnTo>
                      <a:lnTo>
                        <a:pt x="296" y="118"/>
                      </a:lnTo>
                      <a:lnTo>
                        <a:pt x="298" y="136"/>
                      </a:lnTo>
                      <a:lnTo>
                        <a:pt x="298" y="154"/>
                      </a:lnTo>
                      <a:lnTo>
                        <a:pt x="296" y="172"/>
                      </a:lnTo>
                      <a:lnTo>
                        <a:pt x="296" y="172"/>
                      </a:lnTo>
                      <a:lnTo>
                        <a:pt x="292" y="196"/>
                      </a:lnTo>
                      <a:lnTo>
                        <a:pt x="284" y="216"/>
                      </a:lnTo>
                      <a:lnTo>
                        <a:pt x="274" y="234"/>
                      </a:lnTo>
                      <a:lnTo>
                        <a:pt x="260" y="250"/>
                      </a:lnTo>
                      <a:lnTo>
                        <a:pt x="244" y="264"/>
                      </a:lnTo>
                      <a:lnTo>
                        <a:pt x="226" y="276"/>
                      </a:lnTo>
                      <a:lnTo>
                        <a:pt x="206" y="284"/>
                      </a:lnTo>
                      <a:lnTo>
                        <a:pt x="186" y="290"/>
                      </a:lnTo>
                      <a:lnTo>
                        <a:pt x="164" y="294"/>
                      </a:lnTo>
                      <a:lnTo>
                        <a:pt x="142" y="294"/>
                      </a:lnTo>
                      <a:lnTo>
                        <a:pt x="120" y="292"/>
                      </a:lnTo>
                      <a:lnTo>
                        <a:pt x="100" y="288"/>
                      </a:lnTo>
                      <a:lnTo>
                        <a:pt x="80" y="280"/>
                      </a:lnTo>
                      <a:lnTo>
                        <a:pt x="60" y="268"/>
                      </a:lnTo>
                      <a:lnTo>
                        <a:pt x="44" y="254"/>
                      </a:lnTo>
                      <a:lnTo>
                        <a:pt x="30" y="236"/>
                      </a:lnTo>
                      <a:lnTo>
                        <a:pt x="30" y="236"/>
                      </a:lnTo>
                      <a:lnTo>
                        <a:pt x="18" y="222"/>
                      </a:lnTo>
                      <a:lnTo>
                        <a:pt x="10" y="204"/>
                      </a:lnTo>
                      <a:lnTo>
                        <a:pt x="4" y="186"/>
                      </a:lnTo>
                      <a:lnTo>
                        <a:pt x="0" y="168"/>
                      </a:lnTo>
                      <a:lnTo>
                        <a:pt x="0" y="150"/>
                      </a:lnTo>
                      <a:lnTo>
                        <a:pt x="2" y="132"/>
                      </a:lnTo>
                      <a:lnTo>
                        <a:pt x="6" y="114"/>
                      </a:lnTo>
                      <a:lnTo>
                        <a:pt x="12" y="98"/>
                      </a:lnTo>
                      <a:lnTo>
                        <a:pt x="20" y="80"/>
                      </a:lnTo>
                      <a:lnTo>
                        <a:pt x="30" y="66"/>
                      </a:lnTo>
                      <a:lnTo>
                        <a:pt x="40" y="50"/>
                      </a:lnTo>
                      <a:lnTo>
                        <a:pt x="54" y="38"/>
                      </a:lnTo>
                      <a:lnTo>
                        <a:pt x="68" y="26"/>
                      </a:lnTo>
                      <a:lnTo>
                        <a:pt x="84" y="16"/>
                      </a:lnTo>
                      <a:lnTo>
                        <a:pt x="102" y="8"/>
                      </a:lnTo>
                      <a:lnTo>
                        <a:pt x="120" y="4"/>
                      </a:lnTo>
                      <a:lnTo>
                        <a:pt x="1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76" name="Freeform 14"/>
                <p:cNvSpPr>
                  <a:spLocks/>
                </p:cNvSpPr>
                <p:nvPr/>
              </p:nvSpPr>
              <p:spPr bwMode="auto">
                <a:xfrm>
                  <a:off x="16051213" y="5835650"/>
                  <a:ext cx="1289050" cy="2346325"/>
                </a:xfrm>
                <a:custGeom>
                  <a:avLst/>
                  <a:gdLst>
                    <a:gd name="T0" fmla="*/ 186 w 812"/>
                    <a:gd name="T1" fmla="*/ 38 h 1478"/>
                    <a:gd name="T2" fmla="*/ 234 w 812"/>
                    <a:gd name="T3" fmla="*/ 12 h 1478"/>
                    <a:gd name="T4" fmla="*/ 304 w 812"/>
                    <a:gd name="T5" fmla="*/ 0 h 1478"/>
                    <a:gd name="T6" fmla="*/ 412 w 812"/>
                    <a:gd name="T7" fmla="*/ 2 h 1478"/>
                    <a:gd name="T8" fmla="*/ 476 w 812"/>
                    <a:gd name="T9" fmla="*/ 0 h 1478"/>
                    <a:gd name="T10" fmla="*/ 564 w 812"/>
                    <a:gd name="T11" fmla="*/ 10 h 1478"/>
                    <a:gd name="T12" fmla="*/ 616 w 812"/>
                    <a:gd name="T13" fmla="*/ 34 h 1478"/>
                    <a:gd name="T14" fmla="*/ 648 w 812"/>
                    <a:gd name="T15" fmla="*/ 62 h 1478"/>
                    <a:gd name="T16" fmla="*/ 676 w 812"/>
                    <a:gd name="T17" fmla="*/ 110 h 1478"/>
                    <a:gd name="T18" fmla="*/ 716 w 812"/>
                    <a:gd name="T19" fmla="*/ 220 h 1478"/>
                    <a:gd name="T20" fmla="*/ 760 w 812"/>
                    <a:gd name="T21" fmla="*/ 370 h 1478"/>
                    <a:gd name="T22" fmla="*/ 780 w 812"/>
                    <a:gd name="T23" fmla="*/ 434 h 1478"/>
                    <a:gd name="T24" fmla="*/ 806 w 812"/>
                    <a:gd name="T25" fmla="*/ 528 h 1478"/>
                    <a:gd name="T26" fmla="*/ 810 w 812"/>
                    <a:gd name="T27" fmla="*/ 610 h 1478"/>
                    <a:gd name="T28" fmla="*/ 792 w 812"/>
                    <a:gd name="T29" fmla="*/ 630 h 1478"/>
                    <a:gd name="T30" fmla="*/ 746 w 812"/>
                    <a:gd name="T31" fmla="*/ 632 h 1478"/>
                    <a:gd name="T32" fmla="*/ 708 w 812"/>
                    <a:gd name="T33" fmla="*/ 610 h 1478"/>
                    <a:gd name="T34" fmla="*/ 670 w 812"/>
                    <a:gd name="T35" fmla="*/ 506 h 1478"/>
                    <a:gd name="T36" fmla="*/ 586 w 812"/>
                    <a:gd name="T37" fmla="*/ 234 h 1478"/>
                    <a:gd name="T38" fmla="*/ 580 w 812"/>
                    <a:gd name="T39" fmla="*/ 220 h 1478"/>
                    <a:gd name="T40" fmla="*/ 550 w 812"/>
                    <a:gd name="T41" fmla="*/ 188 h 1478"/>
                    <a:gd name="T42" fmla="*/ 644 w 812"/>
                    <a:gd name="T43" fmla="*/ 542 h 1478"/>
                    <a:gd name="T44" fmla="*/ 748 w 812"/>
                    <a:gd name="T45" fmla="*/ 892 h 1478"/>
                    <a:gd name="T46" fmla="*/ 570 w 812"/>
                    <a:gd name="T47" fmla="*/ 1020 h 1478"/>
                    <a:gd name="T48" fmla="*/ 570 w 812"/>
                    <a:gd name="T49" fmla="*/ 1398 h 1478"/>
                    <a:gd name="T50" fmla="*/ 566 w 812"/>
                    <a:gd name="T51" fmla="*/ 1426 h 1478"/>
                    <a:gd name="T52" fmla="*/ 542 w 812"/>
                    <a:gd name="T53" fmla="*/ 1464 h 1478"/>
                    <a:gd name="T54" fmla="*/ 502 w 812"/>
                    <a:gd name="T55" fmla="*/ 1478 h 1478"/>
                    <a:gd name="T56" fmla="*/ 474 w 812"/>
                    <a:gd name="T57" fmla="*/ 1472 h 1478"/>
                    <a:gd name="T58" fmla="*/ 444 w 812"/>
                    <a:gd name="T59" fmla="*/ 1442 h 1478"/>
                    <a:gd name="T60" fmla="*/ 436 w 812"/>
                    <a:gd name="T61" fmla="*/ 1400 h 1478"/>
                    <a:gd name="T62" fmla="*/ 436 w 812"/>
                    <a:gd name="T63" fmla="*/ 1146 h 1478"/>
                    <a:gd name="T64" fmla="*/ 434 w 812"/>
                    <a:gd name="T65" fmla="*/ 892 h 1478"/>
                    <a:gd name="T66" fmla="*/ 392 w 812"/>
                    <a:gd name="T67" fmla="*/ 1024 h 1478"/>
                    <a:gd name="T68" fmla="*/ 390 w 812"/>
                    <a:gd name="T69" fmla="*/ 1418 h 1478"/>
                    <a:gd name="T70" fmla="*/ 382 w 812"/>
                    <a:gd name="T71" fmla="*/ 1444 h 1478"/>
                    <a:gd name="T72" fmla="*/ 358 w 812"/>
                    <a:gd name="T73" fmla="*/ 1468 h 1478"/>
                    <a:gd name="T74" fmla="*/ 324 w 812"/>
                    <a:gd name="T75" fmla="*/ 1476 h 1478"/>
                    <a:gd name="T76" fmla="*/ 290 w 812"/>
                    <a:gd name="T77" fmla="*/ 1468 h 1478"/>
                    <a:gd name="T78" fmla="*/ 266 w 812"/>
                    <a:gd name="T79" fmla="*/ 1444 h 1478"/>
                    <a:gd name="T80" fmla="*/ 258 w 812"/>
                    <a:gd name="T81" fmla="*/ 1418 h 1478"/>
                    <a:gd name="T82" fmla="*/ 256 w 812"/>
                    <a:gd name="T83" fmla="*/ 1024 h 1478"/>
                    <a:gd name="T84" fmla="*/ 80 w 812"/>
                    <a:gd name="T85" fmla="*/ 892 h 1478"/>
                    <a:gd name="T86" fmla="*/ 168 w 812"/>
                    <a:gd name="T87" fmla="*/ 546 h 1478"/>
                    <a:gd name="T88" fmla="*/ 254 w 812"/>
                    <a:gd name="T89" fmla="*/ 200 h 1478"/>
                    <a:gd name="T90" fmla="*/ 212 w 812"/>
                    <a:gd name="T91" fmla="*/ 264 h 1478"/>
                    <a:gd name="T92" fmla="*/ 146 w 812"/>
                    <a:gd name="T93" fmla="*/ 502 h 1478"/>
                    <a:gd name="T94" fmla="*/ 116 w 812"/>
                    <a:gd name="T95" fmla="*/ 596 h 1478"/>
                    <a:gd name="T96" fmla="*/ 100 w 812"/>
                    <a:gd name="T97" fmla="*/ 622 h 1478"/>
                    <a:gd name="T98" fmla="*/ 74 w 812"/>
                    <a:gd name="T99" fmla="*/ 634 h 1478"/>
                    <a:gd name="T100" fmla="*/ 44 w 812"/>
                    <a:gd name="T101" fmla="*/ 634 h 1478"/>
                    <a:gd name="T102" fmla="*/ 16 w 812"/>
                    <a:gd name="T103" fmla="*/ 622 h 1478"/>
                    <a:gd name="T104" fmla="*/ 2 w 812"/>
                    <a:gd name="T105" fmla="*/ 598 h 1478"/>
                    <a:gd name="T106" fmla="*/ 4 w 812"/>
                    <a:gd name="T107" fmla="*/ 552 h 1478"/>
                    <a:gd name="T108" fmla="*/ 30 w 812"/>
                    <a:gd name="T109" fmla="*/ 446 h 1478"/>
                    <a:gd name="T110" fmla="*/ 72 w 812"/>
                    <a:gd name="T111" fmla="*/ 308 h 1478"/>
                    <a:gd name="T112" fmla="*/ 110 w 812"/>
                    <a:gd name="T113" fmla="*/ 174 h 1478"/>
                    <a:gd name="T114" fmla="*/ 152 w 812"/>
                    <a:gd name="T115" fmla="*/ 78 h 1478"/>
                    <a:gd name="T116" fmla="*/ 172 w 812"/>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78">
                      <a:moveTo>
                        <a:pt x="172" y="50"/>
                      </a:moveTo>
                      <a:lnTo>
                        <a:pt x="172" y="50"/>
                      </a:lnTo>
                      <a:lnTo>
                        <a:pt x="186" y="38"/>
                      </a:lnTo>
                      <a:lnTo>
                        <a:pt x="202" y="28"/>
                      </a:lnTo>
                      <a:lnTo>
                        <a:pt x="218" y="20"/>
                      </a:lnTo>
                      <a:lnTo>
                        <a:pt x="234" y="12"/>
                      </a:lnTo>
                      <a:lnTo>
                        <a:pt x="250" y="8"/>
                      </a:lnTo>
                      <a:lnTo>
                        <a:pt x="268" y="4"/>
                      </a:lnTo>
                      <a:lnTo>
                        <a:pt x="304" y="0"/>
                      </a:lnTo>
                      <a:lnTo>
                        <a:pt x="340" y="0"/>
                      </a:lnTo>
                      <a:lnTo>
                        <a:pt x="376" y="0"/>
                      </a:lnTo>
                      <a:lnTo>
                        <a:pt x="412" y="2"/>
                      </a:lnTo>
                      <a:lnTo>
                        <a:pt x="446" y="0"/>
                      </a:lnTo>
                      <a:lnTo>
                        <a:pt x="446" y="0"/>
                      </a:lnTo>
                      <a:lnTo>
                        <a:pt x="476" y="0"/>
                      </a:lnTo>
                      <a:lnTo>
                        <a:pt x="506" y="0"/>
                      </a:lnTo>
                      <a:lnTo>
                        <a:pt x="536" y="4"/>
                      </a:lnTo>
                      <a:lnTo>
                        <a:pt x="564" y="10"/>
                      </a:lnTo>
                      <a:lnTo>
                        <a:pt x="592" y="20"/>
                      </a:lnTo>
                      <a:lnTo>
                        <a:pt x="604" y="26"/>
                      </a:lnTo>
                      <a:lnTo>
                        <a:pt x="616" y="34"/>
                      </a:lnTo>
                      <a:lnTo>
                        <a:pt x="628" y="42"/>
                      </a:lnTo>
                      <a:lnTo>
                        <a:pt x="640" y="52"/>
                      </a:lnTo>
                      <a:lnTo>
                        <a:pt x="648" y="62"/>
                      </a:lnTo>
                      <a:lnTo>
                        <a:pt x="658" y="76"/>
                      </a:lnTo>
                      <a:lnTo>
                        <a:pt x="658" y="76"/>
                      </a:lnTo>
                      <a:lnTo>
                        <a:pt x="676" y="110"/>
                      </a:lnTo>
                      <a:lnTo>
                        <a:pt x="692" y="146"/>
                      </a:lnTo>
                      <a:lnTo>
                        <a:pt x="704" y="182"/>
                      </a:lnTo>
                      <a:lnTo>
                        <a:pt x="716" y="220"/>
                      </a:lnTo>
                      <a:lnTo>
                        <a:pt x="738" y="296"/>
                      </a:lnTo>
                      <a:lnTo>
                        <a:pt x="748" y="334"/>
                      </a:lnTo>
                      <a:lnTo>
                        <a:pt x="760" y="370"/>
                      </a:lnTo>
                      <a:lnTo>
                        <a:pt x="760" y="370"/>
                      </a:lnTo>
                      <a:lnTo>
                        <a:pt x="770" y="402"/>
                      </a:lnTo>
                      <a:lnTo>
                        <a:pt x="780" y="434"/>
                      </a:lnTo>
                      <a:lnTo>
                        <a:pt x="790" y="464"/>
                      </a:lnTo>
                      <a:lnTo>
                        <a:pt x="798" y="496"/>
                      </a:lnTo>
                      <a:lnTo>
                        <a:pt x="806" y="528"/>
                      </a:lnTo>
                      <a:lnTo>
                        <a:pt x="810" y="560"/>
                      </a:lnTo>
                      <a:lnTo>
                        <a:pt x="812" y="594"/>
                      </a:lnTo>
                      <a:lnTo>
                        <a:pt x="810" y="610"/>
                      </a:lnTo>
                      <a:lnTo>
                        <a:pt x="806" y="626"/>
                      </a:lnTo>
                      <a:lnTo>
                        <a:pt x="806" y="626"/>
                      </a:lnTo>
                      <a:lnTo>
                        <a:pt x="792" y="630"/>
                      </a:lnTo>
                      <a:lnTo>
                        <a:pt x="776" y="634"/>
                      </a:lnTo>
                      <a:lnTo>
                        <a:pt x="760" y="634"/>
                      </a:lnTo>
                      <a:lnTo>
                        <a:pt x="746" y="632"/>
                      </a:lnTo>
                      <a:lnTo>
                        <a:pt x="732" y="628"/>
                      </a:lnTo>
                      <a:lnTo>
                        <a:pt x="720" y="620"/>
                      </a:lnTo>
                      <a:lnTo>
                        <a:pt x="708" y="610"/>
                      </a:lnTo>
                      <a:lnTo>
                        <a:pt x="700" y="596"/>
                      </a:lnTo>
                      <a:lnTo>
                        <a:pt x="700" y="596"/>
                      </a:lnTo>
                      <a:lnTo>
                        <a:pt x="670" y="506"/>
                      </a:lnTo>
                      <a:lnTo>
                        <a:pt x="642" y="416"/>
                      </a:lnTo>
                      <a:lnTo>
                        <a:pt x="614" y="324"/>
                      </a:lnTo>
                      <a:lnTo>
                        <a:pt x="586" y="234"/>
                      </a:lnTo>
                      <a:lnTo>
                        <a:pt x="586" y="234"/>
                      </a:lnTo>
                      <a:lnTo>
                        <a:pt x="584" y="228"/>
                      </a:lnTo>
                      <a:lnTo>
                        <a:pt x="580" y="220"/>
                      </a:lnTo>
                      <a:lnTo>
                        <a:pt x="570" y="208"/>
                      </a:lnTo>
                      <a:lnTo>
                        <a:pt x="550" y="188"/>
                      </a:lnTo>
                      <a:lnTo>
                        <a:pt x="550" y="188"/>
                      </a:lnTo>
                      <a:lnTo>
                        <a:pt x="570" y="278"/>
                      </a:lnTo>
                      <a:lnTo>
                        <a:pt x="594" y="366"/>
                      </a:lnTo>
                      <a:lnTo>
                        <a:pt x="644" y="542"/>
                      </a:lnTo>
                      <a:lnTo>
                        <a:pt x="696" y="716"/>
                      </a:lnTo>
                      <a:lnTo>
                        <a:pt x="748" y="892"/>
                      </a:lnTo>
                      <a:lnTo>
                        <a:pt x="748" y="892"/>
                      </a:lnTo>
                      <a:lnTo>
                        <a:pt x="572" y="892"/>
                      </a:lnTo>
                      <a:lnTo>
                        <a:pt x="572" y="892"/>
                      </a:lnTo>
                      <a:lnTo>
                        <a:pt x="570" y="1020"/>
                      </a:lnTo>
                      <a:lnTo>
                        <a:pt x="570" y="1146"/>
                      </a:lnTo>
                      <a:lnTo>
                        <a:pt x="572" y="1272"/>
                      </a:lnTo>
                      <a:lnTo>
                        <a:pt x="570" y="1398"/>
                      </a:lnTo>
                      <a:lnTo>
                        <a:pt x="570" y="1398"/>
                      </a:lnTo>
                      <a:lnTo>
                        <a:pt x="568" y="1412"/>
                      </a:lnTo>
                      <a:lnTo>
                        <a:pt x="566" y="1426"/>
                      </a:lnTo>
                      <a:lnTo>
                        <a:pt x="560" y="1440"/>
                      </a:lnTo>
                      <a:lnTo>
                        <a:pt x="552" y="1452"/>
                      </a:lnTo>
                      <a:lnTo>
                        <a:pt x="542" y="1464"/>
                      </a:lnTo>
                      <a:lnTo>
                        <a:pt x="532" y="1472"/>
                      </a:lnTo>
                      <a:lnTo>
                        <a:pt x="518" y="1476"/>
                      </a:lnTo>
                      <a:lnTo>
                        <a:pt x="502" y="1478"/>
                      </a:lnTo>
                      <a:lnTo>
                        <a:pt x="502" y="1478"/>
                      </a:lnTo>
                      <a:lnTo>
                        <a:pt x="488" y="1478"/>
                      </a:lnTo>
                      <a:lnTo>
                        <a:pt x="474" y="1472"/>
                      </a:lnTo>
                      <a:lnTo>
                        <a:pt x="462" y="1464"/>
                      </a:lnTo>
                      <a:lnTo>
                        <a:pt x="452" y="1454"/>
                      </a:lnTo>
                      <a:lnTo>
                        <a:pt x="444" y="1442"/>
                      </a:lnTo>
                      <a:lnTo>
                        <a:pt x="438" y="1430"/>
                      </a:lnTo>
                      <a:lnTo>
                        <a:pt x="436" y="1414"/>
                      </a:lnTo>
                      <a:lnTo>
                        <a:pt x="436" y="1400"/>
                      </a:lnTo>
                      <a:lnTo>
                        <a:pt x="436" y="1400"/>
                      </a:lnTo>
                      <a:lnTo>
                        <a:pt x="434" y="1274"/>
                      </a:lnTo>
                      <a:lnTo>
                        <a:pt x="436" y="1146"/>
                      </a:lnTo>
                      <a:lnTo>
                        <a:pt x="436" y="1020"/>
                      </a:lnTo>
                      <a:lnTo>
                        <a:pt x="434" y="892"/>
                      </a:lnTo>
                      <a:lnTo>
                        <a:pt x="434" y="892"/>
                      </a:lnTo>
                      <a:lnTo>
                        <a:pt x="392" y="894"/>
                      </a:lnTo>
                      <a:lnTo>
                        <a:pt x="392" y="894"/>
                      </a:lnTo>
                      <a:lnTo>
                        <a:pt x="392" y="1024"/>
                      </a:lnTo>
                      <a:lnTo>
                        <a:pt x="392" y="1156"/>
                      </a:lnTo>
                      <a:lnTo>
                        <a:pt x="392" y="1288"/>
                      </a:lnTo>
                      <a:lnTo>
                        <a:pt x="390" y="1418"/>
                      </a:lnTo>
                      <a:lnTo>
                        <a:pt x="390" y="1418"/>
                      </a:lnTo>
                      <a:lnTo>
                        <a:pt x="388" y="1432"/>
                      </a:lnTo>
                      <a:lnTo>
                        <a:pt x="382" y="1444"/>
                      </a:lnTo>
                      <a:lnTo>
                        <a:pt x="376" y="1454"/>
                      </a:lnTo>
                      <a:lnTo>
                        <a:pt x="368" y="1462"/>
                      </a:lnTo>
                      <a:lnTo>
                        <a:pt x="358" y="1468"/>
                      </a:lnTo>
                      <a:lnTo>
                        <a:pt x="348" y="1474"/>
                      </a:lnTo>
                      <a:lnTo>
                        <a:pt x="336" y="1476"/>
                      </a:lnTo>
                      <a:lnTo>
                        <a:pt x="324" y="1476"/>
                      </a:lnTo>
                      <a:lnTo>
                        <a:pt x="312" y="1476"/>
                      </a:lnTo>
                      <a:lnTo>
                        <a:pt x="302" y="1472"/>
                      </a:lnTo>
                      <a:lnTo>
                        <a:pt x="290" y="1468"/>
                      </a:lnTo>
                      <a:lnTo>
                        <a:pt x="282" y="1462"/>
                      </a:lnTo>
                      <a:lnTo>
                        <a:pt x="272" y="1454"/>
                      </a:lnTo>
                      <a:lnTo>
                        <a:pt x="266" y="1444"/>
                      </a:lnTo>
                      <a:lnTo>
                        <a:pt x="260" y="1432"/>
                      </a:lnTo>
                      <a:lnTo>
                        <a:pt x="258" y="1418"/>
                      </a:lnTo>
                      <a:lnTo>
                        <a:pt x="258" y="1418"/>
                      </a:lnTo>
                      <a:lnTo>
                        <a:pt x="256" y="1286"/>
                      </a:lnTo>
                      <a:lnTo>
                        <a:pt x="256" y="1156"/>
                      </a:lnTo>
                      <a:lnTo>
                        <a:pt x="256" y="1024"/>
                      </a:lnTo>
                      <a:lnTo>
                        <a:pt x="256" y="894"/>
                      </a:lnTo>
                      <a:lnTo>
                        <a:pt x="256" y="894"/>
                      </a:lnTo>
                      <a:lnTo>
                        <a:pt x="80" y="892"/>
                      </a:lnTo>
                      <a:lnTo>
                        <a:pt x="80" y="892"/>
                      </a:lnTo>
                      <a:lnTo>
                        <a:pt x="124" y="720"/>
                      </a:lnTo>
                      <a:lnTo>
                        <a:pt x="168" y="546"/>
                      </a:lnTo>
                      <a:lnTo>
                        <a:pt x="212" y="374"/>
                      </a:lnTo>
                      <a:lnTo>
                        <a:pt x="254" y="200"/>
                      </a:lnTo>
                      <a:lnTo>
                        <a:pt x="254" y="200"/>
                      </a:lnTo>
                      <a:lnTo>
                        <a:pt x="228" y="218"/>
                      </a:lnTo>
                      <a:lnTo>
                        <a:pt x="228" y="218"/>
                      </a:lnTo>
                      <a:lnTo>
                        <a:pt x="212" y="264"/>
                      </a:lnTo>
                      <a:lnTo>
                        <a:pt x="198" y="312"/>
                      </a:lnTo>
                      <a:lnTo>
                        <a:pt x="172" y="406"/>
                      </a:lnTo>
                      <a:lnTo>
                        <a:pt x="146" y="502"/>
                      </a:lnTo>
                      <a:lnTo>
                        <a:pt x="132" y="550"/>
                      </a:lnTo>
                      <a:lnTo>
                        <a:pt x="116" y="596"/>
                      </a:lnTo>
                      <a:lnTo>
                        <a:pt x="116" y="596"/>
                      </a:lnTo>
                      <a:lnTo>
                        <a:pt x="112" y="606"/>
                      </a:lnTo>
                      <a:lnTo>
                        <a:pt x="106" y="614"/>
                      </a:lnTo>
                      <a:lnTo>
                        <a:pt x="100" y="622"/>
                      </a:lnTo>
                      <a:lnTo>
                        <a:pt x="92" y="626"/>
                      </a:lnTo>
                      <a:lnTo>
                        <a:pt x="84" y="632"/>
                      </a:lnTo>
                      <a:lnTo>
                        <a:pt x="74" y="634"/>
                      </a:lnTo>
                      <a:lnTo>
                        <a:pt x="64" y="636"/>
                      </a:lnTo>
                      <a:lnTo>
                        <a:pt x="54" y="636"/>
                      </a:lnTo>
                      <a:lnTo>
                        <a:pt x="44" y="634"/>
                      </a:lnTo>
                      <a:lnTo>
                        <a:pt x="34" y="632"/>
                      </a:lnTo>
                      <a:lnTo>
                        <a:pt x="24" y="628"/>
                      </a:lnTo>
                      <a:lnTo>
                        <a:pt x="16" y="622"/>
                      </a:lnTo>
                      <a:lnTo>
                        <a:pt x="10" y="616"/>
                      </a:lnTo>
                      <a:lnTo>
                        <a:pt x="4" y="608"/>
                      </a:lnTo>
                      <a:lnTo>
                        <a:pt x="2" y="598"/>
                      </a:lnTo>
                      <a:lnTo>
                        <a:pt x="0" y="588"/>
                      </a:lnTo>
                      <a:lnTo>
                        <a:pt x="0" y="588"/>
                      </a:lnTo>
                      <a:lnTo>
                        <a:pt x="4" y="552"/>
                      </a:lnTo>
                      <a:lnTo>
                        <a:pt x="12" y="516"/>
                      </a:lnTo>
                      <a:lnTo>
                        <a:pt x="20" y="482"/>
                      </a:lnTo>
                      <a:lnTo>
                        <a:pt x="30" y="446"/>
                      </a:lnTo>
                      <a:lnTo>
                        <a:pt x="52" y="378"/>
                      </a:lnTo>
                      <a:lnTo>
                        <a:pt x="72" y="308"/>
                      </a:lnTo>
                      <a:lnTo>
                        <a:pt x="72" y="308"/>
                      </a:lnTo>
                      <a:lnTo>
                        <a:pt x="82" y="276"/>
                      </a:lnTo>
                      <a:lnTo>
                        <a:pt x="92" y="242"/>
                      </a:lnTo>
                      <a:lnTo>
                        <a:pt x="110" y="174"/>
                      </a:lnTo>
                      <a:lnTo>
                        <a:pt x="120" y="140"/>
                      </a:lnTo>
                      <a:lnTo>
                        <a:pt x="134" y="108"/>
                      </a:lnTo>
                      <a:lnTo>
                        <a:pt x="152" y="78"/>
                      </a:lnTo>
                      <a:lnTo>
                        <a:pt x="162" y="64"/>
                      </a:lnTo>
                      <a:lnTo>
                        <a:pt x="172" y="50"/>
                      </a:lnTo>
                      <a:lnTo>
                        <a:pt x="172"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60" name="Group 59"/>
              <p:cNvGrpSpPr/>
              <p:nvPr/>
            </p:nvGrpSpPr>
            <p:grpSpPr>
              <a:xfrm>
                <a:off x="12666663" y="4721225"/>
                <a:ext cx="1117600" cy="2860675"/>
                <a:chOff x="12666663" y="4721225"/>
                <a:chExt cx="1117600" cy="2860675"/>
              </a:xfrm>
              <a:grpFill/>
            </p:grpSpPr>
            <p:sp>
              <p:nvSpPr>
                <p:cNvPr id="73" name="Freeform 15"/>
                <p:cNvSpPr>
                  <a:spLocks/>
                </p:cNvSpPr>
                <p:nvPr/>
              </p:nvSpPr>
              <p:spPr bwMode="auto">
                <a:xfrm>
                  <a:off x="13003213" y="4721225"/>
                  <a:ext cx="463550" cy="460375"/>
                </a:xfrm>
                <a:custGeom>
                  <a:avLst/>
                  <a:gdLst>
                    <a:gd name="T0" fmla="*/ 108 w 292"/>
                    <a:gd name="T1" fmla="*/ 6 h 290"/>
                    <a:gd name="T2" fmla="*/ 108 w 292"/>
                    <a:gd name="T3" fmla="*/ 6 h 290"/>
                    <a:gd name="T4" fmla="*/ 128 w 292"/>
                    <a:gd name="T5" fmla="*/ 2 h 290"/>
                    <a:gd name="T6" fmla="*/ 146 w 292"/>
                    <a:gd name="T7" fmla="*/ 0 h 290"/>
                    <a:gd name="T8" fmla="*/ 166 w 292"/>
                    <a:gd name="T9" fmla="*/ 2 h 290"/>
                    <a:gd name="T10" fmla="*/ 186 w 292"/>
                    <a:gd name="T11" fmla="*/ 8 h 290"/>
                    <a:gd name="T12" fmla="*/ 204 w 292"/>
                    <a:gd name="T13" fmla="*/ 14 h 290"/>
                    <a:gd name="T14" fmla="*/ 220 w 292"/>
                    <a:gd name="T15" fmla="*/ 24 h 290"/>
                    <a:gd name="T16" fmla="*/ 236 w 292"/>
                    <a:gd name="T17" fmla="*/ 36 h 290"/>
                    <a:gd name="T18" fmla="*/ 252 w 292"/>
                    <a:gd name="T19" fmla="*/ 50 h 290"/>
                    <a:gd name="T20" fmla="*/ 264 w 292"/>
                    <a:gd name="T21" fmla="*/ 66 h 290"/>
                    <a:gd name="T22" fmla="*/ 274 w 292"/>
                    <a:gd name="T23" fmla="*/ 82 h 290"/>
                    <a:gd name="T24" fmla="*/ 282 w 292"/>
                    <a:gd name="T25" fmla="*/ 100 h 290"/>
                    <a:gd name="T26" fmla="*/ 288 w 292"/>
                    <a:gd name="T27" fmla="*/ 118 h 290"/>
                    <a:gd name="T28" fmla="*/ 292 w 292"/>
                    <a:gd name="T29" fmla="*/ 138 h 290"/>
                    <a:gd name="T30" fmla="*/ 292 w 292"/>
                    <a:gd name="T31" fmla="*/ 156 h 290"/>
                    <a:gd name="T32" fmla="*/ 288 w 292"/>
                    <a:gd name="T33" fmla="*/ 176 h 290"/>
                    <a:gd name="T34" fmla="*/ 280 w 292"/>
                    <a:gd name="T35" fmla="*/ 196 h 290"/>
                    <a:gd name="T36" fmla="*/ 280 w 292"/>
                    <a:gd name="T37" fmla="*/ 196 h 290"/>
                    <a:gd name="T38" fmla="*/ 274 w 292"/>
                    <a:gd name="T39" fmla="*/ 214 h 290"/>
                    <a:gd name="T40" fmla="*/ 264 w 292"/>
                    <a:gd name="T41" fmla="*/ 230 h 290"/>
                    <a:gd name="T42" fmla="*/ 252 w 292"/>
                    <a:gd name="T43" fmla="*/ 246 h 290"/>
                    <a:gd name="T44" fmla="*/ 238 w 292"/>
                    <a:gd name="T45" fmla="*/ 258 h 290"/>
                    <a:gd name="T46" fmla="*/ 222 w 292"/>
                    <a:gd name="T47" fmla="*/ 268 h 290"/>
                    <a:gd name="T48" fmla="*/ 206 w 292"/>
                    <a:gd name="T49" fmla="*/ 278 h 290"/>
                    <a:gd name="T50" fmla="*/ 188 w 292"/>
                    <a:gd name="T51" fmla="*/ 284 h 290"/>
                    <a:gd name="T52" fmla="*/ 170 w 292"/>
                    <a:gd name="T53" fmla="*/ 288 h 290"/>
                    <a:gd name="T54" fmla="*/ 152 w 292"/>
                    <a:gd name="T55" fmla="*/ 290 h 290"/>
                    <a:gd name="T56" fmla="*/ 132 w 292"/>
                    <a:gd name="T57" fmla="*/ 290 h 290"/>
                    <a:gd name="T58" fmla="*/ 114 w 292"/>
                    <a:gd name="T59" fmla="*/ 288 h 290"/>
                    <a:gd name="T60" fmla="*/ 96 w 292"/>
                    <a:gd name="T61" fmla="*/ 284 h 290"/>
                    <a:gd name="T62" fmla="*/ 78 w 292"/>
                    <a:gd name="T63" fmla="*/ 276 h 290"/>
                    <a:gd name="T64" fmla="*/ 62 w 292"/>
                    <a:gd name="T65" fmla="*/ 268 h 290"/>
                    <a:gd name="T66" fmla="*/ 46 w 292"/>
                    <a:gd name="T67" fmla="*/ 256 h 290"/>
                    <a:gd name="T68" fmla="*/ 34 w 292"/>
                    <a:gd name="T69" fmla="*/ 240 h 290"/>
                    <a:gd name="T70" fmla="*/ 34 w 292"/>
                    <a:gd name="T71" fmla="*/ 240 h 290"/>
                    <a:gd name="T72" fmla="*/ 22 w 292"/>
                    <a:gd name="T73" fmla="*/ 226 h 290"/>
                    <a:gd name="T74" fmla="*/ 12 w 292"/>
                    <a:gd name="T75" fmla="*/ 210 h 290"/>
                    <a:gd name="T76" fmla="*/ 6 w 292"/>
                    <a:gd name="T77" fmla="*/ 192 h 290"/>
                    <a:gd name="T78" fmla="*/ 2 w 292"/>
                    <a:gd name="T79" fmla="*/ 176 h 290"/>
                    <a:gd name="T80" fmla="*/ 0 w 292"/>
                    <a:gd name="T81" fmla="*/ 158 h 290"/>
                    <a:gd name="T82" fmla="*/ 0 w 292"/>
                    <a:gd name="T83" fmla="*/ 138 h 290"/>
                    <a:gd name="T84" fmla="*/ 2 w 292"/>
                    <a:gd name="T85" fmla="*/ 120 h 290"/>
                    <a:gd name="T86" fmla="*/ 6 w 292"/>
                    <a:gd name="T87" fmla="*/ 102 h 290"/>
                    <a:gd name="T88" fmla="*/ 12 w 292"/>
                    <a:gd name="T89" fmla="*/ 86 h 290"/>
                    <a:gd name="T90" fmla="*/ 20 w 292"/>
                    <a:gd name="T91" fmla="*/ 70 h 290"/>
                    <a:gd name="T92" fmla="*/ 32 w 292"/>
                    <a:gd name="T93" fmla="*/ 54 h 290"/>
                    <a:gd name="T94" fmla="*/ 44 w 292"/>
                    <a:gd name="T95" fmla="*/ 40 h 290"/>
                    <a:gd name="T96" fmla="*/ 56 w 292"/>
                    <a:gd name="T97" fmla="*/ 28 h 290"/>
                    <a:gd name="T98" fmla="*/ 72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6" y="0"/>
                      </a:lnTo>
                      <a:lnTo>
                        <a:pt x="166" y="2"/>
                      </a:lnTo>
                      <a:lnTo>
                        <a:pt x="186" y="8"/>
                      </a:lnTo>
                      <a:lnTo>
                        <a:pt x="204" y="14"/>
                      </a:lnTo>
                      <a:lnTo>
                        <a:pt x="220" y="24"/>
                      </a:lnTo>
                      <a:lnTo>
                        <a:pt x="236" y="36"/>
                      </a:lnTo>
                      <a:lnTo>
                        <a:pt x="252" y="50"/>
                      </a:lnTo>
                      <a:lnTo>
                        <a:pt x="264" y="66"/>
                      </a:lnTo>
                      <a:lnTo>
                        <a:pt x="274" y="82"/>
                      </a:lnTo>
                      <a:lnTo>
                        <a:pt x="282" y="100"/>
                      </a:lnTo>
                      <a:lnTo>
                        <a:pt x="288" y="118"/>
                      </a:lnTo>
                      <a:lnTo>
                        <a:pt x="292" y="138"/>
                      </a:lnTo>
                      <a:lnTo>
                        <a:pt x="292" y="156"/>
                      </a:lnTo>
                      <a:lnTo>
                        <a:pt x="288" y="176"/>
                      </a:lnTo>
                      <a:lnTo>
                        <a:pt x="280" y="196"/>
                      </a:lnTo>
                      <a:lnTo>
                        <a:pt x="280" y="196"/>
                      </a:lnTo>
                      <a:lnTo>
                        <a:pt x="274" y="214"/>
                      </a:lnTo>
                      <a:lnTo>
                        <a:pt x="264" y="230"/>
                      </a:lnTo>
                      <a:lnTo>
                        <a:pt x="252" y="246"/>
                      </a:lnTo>
                      <a:lnTo>
                        <a:pt x="238" y="258"/>
                      </a:lnTo>
                      <a:lnTo>
                        <a:pt x="222" y="268"/>
                      </a:lnTo>
                      <a:lnTo>
                        <a:pt x="206" y="278"/>
                      </a:lnTo>
                      <a:lnTo>
                        <a:pt x="188" y="284"/>
                      </a:lnTo>
                      <a:lnTo>
                        <a:pt x="170" y="288"/>
                      </a:lnTo>
                      <a:lnTo>
                        <a:pt x="152" y="290"/>
                      </a:lnTo>
                      <a:lnTo>
                        <a:pt x="132" y="290"/>
                      </a:lnTo>
                      <a:lnTo>
                        <a:pt x="114" y="288"/>
                      </a:lnTo>
                      <a:lnTo>
                        <a:pt x="96" y="284"/>
                      </a:lnTo>
                      <a:lnTo>
                        <a:pt x="78" y="276"/>
                      </a:lnTo>
                      <a:lnTo>
                        <a:pt x="62" y="268"/>
                      </a:lnTo>
                      <a:lnTo>
                        <a:pt x="46" y="256"/>
                      </a:lnTo>
                      <a:lnTo>
                        <a:pt x="34" y="240"/>
                      </a:lnTo>
                      <a:lnTo>
                        <a:pt x="34" y="240"/>
                      </a:lnTo>
                      <a:lnTo>
                        <a:pt x="22" y="226"/>
                      </a:lnTo>
                      <a:lnTo>
                        <a:pt x="12" y="210"/>
                      </a:lnTo>
                      <a:lnTo>
                        <a:pt x="6" y="192"/>
                      </a:lnTo>
                      <a:lnTo>
                        <a:pt x="2" y="176"/>
                      </a:lnTo>
                      <a:lnTo>
                        <a:pt x="0" y="158"/>
                      </a:lnTo>
                      <a:lnTo>
                        <a:pt x="0" y="138"/>
                      </a:lnTo>
                      <a:lnTo>
                        <a:pt x="2" y="120"/>
                      </a:lnTo>
                      <a:lnTo>
                        <a:pt x="6" y="102"/>
                      </a:lnTo>
                      <a:lnTo>
                        <a:pt x="12" y="86"/>
                      </a:lnTo>
                      <a:lnTo>
                        <a:pt x="20" y="70"/>
                      </a:lnTo>
                      <a:lnTo>
                        <a:pt x="32" y="54"/>
                      </a:lnTo>
                      <a:lnTo>
                        <a:pt x="44" y="40"/>
                      </a:lnTo>
                      <a:lnTo>
                        <a:pt x="56" y="28"/>
                      </a:lnTo>
                      <a:lnTo>
                        <a:pt x="72"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74" name="Freeform 16"/>
                <p:cNvSpPr>
                  <a:spLocks/>
                </p:cNvSpPr>
                <p:nvPr/>
              </p:nvSpPr>
              <p:spPr bwMode="auto">
                <a:xfrm>
                  <a:off x="12666663" y="5229225"/>
                  <a:ext cx="1117600" cy="2352675"/>
                </a:xfrm>
                <a:custGeom>
                  <a:avLst/>
                  <a:gdLst>
                    <a:gd name="T0" fmla="*/ 106 w 704"/>
                    <a:gd name="T1" fmla="*/ 18 h 1482"/>
                    <a:gd name="T2" fmla="*/ 200 w 704"/>
                    <a:gd name="T3" fmla="*/ 2 h 1482"/>
                    <a:gd name="T4" fmla="*/ 352 w 704"/>
                    <a:gd name="T5" fmla="*/ 2 h 1482"/>
                    <a:gd name="T6" fmla="*/ 456 w 704"/>
                    <a:gd name="T7" fmla="*/ 0 h 1482"/>
                    <a:gd name="T8" fmla="*/ 556 w 704"/>
                    <a:gd name="T9" fmla="*/ 8 h 1482"/>
                    <a:gd name="T10" fmla="*/ 618 w 704"/>
                    <a:gd name="T11" fmla="*/ 30 h 1482"/>
                    <a:gd name="T12" fmla="*/ 646 w 704"/>
                    <a:gd name="T13" fmla="*/ 50 h 1482"/>
                    <a:gd name="T14" fmla="*/ 678 w 704"/>
                    <a:gd name="T15" fmla="*/ 86 h 1482"/>
                    <a:gd name="T16" fmla="*/ 700 w 704"/>
                    <a:gd name="T17" fmla="*/ 156 h 1482"/>
                    <a:gd name="T18" fmla="*/ 704 w 704"/>
                    <a:gd name="T19" fmla="*/ 230 h 1482"/>
                    <a:gd name="T20" fmla="*/ 702 w 704"/>
                    <a:gd name="T21" fmla="*/ 646 h 1482"/>
                    <a:gd name="T22" fmla="*/ 698 w 704"/>
                    <a:gd name="T23" fmla="*/ 684 h 1482"/>
                    <a:gd name="T24" fmla="*/ 678 w 704"/>
                    <a:gd name="T25" fmla="*/ 716 h 1482"/>
                    <a:gd name="T26" fmla="*/ 652 w 704"/>
                    <a:gd name="T27" fmla="*/ 724 h 1482"/>
                    <a:gd name="T28" fmla="*/ 628 w 704"/>
                    <a:gd name="T29" fmla="*/ 724 h 1482"/>
                    <a:gd name="T30" fmla="*/ 598 w 704"/>
                    <a:gd name="T31" fmla="*/ 704 h 1482"/>
                    <a:gd name="T32" fmla="*/ 580 w 704"/>
                    <a:gd name="T33" fmla="*/ 662 h 1482"/>
                    <a:gd name="T34" fmla="*/ 578 w 704"/>
                    <a:gd name="T35" fmla="*/ 242 h 1482"/>
                    <a:gd name="T36" fmla="*/ 534 w 704"/>
                    <a:gd name="T37" fmla="*/ 242 h 1482"/>
                    <a:gd name="T38" fmla="*/ 532 w 704"/>
                    <a:gd name="T39" fmla="*/ 1400 h 1482"/>
                    <a:gd name="T40" fmla="*/ 528 w 704"/>
                    <a:gd name="T41" fmla="*/ 1432 h 1482"/>
                    <a:gd name="T42" fmla="*/ 500 w 704"/>
                    <a:gd name="T43" fmla="*/ 1466 h 1482"/>
                    <a:gd name="T44" fmla="*/ 458 w 704"/>
                    <a:gd name="T45" fmla="*/ 1480 h 1482"/>
                    <a:gd name="T46" fmla="*/ 414 w 704"/>
                    <a:gd name="T47" fmla="*/ 1476 h 1482"/>
                    <a:gd name="T48" fmla="*/ 382 w 704"/>
                    <a:gd name="T49" fmla="*/ 1450 h 1482"/>
                    <a:gd name="T50" fmla="*/ 372 w 704"/>
                    <a:gd name="T51" fmla="*/ 1418 h 1482"/>
                    <a:gd name="T52" fmla="*/ 370 w 704"/>
                    <a:gd name="T53" fmla="*/ 722 h 1482"/>
                    <a:gd name="T54" fmla="*/ 332 w 704"/>
                    <a:gd name="T55" fmla="*/ 722 h 1482"/>
                    <a:gd name="T56" fmla="*/ 332 w 704"/>
                    <a:gd name="T57" fmla="*/ 1330 h 1482"/>
                    <a:gd name="T58" fmla="*/ 322 w 704"/>
                    <a:gd name="T59" fmla="*/ 1428 h 1482"/>
                    <a:gd name="T60" fmla="*/ 302 w 704"/>
                    <a:gd name="T61" fmla="*/ 1468 h 1482"/>
                    <a:gd name="T62" fmla="*/ 266 w 704"/>
                    <a:gd name="T63" fmla="*/ 1480 h 1482"/>
                    <a:gd name="T64" fmla="*/ 228 w 704"/>
                    <a:gd name="T65" fmla="*/ 1480 h 1482"/>
                    <a:gd name="T66" fmla="*/ 196 w 704"/>
                    <a:gd name="T67" fmla="*/ 1466 h 1482"/>
                    <a:gd name="T68" fmla="*/ 172 w 704"/>
                    <a:gd name="T69" fmla="*/ 1440 h 1482"/>
                    <a:gd name="T70" fmla="*/ 164 w 704"/>
                    <a:gd name="T71" fmla="*/ 1402 h 1482"/>
                    <a:gd name="T72" fmla="*/ 162 w 704"/>
                    <a:gd name="T73" fmla="*/ 824 h 1482"/>
                    <a:gd name="T74" fmla="*/ 162 w 704"/>
                    <a:gd name="T75" fmla="*/ 244 h 1482"/>
                    <a:gd name="T76" fmla="*/ 124 w 704"/>
                    <a:gd name="T77" fmla="*/ 340 h 1482"/>
                    <a:gd name="T78" fmla="*/ 124 w 704"/>
                    <a:gd name="T79" fmla="*/ 628 h 1482"/>
                    <a:gd name="T80" fmla="*/ 114 w 704"/>
                    <a:gd name="T81" fmla="*/ 680 h 1482"/>
                    <a:gd name="T82" fmla="*/ 90 w 704"/>
                    <a:gd name="T83" fmla="*/ 716 h 1482"/>
                    <a:gd name="T84" fmla="*/ 68 w 704"/>
                    <a:gd name="T85" fmla="*/ 724 h 1482"/>
                    <a:gd name="T86" fmla="*/ 50 w 704"/>
                    <a:gd name="T87" fmla="*/ 724 h 1482"/>
                    <a:gd name="T88" fmla="*/ 20 w 704"/>
                    <a:gd name="T89" fmla="*/ 712 h 1482"/>
                    <a:gd name="T90" fmla="*/ 2 w 704"/>
                    <a:gd name="T91" fmla="*/ 684 h 1482"/>
                    <a:gd name="T92" fmla="*/ 0 w 704"/>
                    <a:gd name="T93" fmla="*/ 662 h 1482"/>
                    <a:gd name="T94" fmla="*/ 0 w 704"/>
                    <a:gd name="T95" fmla="*/ 176 h 1482"/>
                    <a:gd name="T96" fmla="*/ 12 w 704"/>
                    <a:gd name="T97" fmla="*/ 106 h 1482"/>
                    <a:gd name="T98" fmla="*/ 50 w 704"/>
                    <a:gd name="T99" fmla="*/ 50 h 1482"/>
                    <a:gd name="T100" fmla="*/ 88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88" y="24"/>
                      </a:moveTo>
                      <a:lnTo>
                        <a:pt x="88" y="24"/>
                      </a:lnTo>
                      <a:lnTo>
                        <a:pt x="106" y="18"/>
                      </a:lnTo>
                      <a:lnTo>
                        <a:pt x="124" y="12"/>
                      </a:lnTo>
                      <a:lnTo>
                        <a:pt x="162" y="6"/>
                      </a:lnTo>
                      <a:lnTo>
                        <a:pt x="200" y="2"/>
                      </a:lnTo>
                      <a:lnTo>
                        <a:pt x="238" y="0"/>
                      </a:lnTo>
                      <a:lnTo>
                        <a:pt x="314" y="0"/>
                      </a:lnTo>
                      <a:lnTo>
                        <a:pt x="352" y="2"/>
                      </a:lnTo>
                      <a:lnTo>
                        <a:pt x="388" y="0"/>
                      </a:lnTo>
                      <a:lnTo>
                        <a:pt x="388" y="0"/>
                      </a:lnTo>
                      <a:lnTo>
                        <a:pt x="456" y="0"/>
                      </a:lnTo>
                      <a:lnTo>
                        <a:pt x="490" y="0"/>
                      </a:lnTo>
                      <a:lnTo>
                        <a:pt x="524" y="2"/>
                      </a:lnTo>
                      <a:lnTo>
                        <a:pt x="556" y="8"/>
                      </a:lnTo>
                      <a:lnTo>
                        <a:pt x="588" y="16"/>
                      </a:lnTo>
                      <a:lnTo>
                        <a:pt x="604" y="22"/>
                      </a:lnTo>
                      <a:lnTo>
                        <a:pt x="618" y="30"/>
                      </a:lnTo>
                      <a:lnTo>
                        <a:pt x="632" y="38"/>
                      </a:lnTo>
                      <a:lnTo>
                        <a:pt x="646" y="50"/>
                      </a:lnTo>
                      <a:lnTo>
                        <a:pt x="646" y="50"/>
                      </a:lnTo>
                      <a:lnTo>
                        <a:pt x="656" y="58"/>
                      </a:lnTo>
                      <a:lnTo>
                        <a:pt x="664" y="66"/>
                      </a:lnTo>
                      <a:lnTo>
                        <a:pt x="678" y="86"/>
                      </a:lnTo>
                      <a:lnTo>
                        <a:pt x="688" y="108"/>
                      </a:lnTo>
                      <a:lnTo>
                        <a:pt x="694" y="132"/>
                      </a:lnTo>
                      <a:lnTo>
                        <a:pt x="700" y="156"/>
                      </a:lnTo>
                      <a:lnTo>
                        <a:pt x="702" y="182"/>
                      </a:lnTo>
                      <a:lnTo>
                        <a:pt x="704" y="230"/>
                      </a:lnTo>
                      <a:lnTo>
                        <a:pt x="704" y="230"/>
                      </a:lnTo>
                      <a:lnTo>
                        <a:pt x="704" y="438"/>
                      </a:lnTo>
                      <a:lnTo>
                        <a:pt x="702" y="646"/>
                      </a:lnTo>
                      <a:lnTo>
                        <a:pt x="702" y="646"/>
                      </a:lnTo>
                      <a:lnTo>
                        <a:pt x="702" y="658"/>
                      </a:lnTo>
                      <a:lnTo>
                        <a:pt x="700" y="672"/>
                      </a:lnTo>
                      <a:lnTo>
                        <a:pt x="698" y="684"/>
                      </a:lnTo>
                      <a:lnTo>
                        <a:pt x="692" y="698"/>
                      </a:lnTo>
                      <a:lnTo>
                        <a:pt x="686" y="708"/>
                      </a:lnTo>
                      <a:lnTo>
                        <a:pt x="678" y="716"/>
                      </a:lnTo>
                      <a:lnTo>
                        <a:pt x="666" y="722"/>
                      </a:lnTo>
                      <a:lnTo>
                        <a:pt x="652" y="724"/>
                      </a:lnTo>
                      <a:lnTo>
                        <a:pt x="652" y="724"/>
                      </a:lnTo>
                      <a:lnTo>
                        <a:pt x="644" y="726"/>
                      </a:lnTo>
                      <a:lnTo>
                        <a:pt x="636" y="726"/>
                      </a:lnTo>
                      <a:lnTo>
                        <a:pt x="628" y="724"/>
                      </a:lnTo>
                      <a:lnTo>
                        <a:pt x="622" y="722"/>
                      </a:lnTo>
                      <a:lnTo>
                        <a:pt x="608" y="714"/>
                      </a:lnTo>
                      <a:lnTo>
                        <a:pt x="598" y="704"/>
                      </a:lnTo>
                      <a:lnTo>
                        <a:pt x="590" y="692"/>
                      </a:lnTo>
                      <a:lnTo>
                        <a:pt x="584" y="676"/>
                      </a:lnTo>
                      <a:lnTo>
                        <a:pt x="580" y="662"/>
                      </a:lnTo>
                      <a:lnTo>
                        <a:pt x="578" y="646"/>
                      </a:lnTo>
                      <a:lnTo>
                        <a:pt x="578" y="646"/>
                      </a:lnTo>
                      <a:lnTo>
                        <a:pt x="578" y="242"/>
                      </a:lnTo>
                      <a:lnTo>
                        <a:pt x="578" y="242"/>
                      </a:lnTo>
                      <a:lnTo>
                        <a:pt x="534" y="242"/>
                      </a:lnTo>
                      <a:lnTo>
                        <a:pt x="534" y="242"/>
                      </a:lnTo>
                      <a:lnTo>
                        <a:pt x="532" y="822"/>
                      </a:lnTo>
                      <a:lnTo>
                        <a:pt x="532" y="1112"/>
                      </a:lnTo>
                      <a:lnTo>
                        <a:pt x="532" y="1400"/>
                      </a:lnTo>
                      <a:lnTo>
                        <a:pt x="532" y="1400"/>
                      </a:lnTo>
                      <a:lnTo>
                        <a:pt x="532" y="1418"/>
                      </a:lnTo>
                      <a:lnTo>
                        <a:pt x="528" y="1432"/>
                      </a:lnTo>
                      <a:lnTo>
                        <a:pt x="522" y="1444"/>
                      </a:lnTo>
                      <a:lnTo>
                        <a:pt x="512" y="1456"/>
                      </a:lnTo>
                      <a:lnTo>
                        <a:pt x="500" y="1466"/>
                      </a:lnTo>
                      <a:lnTo>
                        <a:pt x="488" y="1472"/>
                      </a:lnTo>
                      <a:lnTo>
                        <a:pt x="474" y="1478"/>
                      </a:lnTo>
                      <a:lnTo>
                        <a:pt x="458" y="1480"/>
                      </a:lnTo>
                      <a:lnTo>
                        <a:pt x="444" y="1480"/>
                      </a:lnTo>
                      <a:lnTo>
                        <a:pt x="428" y="1480"/>
                      </a:lnTo>
                      <a:lnTo>
                        <a:pt x="414" y="1476"/>
                      </a:lnTo>
                      <a:lnTo>
                        <a:pt x="402" y="1470"/>
                      </a:lnTo>
                      <a:lnTo>
                        <a:pt x="390" y="1460"/>
                      </a:lnTo>
                      <a:lnTo>
                        <a:pt x="382" y="1450"/>
                      </a:lnTo>
                      <a:lnTo>
                        <a:pt x="374" y="1436"/>
                      </a:lnTo>
                      <a:lnTo>
                        <a:pt x="372" y="1418"/>
                      </a:lnTo>
                      <a:lnTo>
                        <a:pt x="372" y="1418"/>
                      </a:lnTo>
                      <a:lnTo>
                        <a:pt x="370" y="1244"/>
                      </a:lnTo>
                      <a:lnTo>
                        <a:pt x="370" y="1070"/>
                      </a:lnTo>
                      <a:lnTo>
                        <a:pt x="370" y="722"/>
                      </a:lnTo>
                      <a:lnTo>
                        <a:pt x="370" y="722"/>
                      </a:lnTo>
                      <a:lnTo>
                        <a:pt x="332" y="722"/>
                      </a:lnTo>
                      <a:lnTo>
                        <a:pt x="332" y="722"/>
                      </a:lnTo>
                      <a:lnTo>
                        <a:pt x="332" y="1026"/>
                      </a:lnTo>
                      <a:lnTo>
                        <a:pt x="332" y="1330"/>
                      </a:lnTo>
                      <a:lnTo>
                        <a:pt x="332" y="1330"/>
                      </a:lnTo>
                      <a:lnTo>
                        <a:pt x="332" y="1362"/>
                      </a:lnTo>
                      <a:lnTo>
                        <a:pt x="328" y="1396"/>
                      </a:lnTo>
                      <a:lnTo>
                        <a:pt x="322" y="1428"/>
                      </a:lnTo>
                      <a:lnTo>
                        <a:pt x="312" y="1460"/>
                      </a:lnTo>
                      <a:lnTo>
                        <a:pt x="312" y="1460"/>
                      </a:lnTo>
                      <a:lnTo>
                        <a:pt x="302" y="1468"/>
                      </a:lnTo>
                      <a:lnTo>
                        <a:pt x="290" y="1472"/>
                      </a:lnTo>
                      <a:lnTo>
                        <a:pt x="278" y="1478"/>
                      </a:lnTo>
                      <a:lnTo>
                        <a:pt x="266" y="1480"/>
                      </a:lnTo>
                      <a:lnTo>
                        <a:pt x="254" y="1482"/>
                      </a:lnTo>
                      <a:lnTo>
                        <a:pt x="242" y="1482"/>
                      </a:lnTo>
                      <a:lnTo>
                        <a:pt x="228" y="1480"/>
                      </a:lnTo>
                      <a:lnTo>
                        <a:pt x="216" y="1478"/>
                      </a:lnTo>
                      <a:lnTo>
                        <a:pt x="206" y="1472"/>
                      </a:lnTo>
                      <a:lnTo>
                        <a:pt x="196" y="1466"/>
                      </a:lnTo>
                      <a:lnTo>
                        <a:pt x="186" y="1460"/>
                      </a:lnTo>
                      <a:lnTo>
                        <a:pt x="178" y="1450"/>
                      </a:lnTo>
                      <a:lnTo>
                        <a:pt x="172" y="1440"/>
                      </a:lnTo>
                      <a:lnTo>
                        <a:pt x="166" y="1430"/>
                      </a:lnTo>
                      <a:lnTo>
                        <a:pt x="164" y="1416"/>
                      </a:lnTo>
                      <a:lnTo>
                        <a:pt x="164" y="1402"/>
                      </a:lnTo>
                      <a:lnTo>
                        <a:pt x="164" y="1402"/>
                      </a:lnTo>
                      <a:lnTo>
                        <a:pt x="162" y="1114"/>
                      </a:lnTo>
                      <a:lnTo>
                        <a:pt x="162" y="824"/>
                      </a:lnTo>
                      <a:lnTo>
                        <a:pt x="162" y="534"/>
                      </a:lnTo>
                      <a:lnTo>
                        <a:pt x="162" y="244"/>
                      </a:lnTo>
                      <a:lnTo>
                        <a:pt x="162" y="244"/>
                      </a:lnTo>
                      <a:lnTo>
                        <a:pt x="124" y="244"/>
                      </a:lnTo>
                      <a:lnTo>
                        <a:pt x="124" y="244"/>
                      </a:lnTo>
                      <a:lnTo>
                        <a:pt x="124" y="340"/>
                      </a:lnTo>
                      <a:lnTo>
                        <a:pt x="124" y="436"/>
                      </a:lnTo>
                      <a:lnTo>
                        <a:pt x="124" y="628"/>
                      </a:lnTo>
                      <a:lnTo>
                        <a:pt x="124" y="628"/>
                      </a:lnTo>
                      <a:lnTo>
                        <a:pt x="124" y="646"/>
                      </a:lnTo>
                      <a:lnTo>
                        <a:pt x="120" y="662"/>
                      </a:lnTo>
                      <a:lnTo>
                        <a:pt x="114" y="680"/>
                      </a:lnTo>
                      <a:lnTo>
                        <a:pt x="108" y="696"/>
                      </a:lnTo>
                      <a:lnTo>
                        <a:pt x="96" y="710"/>
                      </a:lnTo>
                      <a:lnTo>
                        <a:pt x="90" y="716"/>
                      </a:lnTo>
                      <a:lnTo>
                        <a:pt x="84" y="720"/>
                      </a:lnTo>
                      <a:lnTo>
                        <a:pt x="76" y="724"/>
                      </a:lnTo>
                      <a:lnTo>
                        <a:pt x="68" y="724"/>
                      </a:lnTo>
                      <a:lnTo>
                        <a:pt x="60" y="726"/>
                      </a:lnTo>
                      <a:lnTo>
                        <a:pt x="50" y="724"/>
                      </a:lnTo>
                      <a:lnTo>
                        <a:pt x="50" y="724"/>
                      </a:lnTo>
                      <a:lnTo>
                        <a:pt x="38" y="722"/>
                      </a:lnTo>
                      <a:lnTo>
                        <a:pt x="28" y="720"/>
                      </a:lnTo>
                      <a:lnTo>
                        <a:pt x="20" y="712"/>
                      </a:lnTo>
                      <a:lnTo>
                        <a:pt x="12" y="704"/>
                      </a:lnTo>
                      <a:lnTo>
                        <a:pt x="6" y="694"/>
                      </a:lnTo>
                      <a:lnTo>
                        <a:pt x="2" y="684"/>
                      </a:lnTo>
                      <a:lnTo>
                        <a:pt x="0" y="672"/>
                      </a:lnTo>
                      <a:lnTo>
                        <a:pt x="0" y="662"/>
                      </a:lnTo>
                      <a:lnTo>
                        <a:pt x="0" y="662"/>
                      </a:lnTo>
                      <a:lnTo>
                        <a:pt x="0" y="418"/>
                      </a:lnTo>
                      <a:lnTo>
                        <a:pt x="0" y="176"/>
                      </a:lnTo>
                      <a:lnTo>
                        <a:pt x="0" y="176"/>
                      </a:lnTo>
                      <a:lnTo>
                        <a:pt x="0" y="152"/>
                      </a:lnTo>
                      <a:lnTo>
                        <a:pt x="4" y="130"/>
                      </a:lnTo>
                      <a:lnTo>
                        <a:pt x="12" y="106"/>
                      </a:lnTo>
                      <a:lnTo>
                        <a:pt x="22" y="86"/>
                      </a:lnTo>
                      <a:lnTo>
                        <a:pt x="34" y="66"/>
                      </a:lnTo>
                      <a:lnTo>
                        <a:pt x="50" y="50"/>
                      </a:lnTo>
                      <a:lnTo>
                        <a:pt x="68" y="36"/>
                      </a:lnTo>
                      <a:lnTo>
                        <a:pt x="88" y="24"/>
                      </a:lnTo>
                      <a:lnTo>
                        <a:pt x="8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61" name="Group 60"/>
              <p:cNvGrpSpPr/>
              <p:nvPr/>
            </p:nvGrpSpPr>
            <p:grpSpPr>
              <a:xfrm>
                <a:off x="17248188" y="4721225"/>
                <a:ext cx="1117600" cy="2860675"/>
                <a:chOff x="17248188" y="4721225"/>
                <a:chExt cx="1117600" cy="2860675"/>
              </a:xfrm>
              <a:grpFill/>
            </p:grpSpPr>
            <p:sp>
              <p:nvSpPr>
                <p:cNvPr id="71" name="Freeform 70"/>
                <p:cNvSpPr>
                  <a:spLocks/>
                </p:cNvSpPr>
                <p:nvPr/>
              </p:nvSpPr>
              <p:spPr bwMode="auto">
                <a:xfrm>
                  <a:off x="17565688" y="4721225"/>
                  <a:ext cx="463550" cy="460375"/>
                </a:xfrm>
                <a:custGeom>
                  <a:avLst/>
                  <a:gdLst>
                    <a:gd name="T0" fmla="*/ 184 w 292"/>
                    <a:gd name="T1" fmla="*/ 6 h 290"/>
                    <a:gd name="T2" fmla="*/ 184 w 292"/>
                    <a:gd name="T3" fmla="*/ 6 h 290"/>
                    <a:gd name="T4" fmla="*/ 164 w 292"/>
                    <a:gd name="T5" fmla="*/ 2 h 290"/>
                    <a:gd name="T6" fmla="*/ 144 w 292"/>
                    <a:gd name="T7" fmla="*/ 0 h 290"/>
                    <a:gd name="T8" fmla="*/ 124 w 292"/>
                    <a:gd name="T9" fmla="*/ 2 h 290"/>
                    <a:gd name="T10" fmla="*/ 106 w 292"/>
                    <a:gd name="T11" fmla="*/ 8 h 290"/>
                    <a:gd name="T12" fmla="*/ 88 w 292"/>
                    <a:gd name="T13" fmla="*/ 14 h 290"/>
                    <a:gd name="T14" fmla="*/ 70 w 292"/>
                    <a:gd name="T15" fmla="*/ 24 h 290"/>
                    <a:gd name="T16" fmla="*/ 54 w 292"/>
                    <a:gd name="T17" fmla="*/ 36 h 290"/>
                    <a:gd name="T18" fmla="*/ 40 w 292"/>
                    <a:gd name="T19" fmla="*/ 50 h 290"/>
                    <a:gd name="T20" fmla="*/ 26 w 292"/>
                    <a:gd name="T21" fmla="*/ 66 h 290"/>
                    <a:gd name="T22" fmla="*/ 16 w 292"/>
                    <a:gd name="T23" fmla="*/ 82 h 290"/>
                    <a:gd name="T24" fmla="*/ 8 w 292"/>
                    <a:gd name="T25" fmla="*/ 100 h 290"/>
                    <a:gd name="T26" fmla="*/ 2 w 292"/>
                    <a:gd name="T27" fmla="*/ 118 h 290"/>
                    <a:gd name="T28" fmla="*/ 0 w 292"/>
                    <a:gd name="T29" fmla="*/ 138 h 290"/>
                    <a:gd name="T30" fmla="*/ 0 w 292"/>
                    <a:gd name="T31" fmla="*/ 156 h 290"/>
                    <a:gd name="T32" fmla="*/ 4 w 292"/>
                    <a:gd name="T33" fmla="*/ 176 h 290"/>
                    <a:gd name="T34" fmla="*/ 10 w 292"/>
                    <a:gd name="T35" fmla="*/ 196 h 290"/>
                    <a:gd name="T36" fmla="*/ 10 w 292"/>
                    <a:gd name="T37" fmla="*/ 196 h 290"/>
                    <a:gd name="T38" fmla="*/ 18 w 292"/>
                    <a:gd name="T39" fmla="*/ 214 h 290"/>
                    <a:gd name="T40" fmla="*/ 26 w 292"/>
                    <a:gd name="T41" fmla="*/ 230 h 290"/>
                    <a:gd name="T42" fmla="*/ 38 w 292"/>
                    <a:gd name="T43" fmla="*/ 246 h 290"/>
                    <a:gd name="T44" fmla="*/ 52 w 292"/>
                    <a:gd name="T45" fmla="*/ 258 h 290"/>
                    <a:gd name="T46" fmla="*/ 68 w 292"/>
                    <a:gd name="T47" fmla="*/ 268 h 290"/>
                    <a:gd name="T48" fmla="*/ 84 w 292"/>
                    <a:gd name="T49" fmla="*/ 278 h 290"/>
                    <a:gd name="T50" fmla="*/ 102 w 292"/>
                    <a:gd name="T51" fmla="*/ 284 h 290"/>
                    <a:gd name="T52" fmla="*/ 120 w 292"/>
                    <a:gd name="T53" fmla="*/ 288 h 290"/>
                    <a:gd name="T54" fmla="*/ 140 w 292"/>
                    <a:gd name="T55" fmla="*/ 290 h 290"/>
                    <a:gd name="T56" fmla="*/ 158 w 292"/>
                    <a:gd name="T57" fmla="*/ 290 h 290"/>
                    <a:gd name="T58" fmla="*/ 178 w 292"/>
                    <a:gd name="T59" fmla="*/ 288 h 290"/>
                    <a:gd name="T60" fmla="*/ 196 w 292"/>
                    <a:gd name="T61" fmla="*/ 284 h 290"/>
                    <a:gd name="T62" fmla="*/ 212 w 292"/>
                    <a:gd name="T63" fmla="*/ 276 h 290"/>
                    <a:gd name="T64" fmla="*/ 230 w 292"/>
                    <a:gd name="T65" fmla="*/ 268 h 290"/>
                    <a:gd name="T66" fmla="*/ 244 w 292"/>
                    <a:gd name="T67" fmla="*/ 256 h 290"/>
                    <a:gd name="T68" fmla="*/ 256 w 292"/>
                    <a:gd name="T69" fmla="*/ 240 h 290"/>
                    <a:gd name="T70" fmla="*/ 256 w 292"/>
                    <a:gd name="T71" fmla="*/ 240 h 290"/>
                    <a:gd name="T72" fmla="*/ 268 w 292"/>
                    <a:gd name="T73" fmla="*/ 226 h 290"/>
                    <a:gd name="T74" fmla="*/ 278 w 292"/>
                    <a:gd name="T75" fmla="*/ 210 h 290"/>
                    <a:gd name="T76" fmla="*/ 284 w 292"/>
                    <a:gd name="T77" fmla="*/ 192 h 290"/>
                    <a:gd name="T78" fmla="*/ 290 w 292"/>
                    <a:gd name="T79" fmla="*/ 176 h 290"/>
                    <a:gd name="T80" fmla="*/ 292 w 292"/>
                    <a:gd name="T81" fmla="*/ 158 h 290"/>
                    <a:gd name="T82" fmla="*/ 292 w 292"/>
                    <a:gd name="T83" fmla="*/ 138 h 290"/>
                    <a:gd name="T84" fmla="*/ 288 w 292"/>
                    <a:gd name="T85" fmla="*/ 120 h 290"/>
                    <a:gd name="T86" fmla="*/ 284 w 292"/>
                    <a:gd name="T87" fmla="*/ 102 h 290"/>
                    <a:gd name="T88" fmla="*/ 278 w 292"/>
                    <a:gd name="T89" fmla="*/ 86 h 290"/>
                    <a:gd name="T90" fmla="*/ 270 w 292"/>
                    <a:gd name="T91" fmla="*/ 70 h 290"/>
                    <a:gd name="T92" fmla="*/ 260 w 292"/>
                    <a:gd name="T93" fmla="*/ 54 h 290"/>
                    <a:gd name="T94" fmla="*/ 248 w 292"/>
                    <a:gd name="T95" fmla="*/ 40 h 290"/>
                    <a:gd name="T96" fmla="*/ 234 w 292"/>
                    <a:gd name="T97" fmla="*/ 28 h 290"/>
                    <a:gd name="T98" fmla="*/ 218 w 292"/>
                    <a:gd name="T99" fmla="*/ 18 h 290"/>
                    <a:gd name="T100" fmla="*/ 202 w 292"/>
                    <a:gd name="T101" fmla="*/ 10 h 290"/>
                    <a:gd name="T102" fmla="*/ 184 w 292"/>
                    <a:gd name="T103" fmla="*/ 6 h 290"/>
                    <a:gd name="T104" fmla="*/ 184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84" y="6"/>
                      </a:moveTo>
                      <a:lnTo>
                        <a:pt x="184" y="6"/>
                      </a:lnTo>
                      <a:lnTo>
                        <a:pt x="164" y="2"/>
                      </a:lnTo>
                      <a:lnTo>
                        <a:pt x="144" y="0"/>
                      </a:lnTo>
                      <a:lnTo>
                        <a:pt x="124" y="2"/>
                      </a:lnTo>
                      <a:lnTo>
                        <a:pt x="106" y="8"/>
                      </a:lnTo>
                      <a:lnTo>
                        <a:pt x="88" y="14"/>
                      </a:lnTo>
                      <a:lnTo>
                        <a:pt x="70" y="24"/>
                      </a:lnTo>
                      <a:lnTo>
                        <a:pt x="54" y="36"/>
                      </a:lnTo>
                      <a:lnTo>
                        <a:pt x="40" y="50"/>
                      </a:lnTo>
                      <a:lnTo>
                        <a:pt x="26" y="66"/>
                      </a:lnTo>
                      <a:lnTo>
                        <a:pt x="16" y="82"/>
                      </a:lnTo>
                      <a:lnTo>
                        <a:pt x="8" y="100"/>
                      </a:lnTo>
                      <a:lnTo>
                        <a:pt x="2" y="118"/>
                      </a:lnTo>
                      <a:lnTo>
                        <a:pt x="0" y="138"/>
                      </a:lnTo>
                      <a:lnTo>
                        <a:pt x="0" y="156"/>
                      </a:lnTo>
                      <a:lnTo>
                        <a:pt x="4" y="176"/>
                      </a:lnTo>
                      <a:lnTo>
                        <a:pt x="10" y="196"/>
                      </a:lnTo>
                      <a:lnTo>
                        <a:pt x="10" y="196"/>
                      </a:lnTo>
                      <a:lnTo>
                        <a:pt x="18" y="214"/>
                      </a:lnTo>
                      <a:lnTo>
                        <a:pt x="26" y="230"/>
                      </a:lnTo>
                      <a:lnTo>
                        <a:pt x="38" y="246"/>
                      </a:lnTo>
                      <a:lnTo>
                        <a:pt x="52" y="258"/>
                      </a:lnTo>
                      <a:lnTo>
                        <a:pt x="68" y="268"/>
                      </a:lnTo>
                      <a:lnTo>
                        <a:pt x="84" y="278"/>
                      </a:lnTo>
                      <a:lnTo>
                        <a:pt x="102" y="284"/>
                      </a:lnTo>
                      <a:lnTo>
                        <a:pt x="120" y="288"/>
                      </a:lnTo>
                      <a:lnTo>
                        <a:pt x="140" y="290"/>
                      </a:lnTo>
                      <a:lnTo>
                        <a:pt x="158" y="290"/>
                      </a:lnTo>
                      <a:lnTo>
                        <a:pt x="178" y="288"/>
                      </a:lnTo>
                      <a:lnTo>
                        <a:pt x="196" y="284"/>
                      </a:lnTo>
                      <a:lnTo>
                        <a:pt x="212" y="276"/>
                      </a:lnTo>
                      <a:lnTo>
                        <a:pt x="230" y="268"/>
                      </a:lnTo>
                      <a:lnTo>
                        <a:pt x="244" y="256"/>
                      </a:lnTo>
                      <a:lnTo>
                        <a:pt x="256" y="240"/>
                      </a:lnTo>
                      <a:lnTo>
                        <a:pt x="256" y="240"/>
                      </a:lnTo>
                      <a:lnTo>
                        <a:pt x="268" y="226"/>
                      </a:lnTo>
                      <a:lnTo>
                        <a:pt x="278" y="210"/>
                      </a:lnTo>
                      <a:lnTo>
                        <a:pt x="284" y="192"/>
                      </a:lnTo>
                      <a:lnTo>
                        <a:pt x="290" y="176"/>
                      </a:lnTo>
                      <a:lnTo>
                        <a:pt x="292" y="158"/>
                      </a:lnTo>
                      <a:lnTo>
                        <a:pt x="292" y="138"/>
                      </a:lnTo>
                      <a:lnTo>
                        <a:pt x="288" y="120"/>
                      </a:lnTo>
                      <a:lnTo>
                        <a:pt x="284" y="102"/>
                      </a:lnTo>
                      <a:lnTo>
                        <a:pt x="278" y="86"/>
                      </a:lnTo>
                      <a:lnTo>
                        <a:pt x="270" y="70"/>
                      </a:lnTo>
                      <a:lnTo>
                        <a:pt x="260" y="54"/>
                      </a:lnTo>
                      <a:lnTo>
                        <a:pt x="248" y="40"/>
                      </a:lnTo>
                      <a:lnTo>
                        <a:pt x="234" y="28"/>
                      </a:lnTo>
                      <a:lnTo>
                        <a:pt x="218" y="18"/>
                      </a:lnTo>
                      <a:lnTo>
                        <a:pt x="202" y="10"/>
                      </a:lnTo>
                      <a:lnTo>
                        <a:pt x="184" y="6"/>
                      </a:lnTo>
                      <a:lnTo>
                        <a:pt x="18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72" name="Freeform 71"/>
                <p:cNvSpPr>
                  <a:spLocks/>
                </p:cNvSpPr>
                <p:nvPr/>
              </p:nvSpPr>
              <p:spPr bwMode="auto">
                <a:xfrm>
                  <a:off x="17248188" y="5229225"/>
                  <a:ext cx="1117600" cy="2352675"/>
                </a:xfrm>
                <a:custGeom>
                  <a:avLst/>
                  <a:gdLst>
                    <a:gd name="T0" fmla="*/ 596 w 704"/>
                    <a:gd name="T1" fmla="*/ 18 h 1482"/>
                    <a:gd name="T2" fmla="*/ 504 w 704"/>
                    <a:gd name="T3" fmla="*/ 2 h 1482"/>
                    <a:gd name="T4" fmla="*/ 352 w 704"/>
                    <a:gd name="T5" fmla="*/ 2 h 1482"/>
                    <a:gd name="T6" fmla="*/ 248 w 704"/>
                    <a:gd name="T7" fmla="*/ 0 h 1482"/>
                    <a:gd name="T8" fmla="*/ 146 w 704"/>
                    <a:gd name="T9" fmla="*/ 8 h 1482"/>
                    <a:gd name="T10" fmla="*/ 84 w 704"/>
                    <a:gd name="T11" fmla="*/ 30 h 1482"/>
                    <a:gd name="T12" fmla="*/ 56 w 704"/>
                    <a:gd name="T13" fmla="*/ 50 h 1482"/>
                    <a:gd name="T14" fmla="*/ 24 w 704"/>
                    <a:gd name="T15" fmla="*/ 86 h 1482"/>
                    <a:gd name="T16" fmla="*/ 4 w 704"/>
                    <a:gd name="T17" fmla="*/ 156 h 1482"/>
                    <a:gd name="T18" fmla="*/ 0 w 704"/>
                    <a:gd name="T19" fmla="*/ 230 h 1482"/>
                    <a:gd name="T20" fmla="*/ 0 w 704"/>
                    <a:gd name="T21" fmla="*/ 646 h 1482"/>
                    <a:gd name="T22" fmla="*/ 4 w 704"/>
                    <a:gd name="T23" fmla="*/ 684 h 1482"/>
                    <a:gd name="T24" fmla="*/ 26 w 704"/>
                    <a:gd name="T25" fmla="*/ 716 h 1482"/>
                    <a:gd name="T26" fmla="*/ 50 w 704"/>
                    <a:gd name="T27" fmla="*/ 724 h 1482"/>
                    <a:gd name="T28" fmla="*/ 74 w 704"/>
                    <a:gd name="T29" fmla="*/ 724 h 1482"/>
                    <a:gd name="T30" fmla="*/ 104 w 704"/>
                    <a:gd name="T31" fmla="*/ 704 h 1482"/>
                    <a:gd name="T32" fmla="*/ 124 w 704"/>
                    <a:gd name="T33" fmla="*/ 662 h 1482"/>
                    <a:gd name="T34" fmla="*/ 124 w 704"/>
                    <a:gd name="T35" fmla="*/ 242 h 1482"/>
                    <a:gd name="T36" fmla="*/ 170 w 704"/>
                    <a:gd name="T37" fmla="*/ 242 h 1482"/>
                    <a:gd name="T38" fmla="*/ 170 w 704"/>
                    <a:gd name="T39" fmla="*/ 1400 h 1482"/>
                    <a:gd name="T40" fmla="*/ 174 w 704"/>
                    <a:gd name="T41" fmla="*/ 1432 h 1482"/>
                    <a:gd name="T42" fmla="*/ 202 w 704"/>
                    <a:gd name="T43" fmla="*/ 1466 h 1482"/>
                    <a:gd name="T44" fmla="*/ 244 w 704"/>
                    <a:gd name="T45" fmla="*/ 1480 h 1482"/>
                    <a:gd name="T46" fmla="*/ 288 w 704"/>
                    <a:gd name="T47" fmla="*/ 1476 h 1482"/>
                    <a:gd name="T48" fmla="*/ 322 w 704"/>
                    <a:gd name="T49" fmla="*/ 1450 h 1482"/>
                    <a:gd name="T50" fmla="*/ 332 w 704"/>
                    <a:gd name="T51" fmla="*/ 1418 h 1482"/>
                    <a:gd name="T52" fmla="*/ 332 w 704"/>
                    <a:gd name="T53" fmla="*/ 722 h 1482"/>
                    <a:gd name="T54" fmla="*/ 370 w 704"/>
                    <a:gd name="T55" fmla="*/ 722 h 1482"/>
                    <a:gd name="T56" fmla="*/ 370 w 704"/>
                    <a:gd name="T57" fmla="*/ 1330 h 1482"/>
                    <a:gd name="T58" fmla="*/ 380 w 704"/>
                    <a:gd name="T59" fmla="*/ 1428 h 1482"/>
                    <a:gd name="T60" fmla="*/ 400 w 704"/>
                    <a:gd name="T61" fmla="*/ 1468 h 1482"/>
                    <a:gd name="T62" fmla="*/ 436 w 704"/>
                    <a:gd name="T63" fmla="*/ 1480 h 1482"/>
                    <a:gd name="T64" fmla="*/ 474 w 704"/>
                    <a:gd name="T65" fmla="*/ 1480 h 1482"/>
                    <a:gd name="T66" fmla="*/ 508 w 704"/>
                    <a:gd name="T67" fmla="*/ 1466 h 1482"/>
                    <a:gd name="T68" fmla="*/ 532 w 704"/>
                    <a:gd name="T69" fmla="*/ 1440 h 1482"/>
                    <a:gd name="T70" fmla="*/ 540 w 704"/>
                    <a:gd name="T71" fmla="*/ 1402 h 1482"/>
                    <a:gd name="T72" fmla="*/ 540 w 704"/>
                    <a:gd name="T73" fmla="*/ 824 h 1482"/>
                    <a:gd name="T74" fmla="*/ 542 w 704"/>
                    <a:gd name="T75" fmla="*/ 244 h 1482"/>
                    <a:gd name="T76" fmla="*/ 578 w 704"/>
                    <a:gd name="T77" fmla="*/ 340 h 1482"/>
                    <a:gd name="T78" fmla="*/ 578 w 704"/>
                    <a:gd name="T79" fmla="*/ 628 h 1482"/>
                    <a:gd name="T80" fmla="*/ 588 w 704"/>
                    <a:gd name="T81" fmla="*/ 680 h 1482"/>
                    <a:gd name="T82" fmla="*/ 612 w 704"/>
                    <a:gd name="T83" fmla="*/ 716 h 1482"/>
                    <a:gd name="T84" fmla="*/ 634 w 704"/>
                    <a:gd name="T85" fmla="*/ 724 h 1482"/>
                    <a:gd name="T86" fmla="*/ 654 w 704"/>
                    <a:gd name="T87" fmla="*/ 724 h 1482"/>
                    <a:gd name="T88" fmla="*/ 684 w 704"/>
                    <a:gd name="T89" fmla="*/ 712 h 1482"/>
                    <a:gd name="T90" fmla="*/ 700 w 704"/>
                    <a:gd name="T91" fmla="*/ 684 h 1482"/>
                    <a:gd name="T92" fmla="*/ 702 w 704"/>
                    <a:gd name="T93" fmla="*/ 662 h 1482"/>
                    <a:gd name="T94" fmla="*/ 702 w 704"/>
                    <a:gd name="T95" fmla="*/ 176 h 1482"/>
                    <a:gd name="T96" fmla="*/ 692 w 704"/>
                    <a:gd name="T97" fmla="*/ 106 h 1482"/>
                    <a:gd name="T98" fmla="*/ 654 w 704"/>
                    <a:gd name="T99" fmla="*/ 50 h 1482"/>
                    <a:gd name="T100" fmla="*/ 614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614" y="24"/>
                      </a:moveTo>
                      <a:lnTo>
                        <a:pt x="614" y="24"/>
                      </a:lnTo>
                      <a:lnTo>
                        <a:pt x="596" y="18"/>
                      </a:lnTo>
                      <a:lnTo>
                        <a:pt x="578" y="12"/>
                      </a:lnTo>
                      <a:lnTo>
                        <a:pt x="540" y="6"/>
                      </a:lnTo>
                      <a:lnTo>
                        <a:pt x="504" y="2"/>
                      </a:lnTo>
                      <a:lnTo>
                        <a:pt x="466" y="0"/>
                      </a:lnTo>
                      <a:lnTo>
                        <a:pt x="390" y="0"/>
                      </a:lnTo>
                      <a:lnTo>
                        <a:pt x="352" y="2"/>
                      </a:lnTo>
                      <a:lnTo>
                        <a:pt x="314" y="0"/>
                      </a:lnTo>
                      <a:lnTo>
                        <a:pt x="314" y="0"/>
                      </a:lnTo>
                      <a:lnTo>
                        <a:pt x="248" y="0"/>
                      </a:lnTo>
                      <a:lnTo>
                        <a:pt x="214" y="0"/>
                      </a:lnTo>
                      <a:lnTo>
                        <a:pt x="180" y="2"/>
                      </a:lnTo>
                      <a:lnTo>
                        <a:pt x="146" y="8"/>
                      </a:lnTo>
                      <a:lnTo>
                        <a:pt x="114" y="16"/>
                      </a:lnTo>
                      <a:lnTo>
                        <a:pt x="100" y="22"/>
                      </a:lnTo>
                      <a:lnTo>
                        <a:pt x="84" y="30"/>
                      </a:lnTo>
                      <a:lnTo>
                        <a:pt x="70" y="38"/>
                      </a:lnTo>
                      <a:lnTo>
                        <a:pt x="56" y="50"/>
                      </a:lnTo>
                      <a:lnTo>
                        <a:pt x="56" y="50"/>
                      </a:lnTo>
                      <a:lnTo>
                        <a:pt x="46" y="58"/>
                      </a:lnTo>
                      <a:lnTo>
                        <a:pt x="38" y="66"/>
                      </a:lnTo>
                      <a:lnTo>
                        <a:pt x="24" y="86"/>
                      </a:lnTo>
                      <a:lnTo>
                        <a:pt x="14" y="108"/>
                      </a:lnTo>
                      <a:lnTo>
                        <a:pt x="8" y="132"/>
                      </a:lnTo>
                      <a:lnTo>
                        <a:pt x="4" y="156"/>
                      </a:lnTo>
                      <a:lnTo>
                        <a:pt x="0" y="182"/>
                      </a:lnTo>
                      <a:lnTo>
                        <a:pt x="0" y="230"/>
                      </a:lnTo>
                      <a:lnTo>
                        <a:pt x="0" y="230"/>
                      </a:lnTo>
                      <a:lnTo>
                        <a:pt x="0" y="438"/>
                      </a:lnTo>
                      <a:lnTo>
                        <a:pt x="0" y="646"/>
                      </a:lnTo>
                      <a:lnTo>
                        <a:pt x="0" y="646"/>
                      </a:lnTo>
                      <a:lnTo>
                        <a:pt x="0" y="658"/>
                      </a:lnTo>
                      <a:lnTo>
                        <a:pt x="2" y="672"/>
                      </a:lnTo>
                      <a:lnTo>
                        <a:pt x="4" y="684"/>
                      </a:lnTo>
                      <a:lnTo>
                        <a:pt x="10" y="698"/>
                      </a:lnTo>
                      <a:lnTo>
                        <a:pt x="16" y="708"/>
                      </a:lnTo>
                      <a:lnTo>
                        <a:pt x="26" y="716"/>
                      </a:lnTo>
                      <a:lnTo>
                        <a:pt x="36" y="722"/>
                      </a:lnTo>
                      <a:lnTo>
                        <a:pt x="50" y="724"/>
                      </a:lnTo>
                      <a:lnTo>
                        <a:pt x="50" y="724"/>
                      </a:lnTo>
                      <a:lnTo>
                        <a:pt x="58" y="726"/>
                      </a:lnTo>
                      <a:lnTo>
                        <a:pt x="66" y="726"/>
                      </a:lnTo>
                      <a:lnTo>
                        <a:pt x="74" y="724"/>
                      </a:lnTo>
                      <a:lnTo>
                        <a:pt x="80" y="722"/>
                      </a:lnTo>
                      <a:lnTo>
                        <a:pt x="94" y="714"/>
                      </a:lnTo>
                      <a:lnTo>
                        <a:pt x="104" y="704"/>
                      </a:lnTo>
                      <a:lnTo>
                        <a:pt x="114" y="692"/>
                      </a:lnTo>
                      <a:lnTo>
                        <a:pt x="120" y="676"/>
                      </a:lnTo>
                      <a:lnTo>
                        <a:pt x="124" y="662"/>
                      </a:lnTo>
                      <a:lnTo>
                        <a:pt x="124" y="646"/>
                      </a:lnTo>
                      <a:lnTo>
                        <a:pt x="124" y="646"/>
                      </a:lnTo>
                      <a:lnTo>
                        <a:pt x="124" y="242"/>
                      </a:lnTo>
                      <a:lnTo>
                        <a:pt x="124" y="242"/>
                      </a:lnTo>
                      <a:lnTo>
                        <a:pt x="170" y="242"/>
                      </a:lnTo>
                      <a:lnTo>
                        <a:pt x="170" y="242"/>
                      </a:lnTo>
                      <a:lnTo>
                        <a:pt x="170" y="822"/>
                      </a:lnTo>
                      <a:lnTo>
                        <a:pt x="170" y="1112"/>
                      </a:lnTo>
                      <a:lnTo>
                        <a:pt x="170" y="1400"/>
                      </a:lnTo>
                      <a:lnTo>
                        <a:pt x="170" y="1400"/>
                      </a:lnTo>
                      <a:lnTo>
                        <a:pt x="172" y="1418"/>
                      </a:lnTo>
                      <a:lnTo>
                        <a:pt x="174" y="1432"/>
                      </a:lnTo>
                      <a:lnTo>
                        <a:pt x="182" y="1444"/>
                      </a:lnTo>
                      <a:lnTo>
                        <a:pt x="190" y="1456"/>
                      </a:lnTo>
                      <a:lnTo>
                        <a:pt x="202" y="1466"/>
                      </a:lnTo>
                      <a:lnTo>
                        <a:pt x="216" y="1472"/>
                      </a:lnTo>
                      <a:lnTo>
                        <a:pt x="230" y="1478"/>
                      </a:lnTo>
                      <a:lnTo>
                        <a:pt x="244" y="1480"/>
                      </a:lnTo>
                      <a:lnTo>
                        <a:pt x="260" y="1480"/>
                      </a:lnTo>
                      <a:lnTo>
                        <a:pt x="274" y="1480"/>
                      </a:lnTo>
                      <a:lnTo>
                        <a:pt x="288" y="1476"/>
                      </a:lnTo>
                      <a:lnTo>
                        <a:pt x="302" y="1470"/>
                      </a:lnTo>
                      <a:lnTo>
                        <a:pt x="312" y="1460"/>
                      </a:lnTo>
                      <a:lnTo>
                        <a:pt x="322" y="1450"/>
                      </a:lnTo>
                      <a:lnTo>
                        <a:pt x="328" y="1436"/>
                      </a:lnTo>
                      <a:lnTo>
                        <a:pt x="332" y="1418"/>
                      </a:lnTo>
                      <a:lnTo>
                        <a:pt x="332" y="1418"/>
                      </a:lnTo>
                      <a:lnTo>
                        <a:pt x="332" y="1244"/>
                      </a:lnTo>
                      <a:lnTo>
                        <a:pt x="332" y="1070"/>
                      </a:lnTo>
                      <a:lnTo>
                        <a:pt x="332" y="722"/>
                      </a:lnTo>
                      <a:lnTo>
                        <a:pt x="332" y="722"/>
                      </a:lnTo>
                      <a:lnTo>
                        <a:pt x="370" y="722"/>
                      </a:lnTo>
                      <a:lnTo>
                        <a:pt x="370" y="722"/>
                      </a:lnTo>
                      <a:lnTo>
                        <a:pt x="370" y="1026"/>
                      </a:lnTo>
                      <a:lnTo>
                        <a:pt x="370" y="1330"/>
                      </a:lnTo>
                      <a:lnTo>
                        <a:pt x="370" y="1330"/>
                      </a:lnTo>
                      <a:lnTo>
                        <a:pt x="370" y="1362"/>
                      </a:lnTo>
                      <a:lnTo>
                        <a:pt x="374" y="1396"/>
                      </a:lnTo>
                      <a:lnTo>
                        <a:pt x="380" y="1428"/>
                      </a:lnTo>
                      <a:lnTo>
                        <a:pt x="390" y="1460"/>
                      </a:lnTo>
                      <a:lnTo>
                        <a:pt x="390" y="1460"/>
                      </a:lnTo>
                      <a:lnTo>
                        <a:pt x="400" y="1468"/>
                      </a:lnTo>
                      <a:lnTo>
                        <a:pt x="412" y="1472"/>
                      </a:lnTo>
                      <a:lnTo>
                        <a:pt x="424" y="1478"/>
                      </a:lnTo>
                      <a:lnTo>
                        <a:pt x="436" y="1480"/>
                      </a:lnTo>
                      <a:lnTo>
                        <a:pt x="448" y="1482"/>
                      </a:lnTo>
                      <a:lnTo>
                        <a:pt x="462" y="1482"/>
                      </a:lnTo>
                      <a:lnTo>
                        <a:pt x="474" y="1480"/>
                      </a:lnTo>
                      <a:lnTo>
                        <a:pt x="486" y="1476"/>
                      </a:lnTo>
                      <a:lnTo>
                        <a:pt x="498" y="1472"/>
                      </a:lnTo>
                      <a:lnTo>
                        <a:pt x="508" y="1466"/>
                      </a:lnTo>
                      <a:lnTo>
                        <a:pt x="516" y="1460"/>
                      </a:lnTo>
                      <a:lnTo>
                        <a:pt x="524" y="1450"/>
                      </a:lnTo>
                      <a:lnTo>
                        <a:pt x="532" y="1440"/>
                      </a:lnTo>
                      <a:lnTo>
                        <a:pt x="536" y="1430"/>
                      </a:lnTo>
                      <a:lnTo>
                        <a:pt x="538" y="1416"/>
                      </a:lnTo>
                      <a:lnTo>
                        <a:pt x="540" y="1402"/>
                      </a:lnTo>
                      <a:lnTo>
                        <a:pt x="540" y="1402"/>
                      </a:lnTo>
                      <a:lnTo>
                        <a:pt x="540" y="1114"/>
                      </a:lnTo>
                      <a:lnTo>
                        <a:pt x="540" y="824"/>
                      </a:lnTo>
                      <a:lnTo>
                        <a:pt x="540" y="534"/>
                      </a:lnTo>
                      <a:lnTo>
                        <a:pt x="542" y="244"/>
                      </a:lnTo>
                      <a:lnTo>
                        <a:pt x="542" y="244"/>
                      </a:lnTo>
                      <a:lnTo>
                        <a:pt x="578" y="244"/>
                      </a:lnTo>
                      <a:lnTo>
                        <a:pt x="578" y="244"/>
                      </a:lnTo>
                      <a:lnTo>
                        <a:pt x="578" y="340"/>
                      </a:lnTo>
                      <a:lnTo>
                        <a:pt x="578" y="436"/>
                      </a:lnTo>
                      <a:lnTo>
                        <a:pt x="578" y="628"/>
                      </a:lnTo>
                      <a:lnTo>
                        <a:pt x="578" y="628"/>
                      </a:lnTo>
                      <a:lnTo>
                        <a:pt x="580" y="646"/>
                      </a:lnTo>
                      <a:lnTo>
                        <a:pt x="582" y="662"/>
                      </a:lnTo>
                      <a:lnTo>
                        <a:pt x="588" y="680"/>
                      </a:lnTo>
                      <a:lnTo>
                        <a:pt x="596" y="696"/>
                      </a:lnTo>
                      <a:lnTo>
                        <a:pt x="606" y="710"/>
                      </a:lnTo>
                      <a:lnTo>
                        <a:pt x="612" y="716"/>
                      </a:lnTo>
                      <a:lnTo>
                        <a:pt x="618" y="720"/>
                      </a:lnTo>
                      <a:lnTo>
                        <a:pt x="626" y="724"/>
                      </a:lnTo>
                      <a:lnTo>
                        <a:pt x="634" y="724"/>
                      </a:lnTo>
                      <a:lnTo>
                        <a:pt x="644" y="726"/>
                      </a:lnTo>
                      <a:lnTo>
                        <a:pt x="654" y="724"/>
                      </a:lnTo>
                      <a:lnTo>
                        <a:pt x="654" y="724"/>
                      </a:lnTo>
                      <a:lnTo>
                        <a:pt x="664" y="722"/>
                      </a:lnTo>
                      <a:lnTo>
                        <a:pt x="674" y="720"/>
                      </a:lnTo>
                      <a:lnTo>
                        <a:pt x="684" y="712"/>
                      </a:lnTo>
                      <a:lnTo>
                        <a:pt x="690" y="704"/>
                      </a:lnTo>
                      <a:lnTo>
                        <a:pt x="696" y="694"/>
                      </a:lnTo>
                      <a:lnTo>
                        <a:pt x="700" y="684"/>
                      </a:lnTo>
                      <a:lnTo>
                        <a:pt x="702" y="672"/>
                      </a:lnTo>
                      <a:lnTo>
                        <a:pt x="702" y="662"/>
                      </a:lnTo>
                      <a:lnTo>
                        <a:pt x="702" y="662"/>
                      </a:lnTo>
                      <a:lnTo>
                        <a:pt x="704" y="418"/>
                      </a:lnTo>
                      <a:lnTo>
                        <a:pt x="702" y="176"/>
                      </a:lnTo>
                      <a:lnTo>
                        <a:pt x="702" y="176"/>
                      </a:lnTo>
                      <a:lnTo>
                        <a:pt x="702" y="152"/>
                      </a:lnTo>
                      <a:lnTo>
                        <a:pt x="698" y="130"/>
                      </a:lnTo>
                      <a:lnTo>
                        <a:pt x="692" y="106"/>
                      </a:lnTo>
                      <a:lnTo>
                        <a:pt x="682" y="86"/>
                      </a:lnTo>
                      <a:lnTo>
                        <a:pt x="668" y="66"/>
                      </a:lnTo>
                      <a:lnTo>
                        <a:pt x="654" y="50"/>
                      </a:lnTo>
                      <a:lnTo>
                        <a:pt x="636" y="36"/>
                      </a:lnTo>
                      <a:lnTo>
                        <a:pt x="614" y="24"/>
                      </a:lnTo>
                      <a:lnTo>
                        <a:pt x="61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62" name="Group 61"/>
              <p:cNvGrpSpPr/>
              <p:nvPr/>
            </p:nvGrpSpPr>
            <p:grpSpPr>
              <a:xfrm>
                <a:off x="13704888" y="5292725"/>
                <a:ext cx="1285875" cy="2889250"/>
                <a:chOff x="13704888" y="5292725"/>
                <a:chExt cx="1285875" cy="2889250"/>
              </a:xfrm>
              <a:grpFill/>
            </p:grpSpPr>
            <p:sp>
              <p:nvSpPr>
                <p:cNvPr id="69" name="Freeform 19"/>
                <p:cNvSpPr>
                  <a:spLocks/>
                </p:cNvSpPr>
                <p:nvPr/>
              </p:nvSpPr>
              <p:spPr bwMode="auto">
                <a:xfrm>
                  <a:off x="14111288" y="5292725"/>
                  <a:ext cx="473075" cy="466725"/>
                </a:xfrm>
                <a:custGeom>
                  <a:avLst/>
                  <a:gdLst>
                    <a:gd name="T0" fmla="*/ 178 w 298"/>
                    <a:gd name="T1" fmla="*/ 4 h 294"/>
                    <a:gd name="T2" fmla="*/ 178 w 298"/>
                    <a:gd name="T3" fmla="*/ 4 h 294"/>
                    <a:gd name="T4" fmla="*/ 160 w 298"/>
                    <a:gd name="T5" fmla="*/ 0 h 294"/>
                    <a:gd name="T6" fmla="*/ 142 w 298"/>
                    <a:gd name="T7" fmla="*/ 0 h 294"/>
                    <a:gd name="T8" fmla="*/ 126 w 298"/>
                    <a:gd name="T9" fmla="*/ 2 h 294"/>
                    <a:gd name="T10" fmla="*/ 108 w 298"/>
                    <a:gd name="T11" fmla="*/ 8 h 294"/>
                    <a:gd name="T12" fmla="*/ 92 w 298"/>
                    <a:gd name="T13" fmla="*/ 14 h 294"/>
                    <a:gd name="T14" fmla="*/ 76 w 298"/>
                    <a:gd name="T15" fmla="*/ 22 h 294"/>
                    <a:gd name="T16" fmla="*/ 60 w 298"/>
                    <a:gd name="T17" fmla="*/ 32 h 294"/>
                    <a:gd name="T18" fmla="*/ 48 w 298"/>
                    <a:gd name="T19" fmla="*/ 44 h 294"/>
                    <a:gd name="T20" fmla="*/ 34 w 298"/>
                    <a:gd name="T21" fmla="*/ 56 h 294"/>
                    <a:gd name="T22" fmla="*/ 24 w 298"/>
                    <a:gd name="T23" fmla="*/ 70 h 294"/>
                    <a:gd name="T24" fmla="*/ 16 w 298"/>
                    <a:gd name="T25" fmla="*/ 86 h 294"/>
                    <a:gd name="T26" fmla="*/ 8 w 298"/>
                    <a:gd name="T27" fmla="*/ 102 h 294"/>
                    <a:gd name="T28" fmla="*/ 4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6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8 w 298"/>
                    <a:gd name="T65" fmla="*/ 268 h 294"/>
                    <a:gd name="T66" fmla="*/ 254 w 298"/>
                    <a:gd name="T67" fmla="*/ 254 h 294"/>
                    <a:gd name="T68" fmla="*/ 268 w 298"/>
                    <a:gd name="T69" fmla="*/ 236 h 294"/>
                    <a:gd name="T70" fmla="*/ 268 w 298"/>
                    <a:gd name="T71" fmla="*/ 236 h 294"/>
                    <a:gd name="T72" fmla="*/ 280 w 298"/>
                    <a:gd name="T73" fmla="*/ 222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8 h 294"/>
                    <a:gd name="T88" fmla="*/ 280 w 298"/>
                    <a:gd name="T89" fmla="*/ 80 h 294"/>
                    <a:gd name="T90" fmla="*/ 270 w 298"/>
                    <a:gd name="T91" fmla="*/ 66 h 294"/>
                    <a:gd name="T92" fmla="*/ 258 w 298"/>
                    <a:gd name="T93" fmla="*/ 50 h 294"/>
                    <a:gd name="T94" fmla="*/ 244 w 298"/>
                    <a:gd name="T95" fmla="*/ 38 h 294"/>
                    <a:gd name="T96" fmla="*/ 230 w 298"/>
                    <a:gd name="T97" fmla="*/ 26 h 294"/>
                    <a:gd name="T98" fmla="*/ 214 w 298"/>
                    <a:gd name="T99" fmla="*/ 16 h 294"/>
                    <a:gd name="T100" fmla="*/ 196 w 298"/>
                    <a:gd name="T101" fmla="*/ 8 h 294"/>
                    <a:gd name="T102" fmla="*/ 178 w 298"/>
                    <a:gd name="T103" fmla="*/ 4 h 294"/>
                    <a:gd name="T104" fmla="*/ 178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4"/>
                      </a:moveTo>
                      <a:lnTo>
                        <a:pt x="178" y="4"/>
                      </a:lnTo>
                      <a:lnTo>
                        <a:pt x="160" y="0"/>
                      </a:lnTo>
                      <a:lnTo>
                        <a:pt x="142" y="0"/>
                      </a:lnTo>
                      <a:lnTo>
                        <a:pt x="126" y="2"/>
                      </a:lnTo>
                      <a:lnTo>
                        <a:pt x="108" y="8"/>
                      </a:lnTo>
                      <a:lnTo>
                        <a:pt x="92" y="14"/>
                      </a:lnTo>
                      <a:lnTo>
                        <a:pt x="76" y="22"/>
                      </a:lnTo>
                      <a:lnTo>
                        <a:pt x="60" y="32"/>
                      </a:lnTo>
                      <a:lnTo>
                        <a:pt x="48" y="44"/>
                      </a:lnTo>
                      <a:lnTo>
                        <a:pt x="34" y="56"/>
                      </a:lnTo>
                      <a:lnTo>
                        <a:pt x="24" y="70"/>
                      </a:lnTo>
                      <a:lnTo>
                        <a:pt x="16" y="86"/>
                      </a:lnTo>
                      <a:lnTo>
                        <a:pt x="8" y="102"/>
                      </a:lnTo>
                      <a:lnTo>
                        <a:pt x="4" y="118"/>
                      </a:lnTo>
                      <a:lnTo>
                        <a:pt x="0" y="136"/>
                      </a:lnTo>
                      <a:lnTo>
                        <a:pt x="0" y="154"/>
                      </a:lnTo>
                      <a:lnTo>
                        <a:pt x="2" y="172"/>
                      </a:lnTo>
                      <a:lnTo>
                        <a:pt x="2" y="172"/>
                      </a:lnTo>
                      <a:lnTo>
                        <a:pt x="6" y="196"/>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8" y="268"/>
                      </a:lnTo>
                      <a:lnTo>
                        <a:pt x="254" y="254"/>
                      </a:lnTo>
                      <a:lnTo>
                        <a:pt x="268" y="236"/>
                      </a:lnTo>
                      <a:lnTo>
                        <a:pt x="268" y="236"/>
                      </a:lnTo>
                      <a:lnTo>
                        <a:pt x="280" y="222"/>
                      </a:lnTo>
                      <a:lnTo>
                        <a:pt x="288" y="204"/>
                      </a:lnTo>
                      <a:lnTo>
                        <a:pt x="294" y="186"/>
                      </a:lnTo>
                      <a:lnTo>
                        <a:pt x="298" y="168"/>
                      </a:lnTo>
                      <a:lnTo>
                        <a:pt x="298" y="150"/>
                      </a:lnTo>
                      <a:lnTo>
                        <a:pt x="296" y="132"/>
                      </a:lnTo>
                      <a:lnTo>
                        <a:pt x="292" y="114"/>
                      </a:lnTo>
                      <a:lnTo>
                        <a:pt x="286" y="98"/>
                      </a:lnTo>
                      <a:lnTo>
                        <a:pt x="280" y="80"/>
                      </a:lnTo>
                      <a:lnTo>
                        <a:pt x="270" y="66"/>
                      </a:lnTo>
                      <a:lnTo>
                        <a:pt x="258" y="50"/>
                      </a:lnTo>
                      <a:lnTo>
                        <a:pt x="244" y="38"/>
                      </a:lnTo>
                      <a:lnTo>
                        <a:pt x="230" y="26"/>
                      </a:lnTo>
                      <a:lnTo>
                        <a:pt x="214" y="16"/>
                      </a:lnTo>
                      <a:lnTo>
                        <a:pt x="196" y="8"/>
                      </a:lnTo>
                      <a:lnTo>
                        <a:pt x="178" y="4"/>
                      </a:lnTo>
                      <a:lnTo>
                        <a:pt x="1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70" name="Freeform 20"/>
                <p:cNvSpPr>
                  <a:spLocks/>
                </p:cNvSpPr>
                <p:nvPr/>
              </p:nvSpPr>
              <p:spPr bwMode="auto">
                <a:xfrm>
                  <a:off x="13704888" y="5835650"/>
                  <a:ext cx="1285875" cy="2346325"/>
                </a:xfrm>
                <a:custGeom>
                  <a:avLst/>
                  <a:gdLst>
                    <a:gd name="T0" fmla="*/ 624 w 810"/>
                    <a:gd name="T1" fmla="*/ 38 h 1478"/>
                    <a:gd name="T2" fmla="*/ 576 w 810"/>
                    <a:gd name="T3" fmla="*/ 12 h 1478"/>
                    <a:gd name="T4" fmla="*/ 508 w 810"/>
                    <a:gd name="T5" fmla="*/ 0 h 1478"/>
                    <a:gd name="T6" fmla="*/ 398 w 810"/>
                    <a:gd name="T7" fmla="*/ 2 h 1478"/>
                    <a:gd name="T8" fmla="*/ 334 w 810"/>
                    <a:gd name="T9" fmla="*/ 0 h 1478"/>
                    <a:gd name="T10" fmla="*/ 246 w 810"/>
                    <a:gd name="T11" fmla="*/ 10 h 1478"/>
                    <a:gd name="T12" fmla="*/ 194 w 810"/>
                    <a:gd name="T13" fmla="*/ 34 h 1478"/>
                    <a:gd name="T14" fmla="*/ 162 w 810"/>
                    <a:gd name="T15" fmla="*/ 62 h 1478"/>
                    <a:gd name="T16" fmla="*/ 134 w 810"/>
                    <a:gd name="T17" fmla="*/ 110 h 1478"/>
                    <a:gd name="T18" fmla="*/ 94 w 810"/>
                    <a:gd name="T19" fmla="*/ 220 h 1478"/>
                    <a:gd name="T20" fmla="*/ 50 w 810"/>
                    <a:gd name="T21" fmla="*/ 370 h 1478"/>
                    <a:gd name="T22" fmla="*/ 32 w 810"/>
                    <a:gd name="T23" fmla="*/ 434 h 1478"/>
                    <a:gd name="T24" fmla="*/ 4 w 810"/>
                    <a:gd name="T25" fmla="*/ 528 h 1478"/>
                    <a:gd name="T26" fmla="*/ 0 w 810"/>
                    <a:gd name="T27" fmla="*/ 610 h 1478"/>
                    <a:gd name="T28" fmla="*/ 18 w 810"/>
                    <a:gd name="T29" fmla="*/ 630 h 1478"/>
                    <a:gd name="T30" fmla="*/ 64 w 810"/>
                    <a:gd name="T31" fmla="*/ 632 h 1478"/>
                    <a:gd name="T32" fmla="*/ 102 w 810"/>
                    <a:gd name="T33" fmla="*/ 610 h 1478"/>
                    <a:gd name="T34" fmla="*/ 140 w 810"/>
                    <a:gd name="T35" fmla="*/ 506 h 1478"/>
                    <a:gd name="T36" fmla="*/ 224 w 810"/>
                    <a:gd name="T37" fmla="*/ 234 h 1478"/>
                    <a:gd name="T38" fmla="*/ 230 w 810"/>
                    <a:gd name="T39" fmla="*/ 220 h 1478"/>
                    <a:gd name="T40" fmla="*/ 262 w 810"/>
                    <a:gd name="T41" fmla="*/ 188 h 1478"/>
                    <a:gd name="T42" fmla="*/ 166 w 810"/>
                    <a:gd name="T43" fmla="*/ 542 h 1478"/>
                    <a:gd name="T44" fmla="*/ 64 w 810"/>
                    <a:gd name="T45" fmla="*/ 892 h 1478"/>
                    <a:gd name="T46" fmla="*/ 240 w 810"/>
                    <a:gd name="T47" fmla="*/ 1020 h 1478"/>
                    <a:gd name="T48" fmla="*/ 240 w 810"/>
                    <a:gd name="T49" fmla="*/ 1398 h 1478"/>
                    <a:gd name="T50" fmla="*/ 244 w 810"/>
                    <a:gd name="T51" fmla="*/ 1426 h 1478"/>
                    <a:gd name="T52" fmla="*/ 268 w 810"/>
                    <a:gd name="T53" fmla="*/ 1464 h 1478"/>
                    <a:gd name="T54" fmla="*/ 308 w 810"/>
                    <a:gd name="T55" fmla="*/ 1478 h 1478"/>
                    <a:gd name="T56" fmla="*/ 336 w 810"/>
                    <a:gd name="T57" fmla="*/ 1472 h 1478"/>
                    <a:gd name="T58" fmla="*/ 366 w 810"/>
                    <a:gd name="T59" fmla="*/ 1442 h 1478"/>
                    <a:gd name="T60" fmla="*/ 376 w 810"/>
                    <a:gd name="T61" fmla="*/ 1400 h 1478"/>
                    <a:gd name="T62" fmla="*/ 376 w 810"/>
                    <a:gd name="T63" fmla="*/ 1146 h 1478"/>
                    <a:gd name="T64" fmla="*/ 376 w 810"/>
                    <a:gd name="T65" fmla="*/ 892 h 1478"/>
                    <a:gd name="T66" fmla="*/ 418 w 810"/>
                    <a:gd name="T67" fmla="*/ 1024 h 1478"/>
                    <a:gd name="T68" fmla="*/ 420 w 810"/>
                    <a:gd name="T69" fmla="*/ 1418 h 1478"/>
                    <a:gd name="T70" fmla="*/ 428 w 810"/>
                    <a:gd name="T71" fmla="*/ 1444 h 1478"/>
                    <a:gd name="T72" fmla="*/ 452 w 810"/>
                    <a:gd name="T73" fmla="*/ 1468 h 1478"/>
                    <a:gd name="T74" fmla="*/ 486 w 810"/>
                    <a:gd name="T75" fmla="*/ 1476 h 1478"/>
                    <a:gd name="T76" fmla="*/ 520 w 810"/>
                    <a:gd name="T77" fmla="*/ 1468 h 1478"/>
                    <a:gd name="T78" fmla="*/ 544 w 810"/>
                    <a:gd name="T79" fmla="*/ 1444 h 1478"/>
                    <a:gd name="T80" fmla="*/ 552 w 810"/>
                    <a:gd name="T81" fmla="*/ 1418 h 1478"/>
                    <a:gd name="T82" fmla="*/ 554 w 810"/>
                    <a:gd name="T83" fmla="*/ 1024 h 1478"/>
                    <a:gd name="T84" fmla="*/ 730 w 810"/>
                    <a:gd name="T85" fmla="*/ 892 h 1478"/>
                    <a:gd name="T86" fmla="*/ 642 w 810"/>
                    <a:gd name="T87" fmla="*/ 546 h 1478"/>
                    <a:gd name="T88" fmla="*/ 556 w 810"/>
                    <a:gd name="T89" fmla="*/ 200 h 1478"/>
                    <a:gd name="T90" fmla="*/ 598 w 810"/>
                    <a:gd name="T91" fmla="*/ 264 h 1478"/>
                    <a:gd name="T92" fmla="*/ 666 w 810"/>
                    <a:gd name="T93" fmla="*/ 502 h 1478"/>
                    <a:gd name="T94" fmla="*/ 694 w 810"/>
                    <a:gd name="T95" fmla="*/ 596 h 1478"/>
                    <a:gd name="T96" fmla="*/ 710 w 810"/>
                    <a:gd name="T97" fmla="*/ 622 h 1478"/>
                    <a:gd name="T98" fmla="*/ 736 w 810"/>
                    <a:gd name="T99" fmla="*/ 634 h 1478"/>
                    <a:gd name="T100" fmla="*/ 768 w 810"/>
                    <a:gd name="T101" fmla="*/ 634 h 1478"/>
                    <a:gd name="T102" fmla="*/ 794 w 810"/>
                    <a:gd name="T103" fmla="*/ 622 h 1478"/>
                    <a:gd name="T104" fmla="*/ 810 w 810"/>
                    <a:gd name="T105" fmla="*/ 598 h 1478"/>
                    <a:gd name="T106" fmla="*/ 806 w 810"/>
                    <a:gd name="T107" fmla="*/ 552 h 1478"/>
                    <a:gd name="T108" fmla="*/ 780 w 810"/>
                    <a:gd name="T109" fmla="*/ 446 h 1478"/>
                    <a:gd name="T110" fmla="*/ 738 w 810"/>
                    <a:gd name="T111" fmla="*/ 308 h 1478"/>
                    <a:gd name="T112" fmla="*/ 700 w 810"/>
                    <a:gd name="T113" fmla="*/ 174 h 1478"/>
                    <a:gd name="T114" fmla="*/ 658 w 810"/>
                    <a:gd name="T115" fmla="*/ 78 h 1478"/>
                    <a:gd name="T116" fmla="*/ 638 w 810"/>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478">
                      <a:moveTo>
                        <a:pt x="638" y="50"/>
                      </a:moveTo>
                      <a:lnTo>
                        <a:pt x="638" y="50"/>
                      </a:lnTo>
                      <a:lnTo>
                        <a:pt x="624" y="38"/>
                      </a:lnTo>
                      <a:lnTo>
                        <a:pt x="608" y="28"/>
                      </a:lnTo>
                      <a:lnTo>
                        <a:pt x="592" y="20"/>
                      </a:lnTo>
                      <a:lnTo>
                        <a:pt x="576" y="12"/>
                      </a:lnTo>
                      <a:lnTo>
                        <a:pt x="560" y="8"/>
                      </a:lnTo>
                      <a:lnTo>
                        <a:pt x="542" y="4"/>
                      </a:lnTo>
                      <a:lnTo>
                        <a:pt x="508" y="0"/>
                      </a:lnTo>
                      <a:lnTo>
                        <a:pt x="470" y="0"/>
                      </a:lnTo>
                      <a:lnTo>
                        <a:pt x="434" y="0"/>
                      </a:lnTo>
                      <a:lnTo>
                        <a:pt x="398" y="2"/>
                      </a:lnTo>
                      <a:lnTo>
                        <a:pt x="364" y="0"/>
                      </a:lnTo>
                      <a:lnTo>
                        <a:pt x="364" y="0"/>
                      </a:lnTo>
                      <a:lnTo>
                        <a:pt x="334" y="0"/>
                      </a:lnTo>
                      <a:lnTo>
                        <a:pt x="304" y="0"/>
                      </a:lnTo>
                      <a:lnTo>
                        <a:pt x="276" y="4"/>
                      </a:lnTo>
                      <a:lnTo>
                        <a:pt x="246" y="10"/>
                      </a:lnTo>
                      <a:lnTo>
                        <a:pt x="218" y="20"/>
                      </a:lnTo>
                      <a:lnTo>
                        <a:pt x="206" y="26"/>
                      </a:lnTo>
                      <a:lnTo>
                        <a:pt x="194" y="34"/>
                      </a:lnTo>
                      <a:lnTo>
                        <a:pt x="182" y="42"/>
                      </a:lnTo>
                      <a:lnTo>
                        <a:pt x="172" y="52"/>
                      </a:lnTo>
                      <a:lnTo>
                        <a:pt x="162" y="62"/>
                      </a:lnTo>
                      <a:lnTo>
                        <a:pt x="152" y="76"/>
                      </a:lnTo>
                      <a:lnTo>
                        <a:pt x="152" y="76"/>
                      </a:lnTo>
                      <a:lnTo>
                        <a:pt x="134" y="110"/>
                      </a:lnTo>
                      <a:lnTo>
                        <a:pt x="118" y="146"/>
                      </a:lnTo>
                      <a:lnTo>
                        <a:pt x="106" y="182"/>
                      </a:lnTo>
                      <a:lnTo>
                        <a:pt x="94" y="220"/>
                      </a:lnTo>
                      <a:lnTo>
                        <a:pt x="74" y="296"/>
                      </a:lnTo>
                      <a:lnTo>
                        <a:pt x="62" y="334"/>
                      </a:lnTo>
                      <a:lnTo>
                        <a:pt x="50" y="370"/>
                      </a:lnTo>
                      <a:lnTo>
                        <a:pt x="50" y="370"/>
                      </a:lnTo>
                      <a:lnTo>
                        <a:pt x="42" y="402"/>
                      </a:lnTo>
                      <a:lnTo>
                        <a:pt x="32" y="434"/>
                      </a:lnTo>
                      <a:lnTo>
                        <a:pt x="20" y="464"/>
                      </a:lnTo>
                      <a:lnTo>
                        <a:pt x="12" y="496"/>
                      </a:lnTo>
                      <a:lnTo>
                        <a:pt x="4" y="528"/>
                      </a:lnTo>
                      <a:lnTo>
                        <a:pt x="0" y="560"/>
                      </a:lnTo>
                      <a:lnTo>
                        <a:pt x="0" y="594"/>
                      </a:lnTo>
                      <a:lnTo>
                        <a:pt x="0" y="610"/>
                      </a:lnTo>
                      <a:lnTo>
                        <a:pt x="4" y="626"/>
                      </a:lnTo>
                      <a:lnTo>
                        <a:pt x="4" y="626"/>
                      </a:lnTo>
                      <a:lnTo>
                        <a:pt x="18" y="630"/>
                      </a:lnTo>
                      <a:lnTo>
                        <a:pt x="34" y="634"/>
                      </a:lnTo>
                      <a:lnTo>
                        <a:pt x="50" y="634"/>
                      </a:lnTo>
                      <a:lnTo>
                        <a:pt x="64" y="632"/>
                      </a:lnTo>
                      <a:lnTo>
                        <a:pt x="78" y="628"/>
                      </a:lnTo>
                      <a:lnTo>
                        <a:pt x="90" y="620"/>
                      </a:lnTo>
                      <a:lnTo>
                        <a:pt x="102" y="610"/>
                      </a:lnTo>
                      <a:lnTo>
                        <a:pt x="110" y="596"/>
                      </a:lnTo>
                      <a:lnTo>
                        <a:pt x="110" y="596"/>
                      </a:lnTo>
                      <a:lnTo>
                        <a:pt x="140" y="506"/>
                      </a:lnTo>
                      <a:lnTo>
                        <a:pt x="168" y="416"/>
                      </a:lnTo>
                      <a:lnTo>
                        <a:pt x="196" y="324"/>
                      </a:lnTo>
                      <a:lnTo>
                        <a:pt x="224" y="234"/>
                      </a:lnTo>
                      <a:lnTo>
                        <a:pt x="224" y="234"/>
                      </a:lnTo>
                      <a:lnTo>
                        <a:pt x="226" y="228"/>
                      </a:lnTo>
                      <a:lnTo>
                        <a:pt x="230" y="220"/>
                      </a:lnTo>
                      <a:lnTo>
                        <a:pt x="240" y="208"/>
                      </a:lnTo>
                      <a:lnTo>
                        <a:pt x="262" y="188"/>
                      </a:lnTo>
                      <a:lnTo>
                        <a:pt x="262" y="188"/>
                      </a:lnTo>
                      <a:lnTo>
                        <a:pt x="240" y="278"/>
                      </a:lnTo>
                      <a:lnTo>
                        <a:pt x="216" y="366"/>
                      </a:lnTo>
                      <a:lnTo>
                        <a:pt x="166" y="542"/>
                      </a:lnTo>
                      <a:lnTo>
                        <a:pt x="114" y="716"/>
                      </a:lnTo>
                      <a:lnTo>
                        <a:pt x="64" y="892"/>
                      </a:lnTo>
                      <a:lnTo>
                        <a:pt x="64" y="892"/>
                      </a:lnTo>
                      <a:lnTo>
                        <a:pt x="238" y="892"/>
                      </a:lnTo>
                      <a:lnTo>
                        <a:pt x="238" y="892"/>
                      </a:lnTo>
                      <a:lnTo>
                        <a:pt x="240" y="1020"/>
                      </a:lnTo>
                      <a:lnTo>
                        <a:pt x="240" y="1146"/>
                      </a:lnTo>
                      <a:lnTo>
                        <a:pt x="240" y="1272"/>
                      </a:lnTo>
                      <a:lnTo>
                        <a:pt x="240" y="1398"/>
                      </a:lnTo>
                      <a:lnTo>
                        <a:pt x="240" y="1398"/>
                      </a:lnTo>
                      <a:lnTo>
                        <a:pt x="242" y="1412"/>
                      </a:lnTo>
                      <a:lnTo>
                        <a:pt x="244" y="1426"/>
                      </a:lnTo>
                      <a:lnTo>
                        <a:pt x="250" y="1440"/>
                      </a:lnTo>
                      <a:lnTo>
                        <a:pt x="258" y="1452"/>
                      </a:lnTo>
                      <a:lnTo>
                        <a:pt x="268" y="1464"/>
                      </a:lnTo>
                      <a:lnTo>
                        <a:pt x="278" y="1472"/>
                      </a:lnTo>
                      <a:lnTo>
                        <a:pt x="292" y="1476"/>
                      </a:lnTo>
                      <a:lnTo>
                        <a:pt x="308" y="1478"/>
                      </a:lnTo>
                      <a:lnTo>
                        <a:pt x="308" y="1478"/>
                      </a:lnTo>
                      <a:lnTo>
                        <a:pt x="322" y="1478"/>
                      </a:lnTo>
                      <a:lnTo>
                        <a:pt x="336" y="1472"/>
                      </a:lnTo>
                      <a:lnTo>
                        <a:pt x="348" y="1464"/>
                      </a:lnTo>
                      <a:lnTo>
                        <a:pt x="358" y="1454"/>
                      </a:lnTo>
                      <a:lnTo>
                        <a:pt x="366" y="1442"/>
                      </a:lnTo>
                      <a:lnTo>
                        <a:pt x="372" y="1430"/>
                      </a:lnTo>
                      <a:lnTo>
                        <a:pt x="376" y="1414"/>
                      </a:lnTo>
                      <a:lnTo>
                        <a:pt x="376" y="1400"/>
                      </a:lnTo>
                      <a:lnTo>
                        <a:pt x="376" y="1400"/>
                      </a:lnTo>
                      <a:lnTo>
                        <a:pt x="376" y="1274"/>
                      </a:lnTo>
                      <a:lnTo>
                        <a:pt x="376" y="1146"/>
                      </a:lnTo>
                      <a:lnTo>
                        <a:pt x="376" y="1020"/>
                      </a:lnTo>
                      <a:lnTo>
                        <a:pt x="376" y="892"/>
                      </a:lnTo>
                      <a:lnTo>
                        <a:pt x="376" y="892"/>
                      </a:lnTo>
                      <a:lnTo>
                        <a:pt x="418" y="894"/>
                      </a:lnTo>
                      <a:lnTo>
                        <a:pt x="418" y="894"/>
                      </a:lnTo>
                      <a:lnTo>
                        <a:pt x="418" y="1024"/>
                      </a:lnTo>
                      <a:lnTo>
                        <a:pt x="418" y="1156"/>
                      </a:lnTo>
                      <a:lnTo>
                        <a:pt x="418" y="1288"/>
                      </a:lnTo>
                      <a:lnTo>
                        <a:pt x="420" y="1418"/>
                      </a:lnTo>
                      <a:lnTo>
                        <a:pt x="420" y="1418"/>
                      </a:lnTo>
                      <a:lnTo>
                        <a:pt x="422" y="1432"/>
                      </a:lnTo>
                      <a:lnTo>
                        <a:pt x="428" y="1444"/>
                      </a:lnTo>
                      <a:lnTo>
                        <a:pt x="434" y="1454"/>
                      </a:lnTo>
                      <a:lnTo>
                        <a:pt x="442" y="1462"/>
                      </a:lnTo>
                      <a:lnTo>
                        <a:pt x="452" y="1468"/>
                      </a:lnTo>
                      <a:lnTo>
                        <a:pt x="462" y="1474"/>
                      </a:lnTo>
                      <a:lnTo>
                        <a:pt x="474" y="1476"/>
                      </a:lnTo>
                      <a:lnTo>
                        <a:pt x="486" y="1476"/>
                      </a:lnTo>
                      <a:lnTo>
                        <a:pt x="498" y="1476"/>
                      </a:lnTo>
                      <a:lnTo>
                        <a:pt x="508" y="1472"/>
                      </a:lnTo>
                      <a:lnTo>
                        <a:pt x="520" y="1468"/>
                      </a:lnTo>
                      <a:lnTo>
                        <a:pt x="530" y="1462"/>
                      </a:lnTo>
                      <a:lnTo>
                        <a:pt x="538" y="1454"/>
                      </a:lnTo>
                      <a:lnTo>
                        <a:pt x="544" y="1444"/>
                      </a:lnTo>
                      <a:lnTo>
                        <a:pt x="550" y="1432"/>
                      </a:lnTo>
                      <a:lnTo>
                        <a:pt x="552" y="1418"/>
                      </a:lnTo>
                      <a:lnTo>
                        <a:pt x="552" y="1418"/>
                      </a:lnTo>
                      <a:lnTo>
                        <a:pt x="554" y="1286"/>
                      </a:lnTo>
                      <a:lnTo>
                        <a:pt x="554" y="1156"/>
                      </a:lnTo>
                      <a:lnTo>
                        <a:pt x="554" y="1024"/>
                      </a:lnTo>
                      <a:lnTo>
                        <a:pt x="554" y="894"/>
                      </a:lnTo>
                      <a:lnTo>
                        <a:pt x="554" y="894"/>
                      </a:lnTo>
                      <a:lnTo>
                        <a:pt x="730" y="892"/>
                      </a:lnTo>
                      <a:lnTo>
                        <a:pt x="730" y="892"/>
                      </a:lnTo>
                      <a:lnTo>
                        <a:pt x="686" y="720"/>
                      </a:lnTo>
                      <a:lnTo>
                        <a:pt x="642" y="546"/>
                      </a:lnTo>
                      <a:lnTo>
                        <a:pt x="598" y="374"/>
                      </a:lnTo>
                      <a:lnTo>
                        <a:pt x="556" y="200"/>
                      </a:lnTo>
                      <a:lnTo>
                        <a:pt x="556" y="200"/>
                      </a:lnTo>
                      <a:lnTo>
                        <a:pt x="582" y="218"/>
                      </a:lnTo>
                      <a:lnTo>
                        <a:pt x="582" y="218"/>
                      </a:lnTo>
                      <a:lnTo>
                        <a:pt x="598" y="264"/>
                      </a:lnTo>
                      <a:lnTo>
                        <a:pt x="612" y="312"/>
                      </a:lnTo>
                      <a:lnTo>
                        <a:pt x="638" y="406"/>
                      </a:lnTo>
                      <a:lnTo>
                        <a:pt x="666" y="502"/>
                      </a:lnTo>
                      <a:lnTo>
                        <a:pt x="680" y="550"/>
                      </a:lnTo>
                      <a:lnTo>
                        <a:pt x="694" y="596"/>
                      </a:lnTo>
                      <a:lnTo>
                        <a:pt x="694" y="596"/>
                      </a:lnTo>
                      <a:lnTo>
                        <a:pt x="698" y="606"/>
                      </a:lnTo>
                      <a:lnTo>
                        <a:pt x="704" y="614"/>
                      </a:lnTo>
                      <a:lnTo>
                        <a:pt x="710" y="622"/>
                      </a:lnTo>
                      <a:lnTo>
                        <a:pt x="718" y="626"/>
                      </a:lnTo>
                      <a:lnTo>
                        <a:pt x="728" y="632"/>
                      </a:lnTo>
                      <a:lnTo>
                        <a:pt x="736" y="634"/>
                      </a:lnTo>
                      <a:lnTo>
                        <a:pt x="746" y="636"/>
                      </a:lnTo>
                      <a:lnTo>
                        <a:pt x="758" y="636"/>
                      </a:lnTo>
                      <a:lnTo>
                        <a:pt x="768" y="634"/>
                      </a:lnTo>
                      <a:lnTo>
                        <a:pt x="776" y="632"/>
                      </a:lnTo>
                      <a:lnTo>
                        <a:pt x="786" y="628"/>
                      </a:lnTo>
                      <a:lnTo>
                        <a:pt x="794" y="622"/>
                      </a:lnTo>
                      <a:lnTo>
                        <a:pt x="800" y="616"/>
                      </a:lnTo>
                      <a:lnTo>
                        <a:pt x="806" y="608"/>
                      </a:lnTo>
                      <a:lnTo>
                        <a:pt x="810" y="598"/>
                      </a:lnTo>
                      <a:lnTo>
                        <a:pt x="810" y="586"/>
                      </a:lnTo>
                      <a:lnTo>
                        <a:pt x="810" y="586"/>
                      </a:lnTo>
                      <a:lnTo>
                        <a:pt x="806" y="552"/>
                      </a:lnTo>
                      <a:lnTo>
                        <a:pt x="798" y="516"/>
                      </a:lnTo>
                      <a:lnTo>
                        <a:pt x="790" y="482"/>
                      </a:lnTo>
                      <a:lnTo>
                        <a:pt x="780" y="446"/>
                      </a:lnTo>
                      <a:lnTo>
                        <a:pt x="758" y="378"/>
                      </a:lnTo>
                      <a:lnTo>
                        <a:pt x="738" y="308"/>
                      </a:lnTo>
                      <a:lnTo>
                        <a:pt x="738" y="308"/>
                      </a:lnTo>
                      <a:lnTo>
                        <a:pt x="728" y="276"/>
                      </a:lnTo>
                      <a:lnTo>
                        <a:pt x="720" y="242"/>
                      </a:lnTo>
                      <a:lnTo>
                        <a:pt x="700" y="174"/>
                      </a:lnTo>
                      <a:lnTo>
                        <a:pt x="690" y="140"/>
                      </a:lnTo>
                      <a:lnTo>
                        <a:pt x="676" y="108"/>
                      </a:lnTo>
                      <a:lnTo>
                        <a:pt x="658" y="78"/>
                      </a:lnTo>
                      <a:lnTo>
                        <a:pt x="648"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63" name="Group 62"/>
              <p:cNvGrpSpPr/>
              <p:nvPr/>
            </p:nvGrpSpPr>
            <p:grpSpPr>
              <a:xfrm>
                <a:off x="14955838" y="4721225"/>
                <a:ext cx="1117600" cy="1660525"/>
                <a:chOff x="14955838" y="4721225"/>
                <a:chExt cx="1117600" cy="1660525"/>
              </a:xfrm>
              <a:grpFill/>
            </p:grpSpPr>
            <p:sp>
              <p:nvSpPr>
                <p:cNvPr id="67" name="Freeform 12"/>
                <p:cNvSpPr>
                  <a:spLocks/>
                </p:cNvSpPr>
                <p:nvPr/>
              </p:nvSpPr>
              <p:spPr bwMode="auto">
                <a:xfrm>
                  <a:off x="15292388" y="4721225"/>
                  <a:ext cx="463550" cy="460375"/>
                </a:xfrm>
                <a:custGeom>
                  <a:avLst/>
                  <a:gdLst>
                    <a:gd name="T0" fmla="*/ 108 w 292"/>
                    <a:gd name="T1" fmla="*/ 6 h 290"/>
                    <a:gd name="T2" fmla="*/ 108 w 292"/>
                    <a:gd name="T3" fmla="*/ 6 h 290"/>
                    <a:gd name="T4" fmla="*/ 128 w 292"/>
                    <a:gd name="T5" fmla="*/ 2 h 290"/>
                    <a:gd name="T6" fmla="*/ 148 w 292"/>
                    <a:gd name="T7" fmla="*/ 0 h 290"/>
                    <a:gd name="T8" fmla="*/ 168 w 292"/>
                    <a:gd name="T9" fmla="*/ 2 h 290"/>
                    <a:gd name="T10" fmla="*/ 186 w 292"/>
                    <a:gd name="T11" fmla="*/ 8 h 290"/>
                    <a:gd name="T12" fmla="*/ 206 w 292"/>
                    <a:gd name="T13" fmla="*/ 14 h 290"/>
                    <a:gd name="T14" fmla="*/ 222 w 292"/>
                    <a:gd name="T15" fmla="*/ 24 h 290"/>
                    <a:gd name="T16" fmla="*/ 238 w 292"/>
                    <a:gd name="T17" fmla="*/ 36 h 290"/>
                    <a:gd name="T18" fmla="*/ 252 w 292"/>
                    <a:gd name="T19" fmla="*/ 50 h 290"/>
                    <a:gd name="T20" fmla="*/ 266 w 292"/>
                    <a:gd name="T21" fmla="*/ 66 h 290"/>
                    <a:gd name="T22" fmla="*/ 276 w 292"/>
                    <a:gd name="T23" fmla="*/ 82 h 290"/>
                    <a:gd name="T24" fmla="*/ 284 w 292"/>
                    <a:gd name="T25" fmla="*/ 100 h 290"/>
                    <a:gd name="T26" fmla="*/ 290 w 292"/>
                    <a:gd name="T27" fmla="*/ 118 h 290"/>
                    <a:gd name="T28" fmla="*/ 292 w 292"/>
                    <a:gd name="T29" fmla="*/ 138 h 290"/>
                    <a:gd name="T30" fmla="*/ 292 w 292"/>
                    <a:gd name="T31" fmla="*/ 156 h 290"/>
                    <a:gd name="T32" fmla="*/ 290 w 292"/>
                    <a:gd name="T33" fmla="*/ 176 h 290"/>
                    <a:gd name="T34" fmla="*/ 282 w 292"/>
                    <a:gd name="T35" fmla="*/ 196 h 290"/>
                    <a:gd name="T36" fmla="*/ 282 w 292"/>
                    <a:gd name="T37" fmla="*/ 196 h 290"/>
                    <a:gd name="T38" fmla="*/ 276 w 292"/>
                    <a:gd name="T39" fmla="*/ 214 h 290"/>
                    <a:gd name="T40" fmla="*/ 266 w 292"/>
                    <a:gd name="T41" fmla="*/ 230 h 290"/>
                    <a:gd name="T42" fmla="*/ 254 w 292"/>
                    <a:gd name="T43" fmla="*/ 246 h 290"/>
                    <a:gd name="T44" fmla="*/ 240 w 292"/>
                    <a:gd name="T45" fmla="*/ 258 h 290"/>
                    <a:gd name="T46" fmla="*/ 224 w 292"/>
                    <a:gd name="T47" fmla="*/ 268 h 290"/>
                    <a:gd name="T48" fmla="*/ 208 w 292"/>
                    <a:gd name="T49" fmla="*/ 278 h 290"/>
                    <a:gd name="T50" fmla="*/ 190 w 292"/>
                    <a:gd name="T51" fmla="*/ 284 h 290"/>
                    <a:gd name="T52" fmla="*/ 172 w 292"/>
                    <a:gd name="T53" fmla="*/ 288 h 290"/>
                    <a:gd name="T54" fmla="*/ 152 w 292"/>
                    <a:gd name="T55" fmla="*/ 290 h 290"/>
                    <a:gd name="T56" fmla="*/ 134 w 292"/>
                    <a:gd name="T57" fmla="*/ 290 h 290"/>
                    <a:gd name="T58" fmla="*/ 116 w 292"/>
                    <a:gd name="T59" fmla="*/ 288 h 290"/>
                    <a:gd name="T60" fmla="*/ 96 w 292"/>
                    <a:gd name="T61" fmla="*/ 284 h 290"/>
                    <a:gd name="T62" fmla="*/ 80 w 292"/>
                    <a:gd name="T63" fmla="*/ 276 h 290"/>
                    <a:gd name="T64" fmla="*/ 64 w 292"/>
                    <a:gd name="T65" fmla="*/ 268 h 290"/>
                    <a:gd name="T66" fmla="*/ 48 w 292"/>
                    <a:gd name="T67" fmla="*/ 256 h 290"/>
                    <a:gd name="T68" fmla="*/ 36 w 292"/>
                    <a:gd name="T69" fmla="*/ 240 h 290"/>
                    <a:gd name="T70" fmla="*/ 36 w 292"/>
                    <a:gd name="T71" fmla="*/ 240 h 290"/>
                    <a:gd name="T72" fmla="*/ 24 w 292"/>
                    <a:gd name="T73" fmla="*/ 226 h 290"/>
                    <a:gd name="T74" fmla="*/ 14 w 292"/>
                    <a:gd name="T75" fmla="*/ 210 h 290"/>
                    <a:gd name="T76" fmla="*/ 8 w 292"/>
                    <a:gd name="T77" fmla="*/ 192 h 290"/>
                    <a:gd name="T78" fmla="*/ 2 w 292"/>
                    <a:gd name="T79" fmla="*/ 176 h 290"/>
                    <a:gd name="T80" fmla="*/ 0 w 292"/>
                    <a:gd name="T81" fmla="*/ 158 h 290"/>
                    <a:gd name="T82" fmla="*/ 0 w 292"/>
                    <a:gd name="T83" fmla="*/ 138 h 290"/>
                    <a:gd name="T84" fmla="*/ 4 w 292"/>
                    <a:gd name="T85" fmla="*/ 120 h 290"/>
                    <a:gd name="T86" fmla="*/ 8 w 292"/>
                    <a:gd name="T87" fmla="*/ 102 h 290"/>
                    <a:gd name="T88" fmla="*/ 14 w 292"/>
                    <a:gd name="T89" fmla="*/ 86 h 290"/>
                    <a:gd name="T90" fmla="*/ 22 w 292"/>
                    <a:gd name="T91" fmla="*/ 70 h 290"/>
                    <a:gd name="T92" fmla="*/ 32 w 292"/>
                    <a:gd name="T93" fmla="*/ 54 h 290"/>
                    <a:gd name="T94" fmla="*/ 44 w 292"/>
                    <a:gd name="T95" fmla="*/ 40 h 290"/>
                    <a:gd name="T96" fmla="*/ 58 w 292"/>
                    <a:gd name="T97" fmla="*/ 28 h 290"/>
                    <a:gd name="T98" fmla="*/ 74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8" y="0"/>
                      </a:lnTo>
                      <a:lnTo>
                        <a:pt x="168" y="2"/>
                      </a:lnTo>
                      <a:lnTo>
                        <a:pt x="186" y="8"/>
                      </a:lnTo>
                      <a:lnTo>
                        <a:pt x="206" y="14"/>
                      </a:lnTo>
                      <a:lnTo>
                        <a:pt x="222" y="24"/>
                      </a:lnTo>
                      <a:lnTo>
                        <a:pt x="238" y="36"/>
                      </a:lnTo>
                      <a:lnTo>
                        <a:pt x="252" y="50"/>
                      </a:lnTo>
                      <a:lnTo>
                        <a:pt x="266" y="66"/>
                      </a:lnTo>
                      <a:lnTo>
                        <a:pt x="276" y="82"/>
                      </a:lnTo>
                      <a:lnTo>
                        <a:pt x="284" y="100"/>
                      </a:lnTo>
                      <a:lnTo>
                        <a:pt x="290" y="118"/>
                      </a:lnTo>
                      <a:lnTo>
                        <a:pt x="292" y="138"/>
                      </a:lnTo>
                      <a:lnTo>
                        <a:pt x="292" y="156"/>
                      </a:lnTo>
                      <a:lnTo>
                        <a:pt x="290" y="176"/>
                      </a:lnTo>
                      <a:lnTo>
                        <a:pt x="282" y="196"/>
                      </a:lnTo>
                      <a:lnTo>
                        <a:pt x="282" y="196"/>
                      </a:lnTo>
                      <a:lnTo>
                        <a:pt x="276" y="214"/>
                      </a:lnTo>
                      <a:lnTo>
                        <a:pt x="266" y="230"/>
                      </a:lnTo>
                      <a:lnTo>
                        <a:pt x="254" y="246"/>
                      </a:lnTo>
                      <a:lnTo>
                        <a:pt x="240" y="258"/>
                      </a:lnTo>
                      <a:lnTo>
                        <a:pt x="224" y="268"/>
                      </a:lnTo>
                      <a:lnTo>
                        <a:pt x="208" y="278"/>
                      </a:lnTo>
                      <a:lnTo>
                        <a:pt x="190" y="284"/>
                      </a:lnTo>
                      <a:lnTo>
                        <a:pt x="172" y="288"/>
                      </a:lnTo>
                      <a:lnTo>
                        <a:pt x="152" y="290"/>
                      </a:lnTo>
                      <a:lnTo>
                        <a:pt x="134" y="290"/>
                      </a:lnTo>
                      <a:lnTo>
                        <a:pt x="116" y="288"/>
                      </a:lnTo>
                      <a:lnTo>
                        <a:pt x="96" y="284"/>
                      </a:lnTo>
                      <a:lnTo>
                        <a:pt x="80" y="276"/>
                      </a:lnTo>
                      <a:lnTo>
                        <a:pt x="64" y="268"/>
                      </a:lnTo>
                      <a:lnTo>
                        <a:pt x="48" y="256"/>
                      </a:lnTo>
                      <a:lnTo>
                        <a:pt x="36" y="240"/>
                      </a:lnTo>
                      <a:lnTo>
                        <a:pt x="36" y="240"/>
                      </a:lnTo>
                      <a:lnTo>
                        <a:pt x="24" y="226"/>
                      </a:lnTo>
                      <a:lnTo>
                        <a:pt x="14" y="210"/>
                      </a:lnTo>
                      <a:lnTo>
                        <a:pt x="8" y="192"/>
                      </a:lnTo>
                      <a:lnTo>
                        <a:pt x="2" y="176"/>
                      </a:lnTo>
                      <a:lnTo>
                        <a:pt x="0" y="158"/>
                      </a:lnTo>
                      <a:lnTo>
                        <a:pt x="0" y="138"/>
                      </a:lnTo>
                      <a:lnTo>
                        <a:pt x="4" y="120"/>
                      </a:lnTo>
                      <a:lnTo>
                        <a:pt x="8" y="102"/>
                      </a:lnTo>
                      <a:lnTo>
                        <a:pt x="14" y="86"/>
                      </a:lnTo>
                      <a:lnTo>
                        <a:pt x="22" y="70"/>
                      </a:lnTo>
                      <a:lnTo>
                        <a:pt x="32" y="54"/>
                      </a:lnTo>
                      <a:lnTo>
                        <a:pt x="44" y="40"/>
                      </a:lnTo>
                      <a:lnTo>
                        <a:pt x="58" y="28"/>
                      </a:lnTo>
                      <a:lnTo>
                        <a:pt x="74"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68" name="Freeform 22"/>
                <p:cNvSpPr>
                  <a:spLocks/>
                </p:cNvSpPr>
                <p:nvPr/>
              </p:nvSpPr>
              <p:spPr bwMode="auto">
                <a:xfrm>
                  <a:off x="14955838" y="5229225"/>
                  <a:ext cx="1117600" cy="1152525"/>
                </a:xfrm>
                <a:custGeom>
                  <a:avLst/>
                  <a:gdLst>
                    <a:gd name="T0" fmla="*/ 52 w 704"/>
                    <a:gd name="T1" fmla="*/ 724 h 726"/>
                    <a:gd name="T2" fmla="*/ 70 w 704"/>
                    <a:gd name="T3" fmla="*/ 724 h 726"/>
                    <a:gd name="T4" fmla="*/ 86 w 704"/>
                    <a:gd name="T5" fmla="*/ 720 h 726"/>
                    <a:gd name="T6" fmla="*/ 98 w 704"/>
                    <a:gd name="T7" fmla="*/ 710 h 726"/>
                    <a:gd name="T8" fmla="*/ 116 w 704"/>
                    <a:gd name="T9" fmla="*/ 680 h 726"/>
                    <a:gd name="T10" fmla="*/ 124 w 704"/>
                    <a:gd name="T11" fmla="*/ 646 h 726"/>
                    <a:gd name="T12" fmla="*/ 126 w 704"/>
                    <a:gd name="T13" fmla="*/ 628 h 726"/>
                    <a:gd name="T14" fmla="*/ 126 w 704"/>
                    <a:gd name="T15" fmla="*/ 340 h 726"/>
                    <a:gd name="T16" fmla="*/ 126 w 704"/>
                    <a:gd name="T17" fmla="*/ 244 h 726"/>
                    <a:gd name="T18" fmla="*/ 162 w 704"/>
                    <a:gd name="T19" fmla="*/ 244 h 726"/>
                    <a:gd name="T20" fmla="*/ 164 w 704"/>
                    <a:gd name="T21" fmla="*/ 652 h 726"/>
                    <a:gd name="T22" fmla="*/ 202 w 704"/>
                    <a:gd name="T23" fmla="*/ 614 h 726"/>
                    <a:gd name="T24" fmla="*/ 248 w 704"/>
                    <a:gd name="T25" fmla="*/ 588 h 726"/>
                    <a:gd name="T26" fmla="*/ 296 w 704"/>
                    <a:gd name="T27" fmla="*/ 570 h 726"/>
                    <a:gd name="T28" fmla="*/ 348 w 704"/>
                    <a:gd name="T29" fmla="*/ 564 h 726"/>
                    <a:gd name="T30" fmla="*/ 372 w 704"/>
                    <a:gd name="T31" fmla="*/ 566 h 726"/>
                    <a:gd name="T32" fmla="*/ 396 w 704"/>
                    <a:gd name="T33" fmla="*/ 570 h 726"/>
                    <a:gd name="T34" fmla="*/ 436 w 704"/>
                    <a:gd name="T35" fmla="*/ 582 h 726"/>
                    <a:gd name="T36" fmla="*/ 472 w 704"/>
                    <a:gd name="T37" fmla="*/ 602 h 726"/>
                    <a:gd name="T38" fmla="*/ 506 w 704"/>
                    <a:gd name="T39" fmla="*/ 628 h 726"/>
                    <a:gd name="T40" fmla="*/ 534 w 704"/>
                    <a:gd name="T41" fmla="*/ 658 h 726"/>
                    <a:gd name="T42" fmla="*/ 534 w 704"/>
                    <a:gd name="T43" fmla="*/ 242 h 726"/>
                    <a:gd name="T44" fmla="*/ 580 w 704"/>
                    <a:gd name="T45" fmla="*/ 242 h 726"/>
                    <a:gd name="T46" fmla="*/ 580 w 704"/>
                    <a:gd name="T47" fmla="*/ 646 h 726"/>
                    <a:gd name="T48" fmla="*/ 582 w 704"/>
                    <a:gd name="T49" fmla="*/ 662 h 726"/>
                    <a:gd name="T50" fmla="*/ 592 w 704"/>
                    <a:gd name="T51" fmla="*/ 692 h 726"/>
                    <a:gd name="T52" fmla="*/ 610 w 704"/>
                    <a:gd name="T53" fmla="*/ 714 h 726"/>
                    <a:gd name="T54" fmla="*/ 630 w 704"/>
                    <a:gd name="T55" fmla="*/ 724 h 726"/>
                    <a:gd name="T56" fmla="*/ 646 w 704"/>
                    <a:gd name="T57" fmla="*/ 726 h 726"/>
                    <a:gd name="T58" fmla="*/ 654 w 704"/>
                    <a:gd name="T59" fmla="*/ 724 h 726"/>
                    <a:gd name="T60" fmla="*/ 678 w 704"/>
                    <a:gd name="T61" fmla="*/ 716 h 726"/>
                    <a:gd name="T62" fmla="*/ 694 w 704"/>
                    <a:gd name="T63" fmla="*/ 698 h 726"/>
                    <a:gd name="T64" fmla="*/ 702 w 704"/>
                    <a:gd name="T65" fmla="*/ 672 h 726"/>
                    <a:gd name="T66" fmla="*/ 704 w 704"/>
                    <a:gd name="T67" fmla="*/ 646 h 726"/>
                    <a:gd name="T68" fmla="*/ 704 w 704"/>
                    <a:gd name="T69" fmla="*/ 438 h 726"/>
                    <a:gd name="T70" fmla="*/ 704 w 704"/>
                    <a:gd name="T71" fmla="*/ 230 h 726"/>
                    <a:gd name="T72" fmla="*/ 700 w 704"/>
                    <a:gd name="T73" fmla="*/ 156 h 726"/>
                    <a:gd name="T74" fmla="*/ 690 w 704"/>
                    <a:gd name="T75" fmla="*/ 108 h 726"/>
                    <a:gd name="T76" fmla="*/ 666 w 704"/>
                    <a:gd name="T77" fmla="*/ 66 h 726"/>
                    <a:gd name="T78" fmla="*/ 648 w 704"/>
                    <a:gd name="T79" fmla="*/ 50 h 726"/>
                    <a:gd name="T80" fmla="*/ 634 w 704"/>
                    <a:gd name="T81" fmla="*/ 38 h 726"/>
                    <a:gd name="T82" fmla="*/ 606 w 704"/>
                    <a:gd name="T83" fmla="*/ 22 h 726"/>
                    <a:gd name="T84" fmla="*/ 558 w 704"/>
                    <a:gd name="T85" fmla="*/ 8 h 726"/>
                    <a:gd name="T86" fmla="*/ 492 w 704"/>
                    <a:gd name="T87" fmla="*/ 0 h 726"/>
                    <a:gd name="T88" fmla="*/ 390 w 704"/>
                    <a:gd name="T89" fmla="*/ 0 h 726"/>
                    <a:gd name="T90" fmla="*/ 352 w 704"/>
                    <a:gd name="T91" fmla="*/ 2 h 726"/>
                    <a:gd name="T92" fmla="*/ 238 w 704"/>
                    <a:gd name="T93" fmla="*/ 0 h 726"/>
                    <a:gd name="T94" fmla="*/ 164 w 704"/>
                    <a:gd name="T95" fmla="*/ 6 h 726"/>
                    <a:gd name="T96" fmla="*/ 108 w 704"/>
                    <a:gd name="T97" fmla="*/ 18 h 726"/>
                    <a:gd name="T98" fmla="*/ 90 w 704"/>
                    <a:gd name="T99" fmla="*/ 24 h 726"/>
                    <a:gd name="T100" fmla="*/ 50 w 704"/>
                    <a:gd name="T101" fmla="*/ 50 h 726"/>
                    <a:gd name="T102" fmla="*/ 22 w 704"/>
                    <a:gd name="T103" fmla="*/ 86 h 726"/>
                    <a:gd name="T104" fmla="*/ 6 w 704"/>
                    <a:gd name="T105" fmla="*/ 130 h 726"/>
                    <a:gd name="T106" fmla="*/ 2 w 704"/>
                    <a:gd name="T107" fmla="*/ 176 h 726"/>
                    <a:gd name="T108" fmla="*/ 0 w 704"/>
                    <a:gd name="T109" fmla="*/ 418 h 726"/>
                    <a:gd name="T110" fmla="*/ 2 w 704"/>
                    <a:gd name="T111" fmla="*/ 662 h 726"/>
                    <a:gd name="T112" fmla="*/ 4 w 704"/>
                    <a:gd name="T113" fmla="*/ 684 h 726"/>
                    <a:gd name="T114" fmla="*/ 14 w 704"/>
                    <a:gd name="T115" fmla="*/ 704 h 726"/>
                    <a:gd name="T116" fmla="*/ 30 w 704"/>
                    <a:gd name="T117" fmla="*/ 720 h 726"/>
                    <a:gd name="T118" fmla="*/ 52 w 704"/>
                    <a:gd name="T119" fmla="*/ 72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4" h="726">
                      <a:moveTo>
                        <a:pt x="52" y="724"/>
                      </a:moveTo>
                      <a:lnTo>
                        <a:pt x="52" y="724"/>
                      </a:lnTo>
                      <a:lnTo>
                        <a:pt x="60" y="726"/>
                      </a:lnTo>
                      <a:lnTo>
                        <a:pt x="70" y="724"/>
                      </a:lnTo>
                      <a:lnTo>
                        <a:pt x="78" y="724"/>
                      </a:lnTo>
                      <a:lnTo>
                        <a:pt x="86" y="720"/>
                      </a:lnTo>
                      <a:lnTo>
                        <a:pt x="92" y="716"/>
                      </a:lnTo>
                      <a:lnTo>
                        <a:pt x="98" y="710"/>
                      </a:lnTo>
                      <a:lnTo>
                        <a:pt x="108" y="696"/>
                      </a:lnTo>
                      <a:lnTo>
                        <a:pt x="116" y="680"/>
                      </a:lnTo>
                      <a:lnTo>
                        <a:pt x="122" y="662"/>
                      </a:lnTo>
                      <a:lnTo>
                        <a:pt x="124" y="646"/>
                      </a:lnTo>
                      <a:lnTo>
                        <a:pt x="126" y="628"/>
                      </a:lnTo>
                      <a:lnTo>
                        <a:pt x="126" y="628"/>
                      </a:lnTo>
                      <a:lnTo>
                        <a:pt x="126" y="436"/>
                      </a:lnTo>
                      <a:lnTo>
                        <a:pt x="126" y="340"/>
                      </a:lnTo>
                      <a:lnTo>
                        <a:pt x="126" y="244"/>
                      </a:lnTo>
                      <a:lnTo>
                        <a:pt x="126" y="244"/>
                      </a:lnTo>
                      <a:lnTo>
                        <a:pt x="162" y="244"/>
                      </a:lnTo>
                      <a:lnTo>
                        <a:pt x="162" y="244"/>
                      </a:lnTo>
                      <a:lnTo>
                        <a:pt x="164" y="652"/>
                      </a:lnTo>
                      <a:lnTo>
                        <a:pt x="164" y="652"/>
                      </a:lnTo>
                      <a:lnTo>
                        <a:pt x="182" y="632"/>
                      </a:lnTo>
                      <a:lnTo>
                        <a:pt x="202" y="614"/>
                      </a:lnTo>
                      <a:lnTo>
                        <a:pt x="224" y="600"/>
                      </a:lnTo>
                      <a:lnTo>
                        <a:pt x="248" y="588"/>
                      </a:lnTo>
                      <a:lnTo>
                        <a:pt x="272" y="578"/>
                      </a:lnTo>
                      <a:lnTo>
                        <a:pt x="296" y="570"/>
                      </a:lnTo>
                      <a:lnTo>
                        <a:pt x="322" y="566"/>
                      </a:lnTo>
                      <a:lnTo>
                        <a:pt x="348" y="564"/>
                      </a:lnTo>
                      <a:lnTo>
                        <a:pt x="348" y="564"/>
                      </a:lnTo>
                      <a:lnTo>
                        <a:pt x="372" y="566"/>
                      </a:lnTo>
                      <a:lnTo>
                        <a:pt x="396" y="570"/>
                      </a:lnTo>
                      <a:lnTo>
                        <a:pt x="396" y="570"/>
                      </a:lnTo>
                      <a:lnTo>
                        <a:pt x="416" y="576"/>
                      </a:lnTo>
                      <a:lnTo>
                        <a:pt x="436" y="582"/>
                      </a:lnTo>
                      <a:lnTo>
                        <a:pt x="454" y="592"/>
                      </a:lnTo>
                      <a:lnTo>
                        <a:pt x="472" y="602"/>
                      </a:lnTo>
                      <a:lnTo>
                        <a:pt x="490" y="614"/>
                      </a:lnTo>
                      <a:lnTo>
                        <a:pt x="506" y="628"/>
                      </a:lnTo>
                      <a:lnTo>
                        <a:pt x="520" y="642"/>
                      </a:lnTo>
                      <a:lnTo>
                        <a:pt x="534" y="658"/>
                      </a:lnTo>
                      <a:lnTo>
                        <a:pt x="534" y="658"/>
                      </a:lnTo>
                      <a:lnTo>
                        <a:pt x="534" y="242"/>
                      </a:lnTo>
                      <a:lnTo>
                        <a:pt x="534" y="242"/>
                      </a:lnTo>
                      <a:lnTo>
                        <a:pt x="580" y="242"/>
                      </a:lnTo>
                      <a:lnTo>
                        <a:pt x="580" y="242"/>
                      </a:lnTo>
                      <a:lnTo>
                        <a:pt x="580" y="646"/>
                      </a:lnTo>
                      <a:lnTo>
                        <a:pt x="580" y="646"/>
                      </a:lnTo>
                      <a:lnTo>
                        <a:pt x="582" y="662"/>
                      </a:lnTo>
                      <a:lnTo>
                        <a:pt x="584" y="676"/>
                      </a:lnTo>
                      <a:lnTo>
                        <a:pt x="592" y="692"/>
                      </a:lnTo>
                      <a:lnTo>
                        <a:pt x="600" y="704"/>
                      </a:lnTo>
                      <a:lnTo>
                        <a:pt x="610" y="714"/>
                      </a:lnTo>
                      <a:lnTo>
                        <a:pt x="624" y="722"/>
                      </a:lnTo>
                      <a:lnTo>
                        <a:pt x="630" y="724"/>
                      </a:lnTo>
                      <a:lnTo>
                        <a:pt x="638" y="726"/>
                      </a:lnTo>
                      <a:lnTo>
                        <a:pt x="646" y="726"/>
                      </a:lnTo>
                      <a:lnTo>
                        <a:pt x="654" y="724"/>
                      </a:lnTo>
                      <a:lnTo>
                        <a:pt x="654" y="724"/>
                      </a:lnTo>
                      <a:lnTo>
                        <a:pt x="668" y="722"/>
                      </a:lnTo>
                      <a:lnTo>
                        <a:pt x="678" y="716"/>
                      </a:lnTo>
                      <a:lnTo>
                        <a:pt x="688" y="708"/>
                      </a:lnTo>
                      <a:lnTo>
                        <a:pt x="694" y="698"/>
                      </a:lnTo>
                      <a:lnTo>
                        <a:pt x="700" y="684"/>
                      </a:lnTo>
                      <a:lnTo>
                        <a:pt x="702" y="672"/>
                      </a:lnTo>
                      <a:lnTo>
                        <a:pt x="704" y="658"/>
                      </a:lnTo>
                      <a:lnTo>
                        <a:pt x="704" y="646"/>
                      </a:lnTo>
                      <a:lnTo>
                        <a:pt x="704" y="646"/>
                      </a:lnTo>
                      <a:lnTo>
                        <a:pt x="704" y="438"/>
                      </a:lnTo>
                      <a:lnTo>
                        <a:pt x="704" y="230"/>
                      </a:lnTo>
                      <a:lnTo>
                        <a:pt x="704" y="230"/>
                      </a:lnTo>
                      <a:lnTo>
                        <a:pt x="704" y="182"/>
                      </a:lnTo>
                      <a:lnTo>
                        <a:pt x="700" y="156"/>
                      </a:lnTo>
                      <a:lnTo>
                        <a:pt x="696" y="132"/>
                      </a:lnTo>
                      <a:lnTo>
                        <a:pt x="690" y="108"/>
                      </a:lnTo>
                      <a:lnTo>
                        <a:pt x="680" y="86"/>
                      </a:lnTo>
                      <a:lnTo>
                        <a:pt x="666" y="66"/>
                      </a:lnTo>
                      <a:lnTo>
                        <a:pt x="658" y="58"/>
                      </a:lnTo>
                      <a:lnTo>
                        <a:pt x="648" y="50"/>
                      </a:lnTo>
                      <a:lnTo>
                        <a:pt x="648" y="50"/>
                      </a:lnTo>
                      <a:lnTo>
                        <a:pt x="634" y="38"/>
                      </a:lnTo>
                      <a:lnTo>
                        <a:pt x="620" y="30"/>
                      </a:lnTo>
                      <a:lnTo>
                        <a:pt x="606" y="22"/>
                      </a:lnTo>
                      <a:lnTo>
                        <a:pt x="590" y="16"/>
                      </a:lnTo>
                      <a:lnTo>
                        <a:pt x="558" y="8"/>
                      </a:lnTo>
                      <a:lnTo>
                        <a:pt x="524" y="2"/>
                      </a:lnTo>
                      <a:lnTo>
                        <a:pt x="492" y="0"/>
                      </a:lnTo>
                      <a:lnTo>
                        <a:pt x="458" y="0"/>
                      </a:lnTo>
                      <a:lnTo>
                        <a:pt x="390" y="0"/>
                      </a:lnTo>
                      <a:lnTo>
                        <a:pt x="390" y="0"/>
                      </a:lnTo>
                      <a:lnTo>
                        <a:pt x="352" y="2"/>
                      </a:lnTo>
                      <a:lnTo>
                        <a:pt x="314" y="0"/>
                      </a:lnTo>
                      <a:lnTo>
                        <a:pt x="238" y="0"/>
                      </a:lnTo>
                      <a:lnTo>
                        <a:pt x="200" y="2"/>
                      </a:lnTo>
                      <a:lnTo>
                        <a:pt x="164" y="6"/>
                      </a:lnTo>
                      <a:lnTo>
                        <a:pt x="126" y="12"/>
                      </a:lnTo>
                      <a:lnTo>
                        <a:pt x="108" y="18"/>
                      </a:lnTo>
                      <a:lnTo>
                        <a:pt x="90" y="24"/>
                      </a:lnTo>
                      <a:lnTo>
                        <a:pt x="90" y="24"/>
                      </a:lnTo>
                      <a:lnTo>
                        <a:pt x="70" y="36"/>
                      </a:lnTo>
                      <a:lnTo>
                        <a:pt x="50" y="50"/>
                      </a:lnTo>
                      <a:lnTo>
                        <a:pt x="36" y="66"/>
                      </a:lnTo>
                      <a:lnTo>
                        <a:pt x="22" y="86"/>
                      </a:lnTo>
                      <a:lnTo>
                        <a:pt x="12" y="106"/>
                      </a:lnTo>
                      <a:lnTo>
                        <a:pt x="6" y="130"/>
                      </a:lnTo>
                      <a:lnTo>
                        <a:pt x="2" y="152"/>
                      </a:lnTo>
                      <a:lnTo>
                        <a:pt x="2" y="176"/>
                      </a:lnTo>
                      <a:lnTo>
                        <a:pt x="2" y="176"/>
                      </a:lnTo>
                      <a:lnTo>
                        <a:pt x="0" y="418"/>
                      </a:lnTo>
                      <a:lnTo>
                        <a:pt x="2" y="662"/>
                      </a:lnTo>
                      <a:lnTo>
                        <a:pt x="2" y="662"/>
                      </a:lnTo>
                      <a:lnTo>
                        <a:pt x="2" y="672"/>
                      </a:lnTo>
                      <a:lnTo>
                        <a:pt x="4" y="684"/>
                      </a:lnTo>
                      <a:lnTo>
                        <a:pt x="8" y="694"/>
                      </a:lnTo>
                      <a:lnTo>
                        <a:pt x="14" y="704"/>
                      </a:lnTo>
                      <a:lnTo>
                        <a:pt x="20" y="712"/>
                      </a:lnTo>
                      <a:lnTo>
                        <a:pt x="30" y="720"/>
                      </a:lnTo>
                      <a:lnTo>
                        <a:pt x="40" y="722"/>
                      </a:lnTo>
                      <a:lnTo>
                        <a:pt x="52" y="724"/>
                      </a:lnTo>
                      <a:lnTo>
                        <a:pt x="52" y="7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64" name="Group 63"/>
              <p:cNvGrpSpPr/>
              <p:nvPr/>
            </p:nvGrpSpPr>
            <p:grpSpPr>
              <a:xfrm>
                <a:off x="14860588" y="6270625"/>
                <a:ext cx="1289050" cy="2889250"/>
                <a:chOff x="14860588" y="6270625"/>
                <a:chExt cx="1289050" cy="2889250"/>
              </a:xfrm>
              <a:grpFill/>
            </p:grpSpPr>
            <p:sp>
              <p:nvSpPr>
                <p:cNvPr id="65" name="Freeform 21"/>
                <p:cNvSpPr>
                  <a:spLocks/>
                </p:cNvSpPr>
                <p:nvPr/>
              </p:nvSpPr>
              <p:spPr bwMode="auto">
                <a:xfrm>
                  <a:off x="15270163" y="6270625"/>
                  <a:ext cx="473075" cy="466725"/>
                </a:xfrm>
                <a:custGeom>
                  <a:avLst/>
                  <a:gdLst>
                    <a:gd name="T0" fmla="*/ 178 w 298"/>
                    <a:gd name="T1" fmla="*/ 2 h 294"/>
                    <a:gd name="T2" fmla="*/ 178 w 298"/>
                    <a:gd name="T3" fmla="*/ 2 h 294"/>
                    <a:gd name="T4" fmla="*/ 160 w 298"/>
                    <a:gd name="T5" fmla="*/ 0 h 294"/>
                    <a:gd name="T6" fmla="*/ 142 w 298"/>
                    <a:gd name="T7" fmla="*/ 0 h 294"/>
                    <a:gd name="T8" fmla="*/ 124 w 298"/>
                    <a:gd name="T9" fmla="*/ 2 h 294"/>
                    <a:gd name="T10" fmla="*/ 108 w 298"/>
                    <a:gd name="T11" fmla="*/ 6 h 294"/>
                    <a:gd name="T12" fmla="*/ 90 w 298"/>
                    <a:gd name="T13" fmla="*/ 14 h 294"/>
                    <a:gd name="T14" fmla="*/ 74 w 298"/>
                    <a:gd name="T15" fmla="*/ 22 h 294"/>
                    <a:gd name="T16" fmla="*/ 60 w 298"/>
                    <a:gd name="T17" fmla="*/ 32 h 294"/>
                    <a:gd name="T18" fmla="*/ 46 w 298"/>
                    <a:gd name="T19" fmla="*/ 42 h 294"/>
                    <a:gd name="T20" fmla="*/ 34 w 298"/>
                    <a:gd name="T21" fmla="*/ 56 h 294"/>
                    <a:gd name="T22" fmla="*/ 24 w 298"/>
                    <a:gd name="T23" fmla="*/ 70 h 294"/>
                    <a:gd name="T24" fmla="*/ 14 w 298"/>
                    <a:gd name="T25" fmla="*/ 84 h 294"/>
                    <a:gd name="T26" fmla="*/ 8 w 298"/>
                    <a:gd name="T27" fmla="*/ 100 h 294"/>
                    <a:gd name="T28" fmla="*/ 2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4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6 w 298"/>
                    <a:gd name="T65" fmla="*/ 268 h 294"/>
                    <a:gd name="T66" fmla="*/ 254 w 298"/>
                    <a:gd name="T67" fmla="*/ 254 h 294"/>
                    <a:gd name="T68" fmla="*/ 268 w 298"/>
                    <a:gd name="T69" fmla="*/ 236 h 294"/>
                    <a:gd name="T70" fmla="*/ 268 w 298"/>
                    <a:gd name="T71" fmla="*/ 236 h 294"/>
                    <a:gd name="T72" fmla="*/ 280 w 298"/>
                    <a:gd name="T73" fmla="*/ 220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6 h 294"/>
                    <a:gd name="T88" fmla="*/ 278 w 298"/>
                    <a:gd name="T89" fmla="*/ 80 h 294"/>
                    <a:gd name="T90" fmla="*/ 268 w 298"/>
                    <a:gd name="T91" fmla="*/ 64 h 294"/>
                    <a:gd name="T92" fmla="*/ 258 w 298"/>
                    <a:gd name="T93" fmla="*/ 50 h 294"/>
                    <a:gd name="T94" fmla="*/ 244 w 298"/>
                    <a:gd name="T95" fmla="*/ 36 h 294"/>
                    <a:gd name="T96" fmla="*/ 230 w 298"/>
                    <a:gd name="T97" fmla="*/ 26 h 294"/>
                    <a:gd name="T98" fmla="*/ 214 w 298"/>
                    <a:gd name="T99" fmla="*/ 16 h 294"/>
                    <a:gd name="T100" fmla="*/ 196 w 298"/>
                    <a:gd name="T101" fmla="*/ 8 h 294"/>
                    <a:gd name="T102" fmla="*/ 178 w 298"/>
                    <a:gd name="T103" fmla="*/ 2 h 294"/>
                    <a:gd name="T104" fmla="*/ 178 w 298"/>
                    <a:gd name="T105" fmla="*/ 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2"/>
                      </a:moveTo>
                      <a:lnTo>
                        <a:pt x="178" y="2"/>
                      </a:lnTo>
                      <a:lnTo>
                        <a:pt x="160" y="0"/>
                      </a:lnTo>
                      <a:lnTo>
                        <a:pt x="142" y="0"/>
                      </a:lnTo>
                      <a:lnTo>
                        <a:pt x="124" y="2"/>
                      </a:lnTo>
                      <a:lnTo>
                        <a:pt x="108" y="6"/>
                      </a:lnTo>
                      <a:lnTo>
                        <a:pt x="90" y="14"/>
                      </a:lnTo>
                      <a:lnTo>
                        <a:pt x="74" y="22"/>
                      </a:lnTo>
                      <a:lnTo>
                        <a:pt x="60" y="32"/>
                      </a:lnTo>
                      <a:lnTo>
                        <a:pt x="46" y="42"/>
                      </a:lnTo>
                      <a:lnTo>
                        <a:pt x="34" y="56"/>
                      </a:lnTo>
                      <a:lnTo>
                        <a:pt x="24" y="70"/>
                      </a:lnTo>
                      <a:lnTo>
                        <a:pt x="14" y="84"/>
                      </a:lnTo>
                      <a:lnTo>
                        <a:pt x="8" y="100"/>
                      </a:lnTo>
                      <a:lnTo>
                        <a:pt x="2" y="118"/>
                      </a:lnTo>
                      <a:lnTo>
                        <a:pt x="0" y="136"/>
                      </a:lnTo>
                      <a:lnTo>
                        <a:pt x="0" y="154"/>
                      </a:lnTo>
                      <a:lnTo>
                        <a:pt x="2" y="172"/>
                      </a:lnTo>
                      <a:lnTo>
                        <a:pt x="2" y="172"/>
                      </a:lnTo>
                      <a:lnTo>
                        <a:pt x="6" y="194"/>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6" y="268"/>
                      </a:lnTo>
                      <a:lnTo>
                        <a:pt x="254" y="254"/>
                      </a:lnTo>
                      <a:lnTo>
                        <a:pt x="268" y="236"/>
                      </a:lnTo>
                      <a:lnTo>
                        <a:pt x="268" y="236"/>
                      </a:lnTo>
                      <a:lnTo>
                        <a:pt x="280" y="220"/>
                      </a:lnTo>
                      <a:lnTo>
                        <a:pt x="288" y="204"/>
                      </a:lnTo>
                      <a:lnTo>
                        <a:pt x="294" y="186"/>
                      </a:lnTo>
                      <a:lnTo>
                        <a:pt x="298" y="168"/>
                      </a:lnTo>
                      <a:lnTo>
                        <a:pt x="298" y="150"/>
                      </a:lnTo>
                      <a:lnTo>
                        <a:pt x="296" y="132"/>
                      </a:lnTo>
                      <a:lnTo>
                        <a:pt x="292" y="114"/>
                      </a:lnTo>
                      <a:lnTo>
                        <a:pt x="286" y="96"/>
                      </a:lnTo>
                      <a:lnTo>
                        <a:pt x="278" y="80"/>
                      </a:lnTo>
                      <a:lnTo>
                        <a:pt x="268" y="64"/>
                      </a:lnTo>
                      <a:lnTo>
                        <a:pt x="258" y="50"/>
                      </a:lnTo>
                      <a:lnTo>
                        <a:pt x="244" y="36"/>
                      </a:lnTo>
                      <a:lnTo>
                        <a:pt x="230" y="26"/>
                      </a:lnTo>
                      <a:lnTo>
                        <a:pt x="214" y="16"/>
                      </a:lnTo>
                      <a:lnTo>
                        <a:pt x="196" y="8"/>
                      </a:lnTo>
                      <a:lnTo>
                        <a:pt x="178" y="2"/>
                      </a:lnTo>
                      <a:lnTo>
                        <a:pt x="17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66" name="Freeform 23"/>
                <p:cNvSpPr>
                  <a:spLocks/>
                </p:cNvSpPr>
                <p:nvPr/>
              </p:nvSpPr>
              <p:spPr bwMode="auto">
                <a:xfrm>
                  <a:off x="14860588" y="6810375"/>
                  <a:ext cx="1289050" cy="2349500"/>
                </a:xfrm>
                <a:custGeom>
                  <a:avLst/>
                  <a:gdLst>
                    <a:gd name="T0" fmla="*/ 624 w 812"/>
                    <a:gd name="T1" fmla="*/ 38 h 1480"/>
                    <a:gd name="T2" fmla="*/ 578 w 812"/>
                    <a:gd name="T3" fmla="*/ 14 h 1480"/>
                    <a:gd name="T4" fmla="*/ 508 w 812"/>
                    <a:gd name="T5" fmla="*/ 2 h 1480"/>
                    <a:gd name="T6" fmla="*/ 400 w 812"/>
                    <a:gd name="T7" fmla="*/ 2 h 1480"/>
                    <a:gd name="T8" fmla="*/ 336 w 812"/>
                    <a:gd name="T9" fmla="*/ 0 h 1480"/>
                    <a:gd name="T10" fmla="*/ 248 w 812"/>
                    <a:gd name="T11" fmla="*/ 12 h 1480"/>
                    <a:gd name="T12" fmla="*/ 196 w 812"/>
                    <a:gd name="T13" fmla="*/ 34 h 1480"/>
                    <a:gd name="T14" fmla="*/ 162 w 812"/>
                    <a:gd name="T15" fmla="*/ 64 h 1480"/>
                    <a:gd name="T16" fmla="*/ 136 w 812"/>
                    <a:gd name="T17" fmla="*/ 112 h 1480"/>
                    <a:gd name="T18" fmla="*/ 96 w 812"/>
                    <a:gd name="T19" fmla="*/ 222 h 1480"/>
                    <a:gd name="T20" fmla="*/ 52 w 812"/>
                    <a:gd name="T21" fmla="*/ 372 h 1480"/>
                    <a:gd name="T22" fmla="*/ 32 w 812"/>
                    <a:gd name="T23" fmla="*/ 434 h 1480"/>
                    <a:gd name="T24" fmla="*/ 6 w 812"/>
                    <a:gd name="T25" fmla="*/ 530 h 1480"/>
                    <a:gd name="T26" fmla="*/ 2 w 812"/>
                    <a:gd name="T27" fmla="*/ 612 h 1480"/>
                    <a:gd name="T28" fmla="*/ 20 w 812"/>
                    <a:gd name="T29" fmla="*/ 632 h 1480"/>
                    <a:gd name="T30" fmla="*/ 66 w 812"/>
                    <a:gd name="T31" fmla="*/ 634 h 1480"/>
                    <a:gd name="T32" fmla="*/ 102 w 812"/>
                    <a:gd name="T33" fmla="*/ 612 h 1480"/>
                    <a:gd name="T34" fmla="*/ 142 w 812"/>
                    <a:gd name="T35" fmla="*/ 508 h 1480"/>
                    <a:gd name="T36" fmla="*/ 226 w 812"/>
                    <a:gd name="T37" fmla="*/ 236 h 1480"/>
                    <a:gd name="T38" fmla="*/ 232 w 812"/>
                    <a:gd name="T39" fmla="*/ 222 h 1480"/>
                    <a:gd name="T40" fmla="*/ 262 w 812"/>
                    <a:gd name="T41" fmla="*/ 190 h 1480"/>
                    <a:gd name="T42" fmla="*/ 166 w 812"/>
                    <a:gd name="T43" fmla="*/ 542 h 1480"/>
                    <a:gd name="T44" fmla="*/ 64 w 812"/>
                    <a:gd name="T45" fmla="*/ 894 h 1480"/>
                    <a:gd name="T46" fmla="*/ 242 w 812"/>
                    <a:gd name="T47" fmla="*/ 1020 h 1480"/>
                    <a:gd name="T48" fmla="*/ 242 w 812"/>
                    <a:gd name="T49" fmla="*/ 1400 h 1480"/>
                    <a:gd name="T50" fmla="*/ 246 w 812"/>
                    <a:gd name="T51" fmla="*/ 1428 h 1480"/>
                    <a:gd name="T52" fmla="*/ 268 w 812"/>
                    <a:gd name="T53" fmla="*/ 1464 h 1480"/>
                    <a:gd name="T54" fmla="*/ 308 w 812"/>
                    <a:gd name="T55" fmla="*/ 1480 h 1480"/>
                    <a:gd name="T56" fmla="*/ 338 w 812"/>
                    <a:gd name="T57" fmla="*/ 1474 h 1480"/>
                    <a:gd name="T58" fmla="*/ 368 w 812"/>
                    <a:gd name="T59" fmla="*/ 1444 h 1480"/>
                    <a:gd name="T60" fmla="*/ 376 w 812"/>
                    <a:gd name="T61" fmla="*/ 1402 h 1480"/>
                    <a:gd name="T62" fmla="*/ 376 w 812"/>
                    <a:gd name="T63" fmla="*/ 1148 h 1480"/>
                    <a:gd name="T64" fmla="*/ 378 w 812"/>
                    <a:gd name="T65" fmla="*/ 894 h 1480"/>
                    <a:gd name="T66" fmla="*/ 420 w 812"/>
                    <a:gd name="T67" fmla="*/ 1026 h 1480"/>
                    <a:gd name="T68" fmla="*/ 422 w 812"/>
                    <a:gd name="T69" fmla="*/ 1420 h 1480"/>
                    <a:gd name="T70" fmla="*/ 428 w 812"/>
                    <a:gd name="T71" fmla="*/ 1446 h 1480"/>
                    <a:gd name="T72" fmla="*/ 454 w 812"/>
                    <a:gd name="T73" fmla="*/ 1470 h 1480"/>
                    <a:gd name="T74" fmla="*/ 488 w 812"/>
                    <a:gd name="T75" fmla="*/ 1478 h 1480"/>
                    <a:gd name="T76" fmla="*/ 520 w 812"/>
                    <a:gd name="T77" fmla="*/ 1470 h 1480"/>
                    <a:gd name="T78" fmla="*/ 546 w 812"/>
                    <a:gd name="T79" fmla="*/ 1444 h 1480"/>
                    <a:gd name="T80" fmla="*/ 554 w 812"/>
                    <a:gd name="T81" fmla="*/ 1420 h 1480"/>
                    <a:gd name="T82" fmla="*/ 554 w 812"/>
                    <a:gd name="T83" fmla="*/ 1026 h 1480"/>
                    <a:gd name="T84" fmla="*/ 732 w 812"/>
                    <a:gd name="T85" fmla="*/ 894 h 1480"/>
                    <a:gd name="T86" fmla="*/ 644 w 812"/>
                    <a:gd name="T87" fmla="*/ 548 h 1480"/>
                    <a:gd name="T88" fmla="*/ 556 w 812"/>
                    <a:gd name="T89" fmla="*/ 202 h 1480"/>
                    <a:gd name="T90" fmla="*/ 598 w 812"/>
                    <a:gd name="T91" fmla="*/ 266 h 1480"/>
                    <a:gd name="T92" fmla="*/ 666 w 812"/>
                    <a:gd name="T93" fmla="*/ 504 h 1480"/>
                    <a:gd name="T94" fmla="*/ 696 w 812"/>
                    <a:gd name="T95" fmla="*/ 598 h 1480"/>
                    <a:gd name="T96" fmla="*/ 712 w 812"/>
                    <a:gd name="T97" fmla="*/ 622 h 1480"/>
                    <a:gd name="T98" fmla="*/ 738 w 812"/>
                    <a:gd name="T99" fmla="*/ 636 h 1480"/>
                    <a:gd name="T100" fmla="*/ 768 w 812"/>
                    <a:gd name="T101" fmla="*/ 636 h 1480"/>
                    <a:gd name="T102" fmla="*/ 796 w 812"/>
                    <a:gd name="T103" fmla="*/ 624 h 1480"/>
                    <a:gd name="T104" fmla="*/ 810 w 812"/>
                    <a:gd name="T105" fmla="*/ 600 h 1480"/>
                    <a:gd name="T106" fmla="*/ 808 w 812"/>
                    <a:gd name="T107" fmla="*/ 552 h 1480"/>
                    <a:gd name="T108" fmla="*/ 782 w 812"/>
                    <a:gd name="T109" fmla="*/ 448 h 1480"/>
                    <a:gd name="T110" fmla="*/ 740 w 812"/>
                    <a:gd name="T111" fmla="*/ 310 h 1480"/>
                    <a:gd name="T112" fmla="*/ 702 w 812"/>
                    <a:gd name="T113" fmla="*/ 174 h 1480"/>
                    <a:gd name="T114" fmla="*/ 660 w 812"/>
                    <a:gd name="T115" fmla="*/ 78 h 1480"/>
                    <a:gd name="T116" fmla="*/ 638 w 812"/>
                    <a:gd name="T117" fmla="*/ 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80">
                      <a:moveTo>
                        <a:pt x="638" y="50"/>
                      </a:moveTo>
                      <a:lnTo>
                        <a:pt x="638" y="50"/>
                      </a:lnTo>
                      <a:lnTo>
                        <a:pt x="624" y="38"/>
                      </a:lnTo>
                      <a:lnTo>
                        <a:pt x="610" y="28"/>
                      </a:lnTo>
                      <a:lnTo>
                        <a:pt x="594" y="20"/>
                      </a:lnTo>
                      <a:lnTo>
                        <a:pt x="578" y="14"/>
                      </a:lnTo>
                      <a:lnTo>
                        <a:pt x="562" y="10"/>
                      </a:lnTo>
                      <a:lnTo>
                        <a:pt x="544" y="6"/>
                      </a:lnTo>
                      <a:lnTo>
                        <a:pt x="508" y="2"/>
                      </a:lnTo>
                      <a:lnTo>
                        <a:pt x="472" y="2"/>
                      </a:lnTo>
                      <a:lnTo>
                        <a:pt x="436" y="2"/>
                      </a:lnTo>
                      <a:lnTo>
                        <a:pt x="400" y="2"/>
                      </a:lnTo>
                      <a:lnTo>
                        <a:pt x="364" y="2"/>
                      </a:lnTo>
                      <a:lnTo>
                        <a:pt x="364" y="2"/>
                      </a:lnTo>
                      <a:lnTo>
                        <a:pt x="336" y="0"/>
                      </a:lnTo>
                      <a:lnTo>
                        <a:pt x="306" y="2"/>
                      </a:lnTo>
                      <a:lnTo>
                        <a:pt x="276" y="4"/>
                      </a:lnTo>
                      <a:lnTo>
                        <a:pt x="248" y="12"/>
                      </a:lnTo>
                      <a:lnTo>
                        <a:pt x="220" y="20"/>
                      </a:lnTo>
                      <a:lnTo>
                        <a:pt x="208" y="28"/>
                      </a:lnTo>
                      <a:lnTo>
                        <a:pt x="196" y="34"/>
                      </a:lnTo>
                      <a:lnTo>
                        <a:pt x="184" y="44"/>
                      </a:lnTo>
                      <a:lnTo>
                        <a:pt x="172" y="54"/>
                      </a:lnTo>
                      <a:lnTo>
                        <a:pt x="162" y="64"/>
                      </a:lnTo>
                      <a:lnTo>
                        <a:pt x="154" y="76"/>
                      </a:lnTo>
                      <a:lnTo>
                        <a:pt x="154" y="76"/>
                      </a:lnTo>
                      <a:lnTo>
                        <a:pt x="136" y="112"/>
                      </a:lnTo>
                      <a:lnTo>
                        <a:pt x="120" y="148"/>
                      </a:lnTo>
                      <a:lnTo>
                        <a:pt x="106" y="184"/>
                      </a:lnTo>
                      <a:lnTo>
                        <a:pt x="96" y="222"/>
                      </a:lnTo>
                      <a:lnTo>
                        <a:pt x="74" y="298"/>
                      </a:lnTo>
                      <a:lnTo>
                        <a:pt x="64" y="334"/>
                      </a:lnTo>
                      <a:lnTo>
                        <a:pt x="52" y="372"/>
                      </a:lnTo>
                      <a:lnTo>
                        <a:pt x="52" y="372"/>
                      </a:lnTo>
                      <a:lnTo>
                        <a:pt x="42" y="404"/>
                      </a:lnTo>
                      <a:lnTo>
                        <a:pt x="32" y="434"/>
                      </a:lnTo>
                      <a:lnTo>
                        <a:pt x="22" y="466"/>
                      </a:lnTo>
                      <a:lnTo>
                        <a:pt x="12" y="498"/>
                      </a:lnTo>
                      <a:lnTo>
                        <a:pt x="6" y="530"/>
                      </a:lnTo>
                      <a:lnTo>
                        <a:pt x="0" y="562"/>
                      </a:lnTo>
                      <a:lnTo>
                        <a:pt x="0" y="594"/>
                      </a:lnTo>
                      <a:lnTo>
                        <a:pt x="2" y="612"/>
                      </a:lnTo>
                      <a:lnTo>
                        <a:pt x="6" y="628"/>
                      </a:lnTo>
                      <a:lnTo>
                        <a:pt x="6" y="628"/>
                      </a:lnTo>
                      <a:lnTo>
                        <a:pt x="20" y="632"/>
                      </a:lnTo>
                      <a:lnTo>
                        <a:pt x="36" y="634"/>
                      </a:lnTo>
                      <a:lnTo>
                        <a:pt x="50" y="636"/>
                      </a:lnTo>
                      <a:lnTo>
                        <a:pt x="66" y="634"/>
                      </a:lnTo>
                      <a:lnTo>
                        <a:pt x="80" y="630"/>
                      </a:lnTo>
                      <a:lnTo>
                        <a:pt x="92" y="622"/>
                      </a:lnTo>
                      <a:lnTo>
                        <a:pt x="102" y="612"/>
                      </a:lnTo>
                      <a:lnTo>
                        <a:pt x="112" y="596"/>
                      </a:lnTo>
                      <a:lnTo>
                        <a:pt x="112" y="596"/>
                      </a:lnTo>
                      <a:lnTo>
                        <a:pt x="142" y="508"/>
                      </a:lnTo>
                      <a:lnTo>
                        <a:pt x="170" y="416"/>
                      </a:lnTo>
                      <a:lnTo>
                        <a:pt x="196" y="326"/>
                      </a:lnTo>
                      <a:lnTo>
                        <a:pt x="226" y="236"/>
                      </a:lnTo>
                      <a:lnTo>
                        <a:pt x="226" y="236"/>
                      </a:lnTo>
                      <a:lnTo>
                        <a:pt x="228" y="228"/>
                      </a:lnTo>
                      <a:lnTo>
                        <a:pt x="232" y="222"/>
                      </a:lnTo>
                      <a:lnTo>
                        <a:pt x="240" y="210"/>
                      </a:lnTo>
                      <a:lnTo>
                        <a:pt x="262" y="190"/>
                      </a:lnTo>
                      <a:lnTo>
                        <a:pt x="262" y="190"/>
                      </a:lnTo>
                      <a:lnTo>
                        <a:pt x="240" y="278"/>
                      </a:lnTo>
                      <a:lnTo>
                        <a:pt x="218" y="366"/>
                      </a:lnTo>
                      <a:lnTo>
                        <a:pt x="166" y="542"/>
                      </a:lnTo>
                      <a:lnTo>
                        <a:pt x="114" y="718"/>
                      </a:lnTo>
                      <a:lnTo>
                        <a:pt x="64" y="894"/>
                      </a:lnTo>
                      <a:lnTo>
                        <a:pt x="64" y="894"/>
                      </a:lnTo>
                      <a:lnTo>
                        <a:pt x="240" y="894"/>
                      </a:lnTo>
                      <a:lnTo>
                        <a:pt x="240" y="894"/>
                      </a:lnTo>
                      <a:lnTo>
                        <a:pt x="242" y="1020"/>
                      </a:lnTo>
                      <a:lnTo>
                        <a:pt x="240" y="1146"/>
                      </a:lnTo>
                      <a:lnTo>
                        <a:pt x="240" y="1272"/>
                      </a:lnTo>
                      <a:lnTo>
                        <a:pt x="242" y="1400"/>
                      </a:lnTo>
                      <a:lnTo>
                        <a:pt x="242" y="1400"/>
                      </a:lnTo>
                      <a:lnTo>
                        <a:pt x="244" y="1414"/>
                      </a:lnTo>
                      <a:lnTo>
                        <a:pt x="246" y="1428"/>
                      </a:lnTo>
                      <a:lnTo>
                        <a:pt x="252" y="1442"/>
                      </a:lnTo>
                      <a:lnTo>
                        <a:pt x="260" y="1454"/>
                      </a:lnTo>
                      <a:lnTo>
                        <a:pt x="268" y="1464"/>
                      </a:lnTo>
                      <a:lnTo>
                        <a:pt x="280" y="1472"/>
                      </a:lnTo>
                      <a:lnTo>
                        <a:pt x="294" y="1478"/>
                      </a:lnTo>
                      <a:lnTo>
                        <a:pt x="308" y="1480"/>
                      </a:lnTo>
                      <a:lnTo>
                        <a:pt x="308" y="1480"/>
                      </a:lnTo>
                      <a:lnTo>
                        <a:pt x="324" y="1478"/>
                      </a:lnTo>
                      <a:lnTo>
                        <a:pt x="338" y="1474"/>
                      </a:lnTo>
                      <a:lnTo>
                        <a:pt x="350" y="1466"/>
                      </a:lnTo>
                      <a:lnTo>
                        <a:pt x="360" y="1456"/>
                      </a:lnTo>
                      <a:lnTo>
                        <a:pt x="368" y="1444"/>
                      </a:lnTo>
                      <a:lnTo>
                        <a:pt x="374" y="1430"/>
                      </a:lnTo>
                      <a:lnTo>
                        <a:pt x="376" y="1416"/>
                      </a:lnTo>
                      <a:lnTo>
                        <a:pt x="376" y="1402"/>
                      </a:lnTo>
                      <a:lnTo>
                        <a:pt x="376" y="1402"/>
                      </a:lnTo>
                      <a:lnTo>
                        <a:pt x="378" y="1274"/>
                      </a:lnTo>
                      <a:lnTo>
                        <a:pt x="376" y="1148"/>
                      </a:lnTo>
                      <a:lnTo>
                        <a:pt x="376" y="1020"/>
                      </a:lnTo>
                      <a:lnTo>
                        <a:pt x="378" y="894"/>
                      </a:lnTo>
                      <a:lnTo>
                        <a:pt x="378" y="894"/>
                      </a:lnTo>
                      <a:lnTo>
                        <a:pt x="418" y="894"/>
                      </a:lnTo>
                      <a:lnTo>
                        <a:pt x="418" y="894"/>
                      </a:lnTo>
                      <a:lnTo>
                        <a:pt x="420" y="1026"/>
                      </a:lnTo>
                      <a:lnTo>
                        <a:pt x="420" y="1158"/>
                      </a:lnTo>
                      <a:lnTo>
                        <a:pt x="420" y="1288"/>
                      </a:lnTo>
                      <a:lnTo>
                        <a:pt x="422" y="1420"/>
                      </a:lnTo>
                      <a:lnTo>
                        <a:pt x="422" y="1420"/>
                      </a:lnTo>
                      <a:lnTo>
                        <a:pt x="424" y="1434"/>
                      </a:lnTo>
                      <a:lnTo>
                        <a:pt x="428" y="1446"/>
                      </a:lnTo>
                      <a:lnTo>
                        <a:pt x="436" y="1456"/>
                      </a:lnTo>
                      <a:lnTo>
                        <a:pt x="444" y="1464"/>
                      </a:lnTo>
                      <a:lnTo>
                        <a:pt x="454" y="1470"/>
                      </a:lnTo>
                      <a:lnTo>
                        <a:pt x="464" y="1474"/>
                      </a:lnTo>
                      <a:lnTo>
                        <a:pt x="476" y="1478"/>
                      </a:lnTo>
                      <a:lnTo>
                        <a:pt x="488" y="1478"/>
                      </a:lnTo>
                      <a:lnTo>
                        <a:pt x="498" y="1476"/>
                      </a:lnTo>
                      <a:lnTo>
                        <a:pt x="510" y="1474"/>
                      </a:lnTo>
                      <a:lnTo>
                        <a:pt x="520" y="1470"/>
                      </a:lnTo>
                      <a:lnTo>
                        <a:pt x="530" y="1464"/>
                      </a:lnTo>
                      <a:lnTo>
                        <a:pt x="540" y="1454"/>
                      </a:lnTo>
                      <a:lnTo>
                        <a:pt x="546" y="1444"/>
                      </a:lnTo>
                      <a:lnTo>
                        <a:pt x="550" y="1434"/>
                      </a:lnTo>
                      <a:lnTo>
                        <a:pt x="554" y="1420"/>
                      </a:lnTo>
                      <a:lnTo>
                        <a:pt x="554" y="1420"/>
                      </a:lnTo>
                      <a:lnTo>
                        <a:pt x="556" y="1288"/>
                      </a:lnTo>
                      <a:lnTo>
                        <a:pt x="556" y="1158"/>
                      </a:lnTo>
                      <a:lnTo>
                        <a:pt x="554" y="1026"/>
                      </a:lnTo>
                      <a:lnTo>
                        <a:pt x="556" y="894"/>
                      </a:lnTo>
                      <a:lnTo>
                        <a:pt x="556" y="894"/>
                      </a:lnTo>
                      <a:lnTo>
                        <a:pt x="732" y="894"/>
                      </a:lnTo>
                      <a:lnTo>
                        <a:pt x="732" y="894"/>
                      </a:lnTo>
                      <a:lnTo>
                        <a:pt x="688" y="720"/>
                      </a:lnTo>
                      <a:lnTo>
                        <a:pt x="644" y="548"/>
                      </a:lnTo>
                      <a:lnTo>
                        <a:pt x="600" y="376"/>
                      </a:lnTo>
                      <a:lnTo>
                        <a:pt x="556" y="202"/>
                      </a:lnTo>
                      <a:lnTo>
                        <a:pt x="556" y="202"/>
                      </a:lnTo>
                      <a:lnTo>
                        <a:pt x="584" y="220"/>
                      </a:lnTo>
                      <a:lnTo>
                        <a:pt x="584" y="220"/>
                      </a:lnTo>
                      <a:lnTo>
                        <a:pt x="598" y="266"/>
                      </a:lnTo>
                      <a:lnTo>
                        <a:pt x="614" y="314"/>
                      </a:lnTo>
                      <a:lnTo>
                        <a:pt x="640" y="408"/>
                      </a:lnTo>
                      <a:lnTo>
                        <a:pt x="666" y="504"/>
                      </a:lnTo>
                      <a:lnTo>
                        <a:pt x="680" y="550"/>
                      </a:lnTo>
                      <a:lnTo>
                        <a:pt x="696" y="598"/>
                      </a:lnTo>
                      <a:lnTo>
                        <a:pt x="696" y="598"/>
                      </a:lnTo>
                      <a:lnTo>
                        <a:pt x="700" y="608"/>
                      </a:lnTo>
                      <a:lnTo>
                        <a:pt x="704" y="616"/>
                      </a:lnTo>
                      <a:lnTo>
                        <a:pt x="712" y="622"/>
                      </a:lnTo>
                      <a:lnTo>
                        <a:pt x="720" y="628"/>
                      </a:lnTo>
                      <a:lnTo>
                        <a:pt x="728" y="632"/>
                      </a:lnTo>
                      <a:lnTo>
                        <a:pt x="738" y="636"/>
                      </a:lnTo>
                      <a:lnTo>
                        <a:pt x="748" y="638"/>
                      </a:lnTo>
                      <a:lnTo>
                        <a:pt x="758" y="638"/>
                      </a:lnTo>
                      <a:lnTo>
                        <a:pt x="768" y="636"/>
                      </a:lnTo>
                      <a:lnTo>
                        <a:pt x="778" y="634"/>
                      </a:lnTo>
                      <a:lnTo>
                        <a:pt x="788" y="630"/>
                      </a:lnTo>
                      <a:lnTo>
                        <a:pt x="796" y="624"/>
                      </a:lnTo>
                      <a:lnTo>
                        <a:pt x="802" y="618"/>
                      </a:lnTo>
                      <a:lnTo>
                        <a:pt x="808" y="608"/>
                      </a:lnTo>
                      <a:lnTo>
                        <a:pt x="810" y="600"/>
                      </a:lnTo>
                      <a:lnTo>
                        <a:pt x="812" y="588"/>
                      </a:lnTo>
                      <a:lnTo>
                        <a:pt x="812" y="588"/>
                      </a:lnTo>
                      <a:lnTo>
                        <a:pt x="808" y="552"/>
                      </a:lnTo>
                      <a:lnTo>
                        <a:pt x="800" y="518"/>
                      </a:lnTo>
                      <a:lnTo>
                        <a:pt x="792" y="482"/>
                      </a:lnTo>
                      <a:lnTo>
                        <a:pt x="782" y="448"/>
                      </a:lnTo>
                      <a:lnTo>
                        <a:pt x="760" y="380"/>
                      </a:lnTo>
                      <a:lnTo>
                        <a:pt x="740" y="310"/>
                      </a:lnTo>
                      <a:lnTo>
                        <a:pt x="740" y="310"/>
                      </a:lnTo>
                      <a:lnTo>
                        <a:pt x="730" y="276"/>
                      </a:lnTo>
                      <a:lnTo>
                        <a:pt x="720" y="242"/>
                      </a:lnTo>
                      <a:lnTo>
                        <a:pt x="702" y="174"/>
                      </a:lnTo>
                      <a:lnTo>
                        <a:pt x="690" y="142"/>
                      </a:lnTo>
                      <a:lnTo>
                        <a:pt x="678" y="110"/>
                      </a:lnTo>
                      <a:lnTo>
                        <a:pt x="660" y="78"/>
                      </a:lnTo>
                      <a:lnTo>
                        <a:pt x="650"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grpSp>
      <p:sp>
        <p:nvSpPr>
          <p:cNvPr id="77" name="Freeform 16"/>
          <p:cNvSpPr>
            <a:spLocks noEditPoints="1"/>
          </p:cNvSpPr>
          <p:nvPr/>
        </p:nvSpPr>
        <p:spPr bwMode="auto">
          <a:xfrm>
            <a:off x="7044576" y="226957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78" name="Freeform 16"/>
          <p:cNvSpPr>
            <a:spLocks noEditPoints="1"/>
          </p:cNvSpPr>
          <p:nvPr/>
        </p:nvSpPr>
        <p:spPr bwMode="auto">
          <a:xfrm>
            <a:off x="7202957" y="218685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79" name="Freeform 16"/>
          <p:cNvSpPr>
            <a:spLocks noEditPoints="1"/>
          </p:cNvSpPr>
          <p:nvPr/>
        </p:nvSpPr>
        <p:spPr bwMode="auto">
          <a:xfrm>
            <a:off x="6871627" y="218685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80" name="Freeform 16"/>
          <p:cNvSpPr>
            <a:spLocks noEditPoints="1"/>
          </p:cNvSpPr>
          <p:nvPr/>
        </p:nvSpPr>
        <p:spPr bwMode="auto">
          <a:xfrm>
            <a:off x="6703528" y="226957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81" name="Freeform 16"/>
          <p:cNvSpPr>
            <a:spLocks noEditPoints="1"/>
          </p:cNvSpPr>
          <p:nvPr/>
        </p:nvSpPr>
        <p:spPr bwMode="auto">
          <a:xfrm>
            <a:off x="6509163" y="218685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82" name="Freeform 16"/>
          <p:cNvSpPr>
            <a:spLocks noEditPoints="1"/>
          </p:cNvSpPr>
          <p:nvPr/>
        </p:nvSpPr>
        <p:spPr bwMode="auto">
          <a:xfrm>
            <a:off x="6438914" y="2560401"/>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83" name="Freeform 16"/>
          <p:cNvSpPr>
            <a:spLocks noEditPoints="1"/>
          </p:cNvSpPr>
          <p:nvPr/>
        </p:nvSpPr>
        <p:spPr bwMode="auto">
          <a:xfrm>
            <a:off x="7273206" y="2560401"/>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tx2">
              <a:lumMod val="50000"/>
              <a:lumOff val="50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grpSp>
        <p:nvGrpSpPr>
          <p:cNvPr id="84" name="Group 83"/>
          <p:cNvGrpSpPr/>
          <p:nvPr/>
        </p:nvGrpSpPr>
        <p:grpSpPr>
          <a:xfrm>
            <a:off x="7697675" y="2191111"/>
            <a:ext cx="1176336" cy="1443308"/>
            <a:chOff x="3946335" y="1357770"/>
            <a:chExt cx="1176336" cy="1443308"/>
          </a:xfrm>
        </p:grpSpPr>
        <p:sp>
          <p:nvSpPr>
            <p:cNvPr id="85" name="Text Placeholder 1"/>
            <p:cNvSpPr txBox="1">
              <a:spLocks/>
            </p:cNvSpPr>
            <p:nvPr/>
          </p:nvSpPr>
          <p:spPr>
            <a:xfrm>
              <a:off x="3946335" y="2124862"/>
              <a:ext cx="1176336" cy="676216"/>
            </a:xfrm>
            <a:prstGeom prst="rect">
              <a:avLst/>
            </a:prstGeom>
          </p:spPr>
          <p:txBody>
            <a:bodyPr lIns="91420" tIns="45710" rIns="91420" bIns="45710">
              <a:noAutofit/>
            </a:bodyPr>
            <a:lstStyle>
              <a:lvl1pPr marL="228600" indent="-228600" algn="l" defTabSz="684213" rtl="0" eaLnBrk="1" fontAlgn="base" hangingPunct="1">
                <a:lnSpc>
                  <a:spcPts val="4440"/>
                </a:lnSpc>
                <a:spcBef>
                  <a:spcPts val="0"/>
                </a:spcBef>
                <a:spcAft>
                  <a:spcPct val="0"/>
                </a:spcAft>
                <a:buClr>
                  <a:schemeClr val="tx1"/>
                </a:buClr>
                <a:buSzPct val="80000"/>
                <a:buFont typeface="Arial"/>
                <a:buChar char="•"/>
                <a:defRPr lang="en-US" sz="2400" b="0" i="0" kern="1200">
                  <a:solidFill>
                    <a:schemeClr val="tx1"/>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buClr>
                  <a:srgbClr val="435153"/>
                </a:buClr>
                <a:buFont typeface="Arial"/>
                <a:buNone/>
              </a:pPr>
              <a:r>
                <a:rPr dirty="0" smtClean="0">
                  <a:solidFill>
                    <a:srgbClr val="435153"/>
                  </a:solidFill>
                  <a:latin typeface="Ciscolight"/>
                </a:rPr>
                <a:t>690</a:t>
              </a:r>
              <a:endParaRPr dirty="0">
                <a:solidFill>
                  <a:srgbClr val="435153"/>
                </a:solidFill>
                <a:latin typeface="Ciscolight"/>
              </a:endParaRPr>
            </a:p>
          </p:txBody>
        </p:sp>
        <p:grpSp>
          <p:nvGrpSpPr>
            <p:cNvPr id="86" name="Group 85"/>
            <p:cNvGrpSpPr>
              <a:grpSpLocks noChangeAspect="1"/>
            </p:cNvGrpSpPr>
            <p:nvPr/>
          </p:nvGrpSpPr>
          <p:grpSpPr>
            <a:xfrm>
              <a:off x="4227573" y="1737322"/>
              <a:ext cx="636467" cy="495700"/>
              <a:chOff x="12666663" y="4721225"/>
              <a:chExt cx="5699125" cy="4438650"/>
            </a:xfrm>
            <a:solidFill>
              <a:schemeClr val="accent6">
                <a:lumMod val="75000"/>
              </a:schemeClr>
            </a:solidFill>
          </p:grpSpPr>
          <p:grpSp>
            <p:nvGrpSpPr>
              <p:cNvPr id="94" name="Group 93"/>
              <p:cNvGrpSpPr/>
              <p:nvPr/>
            </p:nvGrpSpPr>
            <p:grpSpPr>
              <a:xfrm>
                <a:off x="16051213" y="5292725"/>
                <a:ext cx="1289050" cy="2889250"/>
                <a:chOff x="16051213" y="5292725"/>
                <a:chExt cx="1289050" cy="2889250"/>
              </a:xfrm>
              <a:grpFill/>
            </p:grpSpPr>
            <p:sp>
              <p:nvSpPr>
                <p:cNvPr id="110" name="Freeform 13"/>
                <p:cNvSpPr>
                  <a:spLocks/>
                </p:cNvSpPr>
                <p:nvPr/>
              </p:nvSpPr>
              <p:spPr bwMode="auto">
                <a:xfrm>
                  <a:off x="16457613" y="5292725"/>
                  <a:ext cx="473075" cy="466725"/>
                </a:xfrm>
                <a:custGeom>
                  <a:avLst/>
                  <a:gdLst>
                    <a:gd name="T0" fmla="*/ 120 w 298"/>
                    <a:gd name="T1" fmla="*/ 4 h 294"/>
                    <a:gd name="T2" fmla="*/ 120 w 298"/>
                    <a:gd name="T3" fmla="*/ 4 h 294"/>
                    <a:gd name="T4" fmla="*/ 138 w 298"/>
                    <a:gd name="T5" fmla="*/ 0 h 294"/>
                    <a:gd name="T6" fmla="*/ 156 w 298"/>
                    <a:gd name="T7" fmla="*/ 0 h 294"/>
                    <a:gd name="T8" fmla="*/ 174 w 298"/>
                    <a:gd name="T9" fmla="*/ 2 h 294"/>
                    <a:gd name="T10" fmla="*/ 190 w 298"/>
                    <a:gd name="T11" fmla="*/ 8 h 294"/>
                    <a:gd name="T12" fmla="*/ 208 w 298"/>
                    <a:gd name="T13" fmla="*/ 14 h 294"/>
                    <a:gd name="T14" fmla="*/ 222 w 298"/>
                    <a:gd name="T15" fmla="*/ 22 h 294"/>
                    <a:gd name="T16" fmla="*/ 238 w 298"/>
                    <a:gd name="T17" fmla="*/ 32 h 294"/>
                    <a:gd name="T18" fmla="*/ 252 w 298"/>
                    <a:gd name="T19" fmla="*/ 44 h 294"/>
                    <a:gd name="T20" fmla="*/ 264 w 298"/>
                    <a:gd name="T21" fmla="*/ 56 h 294"/>
                    <a:gd name="T22" fmla="*/ 274 w 298"/>
                    <a:gd name="T23" fmla="*/ 70 h 294"/>
                    <a:gd name="T24" fmla="*/ 284 w 298"/>
                    <a:gd name="T25" fmla="*/ 86 h 294"/>
                    <a:gd name="T26" fmla="*/ 290 w 298"/>
                    <a:gd name="T27" fmla="*/ 102 h 294"/>
                    <a:gd name="T28" fmla="*/ 296 w 298"/>
                    <a:gd name="T29" fmla="*/ 118 h 294"/>
                    <a:gd name="T30" fmla="*/ 298 w 298"/>
                    <a:gd name="T31" fmla="*/ 136 h 294"/>
                    <a:gd name="T32" fmla="*/ 298 w 298"/>
                    <a:gd name="T33" fmla="*/ 154 h 294"/>
                    <a:gd name="T34" fmla="*/ 296 w 298"/>
                    <a:gd name="T35" fmla="*/ 172 h 294"/>
                    <a:gd name="T36" fmla="*/ 296 w 298"/>
                    <a:gd name="T37" fmla="*/ 172 h 294"/>
                    <a:gd name="T38" fmla="*/ 292 w 298"/>
                    <a:gd name="T39" fmla="*/ 196 h 294"/>
                    <a:gd name="T40" fmla="*/ 284 w 298"/>
                    <a:gd name="T41" fmla="*/ 216 h 294"/>
                    <a:gd name="T42" fmla="*/ 274 w 298"/>
                    <a:gd name="T43" fmla="*/ 234 h 294"/>
                    <a:gd name="T44" fmla="*/ 260 w 298"/>
                    <a:gd name="T45" fmla="*/ 250 h 294"/>
                    <a:gd name="T46" fmla="*/ 244 w 298"/>
                    <a:gd name="T47" fmla="*/ 264 h 294"/>
                    <a:gd name="T48" fmla="*/ 226 w 298"/>
                    <a:gd name="T49" fmla="*/ 276 h 294"/>
                    <a:gd name="T50" fmla="*/ 206 w 298"/>
                    <a:gd name="T51" fmla="*/ 284 h 294"/>
                    <a:gd name="T52" fmla="*/ 186 w 298"/>
                    <a:gd name="T53" fmla="*/ 290 h 294"/>
                    <a:gd name="T54" fmla="*/ 164 w 298"/>
                    <a:gd name="T55" fmla="*/ 294 h 294"/>
                    <a:gd name="T56" fmla="*/ 142 w 298"/>
                    <a:gd name="T57" fmla="*/ 294 h 294"/>
                    <a:gd name="T58" fmla="*/ 120 w 298"/>
                    <a:gd name="T59" fmla="*/ 292 h 294"/>
                    <a:gd name="T60" fmla="*/ 100 w 298"/>
                    <a:gd name="T61" fmla="*/ 288 h 294"/>
                    <a:gd name="T62" fmla="*/ 80 w 298"/>
                    <a:gd name="T63" fmla="*/ 280 h 294"/>
                    <a:gd name="T64" fmla="*/ 60 w 298"/>
                    <a:gd name="T65" fmla="*/ 268 h 294"/>
                    <a:gd name="T66" fmla="*/ 44 w 298"/>
                    <a:gd name="T67" fmla="*/ 254 h 294"/>
                    <a:gd name="T68" fmla="*/ 30 w 298"/>
                    <a:gd name="T69" fmla="*/ 236 h 294"/>
                    <a:gd name="T70" fmla="*/ 30 w 298"/>
                    <a:gd name="T71" fmla="*/ 236 h 294"/>
                    <a:gd name="T72" fmla="*/ 18 w 298"/>
                    <a:gd name="T73" fmla="*/ 222 h 294"/>
                    <a:gd name="T74" fmla="*/ 10 w 298"/>
                    <a:gd name="T75" fmla="*/ 204 h 294"/>
                    <a:gd name="T76" fmla="*/ 4 w 298"/>
                    <a:gd name="T77" fmla="*/ 186 h 294"/>
                    <a:gd name="T78" fmla="*/ 0 w 298"/>
                    <a:gd name="T79" fmla="*/ 168 h 294"/>
                    <a:gd name="T80" fmla="*/ 0 w 298"/>
                    <a:gd name="T81" fmla="*/ 150 h 294"/>
                    <a:gd name="T82" fmla="*/ 2 w 298"/>
                    <a:gd name="T83" fmla="*/ 132 h 294"/>
                    <a:gd name="T84" fmla="*/ 6 w 298"/>
                    <a:gd name="T85" fmla="*/ 114 h 294"/>
                    <a:gd name="T86" fmla="*/ 12 w 298"/>
                    <a:gd name="T87" fmla="*/ 98 h 294"/>
                    <a:gd name="T88" fmla="*/ 20 w 298"/>
                    <a:gd name="T89" fmla="*/ 80 h 294"/>
                    <a:gd name="T90" fmla="*/ 30 w 298"/>
                    <a:gd name="T91" fmla="*/ 66 h 294"/>
                    <a:gd name="T92" fmla="*/ 40 w 298"/>
                    <a:gd name="T93" fmla="*/ 50 h 294"/>
                    <a:gd name="T94" fmla="*/ 54 w 298"/>
                    <a:gd name="T95" fmla="*/ 38 h 294"/>
                    <a:gd name="T96" fmla="*/ 68 w 298"/>
                    <a:gd name="T97" fmla="*/ 26 h 294"/>
                    <a:gd name="T98" fmla="*/ 84 w 298"/>
                    <a:gd name="T99" fmla="*/ 16 h 294"/>
                    <a:gd name="T100" fmla="*/ 102 w 298"/>
                    <a:gd name="T101" fmla="*/ 8 h 294"/>
                    <a:gd name="T102" fmla="*/ 120 w 298"/>
                    <a:gd name="T103" fmla="*/ 4 h 294"/>
                    <a:gd name="T104" fmla="*/ 120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20" y="4"/>
                      </a:moveTo>
                      <a:lnTo>
                        <a:pt x="120" y="4"/>
                      </a:lnTo>
                      <a:lnTo>
                        <a:pt x="138" y="0"/>
                      </a:lnTo>
                      <a:lnTo>
                        <a:pt x="156" y="0"/>
                      </a:lnTo>
                      <a:lnTo>
                        <a:pt x="174" y="2"/>
                      </a:lnTo>
                      <a:lnTo>
                        <a:pt x="190" y="8"/>
                      </a:lnTo>
                      <a:lnTo>
                        <a:pt x="208" y="14"/>
                      </a:lnTo>
                      <a:lnTo>
                        <a:pt x="222" y="22"/>
                      </a:lnTo>
                      <a:lnTo>
                        <a:pt x="238" y="32"/>
                      </a:lnTo>
                      <a:lnTo>
                        <a:pt x="252" y="44"/>
                      </a:lnTo>
                      <a:lnTo>
                        <a:pt x="264" y="56"/>
                      </a:lnTo>
                      <a:lnTo>
                        <a:pt x="274" y="70"/>
                      </a:lnTo>
                      <a:lnTo>
                        <a:pt x="284" y="86"/>
                      </a:lnTo>
                      <a:lnTo>
                        <a:pt x="290" y="102"/>
                      </a:lnTo>
                      <a:lnTo>
                        <a:pt x="296" y="118"/>
                      </a:lnTo>
                      <a:lnTo>
                        <a:pt x="298" y="136"/>
                      </a:lnTo>
                      <a:lnTo>
                        <a:pt x="298" y="154"/>
                      </a:lnTo>
                      <a:lnTo>
                        <a:pt x="296" y="172"/>
                      </a:lnTo>
                      <a:lnTo>
                        <a:pt x="296" y="172"/>
                      </a:lnTo>
                      <a:lnTo>
                        <a:pt x="292" y="196"/>
                      </a:lnTo>
                      <a:lnTo>
                        <a:pt x="284" y="216"/>
                      </a:lnTo>
                      <a:lnTo>
                        <a:pt x="274" y="234"/>
                      </a:lnTo>
                      <a:lnTo>
                        <a:pt x="260" y="250"/>
                      </a:lnTo>
                      <a:lnTo>
                        <a:pt x="244" y="264"/>
                      </a:lnTo>
                      <a:lnTo>
                        <a:pt x="226" y="276"/>
                      </a:lnTo>
                      <a:lnTo>
                        <a:pt x="206" y="284"/>
                      </a:lnTo>
                      <a:lnTo>
                        <a:pt x="186" y="290"/>
                      </a:lnTo>
                      <a:lnTo>
                        <a:pt x="164" y="294"/>
                      </a:lnTo>
                      <a:lnTo>
                        <a:pt x="142" y="294"/>
                      </a:lnTo>
                      <a:lnTo>
                        <a:pt x="120" y="292"/>
                      </a:lnTo>
                      <a:lnTo>
                        <a:pt x="100" y="288"/>
                      </a:lnTo>
                      <a:lnTo>
                        <a:pt x="80" y="280"/>
                      </a:lnTo>
                      <a:lnTo>
                        <a:pt x="60" y="268"/>
                      </a:lnTo>
                      <a:lnTo>
                        <a:pt x="44" y="254"/>
                      </a:lnTo>
                      <a:lnTo>
                        <a:pt x="30" y="236"/>
                      </a:lnTo>
                      <a:lnTo>
                        <a:pt x="30" y="236"/>
                      </a:lnTo>
                      <a:lnTo>
                        <a:pt x="18" y="222"/>
                      </a:lnTo>
                      <a:lnTo>
                        <a:pt x="10" y="204"/>
                      </a:lnTo>
                      <a:lnTo>
                        <a:pt x="4" y="186"/>
                      </a:lnTo>
                      <a:lnTo>
                        <a:pt x="0" y="168"/>
                      </a:lnTo>
                      <a:lnTo>
                        <a:pt x="0" y="150"/>
                      </a:lnTo>
                      <a:lnTo>
                        <a:pt x="2" y="132"/>
                      </a:lnTo>
                      <a:lnTo>
                        <a:pt x="6" y="114"/>
                      </a:lnTo>
                      <a:lnTo>
                        <a:pt x="12" y="98"/>
                      </a:lnTo>
                      <a:lnTo>
                        <a:pt x="20" y="80"/>
                      </a:lnTo>
                      <a:lnTo>
                        <a:pt x="30" y="66"/>
                      </a:lnTo>
                      <a:lnTo>
                        <a:pt x="40" y="50"/>
                      </a:lnTo>
                      <a:lnTo>
                        <a:pt x="54" y="38"/>
                      </a:lnTo>
                      <a:lnTo>
                        <a:pt x="68" y="26"/>
                      </a:lnTo>
                      <a:lnTo>
                        <a:pt x="84" y="16"/>
                      </a:lnTo>
                      <a:lnTo>
                        <a:pt x="102" y="8"/>
                      </a:lnTo>
                      <a:lnTo>
                        <a:pt x="120" y="4"/>
                      </a:lnTo>
                      <a:lnTo>
                        <a:pt x="1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111" name="Freeform 14"/>
                <p:cNvSpPr>
                  <a:spLocks/>
                </p:cNvSpPr>
                <p:nvPr/>
              </p:nvSpPr>
              <p:spPr bwMode="auto">
                <a:xfrm>
                  <a:off x="16051213" y="5835650"/>
                  <a:ext cx="1289050" cy="2346325"/>
                </a:xfrm>
                <a:custGeom>
                  <a:avLst/>
                  <a:gdLst>
                    <a:gd name="T0" fmla="*/ 186 w 812"/>
                    <a:gd name="T1" fmla="*/ 38 h 1478"/>
                    <a:gd name="T2" fmla="*/ 234 w 812"/>
                    <a:gd name="T3" fmla="*/ 12 h 1478"/>
                    <a:gd name="T4" fmla="*/ 304 w 812"/>
                    <a:gd name="T5" fmla="*/ 0 h 1478"/>
                    <a:gd name="T6" fmla="*/ 412 w 812"/>
                    <a:gd name="T7" fmla="*/ 2 h 1478"/>
                    <a:gd name="T8" fmla="*/ 476 w 812"/>
                    <a:gd name="T9" fmla="*/ 0 h 1478"/>
                    <a:gd name="T10" fmla="*/ 564 w 812"/>
                    <a:gd name="T11" fmla="*/ 10 h 1478"/>
                    <a:gd name="T12" fmla="*/ 616 w 812"/>
                    <a:gd name="T13" fmla="*/ 34 h 1478"/>
                    <a:gd name="T14" fmla="*/ 648 w 812"/>
                    <a:gd name="T15" fmla="*/ 62 h 1478"/>
                    <a:gd name="T16" fmla="*/ 676 w 812"/>
                    <a:gd name="T17" fmla="*/ 110 h 1478"/>
                    <a:gd name="T18" fmla="*/ 716 w 812"/>
                    <a:gd name="T19" fmla="*/ 220 h 1478"/>
                    <a:gd name="T20" fmla="*/ 760 w 812"/>
                    <a:gd name="T21" fmla="*/ 370 h 1478"/>
                    <a:gd name="T22" fmla="*/ 780 w 812"/>
                    <a:gd name="T23" fmla="*/ 434 h 1478"/>
                    <a:gd name="T24" fmla="*/ 806 w 812"/>
                    <a:gd name="T25" fmla="*/ 528 h 1478"/>
                    <a:gd name="T26" fmla="*/ 810 w 812"/>
                    <a:gd name="T27" fmla="*/ 610 h 1478"/>
                    <a:gd name="T28" fmla="*/ 792 w 812"/>
                    <a:gd name="T29" fmla="*/ 630 h 1478"/>
                    <a:gd name="T30" fmla="*/ 746 w 812"/>
                    <a:gd name="T31" fmla="*/ 632 h 1478"/>
                    <a:gd name="T32" fmla="*/ 708 w 812"/>
                    <a:gd name="T33" fmla="*/ 610 h 1478"/>
                    <a:gd name="T34" fmla="*/ 670 w 812"/>
                    <a:gd name="T35" fmla="*/ 506 h 1478"/>
                    <a:gd name="T36" fmla="*/ 586 w 812"/>
                    <a:gd name="T37" fmla="*/ 234 h 1478"/>
                    <a:gd name="T38" fmla="*/ 580 w 812"/>
                    <a:gd name="T39" fmla="*/ 220 h 1478"/>
                    <a:gd name="T40" fmla="*/ 550 w 812"/>
                    <a:gd name="T41" fmla="*/ 188 h 1478"/>
                    <a:gd name="T42" fmla="*/ 644 w 812"/>
                    <a:gd name="T43" fmla="*/ 542 h 1478"/>
                    <a:gd name="T44" fmla="*/ 748 w 812"/>
                    <a:gd name="T45" fmla="*/ 892 h 1478"/>
                    <a:gd name="T46" fmla="*/ 570 w 812"/>
                    <a:gd name="T47" fmla="*/ 1020 h 1478"/>
                    <a:gd name="T48" fmla="*/ 570 w 812"/>
                    <a:gd name="T49" fmla="*/ 1398 h 1478"/>
                    <a:gd name="T50" fmla="*/ 566 w 812"/>
                    <a:gd name="T51" fmla="*/ 1426 h 1478"/>
                    <a:gd name="T52" fmla="*/ 542 w 812"/>
                    <a:gd name="T53" fmla="*/ 1464 h 1478"/>
                    <a:gd name="T54" fmla="*/ 502 w 812"/>
                    <a:gd name="T55" fmla="*/ 1478 h 1478"/>
                    <a:gd name="T56" fmla="*/ 474 w 812"/>
                    <a:gd name="T57" fmla="*/ 1472 h 1478"/>
                    <a:gd name="T58" fmla="*/ 444 w 812"/>
                    <a:gd name="T59" fmla="*/ 1442 h 1478"/>
                    <a:gd name="T60" fmla="*/ 436 w 812"/>
                    <a:gd name="T61" fmla="*/ 1400 h 1478"/>
                    <a:gd name="T62" fmla="*/ 436 w 812"/>
                    <a:gd name="T63" fmla="*/ 1146 h 1478"/>
                    <a:gd name="T64" fmla="*/ 434 w 812"/>
                    <a:gd name="T65" fmla="*/ 892 h 1478"/>
                    <a:gd name="T66" fmla="*/ 392 w 812"/>
                    <a:gd name="T67" fmla="*/ 1024 h 1478"/>
                    <a:gd name="T68" fmla="*/ 390 w 812"/>
                    <a:gd name="T69" fmla="*/ 1418 h 1478"/>
                    <a:gd name="T70" fmla="*/ 382 w 812"/>
                    <a:gd name="T71" fmla="*/ 1444 h 1478"/>
                    <a:gd name="T72" fmla="*/ 358 w 812"/>
                    <a:gd name="T73" fmla="*/ 1468 h 1478"/>
                    <a:gd name="T74" fmla="*/ 324 w 812"/>
                    <a:gd name="T75" fmla="*/ 1476 h 1478"/>
                    <a:gd name="T76" fmla="*/ 290 w 812"/>
                    <a:gd name="T77" fmla="*/ 1468 h 1478"/>
                    <a:gd name="T78" fmla="*/ 266 w 812"/>
                    <a:gd name="T79" fmla="*/ 1444 h 1478"/>
                    <a:gd name="T80" fmla="*/ 258 w 812"/>
                    <a:gd name="T81" fmla="*/ 1418 h 1478"/>
                    <a:gd name="T82" fmla="*/ 256 w 812"/>
                    <a:gd name="T83" fmla="*/ 1024 h 1478"/>
                    <a:gd name="T84" fmla="*/ 80 w 812"/>
                    <a:gd name="T85" fmla="*/ 892 h 1478"/>
                    <a:gd name="T86" fmla="*/ 168 w 812"/>
                    <a:gd name="T87" fmla="*/ 546 h 1478"/>
                    <a:gd name="T88" fmla="*/ 254 w 812"/>
                    <a:gd name="T89" fmla="*/ 200 h 1478"/>
                    <a:gd name="T90" fmla="*/ 212 w 812"/>
                    <a:gd name="T91" fmla="*/ 264 h 1478"/>
                    <a:gd name="T92" fmla="*/ 146 w 812"/>
                    <a:gd name="T93" fmla="*/ 502 h 1478"/>
                    <a:gd name="T94" fmla="*/ 116 w 812"/>
                    <a:gd name="T95" fmla="*/ 596 h 1478"/>
                    <a:gd name="T96" fmla="*/ 100 w 812"/>
                    <a:gd name="T97" fmla="*/ 622 h 1478"/>
                    <a:gd name="T98" fmla="*/ 74 w 812"/>
                    <a:gd name="T99" fmla="*/ 634 h 1478"/>
                    <a:gd name="T100" fmla="*/ 44 w 812"/>
                    <a:gd name="T101" fmla="*/ 634 h 1478"/>
                    <a:gd name="T102" fmla="*/ 16 w 812"/>
                    <a:gd name="T103" fmla="*/ 622 h 1478"/>
                    <a:gd name="T104" fmla="*/ 2 w 812"/>
                    <a:gd name="T105" fmla="*/ 598 h 1478"/>
                    <a:gd name="T106" fmla="*/ 4 w 812"/>
                    <a:gd name="T107" fmla="*/ 552 h 1478"/>
                    <a:gd name="T108" fmla="*/ 30 w 812"/>
                    <a:gd name="T109" fmla="*/ 446 h 1478"/>
                    <a:gd name="T110" fmla="*/ 72 w 812"/>
                    <a:gd name="T111" fmla="*/ 308 h 1478"/>
                    <a:gd name="T112" fmla="*/ 110 w 812"/>
                    <a:gd name="T113" fmla="*/ 174 h 1478"/>
                    <a:gd name="T114" fmla="*/ 152 w 812"/>
                    <a:gd name="T115" fmla="*/ 78 h 1478"/>
                    <a:gd name="T116" fmla="*/ 172 w 812"/>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78">
                      <a:moveTo>
                        <a:pt x="172" y="50"/>
                      </a:moveTo>
                      <a:lnTo>
                        <a:pt x="172" y="50"/>
                      </a:lnTo>
                      <a:lnTo>
                        <a:pt x="186" y="38"/>
                      </a:lnTo>
                      <a:lnTo>
                        <a:pt x="202" y="28"/>
                      </a:lnTo>
                      <a:lnTo>
                        <a:pt x="218" y="20"/>
                      </a:lnTo>
                      <a:lnTo>
                        <a:pt x="234" y="12"/>
                      </a:lnTo>
                      <a:lnTo>
                        <a:pt x="250" y="8"/>
                      </a:lnTo>
                      <a:lnTo>
                        <a:pt x="268" y="4"/>
                      </a:lnTo>
                      <a:lnTo>
                        <a:pt x="304" y="0"/>
                      </a:lnTo>
                      <a:lnTo>
                        <a:pt x="340" y="0"/>
                      </a:lnTo>
                      <a:lnTo>
                        <a:pt x="376" y="0"/>
                      </a:lnTo>
                      <a:lnTo>
                        <a:pt x="412" y="2"/>
                      </a:lnTo>
                      <a:lnTo>
                        <a:pt x="446" y="0"/>
                      </a:lnTo>
                      <a:lnTo>
                        <a:pt x="446" y="0"/>
                      </a:lnTo>
                      <a:lnTo>
                        <a:pt x="476" y="0"/>
                      </a:lnTo>
                      <a:lnTo>
                        <a:pt x="506" y="0"/>
                      </a:lnTo>
                      <a:lnTo>
                        <a:pt x="536" y="4"/>
                      </a:lnTo>
                      <a:lnTo>
                        <a:pt x="564" y="10"/>
                      </a:lnTo>
                      <a:lnTo>
                        <a:pt x="592" y="20"/>
                      </a:lnTo>
                      <a:lnTo>
                        <a:pt x="604" y="26"/>
                      </a:lnTo>
                      <a:lnTo>
                        <a:pt x="616" y="34"/>
                      </a:lnTo>
                      <a:lnTo>
                        <a:pt x="628" y="42"/>
                      </a:lnTo>
                      <a:lnTo>
                        <a:pt x="640" y="52"/>
                      </a:lnTo>
                      <a:lnTo>
                        <a:pt x="648" y="62"/>
                      </a:lnTo>
                      <a:lnTo>
                        <a:pt x="658" y="76"/>
                      </a:lnTo>
                      <a:lnTo>
                        <a:pt x="658" y="76"/>
                      </a:lnTo>
                      <a:lnTo>
                        <a:pt x="676" y="110"/>
                      </a:lnTo>
                      <a:lnTo>
                        <a:pt x="692" y="146"/>
                      </a:lnTo>
                      <a:lnTo>
                        <a:pt x="704" y="182"/>
                      </a:lnTo>
                      <a:lnTo>
                        <a:pt x="716" y="220"/>
                      </a:lnTo>
                      <a:lnTo>
                        <a:pt x="738" y="296"/>
                      </a:lnTo>
                      <a:lnTo>
                        <a:pt x="748" y="334"/>
                      </a:lnTo>
                      <a:lnTo>
                        <a:pt x="760" y="370"/>
                      </a:lnTo>
                      <a:lnTo>
                        <a:pt x="760" y="370"/>
                      </a:lnTo>
                      <a:lnTo>
                        <a:pt x="770" y="402"/>
                      </a:lnTo>
                      <a:lnTo>
                        <a:pt x="780" y="434"/>
                      </a:lnTo>
                      <a:lnTo>
                        <a:pt x="790" y="464"/>
                      </a:lnTo>
                      <a:lnTo>
                        <a:pt x="798" y="496"/>
                      </a:lnTo>
                      <a:lnTo>
                        <a:pt x="806" y="528"/>
                      </a:lnTo>
                      <a:lnTo>
                        <a:pt x="810" y="560"/>
                      </a:lnTo>
                      <a:lnTo>
                        <a:pt x="812" y="594"/>
                      </a:lnTo>
                      <a:lnTo>
                        <a:pt x="810" y="610"/>
                      </a:lnTo>
                      <a:lnTo>
                        <a:pt x="806" y="626"/>
                      </a:lnTo>
                      <a:lnTo>
                        <a:pt x="806" y="626"/>
                      </a:lnTo>
                      <a:lnTo>
                        <a:pt x="792" y="630"/>
                      </a:lnTo>
                      <a:lnTo>
                        <a:pt x="776" y="634"/>
                      </a:lnTo>
                      <a:lnTo>
                        <a:pt x="760" y="634"/>
                      </a:lnTo>
                      <a:lnTo>
                        <a:pt x="746" y="632"/>
                      </a:lnTo>
                      <a:lnTo>
                        <a:pt x="732" y="628"/>
                      </a:lnTo>
                      <a:lnTo>
                        <a:pt x="720" y="620"/>
                      </a:lnTo>
                      <a:lnTo>
                        <a:pt x="708" y="610"/>
                      </a:lnTo>
                      <a:lnTo>
                        <a:pt x="700" y="596"/>
                      </a:lnTo>
                      <a:lnTo>
                        <a:pt x="700" y="596"/>
                      </a:lnTo>
                      <a:lnTo>
                        <a:pt x="670" y="506"/>
                      </a:lnTo>
                      <a:lnTo>
                        <a:pt x="642" y="416"/>
                      </a:lnTo>
                      <a:lnTo>
                        <a:pt x="614" y="324"/>
                      </a:lnTo>
                      <a:lnTo>
                        <a:pt x="586" y="234"/>
                      </a:lnTo>
                      <a:lnTo>
                        <a:pt x="586" y="234"/>
                      </a:lnTo>
                      <a:lnTo>
                        <a:pt x="584" y="228"/>
                      </a:lnTo>
                      <a:lnTo>
                        <a:pt x="580" y="220"/>
                      </a:lnTo>
                      <a:lnTo>
                        <a:pt x="570" y="208"/>
                      </a:lnTo>
                      <a:lnTo>
                        <a:pt x="550" y="188"/>
                      </a:lnTo>
                      <a:lnTo>
                        <a:pt x="550" y="188"/>
                      </a:lnTo>
                      <a:lnTo>
                        <a:pt x="570" y="278"/>
                      </a:lnTo>
                      <a:lnTo>
                        <a:pt x="594" y="366"/>
                      </a:lnTo>
                      <a:lnTo>
                        <a:pt x="644" y="542"/>
                      </a:lnTo>
                      <a:lnTo>
                        <a:pt x="696" y="716"/>
                      </a:lnTo>
                      <a:lnTo>
                        <a:pt x="748" y="892"/>
                      </a:lnTo>
                      <a:lnTo>
                        <a:pt x="748" y="892"/>
                      </a:lnTo>
                      <a:lnTo>
                        <a:pt x="572" y="892"/>
                      </a:lnTo>
                      <a:lnTo>
                        <a:pt x="572" y="892"/>
                      </a:lnTo>
                      <a:lnTo>
                        <a:pt x="570" y="1020"/>
                      </a:lnTo>
                      <a:lnTo>
                        <a:pt x="570" y="1146"/>
                      </a:lnTo>
                      <a:lnTo>
                        <a:pt x="572" y="1272"/>
                      </a:lnTo>
                      <a:lnTo>
                        <a:pt x="570" y="1398"/>
                      </a:lnTo>
                      <a:lnTo>
                        <a:pt x="570" y="1398"/>
                      </a:lnTo>
                      <a:lnTo>
                        <a:pt x="568" y="1412"/>
                      </a:lnTo>
                      <a:lnTo>
                        <a:pt x="566" y="1426"/>
                      </a:lnTo>
                      <a:lnTo>
                        <a:pt x="560" y="1440"/>
                      </a:lnTo>
                      <a:lnTo>
                        <a:pt x="552" y="1452"/>
                      </a:lnTo>
                      <a:lnTo>
                        <a:pt x="542" y="1464"/>
                      </a:lnTo>
                      <a:lnTo>
                        <a:pt x="532" y="1472"/>
                      </a:lnTo>
                      <a:lnTo>
                        <a:pt x="518" y="1476"/>
                      </a:lnTo>
                      <a:lnTo>
                        <a:pt x="502" y="1478"/>
                      </a:lnTo>
                      <a:lnTo>
                        <a:pt x="502" y="1478"/>
                      </a:lnTo>
                      <a:lnTo>
                        <a:pt x="488" y="1478"/>
                      </a:lnTo>
                      <a:lnTo>
                        <a:pt x="474" y="1472"/>
                      </a:lnTo>
                      <a:lnTo>
                        <a:pt x="462" y="1464"/>
                      </a:lnTo>
                      <a:lnTo>
                        <a:pt x="452" y="1454"/>
                      </a:lnTo>
                      <a:lnTo>
                        <a:pt x="444" y="1442"/>
                      </a:lnTo>
                      <a:lnTo>
                        <a:pt x="438" y="1430"/>
                      </a:lnTo>
                      <a:lnTo>
                        <a:pt x="436" y="1414"/>
                      </a:lnTo>
                      <a:lnTo>
                        <a:pt x="436" y="1400"/>
                      </a:lnTo>
                      <a:lnTo>
                        <a:pt x="436" y="1400"/>
                      </a:lnTo>
                      <a:lnTo>
                        <a:pt x="434" y="1274"/>
                      </a:lnTo>
                      <a:lnTo>
                        <a:pt x="436" y="1146"/>
                      </a:lnTo>
                      <a:lnTo>
                        <a:pt x="436" y="1020"/>
                      </a:lnTo>
                      <a:lnTo>
                        <a:pt x="434" y="892"/>
                      </a:lnTo>
                      <a:lnTo>
                        <a:pt x="434" y="892"/>
                      </a:lnTo>
                      <a:lnTo>
                        <a:pt x="392" y="894"/>
                      </a:lnTo>
                      <a:lnTo>
                        <a:pt x="392" y="894"/>
                      </a:lnTo>
                      <a:lnTo>
                        <a:pt x="392" y="1024"/>
                      </a:lnTo>
                      <a:lnTo>
                        <a:pt x="392" y="1156"/>
                      </a:lnTo>
                      <a:lnTo>
                        <a:pt x="392" y="1288"/>
                      </a:lnTo>
                      <a:lnTo>
                        <a:pt x="390" y="1418"/>
                      </a:lnTo>
                      <a:lnTo>
                        <a:pt x="390" y="1418"/>
                      </a:lnTo>
                      <a:lnTo>
                        <a:pt x="388" y="1432"/>
                      </a:lnTo>
                      <a:lnTo>
                        <a:pt x="382" y="1444"/>
                      </a:lnTo>
                      <a:lnTo>
                        <a:pt x="376" y="1454"/>
                      </a:lnTo>
                      <a:lnTo>
                        <a:pt x="368" y="1462"/>
                      </a:lnTo>
                      <a:lnTo>
                        <a:pt x="358" y="1468"/>
                      </a:lnTo>
                      <a:lnTo>
                        <a:pt x="348" y="1474"/>
                      </a:lnTo>
                      <a:lnTo>
                        <a:pt x="336" y="1476"/>
                      </a:lnTo>
                      <a:lnTo>
                        <a:pt x="324" y="1476"/>
                      </a:lnTo>
                      <a:lnTo>
                        <a:pt x="312" y="1476"/>
                      </a:lnTo>
                      <a:lnTo>
                        <a:pt x="302" y="1472"/>
                      </a:lnTo>
                      <a:lnTo>
                        <a:pt x="290" y="1468"/>
                      </a:lnTo>
                      <a:lnTo>
                        <a:pt x="282" y="1462"/>
                      </a:lnTo>
                      <a:lnTo>
                        <a:pt x="272" y="1454"/>
                      </a:lnTo>
                      <a:lnTo>
                        <a:pt x="266" y="1444"/>
                      </a:lnTo>
                      <a:lnTo>
                        <a:pt x="260" y="1432"/>
                      </a:lnTo>
                      <a:lnTo>
                        <a:pt x="258" y="1418"/>
                      </a:lnTo>
                      <a:lnTo>
                        <a:pt x="258" y="1418"/>
                      </a:lnTo>
                      <a:lnTo>
                        <a:pt x="256" y="1286"/>
                      </a:lnTo>
                      <a:lnTo>
                        <a:pt x="256" y="1156"/>
                      </a:lnTo>
                      <a:lnTo>
                        <a:pt x="256" y="1024"/>
                      </a:lnTo>
                      <a:lnTo>
                        <a:pt x="256" y="894"/>
                      </a:lnTo>
                      <a:lnTo>
                        <a:pt x="256" y="894"/>
                      </a:lnTo>
                      <a:lnTo>
                        <a:pt x="80" y="892"/>
                      </a:lnTo>
                      <a:lnTo>
                        <a:pt x="80" y="892"/>
                      </a:lnTo>
                      <a:lnTo>
                        <a:pt x="124" y="720"/>
                      </a:lnTo>
                      <a:lnTo>
                        <a:pt x="168" y="546"/>
                      </a:lnTo>
                      <a:lnTo>
                        <a:pt x="212" y="374"/>
                      </a:lnTo>
                      <a:lnTo>
                        <a:pt x="254" y="200"/>
                      </a:lnTo>
                      <a:lnTo>
                        <a:pt x="254" y="200"/>
                      </a:lnTo>
                      <a:lnTo>
                        <a:pt x="228" y="218"/>
                      </a:lnTo>
                      <a:lnTo>
                        <a:pt x="228" y="218"/>
                      </a:lnTo>
                      <a:lnTo>
                        <a:pt x="212" y="264"/>
                      </a:lnTo>
                      <a:lnTo>
                        <a:pt x="198" y="312"/>
                      </a:lnTo>
                      <a:lnTo>
                        <a:pt x="172" y="406"/>
                      </a:lnTo>
                      <a:lnTo>
                        <a:pt x="146" y="502"/>
                      </a:lnTo>
                      <a:lnTo>
                        <a:pt x="132" y="550"/>
                      </a:lnTo>
                      <a:lnTo>
                        <a:pt x="116" y="596"/>
                      </a:lnTo>
                      <a:lnTo>
                        <a:pt x="116" y="596"/>
                      </a:lnTo>
                      <a:lnTo>
                        <a:pt x="112" y="606"/>
                      </a:lnTo>
                      <a:lnTo>
                        <a:pt x="106" y="614"/>
                      </a:lnTo>
                      <a:lnTo>
                        <a:pt x="100" y="622"/>
                      </a:lnTo>
                      <a:lnTo>
                        <a:pt x="92" y="626"/>
                      </a:lnTo>
                      <a:lnTo>
                        <a:pt x="84" y="632"/>
                      </a:lnTo>
                      <a:lnTo>
                        <a:pt x="74" y="634"/>
                      </a:lnTo>
                      <a:lnTo>
                        <a:pt x="64" y="636"/>
                      </a:lnTo>
                      <a:lnTo>
                        <a:pt x="54" y="636"/>
                      </a:lnTo>
                      <a:lnTo>
                        <a:pt x="44" y="634"/>
                      </a:lnTo>
                      <a:lnTo>
                        <a:pt x="34" y="632"/>
                      </a:lnTo>
                      <a:lnTo>
                        <a:pt x="24" y="628"/>
                      </a:lnTo>
                      <a:lnTo>
                        <a:pt x="16" y="622"/>
                      </a:lnTo>
                      <a:lnTo>
                        <a:pt x="10" y="616"/>
                      </a:lnTo>
                      <a:lnTo>
                        <a:pt x="4" y="608"/>
                      </a:lnTo>
                      <a:lnTo>
                        <a:pt x="2" y="598"/>
                      </a:lnTo>
                      <a:lnTo>
                        <a:pt x="0" y="588"/>
                      </a:lnTo>
                      <a:lnTo>
                        <a:pt x="0" y="588"/>
                      </a:lnTo>
                      <a:lnTo>
                        <a:pt x="4" y="552"/>
                      </a:lnTo>
                      <a:lnTo>
                        <a:pt x="12" y="516"/>
                      </a:lnTo>
                      <a:lnTo>
                        <a:pt x="20" y="482"/>
                      </a:lnTo>
                      <a:lnTo>
                        <a:pt x="30" y="446"/>
                      </a:lnTo>
                      <a:lnTo>
                        <a:pt x="52" y="378"/>
                      </a:lnTo>
                      <a:lnTo>
                        <a:pt x="72" y="308"/>
                      </a:lnTo>
                      <a:lnTo>
                        <a:pt x="72" y="308"/>
                      </a:lnTo>
                      <a:lnTo>
                        <a:pt x="82" y="276"/>
                      </a:lnTo>
                      <a:lnTo>
                        <a:pt x="92" y="242"/>
                      </a:lnTo>
                      <a:lnTo>
                        <a:pt x="110" y="174"/>
                      </a:lnTo>
                      <a:lnTo>
                        <a:pt x="120" y="140"/>
                      </a:lnTo>
                      <a:lnTo>
                        <a:pt x="134" y="108"/>
                      </a:lnTo>
                      <a:lnTo>
                        <a:pt x="152" y="78"/>
                      </a:lnTo>
                      <a:lnTo>
                        <a:pt x="162" y="64"/>
                      </a:lnTo>
                      <a:lnTo>
                        <a:pt x="172" y="50"/>
                      </a:lnTo>
                      <a:lnTo>
                        <a:pt x="172"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95" name="Group 94"/>
              <p:cNvGrpSpPr/>
              <p:nvPr/>
            </p:nvGrpSpPr>
            <p:grpSpPr>
              <a:xfrm>
                <a:off x="12666663" y="4721225"/>
                <a:ext cx="1117600" cy="2860675"/>
                <a:chOff x="12666663" y="4721225"/>
                <a:chExt cx="1117600" cy="2860675"/>
              </a:xfrm>
              <a:grpFill/>
            </p:grpSpPr>
            <p:sp>
              <p:nvSpPr>
                <p:cNvPr id="108" name="Freeform 15"/>
                <p:cNvSpPr>
                  <a:spLocks/>
                </p:cNvSpPr>
                <p:nvPr/>
              </p:nvSpPr>
              <p:spPr bwMode="auto">
                <a:xfrm>
                  <a:off x="13003213" y="4721225"/>
                  <a:ext cx="463550" cy="460375"/>
                </a:xfrm>
                <a:custGeom>
                  <a:avLst/>
                  <a:gdLst>
                    <a:gd name="T0" fmla="*/ 108 w 292"/>
                    <a:gd name="T1" fmla="*/ 6 h 290"/>
                    <a:gd name="T2" fmla="*/ 108 w 292"/>
                    <a:gd name="T3" fmla="*/ 6 h 290"/>
                    <a:gd name="T4" fmla="*/ 128 w 292"/>
                    <a:gd name="T5" fmla="*/ 2 h 290"/>
                    <a:gd name="T6" fmla="*/ 146 w 292"/>
                    <a:gd name="T7" fmla="*/ 0 h 290"/>
                    <a:gd name="T8" fmla="*/ 166 w 292"/>
                    <a:gd name="T9" fmla="*/ 2 h 290"/>
                    <a:gd name="T10" fmla="*/ 186 w 292"/>
                    <a:gd name="T11" fmla="*/ 8 h 290"/>
                    <a:gd name="T12" fmla="*/ 204 w 292"/>
                    <a:gd name="T13" fmla="*/ 14 h 290"/>
                    <a:gd name="T14" fmla="*/ 220 w 292"/>
                    <a:gd name="T15" fmla="*/ 24 h 290"/>
                    <a:gd name="T16" fmla="*/ 236 w 292"/>
                    <a:gd name="T17" fmla="*/ 36 h 290"/>
                    <a:gd name="T18" fmla="*/ 252 w 292"/>
                    <a:gd name="T19" fmla="*/ 50 h 290"/>
                    <a:gd name="T20" fmla="*/ 264 w 292"/>
                    <a:gd name="T21" fmla="*/ 66 h 290"/>
                    <a:gd name="T22" fmla="*/ 274 w 292"/>
                    <a:gd name="T23" fmla="*/ 82 h 290"/>
                    <a:gd name="T24" fmla="*/ 282 w 292"/>
                    <a:gd name="T25" fmla="*/ 100 h 290"/>
                    <a:gd name="T26" fmla="*/ 288 w 292"/>
                    <a:gd name="T27" fmla="*/ 118 h 290"/>
                    <a:gd name="T28" fmla="*/ 292 w 292"/>
                    <a:gd name="T29" fmla="*/ 138 h 290"/>
                    <a:gd name="T30" fmla="*/ 292 w 292"/>
                    <a:gd name="T31" fmla="*/ 156 h 290"/>
                    <a:gd name="T32" fmla="*/ 288 w 292"/>
                    <a:gd name="T33" fmla="*/ 176 h 290"/>
                    <a:gd name="T34" fmla="*/ 280 w 292"/>
                    <a:gd name="T35" fmla="*/ 196 h 290"/>
                    <a:gd name="T36" fmla="*/ 280 w 292"/>
                    <a:gd name="T37" fmla="*/ 196 h 290"/>
                    <a:gd name="T38" fmla="*/ 274 w 292"/>
                    <a:gd name="T39" fmla="*/ 214 h 290"/>
                    <a:gd name="T40" fmla="*/ 264 w 292"/>
                    <a:gd name="T41" fmla="*/ 230 h 290"/>
                    <a:gd name="T42" fmla="*/ 252 w 292"/>
                    <a:gd name="T43" fmla="*/ 246 h 290"/>
                    <a:gd name="T44" fmla="*/ 238 w 292"/>
                    <a:gd name="T45" fmla="*/ 258 h 290"/>
                    <a:gd name="T46" fmla="*/ 222 w 292"/>
                    <a:gd name="T47" fmla="*/ 268 h 290"/>
                    <a:gd name="T48" fmla="*/ 206 w 292"/>
                    <a:gd name="T49" fmla="*/ 278 h 290"/>
                    <a:gd name="T50" fmla="*/ 188 w 292"/>
                    <a:gd name="T51" fmla="*/ 284 h 290"/>
                    <a:gd name="T52" fmla="*/ 170 w 292"/>
                    <a:gd name="T53" fmla="*/ 288 h 290"/>
                    <a:gd name="T54" fmla="*/ 152 w 292"/>
                    <a:gd name="T55" fmla="*/ 290 h 290"/>
                    <a:gd name="T56" fmla="*/ 132 w 292"/>
                    <a:gd name="T57" fmla="*/ 290 h 290"/>
                    <a:gd name="T58" fmla="*/ 114 w 292"/>
                    <a:gd name="T59" fmla="*/ 288 h 290"/>
                    <a:gd name="T60" fmla="*/ 96 w 292"/>
                    <a:gd name="T61" fmla="*/ 284 h 290"/>
                    <a:gd name="T62" fmla="*/ 78 w 292"/>
                    <a:gd name="T63" fmla="*/ 276 h 290"/>
                    <a:gd name="T64" fmla="*/ 62 w 292"/>
                    <a:gd name="T65" fmla="*/ 268 h 290"/>
                    <a:gd name="T66" fmla="*/ 46 w 292"/>
                    <a:gd name="T67" fmla="*/ 256 h 290"/>
                    <a:gd name="T68" fmla="*/ 34 w 292"/>
                    <a:gd name="T69" fmla="*/ 240 h 290"/>
                    <a:gd name="T70" fmla="*/ 34 w 292"/>
                    <a:gd name="T71" fmla="*/ 240 h 290"/>
                    <a:gd name="T72" fmla="*/ 22 w 292"/>
                    <a:gd name="T73" fmla="*/ 226 h 290"/>
                    <a:gd name="T74" fmla="*/ 12 w 292"/>
                    <a:gd name="T75" fmla="*/ 210 h 290"/>
                    <a:gd name="T76" fmla="*/ 6 w 292"/>
                    <a:gd name="T77" fmla="*/ 192 h 290"/>
                    <a:gd name="T78" fmla="*/ 2 w 292"/>
                    <a:gd name="T79" fmla="*/ 176 h 290"/>
                    <a:gd name="T80" fmla="*/ 0 w 292"/>
                    <a:gd name="T81" fmla="*/ 158 h 290"/>
                    <a:gd name="T82" fmla="*/ 0 w 292"/>
                    <a:gd name="T83" fmla="*/ 138 h 290"/>
                    <a:gd name="T84" fmla="*/ 2 w 292"/>
                    <a:gd name="T85" fmla="*/ 120 h 290"/>
                    <a:gd name="T86" fmla="*/ 6 w 292"/>
                    <a:gd name="T87" fmla="*/ 102 h 290"/>
                    <a:gd name="T88" fmla="*/ 12 w 292"/>
                    <a:gd name="T89" fmla="*/ 86 h 290"/>
                    <a:gd name="T90" fmla="*/ 20 w 292"/>
                    <a:gd name="T91" fmla="*/ 70 h 290"/>
                    <a:gd name="T92" fmla="*/ 32 w 292"/>
                    <a:gd name="T93" fmla="*/ 54 h 290"/>
                    <a:gd name="T94" fmla="*/ 44 w 292"/>
                    <a:gd name="T95" fmla="*/ 40 h 290"/>
                    <a:gd name="T96" fmla="*/ 56 w 292"/>
                    <a:gd name="T97" fmla="*/ 28 h 290"/>
                    <a:gd name="T98" fmla="*/ 72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6" y="0"/>
                      </a:lnTo>
                      <a:lnTo>
                        <a:pt x="166" y="2"/>
                      </a:lnTo>
                      <a:lnTo>
                        <a:pt x="186" y="8"/>
                      </a:lnTo>
                      <a:lnTo>
                        <a:pt x="204" y="14"/>
                      </a:lnTo>
                      <a:lnTo>
                        <a:pt x="220" y="24"/>
                      </a:lnTo>
                      <a:lnTo>
                        <a:pt x="236" y="36"/>
                      </a:lnTo>
                      <a:lnTo>
                        <a:pt x="252" y="50"/>
                      </a:lnTo>
                      <a:lnTo>
                        <a:pt x="264" y="66"/>
                      </a:lnTo>
                      <a:lnTo>
                        <a:pt x="274" y="82"/>
                      </a:lnTo>
                      <a:lnTo>
                        <a:pt x="282" y="100"/>
                      </a:lnTo>
                      <a:lnTo>
                        <a:pt x="288" y="118"/>
                      </a:lnTo>
                      <a:lnTo>
                        <a:pt x="292" y="138"/>
                      </a:lnTo>
                      <a:lnTo>
                        <a:pt x="292" y="156"/>
                      </a:lnTo>
                      <a:lnTo>
                        <a:pt x="288" y="176"/>
                      </a:lnTo>
                      <a:lnTo>
                        <a:pt x="280" y="196"/>
                      </a:lnTo>
                      <a:lnTo>
                        <a:pt x="280" y="196"/>
                      </a:lnTo>
                      <a:lnTo>
                        <a:pt x="274" y="214"/>
                      </a:lnTo>
                      <a:lnTo>
                        <a:pt x="264" y="230"/>
                      </a:lnTo>
                      <a:lnTo>
                        <a:pt x="252" y="246"/>
                      </a:lnTo>
                      <a:lnTo>
                        <a:pt x="238" y="258"/>
                      </a:lnTo>
                      <a:lnTo>
                        <a:pt x="222" y="268"/>
                      </a:lnTo>
                      <a:lnTo>
                        <a:pt x="206" y="278"/>
                      </a:lnTo>
                      <a:lnTo>
                        <a:pt x="188" y="284"/>
                      </a:lnTo>
                      <a:lnTo>
                        <a:pt x="170" y="288"/>
                      </a:lnTo>
                      <a:lnTo>
                        <a:pt x="152" y="290"/>
                      </a:lnTo>
                      <a:lnTo>
                        <a:pt x="132" y="290"/>
                      </a:lnTo>
                      <a:lnTo>
                        <a:pt x="114" y="288"/>
                      </a:lnTo>
                      <a:lnTo>
                        <a:pt x="96" y="284"/>
                      </a:lnTo>
                      <a:lnTo>
                        <a:pt x="78" y="276"/>
                      </a:lnTo>
                      <a:lnTo>
                        <a:pt x="62" y="268"/>
                      </a:lnTo>
                      <a:lnTo>
                        <a:pt x="46" y="256"/>
                      </a:lnTo>
                      <a:lnTo>
                        <a:pt x="34" y="240"/>
                      </a:lnTo>
                      <a:lnTo>
                        <a:pt x="34" y="240"/>
                      </a:lnTo>
                      <a:lnTo>
                        <a:pt x="22" y="226"/>
                      </a:lnTo>
                      <a:lnTo>
                        <a:pt x="12" y="210"/>
                      </a:lnTo>
                      <a:lnTo>
                        <a:pt x="6" y="192"/>
                      </a:lnTo>
                      <a:lnTo>
                        <a:pt x="2" y="176"/>
                      </a:lnTo>
                      <a:lnTo>
                        <a:pt x="0" y="158"/>
                      </a:lnTo>
                      <a:lnTo>
                        <a:pt x="0" y="138"/>
                      </a:lnTo>
                      <a:lnTo>
                        <a:pt x="2" y="120"/>
                      </a:lnTo>
                      <a:lnTo>
                        <a:pt x="6" y="102"/>
                      </a:lnTo>
                      <a:lnTo>
                        <a:pt x="12" y="86"/>
                      </a:lnTo>
                      <a:lnTo>
                        <a:pt x="20" y="70"/>
                      </a:lnTo>
                      <a:lnTo>
                        <a:pt x="32" y="54"/>
                      </a:lnTo>
                      <a:lnTo>
                        <a:pt x="44" y="40"/>
                      </a:lnTo>
                      <a:lnTo>
                        <a:pt x="56" y="28"/>
                      </a:lnTo>
                      <a:lnTo>
                        <a:pt x="72"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109" name="Freeform 16"/>
                <p:cNvSpPr>
                  <a:spLocks/>
                </p:cNvSpPr>
                <p:nvPr/>
              </p:nvSpPr>
              <p:spPr bwMode="auto">
                <a:xfrm>
                  <a:off x="12666663" y="5229225"/>
                  <a:ext cx="1117600" cy="2352675"/>
                </a:xfrm>
                <a:custGeom>
                  <a:avLst/>
                  <a:gdLst>
                    <a:gd name="T0" fmla="*/ 106 w 704"/>
                    <a:gd name="T1" fmla="*/ 18 h 1482"/>
                    <a:gd name="T2" fmla="*/ 200 w 704"/>
                    <a:gd name="T3" fmla="*/ 2 h 1482"/>
                    <a:gd name="T4" fmla="*/ 352 w 704"/>
                    <a:gd name="T5" fmla="*/ 2 h 1482"/>
                    <a:gd name="T6" fmla="*/ 456 w 704"/>
                    <a:gd name="T7" fmla="*/ 0 h 1482"/>
                    <a:gd name="T8" fmla="*/ 556 w 704"/>
                    <a:gd name="T9" fmla="*/ 8 h 1482"/>
                    <a:gd name="T10" fmla="*/ 618 w 704"/>
                    <a:gd name="T11" fmla="*/ 30 h 1482"/>
                    <a:gd name="T12" fmla="*/ 646 w 704"/>
                    <a:gd name="T13" fmla="*/ 50 h 1482"/>
                    <a:gd name="T14" fmla="*/ 678 w 704"/>
                    <a:gd name="T15" fmla="*/ 86 h 1482"/>
                    <a:gd name="T16" fmla="*/ 700 w 704"/>
                    <a:gd name="T17" fmla="*/ 156 h 1482"/>
                    <a:gd name="T18" fmla="*/ 704 w 704"/>
                    <a:gd name="T19" fmla="*/ 230 h 1482"/>
                    <a:gd name="T20" fmla="*/ 702 w 704"/>
                    <a:gd name="T21" fmla="*/ 646 h 1482"/>
                    <a:gd name="T22" fmla="*/ 698 w 704"/>
                    <a:gd name="T23" fmla="*/ 684 h 1482"/>
                    <a:gd name="T24" fmla="*/ 678 w 704"/>
                    <a:gd name="T25" fmla="*/ 716 h 1482"/>
                    <a:gd name="T26" fmla="*/ 652 w 704"/>
                    <a:gd name="T27" fmla="*/ 724 h 1482"/>
                    <a:gd name="T28" fmla="*/ 628 w 704"/>
                    <a:gd name="T29" fmla="*/ 724 h 1482"/>
                    <a:gd name="T30" fmla="*/ 598 w 704"/>
                    <a:gd name="T31" fmla="*/ 704 h 1482"/>
                    <a:gd name="T32" fmla="*/ 580 w 704"/>
                    <a:gd name="T33" fmla="*/ 662 h 1482"/>
                    <a:gd name="T34" fmla="*/ 578 w 704"/>
                    <a:gd name="T35" fmla="*/ 242 h 1482"/>
                    <a:gd name="T36" fmla="*/ 534 w 704"/>
                    <a:gd name="T37" fmla="*/ 242 h 1482"/>
                    <a:gd name="T38" fmla="*/ 532 w 704"/>
                    <a:gd name="T39" fmla="*/ 1400 h 1482"/>
                    <a:gd name="T40" fmla="*/ 528 w 704"/>
                    <a:gd name="T41" fmla="*/ 1432 h 1482"/>
                    <a:gd name="T42" fmla="*/ 500 w 704"/>
                    <a:gd name="T43" fmla="*/ 1466 h 1482"/>
                    <a:gd name="T44" fmla="*/ 458 w 704"/>
                    <a:gd name="T45" fmla="*/ 1480 h 1482"/>
                    <a:gd name="T46" fmla="*/ 414 w 704"/>
                    <a:gd name="T47" fmla="*/ 1476 h 1482"/>
                    <a:gd name="T48" fmla="*/ 382 w 704"/>
                    <a:gd name="T49" fmla="*/ 1450 h 1482"/>
                    <a:gd name="T50" fmla="*/ 372 w 704"/>
                    <a:gd name="T51" fmla="*/ 1418 h 1482"/>
                    <a:gd name="T52" fmla="*/ 370 w 704"/>
                    <a:gd name="T53" fmla="*/ 722 h 1482"/>
                    <a:gd name="T54" fmla="*/ 332 w 704"/>
                    <a:gd name="T55" fmla="*/ 722 h 1482"/>
                    <a:gd name="T56" fmla="*/ 332 w 704"/>
                    <a:gd name="T57" fmla="*/ 1330 h 1482"/>
                    <a:gd name="T58" fmla="*/ 322 w 704"/>
                    <a:gd name="T59" fmla="*/ 1428 h 1482"/>
                    <a:gd name="T60" fmla="*/ 302 w 704"/>
                    <a:gd name="T61" fmla="*/ 1468 h 1482"/>
                    <a:gd name="T62" fmla="*/ 266 w 704"/>
                    <a:gd name="T63" fmla="*/ 1480 h 1482"/>
                    <a:gd name="T64" fmla="*/ 228 w 704"/>
                    <a:gd name="T65" fmla="*/ 1480 h 1482"/>
                    <a:gd name="T66" fmla="*/ 196 w 704"/>
                    <a:gd name="T67" fmla="*/ 1466 h 1482"/>
                    <a:gd name="T68" fmla="*/ 172 w 704"/>
                    <a:gd name="T69" fmla="*/ 1440 h 1482"/>
                    <a:gd name="T70" fmla="*/ 164 w 704"/>
                    <a:gd name="T71" fmla="*/ 1402 h 1482"/>
                    <a:gd name="T72" fmla="*/ 162 w 704"/>
                    <a:gd name="T73" fmla="*/ 824 h 1482"/>
                    <a:gd name="T74" fmla="*/ 162 w 704"/>
                    <a:gd name="T75" fmla="*/ 244 h 1482"/>
                    <a:gd name="T76" fmla="*/ 124 w 704"/>
                    <a:gd name="T77" fmla="*/ 340 h 1482"/>
                    <a:gd name="T78" fmla="*/ 124 w 704"/>
                    <a:gd name="T79" fmla="*/ 628 h 1482"/>
                    <a:gd name="T80" fmla="*/ 114 w 704"/>
                    <a:gd name="T81" fmla="*/ 680 h 1482"/>
                    <a:gd name="T82" fmla="*/ 90 w 704"/>
                    <a:gd name="T83" fmla="*/ 716 h 1482"/>
                    <a:gd name="T84" fmla="*/ 68 w 704"/>
                    <a:gd name="T85" fmla="*/ 724 h 1482"/>
                    <a:gd name="T86" fmla="*/ 50 w 704"/>
                    <a:gd name="T87" fmla="*/ 724 h 1482"/>
                    <a:gd name="T88" fmla="*/ 20 w 704"/>
                    <a:gd name="T89" fmla="*/ 712 h 1482"/>
                    <a:gd name="T90" fmla="*/ 2 w 704"/>
                    <a:gd name="T91" fmla="*/ 684 h 1482"/>
                    <a:gd name="T92" fmla="*/ 0 w 704"/>
                    <a:gd name="T93" fmla="*/ 662 h 1482"/>
                    <a:gd name="T94" fmla="*/ 0 w 704"/>
                    <a:gd name="T95" fmla="*/ 176 h 1482"/>
                    <a:gd name="T96" fmla="*/ 12 w 704"/>
                    <a:gd name="T97" fmla="*/ 106 h 1482"/>
                    <a:gd name="T98" fmla="*/ 50 w 704"/>
                    <a:gd name="T99" fmla="*/ 50 h 1482"/>
                    <a:gd name="T100" fmla="*/ 88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88" y="24"/>
                      </a:moveTo>
                      <a:lnTo>
                        <a:pt x="88" y="24"/>
                      </a:lnTo>
                      <a:lnTo>
                        <a:pt x="106" y="18"/>
                      </a:lnTo>
                      <a:lnTo>
                        <a:pt x="124" y="12"/>
                      </a:lnTo>
                      <a:lnTo>
                        <a:pt x="162" y="6"/>
                      </a:lnTo>
                      <a:lnTo>
                        <a:pt x="200" y="2"/>
                      </a:lnTo>
                      <a:lnTo>
                        <a:pt x="238" y="0"/>
                      </a:lnTo>
                      <a:lnTo>
                        <a:pt x="314" y="0"/>
                      </a:lnTo>
                      <a:lnTo>
                        <a:pt x="352" y="2"/>
                      </a:lnTo>
                      <a:lnTo>
                        <a:pt x="388" y="0"/>
                      </a:lnTo>
                      <a:lnTo>
                        <a:pt x="388" y="0"/>
                      </a:lnTo>
                      <a:lnTo>
                        <a:pt x="456" y="0"/>
                      </a:lnTo>
                      <a:lnTo>
                        <a:pt x="490" y="0"/>
                      </a:lnTo>
                      <a:lnTo>
                        <a:pt x="524" y="2"/>
                      </a:lnTo>
                      <a:lnTo>
                        <a:pt x="556" y="8"/>
                      </a:lnTo>
                      <a:lnTo>
                        <a:pt x="588" y="16"/>
                      </a:lnTo>
                      <a:lnTo>
                        <a:pt x="604" y="22"/>
                      </a:lnTo>
                      <a:lnTo>
                        <a:pt x="618" y="30"/>
                      </a:lnTo>
                      <a:lnTo>
                        <a:pt x="632" y="38"/>
                      </a:lnTo>
                      <a:lnTo>
                        <a:pt x="646" y="50"/>
                      </a:lnTo>
                      <a:lnTo>
                        <a:pt x="646" y="50"/>
                      </a:lnTo>
                      <a:lnTo>
                        <a:pt x="656" y="58"/>
                      </a:lnTo>
                      <a:lnTo>
                        <a:pt x="664" y="66"/>
                      </a:lnTo>
                      <a:lnTo>
                        <a:pt x="678" y="86"/>
                      </a:lnTo>
                      <a:lnTo>
                        <a:pt x="688" y="108"/>
                      </a:lnTo>
                      <a:lnTo>
                        <a:pt x="694" y="132"/>
                      </a:lnTo>
                      <a:lnTo>
                        <a:pt x="700" y="156"/>
                      </a:lnTo>
                      <a:lnTo>
                        <a:pt x="702" y="182"/>
                      </a:lnTo>
                      <a:lnTo>
                        <a:pt x="704" y="230"/>
                      </a:lnTo>
                      <a:lnTo>
                        <a:pt x="704" y="230"/>
                      </a:lnTo>
                      <a:lnTo>
                        <a:pt x="704" y="438"/>
                      </a:lnTo>
                      <a:lnTo>
                        <a:pt x="702" y="646"/>
                      </a:lnTo>
                      <a:lnTo>
                        <a:pt x="702" y="646"/>
                      </a:lnTo>
                      <a:lnTo>
                        <a:pt x="702" y="658"/>
                      </a:lnTo>
                      <a:lnTo>
                        <a:pt x="700" y="672"/>
                      </a:lnTo>
                      <a:lnTo>
                        <a:pt x="698" y="684"/>
                      </a:lnTo>
                      <a:lnTo>
                        <a:pt x="692" y="698"/>
                      </a:lnTo>
                      <a:lnTo>
                        <a:pt x="686" y="708"/>
                      </a:lnTo>
                      <a:lnTo>
                        <a:pt x="678" y="716"/>
                      </a:lnTo>
                      <a:lnTo>
                        <a:pt x="666" y="722"/>
                      </a:lnTo>
                      <a:lnTo>
                        <a:pt x="652" y="724"/>
                      </a:lnTo>
                      <a:lnTo>
                        <a:pt x="652" y="724"/>
                      </a:lnTo>
                      <a:lnTo>
                        <a:pt x="644" y="726"/>
                      </a:lnTo>
                      <a:lnTo>
                        <a:pt x="636" y="726"/>
                      </a:lnTo>
                      <a:lnTo>
                        <a:pt x="628" y="724"/>
                      </a:lnTo>
                      <a:lnTo>
                        <a:pt x="622" y="722"/>
                      </a:lnTo>
                      <a:lnTo>
                        <a:pt x="608" y="714"/>
                      </a:lnTo>
                      <a:lnTo>
                        <a:pt x="598" y="704"/>
                      </a:lnTo>
                      <a:lnTo>
                        <a:pt x="590" y="692"/>
                      </a:lnTo>
                      <a:lnTo>
                        <a:pt x="584" y="676"/>
                      </a:lnTo>
                      <a:lnTo>
                        <a:pt x="580" y="662"/>
                      </a:lnTo>
                      <a:lnTo>
                        <a:pt x="578" y="646"/>
                      </a:lnTo>
                      <a:lnTo>
                        <a:pt x="578" y="646"/>
                      </a:lnTo>
                      <a:lnTo>
                        <a:pt x="578" y="242"/>
                      </a:lnTo>
                      <a:lnTo>
                        <a:pt x="578" y="242"/>
                      </a:lnTo>
                      <a:lnTo>
                        <a:pt x="534" y="242"/>
                      </a:lnTo>
                      <a:lnTo>
                        <a:pt x="534" y="242"/>
                      </a:lnTo>
                      <a:lnTo>
                        <a:pt x="532" y="822"/>
                      </a:lnTo>
                      <a:lnTo>
                        <a:pt x="532" y="1112"/>
                      </a:lnTo>
                      <a:lnTo>
                        <a:pt x="532" y="1400"/>
                      </a:lnTo>
                      <a:lnTo>
                        <a:pt x="532" y="1400"/>
                      </a:lnTo>
                      <a:lnTo>
                        <a:pt x="532" y="1418"/>
                      </a:lnTo>
                      <a:lnTo>
                        <a:pt x="528" y="1432"/>
                      </a:lnTo>
                      <a:lnTo>
                        <a:pt x="522" y="1444"/>
                      </a:lnTo>
                      <a:lnTo>
                        <a:pt x="512" y="1456"/>
                      </a:lnTo>
                      <a:lnTo>
                        <a:pt x="500" y="1466"/>
                      </a:lnTo>
                      <a:lnTo>
                        <a:pt x="488" y="1472"/>
                      </a:lnTo>
                      <a:lnTo>
                        <a:pt x="474" y="1478"/>
                      </a:lnTo>
                      <a:lnTo>
                        <a:pt x="458" y="1480"/>
                      </a:lnTo>
                      <a:lnTo>
                        <a:pt x="444" y="1480"/>
                      </a:lnTo>
                      <a:lnTo>
                        <a:pt x="428" y="1480"/>
                      </a:lnTo>
                      <a:lnTo>
                        <a:pt x="414" y="1476"/>
                      </a:lnTo>
                      <a:lnTo>
                        <a:pt x="402" y="1470"/>
                      </a:lnTo>
                      <a:lnTo>
                        <a:pt x="390" y="1460"/>
                      </a:lnTo>
                      <a:lnTo>
                        <a:pt x="382" y="1450"/>
                      </a:lnTo>
                      <a:lnTo>
                        <a:pt x="374" y="1436"/>
                      </a:lnTo>
                      <a:lnTo>
                        <a:pt x="372" y="1418"/>
                      </a:lnTo>
                      <a:lnTo>
                        <a:pt x="372" y="1418"/>
                      </a:lnTo>
                      <a:lnTo>
                        <a:pt x="370" y="1244"/>
                      </a:lnTo>
                      <a:lnTo>
                        <a:pt x="370" y="1070"/>
                      </a:lnTo>
                      <a:lnTo>
                        <a:pt x="370" y="722"/>
                      </a:lnTo>
                      <a:lnTo>
                        <a:pt x="370" y="722"/>
                      </a:lnTo>
                      <a:lnTo>
                        <a:pt x="332" y="722"/>
                      </a:lnTo>
                      <a:lnTo>
                        <a:pt x="332" y="722"/>
                      </a:lnTo>
                      <a:lnTo>
                        <a:pt x="332" y="1026"/>
                      </a:lnTo>
                      <a:lnTo>
                        <a:pt x="332" y="1330"/>
                      </a:lnTo>
                      <a:lnTo>
                        <a:pt x="332" y="1330"/>
                      </a:lnTo>
                      <a:lnTo>
                        <a:pt x="332" y="1362"/>
                      </a:lnTo>
                      <a:lnTo>
                        <a:pt x="328" y="1396"/>
                      </a:lnTo>
                      <a:lnTo>
                        <a:pt x="322" y="1428"/>
                      </a:lnTo>
                      <a:lnTo>
                        <a:pt x="312" y="1460"/>
                      </a:lnTo>
                      <a:lnTo>
                        <a:pt x="312" y="1460"/>
                      </a:lnTo>
                      <a:lnTo>
                        <a:pt x="302" y="1468"/>
                      </a:lnTo>
                      <a:lnTo>
                        <a:pt x="290" y="1472"/>
                      </a:lnTo>
                      <a:lnTo>
                        <a:pt x="278" y="1478"/>
                      </a:lnTo>
                      <a:lnTo>
                        <a:pt x="266" y="1480"/>
                      </a:lnTo>
                      <a:lnTo>
                        <a:pt x="254" y="1482"/>
                      </a:lnTo>
                      <a:lnTo>
                        <a:pt x="242" y="1482"/>
                      </a:lnTo>
                      <a:lnTo>
                        <a:pt x="228" y="1480"/>
                      </a:lnTo>
                      <a:lnTo>
                        <a:pt x="216" y="1478"/>
                      </a:lnTo>
                      <a:lnTo>
                        <a:pt x="206" y="1472"/>
                      </a:lnTo>
                      <a:lnTo>
                        <a:pt x="196" y="1466"/>
                      </a:lnTo>
                      <a:lnTo>
                        <a:pt x="186" y="1460"/>
                      </a:lnTo>
                      <a:lnTo>
                        <a:pt x="178" y="1450"/>
                      </a:lnTo>
                      <a:lnTo>
                        <a:pt x="172" y="1440"/>
                      </a:lnTo>
                      <a:lnTo>
                        <a:pt x="166" y="1430"/>
                      </a:lnTo>
                      <a:lnTo>
                        <a:pt x="164" y="1416"/>
                      </a:lnTo>
                      <a:lnTo>
                        <a:pt x="164" y="1402"/>
                      </a:lnTo>
                      <a:lnTo>
                        <a:pt x="164" y="1402"/>
                      </a:lnTo>
                      <a:lnTo>
                        <a:pt x="162" y="1114"/>
                      </a:lnTo>
                      <a:lnTo>
                        <a:pt x="162" y="824"/>
                      </a:lnTo>
                      <a:lnTo>
                        <a:pt x="162" y="534"/>
                      </a:lnTo>
                      <a:lnTo>
                        <a:pt x="162" y="244"/>
                      </a:lnTo>
                      <a:lnTo>
                        <a:pt x="162" y="244"/>
                      </a:lnTo>
                      <a:lnTo>
                        <a:pt x="124" y="244"/>
                      </a:lnTo>
                      <a:lnTo>
                        <a:pt x="124" y="244"/>
                      </a:lnTo>
                      <a:lnTo>
                        <a:pt x="124" y="340"/>
                      </a:lnTo>
                      <a:lnTo>
                        <a:pt x="124" y="436"/>
                      </a:lnTo>
                      <a:lnTo>
                        <a:pt x="124" y="628"/>
                      </a:lnTo>
                      <a:lnTo>
                        <a:pt x="124" y="628"/>
                      </a:lnTo>
                      <a:lnTo>
                        <a:pt x="124" y="646"/>
                      </a:lnTo>
                      <a:lnTo>
                        <a:pt x="120" y="662"/>
                      </a:lnTo>
                      <a:lnTo>
                        <a:pt x="114" y="680"/>
                      </a:lnTo>
                      <a:lnTo>
                        <a:pt x="108" y="696"/>
                      </a:lnTo>
                      <a:lnTo>
                        <a:pt x="96" y="710"/>
                      </a:lnTo>
                      <a:lnTo>
                        <a:pt x="90" y="716"/>
                      </a:lnTo>
                      <a:lnTo>
                        <a:pt x="84" y="720"/>
                      </a:lnTo>
                      <a:lnTo>
                        <a:pt x="76" y="724"/>
                      </a:lnTo>
                      <a:lnTo>
                        <a:pt x="68" y="724"/>
                      </a:lnTo>
                      <a:lnTo>
                        <a:pt x="60" y="726"/>
                      </a:lnTo>
                      <a:lnTo>
                        <a:pt x="50" y="724"/>
                      </a:lnTo>
                      <a:lnTo>
                        <a:pt x="50" y="724"/>
                      </a:lnTo>
                      <a:lnTo>
                        <a:pt x="38" y="722"/>
                      </a:lnTo>
                      <a:lnTo>
                        <a:pt x="28" y="720"/>
                      </a:lnTo>
                      <a:lnTo>
                        <a:pt x="20" y="712"/>
                      </a:lnTo>
                      <a:lnTo>
                        <a:pt x="12" y="704"/>
                      </a:lnTo>
                      <a:lnTo>
                        <a:pt x="6" y="694"/>
                      </a:lnTo>
                      <a:lnTo>
                        <a:pt x="2" y="684"/>
                      </a:lnTo>
                      <a:lnTo>
                        <a:pt x="0" y="672"/>
                      </a:lnTo>
                      <a:lnTo>
                        <a:pt x="0" y="662"/>
                      </a:lnTo>
                      <a:lnTo>
                        <a:pt x="0" y="662"/>
                      </a:lnTo>
                      <a:lnTo>
                        <a:pt x="0" y="418"/>
                      </a:lnTo>
                      <a:lnTo>
                        <a:pt x="0" y="176"/>
                      </a:lnTo>
                      <a:lnTo>
                        <a:pt x="0" y="176"/>
                      </a:lnTo>
                      <a:lnTo>
                        <a:pt x="0" y="152"/>
                      </a:lnTo>
                      <a:lnTo>
                        <a:pt x="4" y="130"/>
                      </a:lnTo>
                      <a:lnTo>
                        <a:pt x="12" y="106"/>
                      </a:lnTo>
                      <a:lnTo>
                        <a:pt x="22" y="86"/>
                      </a:lnTo>
                      <a:lnTo>
                        <a:pt x="34" y="66"/>
                      </a:lnTo>
                      <a:lnTo>
                        <a:pt x="50" y="50"/>
                      </a:lnTo>
                      <a:lnTo>
                        <a:pt x="68" y="36"/>
                      </a:lnTo>
                      <a:lnTo>
                        <a:pt x="88" y="24"/>
                      </a:lnTo>
                      <a:lnTo>
                        <a:pt x="88"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96" name="Group 95"/>
              <p:cNvGrpSpPr/>
              <p:nvPr/>
            </p:nvGrpSpPr>
            <p:grpSpPr>
              <a:xfrm>
                <a:off x="17248188" y="4721225"/>
                <a:ext cx="1117600" cy="2860675"/>
                <a:chOff x="17248188" y="4721225"/>
                <a:chExt cx="1117600" cy="2860675"/>
              </a:xfrm>
              <a:grpFill/>
            </p:grpSpPr>
            <p:sp>
              <p:nvSpPr>
                <p:cNvPr id="106" name="Freeform 105"/>
                <p:cNvSpPr>
                  <a:spLocks/>
                </p:cNvSpPr>
                <p:nvPr/>
              </p:nvSpPr>
              <p:spPr bwMode="auto">
                <a:xfrm>
                  <a:off x="17565688" y="4721225"/>
                  <a:ext cx="463550" cy="460375"/>
                </a:xfrm>
                <a:custGeom>
                  <a:avLst/>
                  <a:gdLst>
                    <a:gd name="T0" fmla="*/ 184 w 292"/>
                    <a:gd name="T1" fmla="*/ 6 h 290"/>
                    <a:gd name="T2" fmla="*/ 184 w 292"/>
                    <a:gd name="T3" fmla="*/ 6 h 290"/>
                    <a:gd name="T4" fmla="*/ 164 w 292"/>
                    <a:gd name="T5" fmla="*/ 2 h 290"/>
                    <a:gd name="T6" fmla="*/ 144 w 292"/>
                    <a:gd name="T7" fmla="*/ 0 h 290"/>
                    <a:gd name="T8" fmla="*/ 124 w 292"/>
                    <a:gd name="T9" fmla="*/ 2 h 290"/>
                    <a:gd name="T10" fmla="*/ 106 w 292"/>
                    <a:gd name="T11" fmla="*/ 8 h 290"/>
                    <a:gd name="T12" fmla="*/ 88 w 292"/>
                    <a:gd name="T13" fmla="*/ 14 h 290"/>
                    <a:gd name="T14" fmla="*/ 70 w 292"/>
                    <a:gd name="T15" fmla="*/ 24 h 290"/>
                    <a:gd name="T16" fmla="*/ 54 w 292"/>
                    <a:gd name="T17" fmla="*/ 36 h 290"/>
                    <a:gd name="T18" fmla="*/ 40 w 292"/>
                    <a:gd name="T19" fmla="*/ 50 h 290"/>
                    <a:gd name="T20" fmla="*/ 26 w 292"/>
                    <a:gd name="T21" fmla="*/ 66 h 290"/>
                    <a:gd name="T22" fmla="*/ 16 w 292"/>
                    <a:gd name="T23" fmla="*/ 82 h 290"/>
                    <a:gd name="T24" fmla="*/ 8 w 292"/>
                    <a:gd name="T25" fmla="*/ 100 h 290"/>
                    <a:gd name="T26" fmla="*/ 2 w 292"/>
                    <a:gd name="T27" fmla="*/ 118 h 290"/>
                    <a:gd name="T28" fmla="*/ 0 w 292"/>
                    <a:gd name="T29" fmla="*/ 138 h 290"/>
                    <a:gd name="T30" fmla="*/ 0 w 292"/>
                    <a:gd name="T31" fmla="*/ 156 h 290"/>
                    <a:gd name="T32" fmla="*/ 4 w 292"/>
                    <a:gd name="T33" fmla="*/ 176 h 290"/>
                    <a:gd name="T34" fmla="*/ 10 w 292"/>
                    <a:gd name="T35" fmla="*/ 196 h 290"/>
                    <a:gd name="T36" fmla="*/ 10 w 292"/>
                    <a:gd name="T37" fmla="*/ 196 h 290"/>
                    <a:gd name="T38" fmla="*/ 18 w 292"/>
                    <a:gd name="T39" fmla="*/ 214 h 290"/>
                    <a:gd name="T40" fmla="*/ 26 w 292"/>
                    <a:gd name="T41" fmla="*/ 230 h 290"/>
                    <a:gd name="T42" fmla="*/ 38 w 292"/>
                    <a:gd name="T43" fmla="*/ 246 h 290"/>
                    <a:gd name="T44" fmla="*/ 52 w 292"/>
                    <a:gd name="T45" fmla="*/ 258 h 290"/>
                    <a:gd name="T46" fmla="*/ 68 w 292"/>
                    <a:gd name="T47" fmla="*/ 268 h 290"/>
                    <a:gd name="T48" fmla="*/ 84 w 292"/>
                    <a:gd name="T49" fmla="*/ 278 h 290"/>
                    <a:gd name="T50" fmla="*/ 102 w 292"/>
                    <a:gd name="T51" fmla="*/ 284 h 290"/>
                    <a:gd name="T52" fmla="*/ 120 w 292"/>
                    <a:gd name="T53" fmla="*/ 288 h 290"/>
                    <a:gd name="T54" fmla="*/ 140 w 292"/>
                    <a:gd name="T55" fmla="*/ 290 h 290"/>
                    <a:gd name="T56" fmla="*/ 158 w 292"/>
                    <a:gd name="T57" fmla="*/ 290 h 290"/>
                    <a:gd name="T58" fmla="*/ 178 w 292"/>
                    <a:gd name="T59" fmla="*/ 288 h 290"/>
                    <a:gd name="T60" fmla="*/ 196 w 292"/>
                    <a:gd name="T61" fmla="*/ 284 h 290"/>
                    <a:gd name="T62" fmla="*/ 212 w 292"/>
                    <a:gd name="T63" fmla="*/ 276 h 290"/>
                    <a:gd name="T64" fmla="*/ 230 w 292"/>
                    <a:gd name="T65" fmla="*/ 268 h 290"/>
                    <a:gd name="T66" fmla="*/ 244 w 292"/>
                    <a:gd name="T67" fmla="*/ 256 h 290"/>
                    <a:gd name="T68" fmla="*/ 256 w 292"/>
                    <a:gd name="T69" fmla="*/ 240 h 290"/>
                    <a:gd name="T70" fmla="*/ 256 w 292"/>
                    <a:gd name="T71" fmla="*/ 240 h 290"/>
                    <a:gd name="T72" fmla="*/ 268 w 292"/>
                    <a:gd name="T73" fmla="*/ 226 h 290"/>
                    <a:gd name="T74" fmla="*/ 278 w 292"/>
                    <a:gd name="T75" fmla="*/ 210 h 290"/>
                    <a:gd name="T76" fmla="*/ 284 w 292"/>
                    <a:gd name="T77" fmla="*/ 192 h 290"/>
                    <a:gd name="T78" fmla="*/ 290 w 292"/>
                    <a:gd name="T79" fmla="*/ 176 h 290"/>
                    <a:gd name="T80" fmla="*/ 292 w 292"/>
                    <a:gd name="T81" fmla="*/ 158 h 290"/>
                    <a:gd name="T82" fmla="*/ 292 w 292"/>
                    <a:gd name="T83" fmla="*/ 138 h 290"/>
                    <a:gd name="T84" fmla="*/ 288 w 292"/>
                    <a:gd name="T85" fmla="*/ 120 h 290"/>
                    <a:gd name="T86" fmla="*/ 284 w 292"/>
                    <a:gd name="T87" fmla="*/ 102 h 290"/>
                    <a:gd name="T88" fmla="*/ 278 w 292"/>
                    <a:gd name="T89" fmla="*/ 86 h 290"/>
                    <a:gd name="T90" fmla="*/ 270 w 292"/>
                    <a:gd name="T91" fmla="*/ 70 h 290"/>
                    <a:gd name="T92" fmla="*/ 260 w 292"/>
                    <a:gd name="T93" fmla="*/ 54 h 290"/>
                    <a:gd name="T94" fmla="*/ 248 w 292"/>
                    <a:gd name="T95" fmla="*/ 40 h 290"/>
                    <a:gd name="T96" fmla="*/ 234 w 292"/>
                    <a:gd name="T97" fmla="*/ 28 h 290"/>
                    <a:gd name="T98" fmla="*/ 218 w 292"/>
                    <a:gd name="T99" fmla="*/ 18 h 290"/>
                    <a:gd name="T100" fmla="*/ 202 w 292"/>
                    <a:gd name="T101" fmla="*/ 10 h 290"/>
                    <a:gd name="T102" fmla="*/ 184 w 292"/>
                    <a:gd name="T103" fmla="*/ 6 h 290"/>
                    <a:gd name="T104" fmla="*/ 184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84" y="6"/>
                      </a:moveTo>
                      <a:lnTo>
                        <a:pt x="184" y="6"/>
                      </a:lnTo>
                      <a:lnTo>
                        <a:pt x="164" y="2"/>
                      </a:lnTo>
                      <a:lnTo>
                        <a:pt x="144" y="0"/>
                      </a:lnTo>
                      <a:lnTo>
                        <a:pt x="124" y="2"/>
                      </a:lnTo>
                      <a:lnTo>
                        <a:pt x="106" y="8"/>
                      </a:lnTo>
                      <a:lnTo>
                        <a:pt x="88" y="14"/>
                      </a:lnTo>
                      <a:lnTo>
                        <a:pt x="70" y="24"/>
                      </a:lnTo>
                      <a:lnTo>
                        <a:pt x="54" y="36"/>
                      </a:lnTo>
                      <a:lnTo>
                        <a:pt x="40" y="50"/>
                      </a:lnTo>
                      <a:lnTo>
                        <a:pt x="26" y="66"/>
                      </a:lnTo>
                      <a:lnTo>
                        <a:pt x="16" y="82"/>
                      </a:lnTo>
                      <a:lnTo>
                        <a:pt x="8" y="100"/>
                      </a:lnTo>
                      <a:lnTo>
                        <a:pt x="2" y="118"/>
                      </a:lnTo>
                      <a:lnTo>
                        <a:pt x="0" y="138"/>
                      </a:lnTo>
                      <a:lnTo>
                        <a:pt x="0" y="156"/>
                      </a:lnTo>
                      <a:lnTo>
                        <a:pt x="4" y="176"/>
                      </a:lnTo>
                      <a:lnTo>
                        <a:pt x="10" y="196"/>
                      </a:lnTo>
                      <a:lnTo>
                        <a:pt x="10" y="196"/>
                      </a:lnTo>
                      <a:lnTo>
                        <a:pt x="18" y="214"/>
                      </a:lnTo>
                      <a:lnTo>
                        <a:pt x="26" y="230"/>
                      </a:lnTo>
                      <a:lnTo>
                        <a:pt x="38" y="246"/>
                      </a:lnTo>
                      <a:lnTo>
                        <a:pt x="52" y="258"/>
                      </a:lnTo>
                      <a:lnTo>
                        <a:pt x="68" y="268"/>
                      </a:lnTo>
                      <a:lnTo>
                        <a:pt x="84" y="278"/>
                      </a:lnTo>
                      <a:lnTo>
                        <a:pt x="102" y="284"/>
                      </a:lnTo>
                      <a:lnTo>
                        <a:pt x="120" y="288"/>
                      </a:lnTo>
                      <a:lnTo>
                        <a:pt x="140" y="290"/>
                      </a:lnTo>
                      <a:lnTo>
                        <a:pt x="158" y="290"/>
                      </a:lnTo>
                      <a:lnTo>
                        <a:pt x="178" y="288"/>
                      </a:lnTo>
                      <a:lnTo>
                        <a:pt x="196" y="284"/>
                      </a:lnTo>
                      <a:lnTo>
                        <a:pt x="212" y="276"/>
                      </a:lnTo>
                      <a:lnTo>
                        <a:pt x="230" y="268"/>
                      </a:lnTo>
                      <a:lnTo>
                        <a:pt x="244" y="256"/>
                      </a:lnTo>
                      <a:lnTo>
                        <a:pt x="256" y="240"/>
                      </a:lnTo>
                      <a:lnTo>
                        <a:pt x="256" y="240"/>
                      </a:lnTo>
                      <a:lnTo>
                        <a:pt x="268" y="226"/>
                      </a:lnTo>
                      <a:lnTo>
                        <a:pt x="278" y="210"/>
                      </a:lnTo>
                      <a:lnTo>
                        <a:pt x="284" y="192"/>
                      </a:lnTo>
                      <a:lnTo>
                        <a:pt x="290" y="176"/>
                      </a:lnTo>
                      <a:lnTo>
                        <a:pt x="292" y="158"/>
                      </a:lnTo>
                      <a:lnTo>
                        <a:pt x="292" y="138"/>
                      </a:lnTo>
                      <a:lnTo>
                        <a:pt x="288" y="120"/>
                      </a:lnTo>
                      <a:lnTo>
                        <a:pt x="284" y="102"/>
                      </a:lnTo>
                      <a:lnTo>
                        <a:pt x="278" y="86"/>
                      </a:lnTo>
                      <a:lnTo>
                        <a:pt x="270" y="70"/>
                      </a:lnTo>
                      <a:lnTo>
                        <a:pt x="260" y="54"/>
                      </a:lnTo>
                      <a:lnTo>
                        <a:pt x="248" y="40"/>
                      </a:lnTo>
                      <a:lnTo>
                        <a:pt x="234" y="28"/>
                      </a:lnTo>
                      <a:lnTo>
                        <a:pt x="218" y="18"/>
                      </a:lnTo>
                      <a:lnTo>
                        <a:pt x="202" y="10"/>
                      </a:lnTo>
                      <a:lnTo>
                        <a:pt x="184" y="6"/>
                      </a:lnTo>
                      <a:lnTo>
                        <a:pt x="184"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107" name="Freeform 106"/>
                <p:cNvSpPr>
                  <a:spLocks/>
                </p:cNvSpPr>
                <p:nvPr/>
              </p:nvSpPr>
              <p:spPr bwMode="auto">
                <a:xfrm>
                  <a:off x="17248188" y="5229225"/>
                  <a:ext cx="1117600" cy="2352675"/>
                </a:xfrm>
                <a:custGeom>
                  <a:avLst/>
                  <a:gdLst>
                    <a:gd name="T0" fmla="*/ 596 w 704"/>
                    <a:gd name="T1" fmla="*/ 18 h 1482"/>
                    <a:gd name="T2" fmla="*/ 504 w 704"/>
                    <a:gd name="T3" fmla="*/ 2 h 1482"/>
                    <a:gd name="T4" fmla="*/ 352 w 704"/>
                    <a:gd name="T5" fmla="*/ 2 h 1482"/>
                    <a:gd name="T6" fmla="*/ 248 w 704"/>
                    <a:gd name="T7" fmla="*/ 0 h 1482"/>
                    <a:gd name="T8" fmla="*/ 146 w 704"/>
                    <a:gd name="T9" fmla="*/ 8 h 1482"/>
                    <a:gd name="T10" fmla="*/ 84 w 704"/>
                    <a:gd name="T11" fmla="*/ 30 h 1482"/>
                    <a:gd name="T12" fmla="*/ 56 w 704"/>
                    <a:gd name="T13" fmla="*/ 50 h 1482"/>
                    <a:gd name="T14" fmla="*/ 24 w 704"/>
                    <a:gd name="T15" fmla="*/ 86 h 1482"/>
                    <a:gd name="T16" fmla="*/ 4 w 704"/>
                    <a:gd name="T17" fmla="*/ 156 h 1482"/>
                    <a:gd name="T18" fmla="*/ 0 w 704"/>
                    <a:gd name="T19" fmla="*/ 230 h 1482"/>
                    <a:gd name="T20" fmla="*/ 0 w 704"/>
                    <a:gd name="T21" fmla="*/ 646 h 1482"/>
                    <a:gd name="T22" fmla="*/ 4 w 704"/>
                    <a:gd name="T23" fmla="*/ 684 h 1482"/>
                    <a:gd name="T24" fmla="*/ 26 w 704"/>
                    <a:gd name="T25" fmla="*/ 716 h 1482"/>
                    <a:gd name="T26" fmla="*/ 50 w 704"/>
                    <a:gd name="T27" fmla="*/ 724 h 1482"/>
                    <a:gd name="T28" fmla="*/ 74 w 704"/>
                    <a:gd name="T29" fmla="*/ 724 h 1482"/>
                    <a:gd name="T30" fmla="*/ 104 w 704"/>
                    <a:gd name="T31" fmla="*/ 704 h 1482"/>
                    <a:gd name="T32" fmla="*/ 124 w 704"/>
                    <a:gd name="T33" fmla="*/ 662 h 1482"/>
                    <a:gd name="T34" fmla="*/ 124 w 704"/>
                    <a:gd name="T35" fmla="*/ 242 h 1482"/>
                    <a:gd name="T36" fmla="*/ 170 w 704"/>
                    <a:gd name="T37" fmla="*/ 242 h 1482"/>
                    <a:gd name="T38" fmla="*/ 170 w 704"/>
                    <a:gd name="T39" fmla="*/ 1400 h 1482"/>
                    <a:gd name="T40" fmla="*/ 174 w 704"/>
                    <a:gd name="T41" fmla="*/ 1432 h 1482"/>
                    <a:gd name="T42" fmla="*/ 202 w 704"/>
                    <a:gd name="T43" fmla="*/ 1466 h 1482"/>
                    <a:gd name="T44" fmla="*/ 244 w 704"/>
                    <a:gd name="T45" fmla="*/ 1480 h 1482"/>
                    <a:gd name="T46" fmla="*/ 288 w 704"/>
                    <a:gd name="T47" fmla="*/ 1476 h 1482"/>
                    <a:gd name="T48" fmla="*/ 322 w 704"/>
                    <a:gd name="T49" fmla="*/ 1450 h 1482"/>
                    <a:gd name="T50" fmla="*/ 332 w 704"/>
                    <a:gd name="T51" fmla="*/ 1418 h 1482"/>
                    <a:gd name="T52" fmla="*/ 332 w 704"/>
                    <a:gd name="T53" fmla="*/ 722 h 1482"/>
                    <a:gd name="T54" fmla="*/ 370 w 704"/>
                    <a:gd name="T55" fmla="*/ 722 h 1482"/>
                    <a:gd name="T56" fmla="*/ 370 w 704"/>
                    <a:gd name="T57" fmla="*/ 1330 h 1482"/>
                    <a:gd name="T58" fmla="*/ 380 w 704"/>
                    <a:gd name="T59" fmla="*/ 1428 h 1482"/>
                    <a:gd name="T60" fmla="*/ 400 w 704"/>
                    <a:gd name="T61" fmla="*/ 1468 h 1482"/>
                    <a:gd name="T62" fmla="*/ 436 w 704"/>
                    <a:gd name="T63" fmla="*/ 1480 h 1482"/>
                    <a:gd name="T64" fmla="*/ 474 w 704"/>
                    <a:gd name="T65" fmla="*/ 1480 h 1482"/>
                    <a:gd name="T66" fmla="*/ 508 w 704"/>
                    <a:gd name="T67" fmla="*/ 1466 h 1482"/>
                    <a:gd name="T68" fmla="*/ 532 w 704"/>
                    <a:gd name="T69" fmla="*/ 1440 h 1482"/>
                    <a:gd name="T70" fmla="*/ 540 w 704"/>
                    <a:gd name="T71" fmla="*/ 1402 h 1482"/>
                    <a:gd name="T72" fmla="*/ 540 w 704"/>
                    <a:gd name="T73" fmla="*/ 824 h 1482"/>
                    <a:gd name="T74" fmla="*/ 542 w 704"/>
                    <a:gd name="T75" fmla="*/ 244 h 1482"/>
                    <a:gd name="T76" fmla="*/ 578 w 704"/>
                    <a:gd name="T77" fmla="*/ 340 h 1482"/>
                    <a:gd name="T78" fmla="*/ 578 w 704"/>
                    <a:gd name="T79" fmla="*/ 628 h 1482"/>
                    <a:gd name="T80" fmla="*/ 588 w 704"/>
                    <a:gd name="T81" fmla="*/ 680 h 1482"/>
                    <a:gd name="T82" fmla="*/ 612 w 704"/>
                    <a:gd name="T83" fmla="*/ 716 h 1482"/>
                    <a:gd name="T84" fmla="*/ 634 w 704"/>
                    <a:gd name="T85" fmla="*/ 724 h 1482"/>
                    <a:gd name="T86" fmla="*/ 654 w 704"/>
                    <a:gd name="T87" fmla="*/ 724 h 1482"/>
                    <a:gd name="T88" fmla="*/ 684 w 704"/>
                    <a:gd name="T89" fmla="*/ 712 h 1482"/>
                    <a:gd name="T90" fmla="*/ 700 w 704"/>
                    <a:gd name="T91" fmla="*/ 684 h 1482"/>
                    <a:gd name="T92" fmla="*/ 702 w 704"/>
                    <a:gd name="T93" fmla="*/ 662 h 1482"/>
                    <a:gd name="T94" fmla="*/ 702 w 704"/>
                    <a:gd name="T95" fmla="*/ 176 h 1482"/>
                    <a:gd name="T96" fmla="*/ 692 w 704"/>
                    <a:gd name="T97" fmla="*/ 106 h 1482"/>
                    <a:gd name="T98" fmla="*/ 654 w 704"/>
                    <a:gd name="T99" fmla="*/ 50 h 1482"/>
                    <a:gd name="T100" fmla="*/ 614 w 704"/>
                    <a:gd name="T101" fmla="*/ 24 h 1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04" h="1482">
                      <a:moveTo>
                        <a:pt x="614" y="24"/>
                      </a:moveTo>
                      <a:lnTo>
                        <a:pt x="614" y="24"/>
                      </a:lnTo>
                      <a:lnTo>
                        <a:pt x="596" y="18"/>
                      </a:lnTo>
                      <a:lnTo>
                        <a:pt x="578" y="12"/>
                      </a:lnTo>
                      <a:lnTo>
                        <a:pt x="540" y="6"/>
                      </a:lnTo>
                      <a:lnTo>
                        <a:pt x="504" y="2"/>
                      </a:lnTo>
                      <a:lnTo>
                        <a:pt x="466" y="0"/>
                      </a:lnTo>
                      <a:lnTo>
                        <a:pt x="390" y="0"/>
                      </a:lnTo>
                      <a:lnTo>
                        <a:pt x="352" y="2"/>
                      </a:lnTo>
                      <a:lnTo>
                        <a:pt x="314" y="0"/>
                      </a:lnTo>
                      <a:lnTo>
                        <a:pt x="314" y="0"/>
                      </a:lnTo>
                      <a:lnTo>
                        <a:pt x="248" y="0"/>
                      </a:lnTo>
                      <a:lnTo>
                        <a:pt x="214" y="0"/>
                      </a:lnTo>
                      <a:lnTo>
                        <a:pt x="180" y="2"/>
                      </a:lnTo>
                      <a:lnTo>
                        <a:pt x="146" y="8"/>
                      </a:lnTo>
                      <a:lnTo>
                        <a:pt x="114" y="16"/>
                      </a:lnTo>
                      <a:lnTo>
                        <a:pt x="100" y="22"/>
                      </a:lnTo>
                      <a:lnTo>
                        <a:pt x="84" y="30"/>
                      </a:lnTo>
                      <a:lnTo>
                        <a:pt x="70" y="38"/>
                      </a:lnTo>
                      <a:lnTo>
                        <a:pt x="56" y="50"/>
                      </a:lnTo>
                      <a:lnTo>
                        <a:pt x="56" y="50"/>
                      </a:lnTo>
                      <a:lnTo>
                        <a:pt x="46" y="58"/>
                      </a:lnTo>
                      <a:lnTo>
                        <a:pt x="38" y="66"/>
                      </a:lnTo>
                      <a:lnTo>
                        <a:pt x="24" y="86"/>
                      </a:lnTo>
                      <a:lnTo>
                        <a:pt x="14" y="108"/>
                      </a:lnTo>
                      <a:lnTo>
                        <a:pt x="8" y="132"/>
                      </a:lnTo>
                      <a:lnTo>
                        <a:pt x="4" y="156"/>
                      </a:lnTo>
                      <a:lnTo>
                        <a:pt x="0" y="182"/>
                      </a:lnTo>
                      <a:lnTo>
                        <a:pt x="0" y="230"/>
                      </a:lnTo>
                      <a:lnTo>
                        <a:pt x="0" y="230"/>
                      </a:lnTo>
                      <a:lnTo>
                        <a:pt x="0" y="438"/>
                      </a:lnTo>
                      <a:lnTo>
                        <a:pt x="0" y="646"/>
                      </a:lnTo>
                      <a:lnTo>
                        <a:pt x="0" y="646"/>
                      </a:lnTo>
                      <a:lnTo>
                        <a:pt x="0" y="658"/>
                      </a:lnTo>
                      <a:lnTo>
                        <a:pt x="2" y="672"/>
                      </a:lnTo>
                      <a:lnTo>
                        <a:pt x="4" y="684"/>
                      </a:lnTo>
                      <a:lnTo>
                        <a:pt x="10" y="698"/>
                      </a:lnTo>
                      <a:lnTo>
                        <a:pt x="16" y="708"/>
                      </a:lnTo>
                      <a:lnTo>
                        <a:pt x="26" y="716"/>
                      </a:lnTo>
                      <a:lnTo>
                        <a:pt x="36" y="722"/>
                      </a:lnTo>
                      <a:lnTo>
                        <a:pt x="50" y="724"/>
                      </a:lnTo>
                      <a:lnTo>
                        <a:pt x="50" y="724"/>
                      </a:lnTo>
                      <a:lnTo>
                        <a:pt x="58" y="726"/>
                      </a:lnTo>
                      <a:lnTo>
                        <a:pt x="66" y="726"/>
                      </a:lnTo>
                      <a:lnTo>
                        <a:pt x="74" y="724"/>
                      </a:lnTo>
                      <a:lnTo>
                        <a:pt x="80" y="722"/>
                      </a:lnTo>
                      <a:lnTo>
                        <a:pt x="94" y="714"/>
                      </a:lnTo>
                      <a:lnTo>
                        <a:pt x="104" y="704"/>
                      </a:lnTo>
                      <a:lnTo>
                        <a:pt x="114" y="692"/>
                      </a:lnTo>
                      <a:lnTo>
                        <a:pt x="120" y="676"/>
                      </a:lnTo>
                      <a:lnTo>
                        <a:pt x="124" y="662"/>
                      </a:lnTo>
                      <a:lnTo>
                        <a:pt x="124" y="646"/>
                      </a:lnTo>
                      <a:lnTo>
                        <a:pt x="124" y="646"/>
                      </a:lnTo>
                      <a:lnTo>
                        <a:pt x="124" y="242"/>
                      </a:lnTo>
                      <a:lnTo>
                        <a:pt x="124" y="242"/>
                      </a:lnTo>
                      <a:lnTo>
                        <a:pt x="170" y="242"/>
                      </a:lnTo>
                      <a:lnTo>
                        <a:pt x="170" y="242"/>
                      </a:lnTo>
                      <a:lnTo>
                        <a:pt x="170" y="822"/>
                      </a:lnTo>
                      <a:lnTo>
                        <a:pt x="170" y="1112"/>
                      </a:lnTo>
                      <a:lnTo>
                        <a:pt x="170" y="1400"/>
                      </a:lnTo>
                      <a:lnTo>
                        <a:pt x="170" y="1400"/>
                      </a:lnTo>
                      <a:lnTo>
                        <a:pt x="172" y="1418"/>
                      </a:lnTo>
                      <a:lnTo>
                        <a:pt x="174" y="1432"/>
                      </a:lnTo>
                      <a:lnTo>
                        <a:pt x="182" y="1444"/>
                      </a:lnTo>
                      <a:lnTo>
                        <a:pt x="190" y="1456"/>
                      </a:lnTo>
                      <a:lnTo>
                        <a:pt x="202" y="1466"/>
                      </a:lnTo>
                      <a:lnTo>
                        <a:pt x="216" y="1472"/>
                      </a:lnTo>
                      <a:lnTo>
                        <a:pt x="230" y="1478"/>
                      </a:lnTo>
                      <a:lnTo>
                        <a:pt x="244" y="1480"/>
                      </a:lnTo>
                      <a:lnTo>
                        <a:pt x="260" y="1480"/>
                      </a:lnTo>
                      <a:lnTo>
                        <a:pt x="274" y="1480"/>
                      </a:lnTo>
                      <a:lnTo>
                        <a:pt x="288" y="1476"/>
                      </a:lnTo>
                      <a:lnTo>
                        <a:pt x="302" y="1470"/>
                      </a:lnTo>
                      <a:lnTo>
                        <a:pt x="312" y="1460"/>
                      </a:lnTo>
                      <a:lnTo>
                        <a:pt x="322" y="1450"/>
                      </a:lnTo>
                      <a:lnTo>
                        <a:pt x="328" y="1436"/>
                      </a:lnTo>
                      <a:lnTo>
                        <a:pt x="332" y="1418"/>
                      </a:lnTo>
                      <a:lnTo>
                        <a:pt x="332" y="1418"/>
                      </a:lnTo>
                      <a:lnTo>
                        <a:pt x="332" y="1244"/>
                      </a:lnTo>
                      <a:lnTo>
                        <a:pt x="332" y="1070"/>
                      </a:lnTo>
                      <a:lnTo>
                        <a:pt x="332" y="722"/>
                      </a:lnTo>
                      <a:lnTo>
                        <a:pt x="332" y="722"/>
                      </a:lnTo>
                      <a:lnTo>
                        <a:pt x="370" y="722"/>
                      </a:lnTo>
                      <a:lnTo>
                        <a:pt x="370" y="722"/>
                      </a:lnTo>
                      <a:lnTo>
                        <a:pt x="370" y="1026"/>
                      </a:lnTo>
                      <a:lnTo>
                        <a:pt x="370" y="1330"/>
                      </a:lnTo>
                      <a:lnTo>
                        <a:pt x="370" y="1330"/>
                      </a:lnTo>
                      <a:lnTo>
                        <a:pt x="370" y="1362"/>
                      </a:lnTo>
                      <a:lnTo>
                        <a:pt x="374" y="1396"/>
                      </a:lnTo>
                      <a:lnTo>
                        <a:pt x="380" y="1428"/>
                      </a:lnTo>
                      <a:lnTo>
                        <a:pt x="390" y="1460"/>
                      </a:lnTo>
                      <a:lnTo>
                        <a:pt x="390" y="1460"/>
                      </a:lnTo>
                      <a:lnTo>
                        <a:pt x="400" y="1468"/>
                      </a:lnTo>
                      <a:lnTo>
                        <a:pt x="412" y="1472"/>
                      </a:lnTo>
                      <a:lnTo>
                        <a:pt x="424" y="1478"/>
                      </a:lnTo>
                      <a:lnTo>
                        <a:pt x="436" y="1480"/>
                      </a:lnTo>
                      <a:lnTo>
                        <a:pt x="448" y="1482"/>
                      </a:lnTo>
                      <a:lnTo>
                        <a:pt x="462" y="1482"/>
                      </a:lnTo>
                      <a:lnTo>
                        <a:pt x="474" y="1480"/>
                      </a:lnTo>
                      <a:lnTo>
                        <a:pt x="486" y="1476"/>
                      </a:lnTo>
                      <a:lnTo>
                        <a:pt x="498" y="1472"/>
                      </a:lnTo>
                      <a:lnTo>
                        <a:pt x="508" y="1466"/>
                      </a:lnTo>
                      <a:lnTo>
                        <a:pt x="516" y="1460"/>
                      </a:lnTo>
                      <a:lnTo>
                        <a:pt x="524" y="1450"/>
                      </a:lnTo>
                      <a:lnTo>
                        <a:pt x="532" y="1440"/>
                      </a:lnTo>
                      <a:lnTo>
                        <a:pt x="536" y="1430"/>
                      </a:lnTo>
                      <a:lnTo>
                        <a:pt x="538" y="1416"/>
                      </a:lnTo>
                      <a:lnTo>
                        <a:pt x="540" y="1402"/>
                      </a:lnTo>
                      <a:lnTo>
                        <a:pt x="540" y="1402"/>
                      </a:lnTo>
                      <a:lnTo>
                        <a:pt x="540" y="1114"/>
                      </a:lnTo>
                      <a:lnTo>
                        <a:pt x="540" y="824"/>
                      </a:lnTo>
                      <a:lnTo>
                        <a:pt x="540" y="534"/>
                      </a:lnTo>
                      <a:lnTo>
                        <a:pt x="542" y="244"/>
                      </a:lnTo>
                      <a:lnTo>
                        <a:pt x="542" y="244"/>
                      </a:lnTo>
                      <a:lnTo>
                        <a:pt x="578" y="244"/>
                      </a:lnTo>
                      <a:lnTo>
                        <a:pt x="578" y="244"/>
                      </a:lnTo>
                      <a:lnTo>
                        <a:pt x="578" y="340"/>
                      </a:lnTo>
                      <a:lnTo>
                        <a:pt x="578" y="436"/>
                      </a:lnTo>
                      <a:lnTo>
                        <a:pt x="578" y="628"/>
                      </a:lnTo>
                      <a:lnTo>
                        <a:pt x="578" y="628"/>
                      </a:lnTo>
                      <a:lnTo>
                        <a:pt x="580" y="646"/>
                      </a:lnTo>
                      <a:lnTo>
                        <a:pt x="582" y="662"/>
                      </a:lnTo>
                      <a:lnTo>
                        <a:pt x="588" y="680"/>
                      </a:lnTo>
                      <a:lnTo>
                        <a:pt x="596" y="696"/>
                      </a:lnTo>
                      <a:lnTo>
                        <a:pt x="606" y="710"/>
                      </a:lnTo>
                      <a:lnTo>
                        <a:pt x="612" y="716"/>
                      </a:lnTo>
                      <a:lnTo>
                        <a:pt x="618" y="720"/>
                      </a:lnTo>
                      <a:lnTo>
                        <a:pt x="626" y="724"/>
                      </a:lnTo>
                      <a:lnTo>
                        <a:pt x="634" y="724"/>
                      </a:lnTo>
                      <a:lnTo>
                        <a:pt x="644" y="726"/>
                      </a:lnTo>
                      <a:lnTo>
                        <a:pt x="654" y="724"/>
                      </a:lnTo>
                      <a:lnTo>
                        <a:pt x="654" y="724"/>
                      </a:lnTo>
                      <a:lnTo>
                        <a:pt x="664" y="722"/>
                      </a:lnTo>
                      <a:lnTo>
                        <a:pt x="674" y="720"/>
                      </a:lnTo>
                      <a:lnTo>
                        <a:pt x="684" y="712"/>
                      </a:lnTo>
                      <a:lnTo>
                        <a:pt x="690" y="704"/>
                      </a:lnTo>
                      <a:lnTo>
                        <a:pt x="696" y="694"/>
                      </a:lnTo>
                      <a:lnTo>
                        <a:pt x="700" y="684"/>
                      </a:lnTo>
                      <a:lnTo>
                        <a:pt x="702" y="672"/>
                      </a:lnTo>
                      <a:lnTo>
                        <a:pt x="702" y="662"/>
                      </a:lnTo>
                      <a:lnTo>
                        <a:pt x="702" y="662"/>
                      </a:lnTo>
                      <a:lnTo>
                        <a:pt x="704" y="418"/>
                      </a:lnTo>
                      <a:lnTo>
                        <a:pt x="702" y="176"/>
                      </a:lnTo>
                      <a:lnTo>
                        <a:pt x="702" y="176"/>
                      </a:lnTo>
                      <a:lnTo>
                        <a:pt x="702" y="152"/>
                      </a:lnTo>
                      <a:lnTo>
                        <a:pt x="698" y="130"/>
                      </a:lnTo>
                      <a:lnTo>
                        <a:pt x="692" y="106"/>
                      </a:lnTo>
                      <a:lnTo>
                        <a:pt x="682" y="86"/>
                      </a:lnTo>
                      <a:lnTo>
                        <a:pt x="668" y="66"/>
                      </a:lnTo>
                      <a:lnTo>
                        <a:pt x="654" y="50"/>
                      </a:lnTo>
                      <a:lnTo>
                        <a:pt x="636" y="36"/>
                      </a:lnTo>
                      <a:lnTo>
                        <a:pt x="614" y="24"/>
                      </a:lnTo>
                      <a:lnTo>
                        <a:pt x="614"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97" name="Group 96"/>
              <p:cNvGrpSpPr/>
              <p:nvPr/>
            </p:nvGrpSpPr>
            <p:grpSpPr>
              <a:xfrm>
                <a:off x="13704888" y="5292725"/>
                <a:ext cx="1285875" cy="2889250"/>
                <a:chOff x="13704888" y="5292725"/>
                <a:chExt cx="1285875" cy="2889250"/>
              </a:xfrm>
              <a:grpFill/>
            </p:grpSpPr>
            <p:sp>
              <p:nvSpPr>
                <p:cNvPr id="104" name="Freeform 19"/>
                <p:cNvSpPr>
                  <a:spLocks/>
                </p:cNvSpPr>
                <p:nvPr/>
              </p:nvSpPr>
              <p:spPr bwMode="auto">
                <a:xfrm>
                  <a:off x="14111288" y="5292725"/>
                  <a:ext cx="473075" cy="466725"/>
                </a:xfrm>
                <a:custGeom>
                  <a:avLst/>
                  <a:gdLst>
                    <a:gd name="T0" fmla="*/ 178 w 298"/>
                    <a:gd name="T1" fmla="*/ 4 h 294"/>
                    <a:gd name="T2" fmla="*/ 178 w 298"/>
                    <a:gd name="T3" fmla="*/ 4 h 294"/>
                    <a:gd name="T4" fmla="*/ 160 w 298"/>
                    <a:gd name="T5" fmla="*/ 0 h 294"/>
                    <a:gd name="T6" fmla="*/ 142 w 298"/>
                    <a:gd name="T7" fmla="*/ 0 h 294"/>
                    <a:gd name="T8" fmla="*/ 126 w 298"/>
                    <a:gd name="T9" fmla="*/ 2 h 294"/>
                    <a:gd name="T10" fmla="*/ 108 w 298"/>
                    <a:gd name="T11" fmla="*/ 8 h 294"/>
                    <a:gd name="T12" fmla="*/ 92 w 298"/>
                    <a:gd name="T13" fmla="*/ 14 h 294"/>
                    <a:gd name="T14" fmla="*/ 76 w 298"/>
                    <a:gd name="T15" fmla="*/ 22 h 294"/>
                    <a:gd name="T16" fmla="*/ 60 w 298"/>
                    <a:gd name="T17" fmla="*/ 32 h 294"/>
                    <a:gd name="T18" fmla="*/ 48 w 298"/>
                    <a:gd name="T19" fmla="*/ 44 h 294"/>
                    <a:gd name="T20" fmla="*/ 34 w 298"/>
                    <a:gd name="T21" fmla="*/ 56 h 294"/>
                    <a:gd name="T22" fmla="*/ 24 w 298"/>
                    <a:gd name="T23" fmla="*/ 70 h 294"/>
                    <a:gd name="T24" fmla="*/ 16 w 298"/>
                    <a:gd name="T25" fmla="*/ 86 h 294"/>
                    <a:gd name="T26" fmla="*/ 8 w 298"/>
                    <a:gd name="T27" fmla="*/ 102 h 294"/>
                    <a:gd name="T28" fmla="*/ 4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6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8 w 298"/>
                    <a:gd name="T65" fmla="*/ 268 h 294"/>
                    <a:gd name="T66" fmla="*/ 254 w 298"/>
                    <a:gd name="T67" fmla="*/ 254 h 294"/>
                    <a:gd name="T68" fmla="*/ 268 w 298"/>
                    <a:gd name="T69" fmla="*/ 236 h 294"/>
                    <a:gd name="T70" fmla="*/ 268 w 298"/>
                    <a:gd name="T71" fmla="*/ 236 h 294"/>
                    <a:gd name="T72" fmla="*/ 280 w 298"/>
                    <a:gd name="T73" fmla="*/ 222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8 h 294"/>
                    <a:gd name="T88" fmla="*/ 280 w 298"/>
                    <a:gd name="T89" fmla="*/ 80 h 294"/>
                    <a:gd name="T90" fmla="*/ 270 w 298"/>
                    <a:gd name="T91" fmla="*/ 66 h 294"/>
                    <a:gd name="T92" fmla="*/ 258 w 298"/>
                    <a:gd name="T93" fmla="*/ 50 h 294"/>
                    <a:gd name="T94" fmla="*/ 244 w 298"/>
                    <a:gd name="T95" fmla="*/ 38 h 294"/>
                    <a:gd name="T96" fmla="*/ 230 w 298"/>
                    <a:gd name="T97" fmla="*/ 26 h 294"/>
                    <a:gd name="T98" fmla="*/ 214 w 298"/>
                    <a:gd name="T99" fmla="*/ 16 h 294"/>
                    <a:gd name="T100" fmla="*/ 196 w 298"/>
                    <a:gd name="T101" fmla="*/ 8 h 294"/>
                    <a:gd name="T102" fmla="*/ 178 w 298"/>
                    <a:gd name="T103" fmla="*/ 4 h 294"/>
                    <a:gd name="T104" fmla="*/ 178 w 298"/>
                    <a:gd name="T105" fmla="*/ 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4"/>
                      </a:moveTo>
                      <a:lnTo>
                        <a:pt x="178" y="4"/>
                      </a:lnTo>
                      <a:lnTo>
                        <a:pt x="160" y="0"/>
                      </a:lnTo>
                      <a:lnTo>
                        <a:pt x="142" y="0"/>
                      </a:lnTo>
                      <a:lnTo>
                        <a:pt x="126" y="2"/>
                      </a:lnTo>
                      <a:lnTo>
                        <a:pt x="108" y="8"/>
                      </a:lnTo>
                      <a:lnTo>
                        <a:pt x="92" y="14"/>
                      </a:lnTo>
                      <a:lnTo>
                        <a:pt x="76" y="22"/>
                      </a:lnTo>
                      <a:lnTo>
                        <a:pt x="60" y="32"/>
                      </a:lnTo>
                      <a:lnTo>
                        <a:pt x="48" y="44"/>
                      </a:lnTo>
                      <a:lnTo>
                        <a:pt x="34" y="56"/>
                      </a:lnTo>
                      <a:lnTo>
                        <a:pt x="24" y="70"/>
                      </a:lnTo>
                      <a:lnTo>
                        <a:pt x="16" y="86"/>
                      </a:lnTo>
                      <a:lnTo>
                        <a:pt x="8" y="102"/>
                      </a:lnTo>
                      <a:lnTo>
                        <a:pt x="4" y="118"/>
                      </a:lnTo>
                      <a:lnTo>
                        <a:pt x="0" y="136"/>
                      </a:lnTo>
                      <a:lnTo>
                        <a:pt x="0" y="154"/>
                      </a:lnTo>
                      <a:lnTo>
                        <a:pt x="2" y="172"/>
                      </a:lnTo>
                      <a:lnTo>
                        <a:pt x="2" y="172"/>
                      </a:lnTo>
                      <a:lnTo>
                        <a:pt x="6" y="196"/>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8" y="268"/>
                      </a:lnTo>
                      <a:lnTo>
                        <a:pt x="254" y="254"/>
                      </a:lnTo>
                      <a:lnTo>
                        <a:pt x="268" y="236"/>
                      </a:lnTo>
                      <a:lnTo>
                        <a:pt x="268" y="236"/>
                      </a:lnTo>
                      <a:lnTo>
                        <a:pt x="280" y="222"/>
                      </a:lnTo>
                      <a:lnTo>
                        <a:pt x="288" y="204"/>
                      </a:lnTo>
                      <a:lnTo>
                        <a:pt x="294" y="186"/>
                      </a:lnTo>
                      <a:lnTo>
                        <a:pt x="298" y="168"/>
                      </a:lnTo>
                      <a:lnTo>
                        <a:pt x="298" y="150"/>
                      </a:lnTo>
                      <a:lnTo>
                        <a:pt x="296" y="132"/>
                      </a:lnTo>
                      <a:lnTo>
                        <a:pt x="292" y="114"/>
                      </a:lnTo>
                      <a:lnTo>
                        <a:pt x="286" y="98"/>
                      </a:lnTo>
                      <a:lnTo>
                        <a:pt x="280" y="80"/>
                      </a:lnTo>
                      <a:lnTo>
                        <a:pt x="270" y="66"/>
                      </a:lnTo>
                      <a:lnTo>
                        <a:pt x="258" y="50"/>
                      </a:lnTo>
                      <a:lnTo>
                        <a:pt x="244" y="38"/>
                      </a:lnTo>
                      <a:lnTo>
                        <a:pt x="230" y="26"/>
                      </a:lnTo>
                      <a:lnTo>
                        <a:pt x="214" y="16"/>
                      </a:lnTo>
                      <a:lnTo>
                        <a:pt x="196" y="8"/>
                      </a:lnTo>
                      <a:lnTo>
                        <a:pt x="178" y="4"/>
                      </a:lnTo>
                      <a:lnTo>
                        <a:pt x="1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105" name="Freeform 20"/>
                <p:cNvSpPr>
                  <a:spLocks/>
                </p:cNvSpPr>
                <p:nvPr/>
              </p:nvSpPr>
              <p:spPr bwMode="auto">
                <a:xfrm>
                  <a:off x="13704888" y="5835650"/>
                  <a:ext cx="1285875" cy="2346325"/>
                </a:xfrm>
                <a:custGeom>
                  <a:avLst/>
                  <a:gdLst>
                    <a:gd name="T0" fmla="*/ 624 w 810"/>
                    <a:gd name="T1" fmla="*/ 38 h 1478"/>
                    <a:gd name="T2" fmla="*/ 576 w 810"/>
                    <a:gd name="T3" fmla="*/ 12 h 1478"/>
                    <a:gd name="T4" fmla="*/ 508 w 810"/>
                    <a:gd name="T5" fmla="*/ 0 h 1478"/>
                    <a:gd name="T6" fmla="*/ 398 w 810"/>
                    <a:gd name="T7" fmla="*/ 2 h 1478"/>
                    <a:gd name="T8" fmla="*/ 334 w 810"/>
                    <a:gd name="T9" fmla="*/ 0 h 1478"/>
                    <a:gd name="T10" fmla="*/ 246 w 810"/>
                    <a:gd name="T11" fmla="*/ 10 h 1478"/>
                    <a:gd name="T12" fmla="*/ 194 w 810"/>
                    <a:gd name="T13" fmla="*/ 34 h 1478"/>
                    <a:gd name="T14" fmla="*/ 162 w 810"/>
                    <a:gd name="T15" fmla="*/ 62 h 1478"/>
                    <a:gd name="T16" fmla="*/ 134 w 810"/>
                    <a:gd name="T17" fmla="*/ 110 h 1478"/>
                    <a:gd name="T18" fmla="*/ 94 w 810"/>
                    <a:gd name="T19" fmla="*/ 220 h 1478"/>
                    <a:gd name="T20" fmla="*/ 50 w 810"/>
                    <a:gd name="T21" fmla="*/ 370 h 1478"/>
                    <a:gd name="T22" fmla="*/ 32 w 810"/>
                    <a:gd name="T23" fmla="*/ 434 h 1478"/>
                    <a:gd name="T24" fmla="*/ 4 w 810"/>
                    <a:gd name="T25" fmla="*/ 528 h 1478"/>
                    <a:gd name="T26" fmla="*/ 0 w 810"/>
                    <a:gd name="T27" fmla="*/ 610 h 1478"/>
                    <a:gd name="T28" fmla="*/ 18 w 810"/>
                    <a:gd name="T29" fmla="*/ 630 h 1478"/>
                    <a:gd name="T30" fmla="*/ 64 w 810"/>
                    <a:gd name="T31" fmla="*/ 632 h 1478"/>
                    <a:gd name="T32" fmla="*/ 102 w 810"/>
                    <a:gd name="T33" fmla="*/ 610 h 1478"/>
                    <a:gd name="T34" fmla="*/ 140 w 810"/>
                    <a:gd name="T35" fmla="*/ 506 h 1478"/>
                    <a:gd name="T36" fmla="*/ 224 w 810"/>
                    <a:gd name="T37" fmla="*/ 234 h 1478"/>
                    <a:gd name="T38" fmla="*/ 230 w 810"/>
                    <a:gd name="T39" fmla="*/ 220 h 1478"/>
                    <a:gd name="T40" fmla="*/ 262 w 810"/>
                    <a:gd name="T41" fmla="*/ 188 h 1478"/>
                    <a:gd name="T42" fmla="*/ 166 w 810"/>
                    <a:gd name="T43" fmla="*/ 542 h 1478"/>
                    <a:gd name="T44" fmla="*/ 64 w 810"/>
                    <a:gd name="T45" fmla="*/ 892 h 1478"/>
                    <a:gd name="T46" fmla="*/ 240 w 810"/>
                    <a:gd name="T47" fmla="*/ 1020 h 1478"/>
                    <a:gd name="T48" fmla="*/ 240 w 810"/>
                    <a:gd name="T49" fmla="*/ 1398 h 1478"/>
                    <a:gd name="T50" fmla="*/ 244 w 810"/>
                    <a:gd name="T51" fmla="*/ 1426 h 1478"/>
                    <a:gd name="T52" fmla="*/ 268 w 810"/>
                    <a:gd name="T53" fmla="*/ 1464 h 1478"/>
                    <a:gd name="T54" fmla="*/ 308 w 810"/>
                    <a:gd name="T55" fmla="*/ 1478 h 1478"/>
                    <a:gd name="T56" fmla="*/ 336 w 810"/>
                    <a:gd name="T57" fmla="*/ 1472 h 1478"/>
                    <a:gd name="T58" fmla="*/ 366 w 810"/>
                    <a:gd name="T59" fmla="*/ 1442 h 1478"/>
                    <a:gd name="T60" fmla="*/ 376 w 810"/>
                    <a:gd name="T61" fmla="*/ 1400 h 1478"/>
                    <a:gd name="T62" fmla="*/ 376 w 810"/>
                    <a:gd name="T63" fmla="*/ 1146 h 1478"/>
                    <a:gd name="T64" fmla="*/ 376 w 810"/>
                    <a:gd name="T65" fmla="*/ 892 h 1478"/>
                    <a:gd name="T66" fmla="*/ 418 w 810"/>
                    <a:gd name="T67" fmla="*/ 1024 h 1478"/>
                    <a:gd name="T68" fmla="*/ 420 w 810"/>
                    <a:gd name="T69" fmla="*/ 1418 h 1478"/>
                    <a:gd name="T70" fmla="*/ 428 w 810"/>
                    <a:gd name="T71" fmla="*/ 1444 h 1478"/>
                    <a:gd name="T72" fmla="*/ 452 w 810"/>
                    <a:gd name="T73" fmla="*/ 1468 h 1478"/>
                    <a:gd name="T74" fmla="*/ 486 w 810"/>
                    <a:gd name="T75" fmla="*/ 1476 h 1478"/>
                    <a:gd name="T76" fmla="*/ 520 w 810"/>
                    <a:gd name="T77" fmla="*/ 1468 h 1478"/>
                    <a:gd name="T78" fmla="*/ 544 w 810"/>
                    <a:gd name="T79" fmla="*/ 1444 h 1478"/>
                    <a:gd name="T80" fmla="*/ 552 w 810"/>
                    <a:gd name="T81" fmla="*/ 1418 h 1478"/>
                    <a:gd name="T82" fmla="*/ 554 w 810"/>
                    <a:gd name="T83" fmla="*/ 1024 h 1478"/>
                    <a:gd name="T84" fmla="*/ 730 w 810"/>
                    <a:gd name="T85" fmla="*/ 892 h 1478"/>
                    <a:gd name="T86" fmla="*/ 642 w 810"/>
                    <a:gd name="T87" fmla="*/ 546 h 1478"/>
                    <a:gd name="T88" fmla="*/ 556 w 810"/>
                    <a:gd name="T89" fmla="*/ 200 h 1478"/>
                    <a:gd name="T90" fmla="*/ 598 w 810"/>
                    <a:gd name="T91" fmla="*/ 264 h 1478"/>
                    <a:gd name="T92" fmla="*/ 666 w 810"/>
                    <a:gd name="T93" fmla="*/ 502 h 1478"/>
                    <a:gd name="T94" fmla="*/ 694 w 810"/>
                    <a:gd name="T95" fmla="*/ 596 h 1478"/>
                    <a:gd name="T96" fmla="*/ 710 w 810"/>
                    <a:gd name="T97" fmla="*/ 622 h 1478"/>
                    <a:gd name="T98" fmla="*/ 736 w 810"/>
                    <a:gd name="T99" fmla="*/ 634 h 1478"/>
                    <a:gd name="T100" fmla="*/ 768 w 810"/>
                    <a:gd name="T101" fmla="*/ 634 h 1478"/>
                    <a:gd name="T102" fmla="*/ 794 w 810"/>
                    <a:gd name="T103" fmla="*/ 622 h 1478"/>
                    <a:gd name="T104" fmla="*/ 810 w 810"/>
                    <a:gd name="T105" fmla="*/ 598 h 1478"/>
                    <a:gd name="T106" fmla="*/ 806 w 810"/>
                    <a:gd name="T107" fmla="*/ 552 h 1478"/>
                    <a:gd name="T108" fmla="*/ 780 w 810"/>
                    <a:gd name="T109" fmla="*/ 446 h 1478"/>
                    <a:gd name="T110" fmla="*/ 738 w 810"/>
                    <a:gd name="T111" fmla="*/ 308 h 1478"/>
                    <a:gd name="T112" fmla="*/ 700 w 810"/>
                    <a:gd name="T113" fmla="*/ 174 h 1478"/>
                    <a:gd name="T114" fmla="*/ 658 w 810"/>
                    <a:gd name="T115" fmla="*/ 78 h 1478"/>
                    <a:gd name="T116" fmla="*/ 638 w 810"/>
                    <a:gd name="T117" fmla="*/ 50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0" h="1478">
                      <a:moveTo>
                        <a:pt x="638" y="50"/>
                      </a:moveTo>
                      <a:lnTo>
                        <a:pt x="638" y="50"/>
                      </a:lnTo>
                      <a:lnTo>
                        <a:pt x="624" y="38"/>
                      </a:lnTo>
                      <a:lnTo>
                        <a:pt x="608" y="28"/>
                      </a:lnTo>
                      <a:lnTo>
                        <a:pt x="592" y="20"/>
                      </a:lnTo>
                      <a:lnTo>
                        <a:pt x="576" y="12"/>
                      </a:lnTo>
                      <a:lnTo>
                        <a:pt x="560" y="8"/>
                      </a:lnTo>
                      <a:lnTo>
                        <a:pt x="542" y="4"/>
                      </a:lnTo>
                      <a:lnTo>
                        <a:pt x="508" y="0"/>
                      </a:lnTo>
                      <a:lnTo>
                        <a:pt x="470" y="0"/>
                      </a:lnTo>
                      <a:lnTo>
                        <a:pt x="434" y="0"/>
                      </a:lnTo>
                      <a:lnTo>
                        <a:pt x="398" y="2"/>
                      </a:lnTo>
                      <a:lnTo>
                        <a:pt x="364" y="0"/>
                      </a:lnTo>
                      <a:lnTo>
                        <a:pt x="364" y="0"/>
                      </a:lnTo>
                      <a:lnTo>
                        <a:pt x="334" y="0"/>
                      </a:lnTo>
                      <a:lnTo>
                        <a:pt x="304" y="0"/>
                      </a:lnTo>
                      <a:lnTo>
                        <a:pt x="276" y="4"/>
                      </a:lnTo>
                      <a:lnTo>
                        <a:pt x="246" y="10"/>
                      </a:lnTo>
                      <a:lnTo>
                        <a:pt x="218" y="20"/>
                      </a:lnTo>
                      <a:lnTo>
                        <a:pt x="206" y="26"/>
                      </a:lnTo>
                      <a:lnTo>
                        <a:pt x="194" y="34"/>
                      </a:lnTo>
                      <a:lnTo>
                        <a:pt x="182" y="42"/>
                      </a:lnTo>
                      <a:lnTo>
                        <a:pt x="172" y="52"/>
                      </a:lnTo>
                      <a:lnTo>
                        <a:pt x="162" y="62"/>
                      </a:lnTo>
                      <a:lnTo>
                        <a:pt x="152" y="76"/>
                      </a:lnTo>
                      <a:lnTo>
                        <a:pt x="152" y="76"/>
                      </a:lnTo>
                      <a:lnTo>
                        <a:pt x="134" y="110"/>
                      </a:lnTo>
                      <a:lnTo>
                        <a:pt x="118" y="146"/>
                      </a:lnTo>
                      <a:lnTo>
                        <a:pt x="106" y="182"/>
                      </a:lnTo>
                      <a:lnTo>
                        <a:pt x="94" y="220"/>
                      </a:lnTo>
                      <a:lnTo>
                        <a:pt x="74" y="296"/>
                      </a:lnTo>
                      <a:lnTo>
                        <a:pt x="62" y="334"/>
                      </a:lnTo>
                      <a:lnTo>
                        <a:pt x="50" y="370"/>
                      </a:lnTo>
                      <a:lnTo>
                        <a:pt x="50" y="370"/>
                      </a:lnTo>
                      <a:lnTo>
                        <a:pt x="42" y="402"/>
                      </a:lnTo>
                      <a:lnTo>
                        <a:pt x="32" y="434"/>
                      </a:lnTo>
                      <a:lnTo>
                        <a:pt x="20" y="464"/>
                      </a:lnTo>
                      <a:lnTo>
                        <a:pt x="12" y="496"/>
                      </a:lnTo>
                      <a:lnTo>
                        <a:pt x="4" y="528"/>
                      </a:lnTo>
                      <a:lnTo>
                        <a:pt x="0" y="560"/>
                      </a:lnTo>
                      <a:lnTo>
                        <a:pt x="0" y="594"/>
                      </a:lnTo>
                      <a:lnTo>
                        <a:pt x="0" y="610"/>
                      </a:lnTo>
                      <a:lnTo>
                        <a:pt x="4" y="626"/>
                      </a:lnTo>
                      <a:lnTo>
                        <a:pt x="4" y="626"/>
                      </a:lnTo>
                      <a:lnTo>
                        <a:pt x="18" y="630"/>
                      </a:lnTo>
                      <a:lnTo>
                        <a:pt x="34" y="634"/>
                      </a:lnTo>
                      <a:lnTo>
                        <a:pt x="50" y="634"/>
                      </a:lnTo>
                      <a:lnTo>
                        <a:pt x="64" y="632"/>
                      </a:lnTo>
                      <a:lnTo>
                        <a:pt x="78" y="628"/>
                      </a:lnTo>
                      <a:lnTo>
                        <a:pt x="90" y="620"/>
                      </a:lnTo>
                      <a:lnTo>
                        <a:pt x="102" y="610"/>
                      </a:lnTo>
                      <a:lnTo>
                        <a:pt x="110" y="596"/>
                      </a:lnTo>
                      <a:lnTo>
                        <a:pt x="110" y="596"/>
                      </a:lnTo>
                      <a:lnTo>
                        <a:pt x="140" y="506"/>
                      </a:lnTo>
                      <a:lnTo>
                        <a:pt x="168" y="416"/>
                      </a:lnTo>
                      <a:lnTo>
                        <a:pt x="196" y="324"/>
                      </a:lnTo>
                      <a:lnTo>
                        <a:pt x="224" y="234"/>
                      </a:lnTo>
                      <a:lnTo>
                        <a:pt x="224" y="234"/>
                      </a:lnTo>
                      <a:lnTo>
                        <a:pt x="226" y="228"/>
                      </a:lnTo>
                      <a:lnTo>
                        <a:pt x="230" y="220"/>
                      </a:lnTo>
                      <a:lnTo>
                        <a:pt x="240" y="208"/>
                      </a:lnTo>
                      <a:lnTo>
                        <a:pt x="262" y="188"/>
                      </a:lnTo>
                      <a:lnTo>
                        <a:pt x="262" y="188"/>
                      </a:lnTo>
                      <a:lnTo>
                        <a:pt x="240" y="278"/>
                      </a:lnTo>
                      <a:lnTo>
                        <a:pt x="216" y="366"/>
                      </a:lnTo>
                      <a:lnTo>
                        <a:pt x="166" y="542"/>
                      </a:lnTo>
                      <a:lnTo>
                        <a:pt x="114" y="716"/>
                      </a:lnTo>
                      <a:lnTo>
                        <a:pt x="64" y="892"/>
                      </a:lnTo>
                      <a:lnTo>
                        <a:pt x="64" y="892"/>
                      </a:lnTo>
                      <a:lnTo>
                        <a:pt x="238" y="892"/>
                      </a:lnTo>
                      <a:lnTo>
                        <a:pt x="238" y="892"/>
                      </a:lnTo>
                      <a:lnTo>
                        <a:pt x="240" y="1020"/>
                      </a:lnTo>
                      <a:lnTo>
                        <a:pt x="240" y="1146"/>
                      </a:lnTo>
                      <a:lnTo>
                        <a:pt x="240" y="1272"/>
                      </a:lnTo>
                      <a:lnTo>
                        <a:pt x="240" y="1398"/>
                      </a:lnTo>
                      <a:lnTo>
                        <a:pt x="240" y="1398"/>
                      </a:lnTo>
                      <a:lnTo>
                        <a:pt x="242" y="1412"/>
                      </a:lnTo>
                      <a:lnTo>
                        <a:pt x="244" y="1426"/>
                      </a:lnTo>
                      <a:lnTo>
                        <a:pt x="250" y="1440"/>
                      </a:lnTo>
                      <a:lnTo>
                        <a:pt x="258" y="1452"/>
                      </a:lnTo>
                      <a:lnTo>
                        <a:pt x="268" y="1464"/>
                      </a:lnTo>
                      <a:lnTo>
                        <a:pt x="278" y="1472"/>
                      </a:lnTo>
                      <a:lnTo>
                        <a:pt x="292" y="1476"/>
                      </a:lnTo>
                      <a:lnTo>
                        <a:pt x="308" y="1478"/>
                      </a:lnTo>
                      <a:lnTo>
                        <a:pt x="308" y="1478"/>
                      </a:lnTo>
                      <a:lnTo>
                        <a:pt x="322" y="1478"/>
                      </a:lnTo>
                      <a:lnTo>
                        <a:pt x="336" y="1472"/>
                      </a:lnTo>
                      <a:lnTo>
                        <a:pt x="348" y="1464"/>
                      </a:lnTo>
                      <a:lnTo>
                        <a:pt x="358" y="1454"/>
                      </a:lnTo>
                      <a:lnTo>
                        <a:pt x="366" y="1442"/>
                      </a:lnTo>
                      <a:lnTo>
                        <a:pt x="372" y="1430"/>
                      </a:lnTo>
                      <a:lnTo>
                        <a:pt x="376" y="1414"/>
                      </a:lnTo>
                      <a:lnTo>
                        <a:pt x="376" y="1400"/>
                      </a:lnTo>
                      <a:lnTo>
                        <a:pt x="376" y="1400"/>
                      </a:lnTo>
                      <a:lnTo>
                        <a:pt x="376" y="1274"/>
                      </a:lnTo>
                      <a:lnTo>
                        <a:pt x="376" y="1146"/>
                      </a:lnTo>
                      <a:lnTo>
                        <a:pt x="376" y="1020"/>
                      </a:lnTo>
                      <a:lnTo>
                        <a:pt x="376" y="892"/>
                      </a:lnTo>
                      <a:lnTo>
                        <a:pt x="376" y="892"/>
                      </a:lnTo>
                      <a:lnTo>
                        <a:pt x="418" y="894"/>
                      </a:lnTo>
                      <a:lnTo>
                        <a:pt x="418" y="894"/>
                      </a:lnTo>
                      <a:lnTo>
                        <a:pt x="418" y="1024"/>
                      </a:lnTo>
                      <a:lnTo>
                        <a:pt x="418" y="1156"/>
                      </a:lnTo>
                      <a:lnTo>
                        <a:pt x="418" y="1288"/>
                      </a:lnTo>
                      <a:lnTo>
                        <a:pt x="420" y="1418"/>
                      </a:lnTo>
                      <a:lnTo>
                        <a:pt x="420" y="1418"/>
                      </a:lnTo>
                      <a:lnTo>
                        <a:pt x="422" y="1432"/>
                      </a:lnTo>
                      <a:lnTo>
                        <a:pt x="428" y="1444"/>
                      </a:lnTo>
                      <a:lnTo>
                        <a:pt x="434" y="1454"/>
                      </a:lnTo>
                      <a:lnTo>
                        <a:pt x="442" y="1462"/>
                      </a:lnTo>
                      <a:lnTo>
                        <a:pt x="452" y="1468"/>
                      </a:lnTo>
                      <a:lnTo>
                        <a:pt x="462" y="1474"/>
                      </a:lnTo>
                      <a:lnTo>
                        <a:pt x="474" y="1476"/>
                      </a:lnTo>
                      <a:lnTo>
                        <a:pt x="486" y="1476"/>
                      </a:lnTo>
                      <a:lnTo>
                        <a:pt x="498" y="1476"/>
                      </a:lnTo>
                      <a:lnTo>
                        <a:pt x="508" y="1472"/>
                      </a:lnTo>
                      <a:lnTo>
                        <a:pt x="520" y="1468"/>
                      </a:lnTo>
                      <a:lnTo>
                        <a:pt x="530" y="1462"/>
                      </a:lnTo>
                      <a:lnTo>
                        <a:pt x="538" y="1454"/>
                      </a:lnTo>
                      <a:lnTo>
                        <a:pt x="544" y="1444"/>
                      </a:lnTo>
                      <a:lnTo>
                        <a:pt x="550" y="1432"/>
                      </a:lnTo>
                      <a:lnTo>
                        <a:pt x="552" y="1418"/>
                      </a:lnTo>
                      <a:lnTo>
                        <a:pt x="552" y="1418"/>
                      </a:lnTo>
                      <a:lnTo>
                        <a:pt x="554" y="1286"/>
                      </a:lnTo>
                      <a:lnTo>
                        <a:pt x="554" y="1156"/>
                      </a:lnTo>
                      <a:lnTo>
                        <a:pt x="554" y="1024"/>
                      </a:lnTo>
                      <a:lnTo>
                        <a:pt x="554" y="894"/>
                      </a:lnTo>
                      <a:lnTo>
                        <a:pt x="554" y="894"/>
                      </a:lnTo>
                      <a:lnTo>
                        <a:pt x="730" y="892"/>
                      </a:lnTo>
                      <a:lnTo>
                        <a:pt x="730" y="892"/>
                      </a:lnTo>
                      <a:lnTo>
                        <a:pt x="686" y="720"/>
                      </a:lnTo>
                      <a:lnTo>
                        <a:pt x="642" y="546"/>
                      </a:lnTo>
                      <a:lnTo>
                        <a:pt x="598" y="374"/>
                      </a:lnTo>
                      <a:lnTo>
                        <a:pt x="556" y="200"/>
                      </a:lnTo>
                      <a:lnTo>
                        <a:pt x="556" y="200"/>
                      </a:lnTo>
                      <a:lnTo>
                        <a:pt x="582" y="218"/>
                      </a:lnTo>
                      <a:lnTo>
                        <a:pt x="582" y="218"/>
                      </a:lnTo>
                      <a:lnTo>
                        <a:pt x="598" y="264"/>
                      </a:lnTo>
                      <a:lnTo>
                        <a:pt x="612" y="312"/>
                      </a:lnTo>
                      <a:lnTo>
                        <a:pt x="638" y="406"/>
                      </a:lnTo>
                      <a:lnTo>
                        <a:pt x="666" y="502"/>
                      </a:lnTo>
                      <a:lnTo>
                        <a:pt x="680" y="550"/>
                      </a:lnTo>
                      <a:lnTo>
                        <a:pt x="694" y="596"/>
                      </a:lnTo>
                      <a:lnTo>
                        <a:pt x="694" y="596"/>
                      </a:lnTo>
                      <a:lnTo>
                        <a:pt x="698" y="606"/>
                      </a:lnTo>
                      <a:lnTo>
                        <a:pt x="704" y="614"/>
                      </a:lnTo>
                      <a:lnTo>
                        <a:pt x="710" y="622"/>
                      </a:lnTo>
                      <a:lnTo>
                        <a:pt x="718" y="626"/>
                      </a:lnTo>
                      <a:lnTo>
                        <a:pt x="728" y="632"/>
                      </a:lnTo>
                      <a:lnTo>
                        <a:pt x="736" y="634"/>
                      </a:lnTo>
                      <a:lnTo>
                        <a:pt x="746" y="636"/>
                      </a:lnTo>
                      <a:lnTo>
                        <a:pt x="758" y="636"/>
                      </a:lnTo>
                      <a:lnTo>
                        <a:pt x="768" y="634"/>
                      </a:lnTo>
                      <a:lnTo>
                        <a:pt x="776" y="632"/>
                      </a:lnTo>
                      <a:lnTo>
                        <a:pt x="786" y="628"/>
                      </a:lnTo>
                      <a:lnTo>
                        <a:pt x="794" y="622"/>
                      </a:lnTo>
                      <a:lnTo>
                        <a:pt x="800" y="616"/>
                      </a:lnTo>
                      <a:lnTo>
                        <a:pt x="806" y="608"/>
                      </a:lnTo>
                      <a:lnTo>
                        <a:pt x="810" y="598"/>
                      </a:lnTo>
                      <a:lnTo>
                        <a:pt x="810" y="586"/>
                      </a:lnTo>
                      <a:lnTo>
                        <a:pt x="810" y="586"/>
                      </a:lnTo>
                      <a:lnTo>
                        <a:pt x="806" y="552"/>
                      </a:lnTo>
                      <a:lnTo>
                        <a:pt x="798" y="516"/>
                      </a:lnTo>
                      <a:lnTo>
                        <a:pt x="790" y="482"/>
                      </a:lnTo>
                      <a:lnTo>
                        <a:pt x="780" y="446"/>
                      </a:lnTo>
                      <a:lnTo>
                        <a:pt x="758" y="378"/>
                      </a:lnTo>
                      <a:lnTo>
                        <a:pt x="738" y="308"/>
                      </a:lnTo>
                      <a:lnTo>
                        <a:pt x="738" y="308"/>
                      </a:lnTo>
                      <a:lnTo>
                        <a:pt x="728" y="276"/>
                      </a:lnTo>
                      <a:lnTo>
                        <a:pt x="720" y="242"/>
                      </a:lnTo>
                      <a:lnTo>
                        <a:pt x="700" y="174"/>
                      </a:lnTo>
                      <a:lnTo>
                        <a:pt x="690" y="140"/>
                      </a:lnTo>
                      <a:lnTo>
                        <a:pt x="676" y="108"/>
                      </a:lnTo>
                      <a:lnTo>
                        <a:pt x="658" y="78"/>
                      </a:lnTo>
                      <a:lnTo>
                        <a:pt x="648"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98" name="Group 97"/>
              <p:cNvGrpSpPr/>
              <p:nvPr/>
            </p:nvGrpSpPr>
            <p:grpSpPr>
              <a:xfrm>
                <a:off x="14955838" y="4721225"/>
                <a:ext cx="1117600" cy="1660525"/>
                <a:chOff x="14955838" y="4721225"/>
                <a:chExt cx="1117600" cy="1660525"/>
              </a:xfrm>
              <a:grpFill/>
            </p:grpSpPr>
            <p:sp>
              <p:nvSpPr>
                <p:cNvPr id="102" name="Freeform 12"/>
                <p:cNvSpPr>
                  <a:spLocks/>
                </p:cNvSpPr>
                <p:nvPr/>
              </p:nvSpPr>
              <p:spPr bwMode="auto">
                <a:xfrm>
                  <a:off x="15292388" y="4721225"/>
                  <a:ext cx="463550" cy="460375"/>
                </a:xfrm>
                <a:custGeom>
                  <a:avLst/>
                  <a:gdLst>
                    <a:gd name="T0" fmla="*/ 108 w 292"/>
                    <a:gd name="T1" fmla="*/ 6 h 290"/>
                    <a:gd name="T2" fmla="*/ 108 w 292"/>
                    <a:gd name="T3" fmla="*/ 6 h 290"/>
                    <a:gd name="T4" fmla="*/ 128 w 292"/>
                    <a:gd name="T5" fmla="*/ 2 h 290"/>
                    <a:gd name="T6" fmla="*/ 148 w 292"/>
                    <a:gd name="T7" fmla="*/ 0 h 290"/>
                    <a:gd name="T8" fmla="*/ 168 w 292"/>
                    <a:gd name="T9" fmla="*/ 2 h 290"/>
                    <a:gd name="T10" fmla="*/ 186 w 292"/>
                    <a:gd name="T11" fmla="*/ 8 h 290"/>
                    <a:gd name="T12" fmla="*/ 206 w 292"/>
                    <a:gd name="T13" fmla="*/ 14 h 290"/>
                    <a:gd name="T14" fmla="*/ 222 w 292"/>
                    <a:gd name="T15" fmla="*/ 24 h 290"/>
                    <a:gd name="T16" fmla="*/ 238 w 292"/>
                    <a:gd name="T17" fmla="*/ 36 h 290"/>
                    <a:gd name="T18" fmla="*/ 252 w 292"/>
                    <a:gd name="T19" fmla="*/ 50 h 290"/>
                    <a:gd name="T20" fmla="*/ 266 w 292"/>
                    <a:gd name="T21" fmla="*/ 66 h 290"/>
                    <a:gd name="T22" fmla="*/ 276 w 292"/>
                    <a:gd name="T23" fmla="*/ 82 h 290"/>
                    <a:gd name="T24" fmla="*/ 284 w 292"/>
                    <a:gd name="T25" fmla="*/ 100 h 290"/>
                    <a:gd name="T26" fmla="*/ 290 w 292"/>
                    <a:gd name="T27" fmla="*/ 118 h 290"/>
                    <a:gd name="T28" fmla="*/ 292 w 292"/>
                    <a:gd name="T29" fmla="*/ 138 h 290"/>
                    <a:gd name="T30" fmla="*/ 292 w 292"/>
                    <a:gd name="T31" fmla="*/ 156 h 290"/>
                    <a:gd name="T32" fmla="*/ 290 w 292"/>
                    <a:gd name="T33" fmla="*/ 176 h 290"/>
                    <a:gd name="T34" fmla="*/ 282 w 292"/>
                    <a:gd name="T35" fmla="*/ 196 h 290"/>
                    <a:gd name="T36" fmla="*/ 282 w 292"/>
                    <a:gd name="T37" fmla="*/ 196 h 290"/>
                    <a:gd name="T38" fmla="*/ 276 w 292"/>
                    <a:gd name="T39" fmla="*/ 214 h 290"/>
                    <a:gd name="T40" fmla="*/ 266 w 292"/>
                    <a:gd name="T41" fmla="*/ 230 h 290"/>
                    <a:gd name="T42" fmla="*/ 254 w 292"/>
                    <a:gd name="T43" fmla="*/ 246 h 290"/>
                    <a:gd name="T44" fmla="*/ 240 w 292"/>
                    <a:gd name="T45" fmla="*/ 258 h 290"/>
                    <a:gd name="T46" fmla="*/ 224 w 292"/>
                    <a:gd name="T47" fmla="*/ 268 h 290"/>
                    <a:gd name="T48" fmla="*/ 208 w 292"/>
                    <a:gd name="T49" fmla="*/ 278 h 290"/>
                    <a:gd name="T50" fmla="*/ 190 w 292"/>
                    <a:gd name="T51" fmla="*/ 284 h 290"/>
                    <a:gd name="T52" fmla="*/ 172 w 292"/>
                    <a:gd name="T53" fmla="*/ 288 h 290"/>
                    <a:gd name="T54" fmla="*/ 152 w 292"/>
                    <a:gd name="T55" fmla="*/ 290 h 290"/>
                    <a:gd name="T56" fmla="*/ 134 w 292"/>
                    <a:gd name="T57" fmla="*/ 290 h 290"/>
                    <a:gd name="T58" fmla="*/ 116 w 292"/>
                    <a:gd name="T59" fmla="*/ 288 h 290"/>
                    <a:gd name="T60" fmla="*/ 96 w 292"/>
                    <a:gd name="T61" fmla="*/ 284 h 290"/>
                    <a:gd name="T62" fmla="*/ 80 w 292"/>
                    <a:gd name="T63" fmla="*/ 276 h 290"/>
                    <a:gd name="T64" fmla="*/ 64 w 292"/>
                    <a:gd name="T65" fmla="*/ 268 h 290"/>
                    <a:gd name="T66" fmla="*/ 48 w 292"/>
                    <a:gd name="T67" fmla="*/ 256 h 290"/>
                    <a:gd name="T68" fmla="*/ 36 w 292"/>
                    <a:gd name="T69" fmla="*/ 240 h 290"/>
                    <a:gd name="T70" fmla="*/ 36 w 292"/>
                    <a:gd name="T71" fmla="*/ 240 h 290"/>
                    <a:gd name="T72" fmla="*/ 24 w 292"/>
                    <a:gd name="T73" fmla="*/ 226 h 290"/>
                    <a:gd name="T74" fmla="*/ 14 w 292"/>
                    <a:gd name="T75" fmla="*/ 210 h 290"/>
                    <a:gd name="T76" fmla="*/ 8 w 292"/>
                    <a:gd name="T77" fmla="*/ 192 h 290"/>
                    <a:gd name="T78" fmla="*/ 2 w 292"/>
                    <a:gd name="T79" fmla="*/ 176 h 290"/>
                    <a:gd name="T80" fmla="*/ 0 w 292"/>
                    <a:gd name="T81" fmla="*/ 158 h 290"/>
                    <a:gd name="T82" fmla="*/ 0 w 292"/>
                    <a:gd name="T83" fmla="*/ 138 h 290"/>
                    <a:gd name="T84" fmla="*/ 4 w 292"/>
                    <a:gd name="T85" fmla="*/ 120 h 290"/>
                    <a:gd name="T86" fmla="*/ 8 w 292"/>
                    <a:gd name="T87" fmla="*/ 102 h 290"/>
                    <a:gd name="T88" fmla="*/ 14 w 292"/>
                    <a:gd name="T89" fmla="*/ 86 h 290"/>
                    <a:gd name="T90" fmla="*/ 22 w 292"/>
                    <a:gd name="T91" fmla="*/ 70 h 290"/>
                    <a:gd name="T92" fmla="*/ 32 w 292"/>
                    <a:gd name="T93" fmla="*/ 54 h 290"/>
                    <a:gd name="T94" fmla="*/ 44 w 292"/>
                    <a:gd name="T95" fmla="*/ 40 h 290"/>
                    <a:gd name="T96" fmla="*/ 58 w 292"/>
                    <a:gd name="T97" fmla="*/ 28 h 290"/>
                    <a:gd name="T98" fmla="*/ 74 w 292"/>
                    <a:gd name="T99" fmla="*/ 18 h 290"/>
                    <a:gd name="T100" fmla="*/ 90 w 292"/>
                    <a:gd name="T101" fmla="*/ 10 h 290"/>
                    <a:gd name="T102" fmla="*/ 108 w 292"/>
                    <a:gd name="T103" fmla="*/ 6 h 290"/>
                    <a:gd name="T104" fmla="*/ 108 w 292"/>
                    <a:gd name="T105" fmla="*/ 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90">
                      <a:moveTo>
                        <a:pt x="108" y="6"/>
                      </a:moveTo>
                      <a:lnTo>
                        <a:pt x="108" y="6"/>
                      </a:lnTo>
                      <a:lnTo>
                        <a:pt x="128" y="2"/>
                      </a:lnTo>
                      <a:lnTo>
                        <a:pt x="148" y="0"/>
                      </a:lnTo>
                      <a:lnTo>
                        <a:pt x="168" y="2"/>
                      </a:lnTo>
                      <a:lnTo>
                        <a:pt x="186" y="8"/>
                      </a:lnTo>
                      <a:lnTo>
                        <a:pt x="206" y="14"/>
                      </a:lnTo>
                      <a:lnTo>
                        <a:pt x="222" y="24"/>
                      </a:lnTo>
                      <a:lnTo>
                        <a:pt x="238" y="36"/>
                      </a:lnTo>
                      <a:lnTo>
                        <a:pt x="252" y="50"/>
                      </a:lnTo>
                      <a:lnTo>
                        <a:pt x="266" y="66"/>
                      </a:lnTo>
                      <a:lnTo>
                        <a:pt x="276" y="82"/>
                      </a:lnTo>
                      <a:lnTo>
                        <a:pt x="284" y="100"/>
                      </a:lnTo>
                      <a:lnTo>
                        <a:pt x="290" y="118"/>
                      </a:lnTo>
                      <a:lnTo>
                        <a:pt x="292" y="138"/>
                      </a:lnTo>
                      <a:lnTo>
                        <a:pt x="292" y="156"/>
                      </a:lnTo>
                      <a:lnTo>
                        <a:pt x="290" y="176"/>
                      </a:lnTo>
                      <a:lnTo>
                        <a:pt x="282" y="196"/>
                      </a:lnTo>
                      <a:lnTo>
                        <a:pt x="282" y="196"/>
                      </a:lnTo>
                      <a:lnTo>
                        <a:pt x="276" y="214"/>
                      </a:lnTo>
                      <a:lnTo>
                        <a:pt x="266" y="230"/>
                      </a:lnTo>
                      <a:lnTo>
                        <a:pt x="254" y="246"/>
                      </a:lnTo>
                      <a:lnTo>
                        <a:pt x="240" y="258"/>
                      </a:lnTo>
                      <a:lnTo>
                        <a:pt x="224" y="268"/>
                      </a:lnTo>
                      <a:lnTo>
                        <a:pt x="208" y="278"/>
                      </a:lnTo>
                      <a:lnTo>
                        <a:pt x="190" y="284"/>
                      </a:lnTo>
                      <a:lnTo>
                        <a:pt x="172" y="288"/>
                      </a:lnTo>
                      <a:lnTo>
                        <a:pt x="152" y="290"/>
                      </a:lnTo>
                      <a:lnTo>
                        <a:pt x="134" y="290"/>
                      </a:lnTo>
                      <a:lnTo>
                        <a:pt x="116" y="288"/>
                      </a:lnTo>
                      <a:lnTo>
                        <a:pt x="96" y="284"/>
                      </a:lnTo>
                      <a:lnTo>
                        <a:pt x="80" y="276"/>
                      </a:lnTo>
                      <a:lnTo>
                        <a:pt x="64" y="268"/>
                      </a:lnTo>
                      <a:lnTo>
                        <a:pt x="48" y="256"/>
                      </a:lnTo>
                      <a:lnTo>
                        <a:pt x="36" y="240"/>
                      </a:lnTo>
                      <a:lnTo>
                        <a:pt x="36" y="240"/>
                      </a:lnTo>
                      <a:lnTo>
                        <a:pt x="24" y="226"/>
                      </a:lnTo>
                      <a:lnTo>
                        <a:pt x="14" y="210"/>
                      </a:lnTo>
                      <a:lnTo>
                        <a:pt x="8" y="192"/>
                      </a:lnTo>
                      <a:lnTo>
                        <a:pt x="2" y="176"/>
                      </a:lnTo>
                      <a:lnTo>
                        <a:pt x="0" y="158"/>
                      </a:lnTo>
                      <a:lnTo>
                        <a:pt x="0" y="138"/>
                      </a:lnTo>
                      <a:lnTo>
                        <a:pt x="4" y="120"/>
                      </a:lnTo>
                      <a:lnTo>
                        <a:pt x="8" y="102"/>
                      </a:lnTo>
                      <a:lnTo>
                        <a:pt x="14" y="86"/>
                      </a:lnTo>
                      <a:lnTo>
                        <a:pt x="22" y="70"/>
                      </a:lnTo>
                      <a:lnTo>
                        <a:pt x="32" y="54"/>
                      </a:lnTo>
                      <a:lnTo>
                        <a:pt x="44" y="40"/>
                      </a:lnTo>
                      <a:lnTo>
                        <a:pt x="58" y="28"/>
                      </a:lnTo>
                      <a:lnTo>
                        <a:pt x="74" y="18"/>
                      </a:lnTo>
                      <a:lnTo>
                        <a:pt x="90" y="10"/>
                      </a:lnTo>
                      <a:lnTo>
                        <a:pt x="108" y="6"/>
                      </a:lnTo>
                      <a:lnTo>
                        <a:pt x="10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103" name="Freeform 22"/>
                <p:cNvSpPr>
                  <a:spLocks/>
                </p:cNvSpPr>
                <p:nvPr/>
              </p:nvSpPr>
              <p:spPr bwMode="auto">
                <a:xfrm>
                  <a:off x="14955838" y="5229225"/>
                  <a:ext cx="1117600" cy="1152525"/>
                </a:xfrm>
                <a:custGeom>
                  <a:avLst/>
                  <a:gdLst>
                    <a:gd name="T0" fmla="*/ 52 w 704"/>
                    <a:gd name="T1" fmla="*/ 724 h 726"/>
                    <a:gd name="T2" fmla="*/ 70 w 704"/>
                    <a:gd name="T3" fmla="*/ 724 h 726"/>
                    <a:gd name="T4" fmla="*/ 86 w 704"/>
                    <a:gd name="T5" fmla="*/ 720 h 726"/>
                    <a:gd name="T6" fmla="*/ 98 w 704"/>
                    <a:gd name="T7" fmla="*/ 710 h 726"/>
                    <a:gd name="T8" fmla="*/ 116 w 704"/>
                    <a:gd name="T9" fmla="*/ 680 h 726"/>
                    <a:gd name="T10" fmla="*/ 124 w 704"/>
                    <a:gd name="T11" fmla="*/ 646 h 726"/>
                    <a:gd name="T12" fmla="*/ 126 w 704"/>
                    <a:gd name="T13" fmla="*/ 628 h 726"/>
                    <a:gd name="T14" fmla="*/ 126 w 704"/>
                    <a:gd name="T15" fmla="*/ 340 h 726"/>
                    <a:gd name="T16" fmla="*/ 126 w 704"/>
                    <a:gd name="T17" fmla="*/ 244 h 726"/>
                    <a:gd name="T18" fmla="*/ 162 w 704"/>
                    <a:gd name="T19" fmla="*/ 244 h 726"/>
                    <a:gd name="T20" fmla="*/ 164 w 704"/>
                    <a:gd name="T21" fmla="*/ 652 h 726"/>
                    <a:gd name="T22" fmla="*/ 202 w 704"/>
                    <a:gd name="T23" fmla="*/ 614 h 726"/>
                    <a:gd name="T24" fmla="*/ 248 w 704"/>
                    <a:gd name="T25" fmla="*/ 588 h 726"/>
                    <a:gd name="T26" fmla="*/ 296 w 704"/>
                    <a:gd name="T27" fmla="*/ 570 h 726"/>
                    <a:gd name="T28" fmla="*/ 348 w 704"/>
                    <a:gd name="T29" fmla="*/ 564 h 726"/>
                    <a:gd name="T30" fmla="*/ 372 w 704"/>
                    <a:gd name="T31" fmla="*/ 566 h 726"/>
                    <a:gd name="T32" fmla="*/ 396 w 704"/>
                    <a:gd name="T33" fmla="*/ 570 h 726"/>
                    <a:gd name="T34" fmla="*/ 436 w 704"/>
                    <a:gd name="T35" fmla="*/ 582 h 726"/>
                    <a:gd name="T36" fmla="*/ 472 w 704"/>
                    <a:gd name="T37" fmla="*/ 602 h 726"/>
                    <a:gd name="T38" fmla="*/ 506 w 704"/>
                    <a:gd name="T39" fmla="*/ 628 h 726"/>
                    <a:gd name="T40" fmla="*/ 534 w 704"/>
                    <a:gd name="T41" fmla="*/ 658 h 726"/>
                    <a:gd name="T42" fmla="*/ 534 w 704"/>
                    <a:gd name="T43" fmla="*/ 242 h 726"/>
                    <a:gd name="T44" fmla="*/ 580 w 704"/>
                    <a:gd name="T45" fmla="*/ 242 h 726"/>
                    <a:gd name="T46" fmla="*/ 580 w 704"/>
                    <a:gd name="T47" fmla="*/ 646 h 726"/>
                    <a:gd name="T48" fmla="*/ 582 w 704"/>
                    <a:gd name="T49" fmla="*/ 662 h 726"/>
                    <a:gd name="T50" fmla="*/ 592 w 704"/>
                    <a:gd name="T51" fmla="*/ 692 h 726"/>
                    <a:gd name="T52" fmla="*/ 610 w 704"/>
                    <a:gd name="T53" fmla="*/ 714 h 726"/>
                    <a:gd name="T54" fmla="*/ 630 w 704"/>
                    <a:gd name="T55" fmla="*/ 724 h 726"/>
                    <a:gd name="T56" fmla="*/ 646 w 704"/>
                    <a:gd name="T57" fmla="*/ 726 h 726"/>
                    <a:gd name="T58" fmla="*/ 654 w 704"/>
                    <a:gd name="T59" fmla="*/ 724 h 726"/>
                    <a:gd name="T60" fmla="*/ 678 w 704"/>
                    <a:gd name="T61" fmla="*/ 716 h 726"/>
                    <a:gd name="T62" fmla="*/ 694 w 704"/>
                    <a:gd name="T63" fmla="*/ 698 h 726"/>
                    <a:gd name="T64" fmla="*/ 702 w 704"/>
                    <a:gd name="T65" fmla="*/ 672 h 726"/>
                    <a:gd name="T66" fmla="*/ 704 w 704"/>
                    <a:gd name="T67" fmla="*/ 646 h 726"/>
                    <a:gd name="T68" fmla="*/ 704 w 704"/>
                    <a:gd name="T69" fmla="*/ 438 h 726"/>
                    <a:gd name="T70" fmla="*/ 704 w 704"/>
                    <a:gd name="T71" fmla="*/ 230 h 726"/>
                    <a:gd name="T72" fmla="*/ 700 w 704"/>
                    <a:gd name="T73" fmla="*/ 156 h 726"/>
                    <a:gd name="T74" fmla="*/ 690 w 704"/>
                    <a:gd name="T75" fmla="*/ 108 h 726"/>
                    <a:gd name="T76" fmla="*/ 666 w 704"/>
                    <a:gd name="T77" fmla="*/ 66 h 726"/>
                    <a:gd name="T78" fmla="*/ 648 w 704"/>
                    <a:gd name="T79" fmla="*/ 50 h 726"/>
                    <a:gd name="T80" fmla="*/ 634 w 704"/>
                    <a:gd name="T81" fmla="*/ 38 h 726"/>
                    <a:gd name="T82" fmla="*/ 606 w 704"/>
                    <a:gd name="T83" fmla="*/ 22 h 726"/>
                    <a:gd name="T84" fmla="*/ 558 w 704"/>
                    <a:gd name="T85" fmla="*/ 8 h 726"/>
                    <a:gd name="T86" fmla="*/ 492 w 704"/>
                    <a:gd name="T87" fmla="*/ 0 h 726"/>
                    <a:gd name="T88" fmla="*/ 390 w 704"/>
                    <a:gd name="T89" fmla="*/ 0 h 726"/>
                    <a:gd name="T90" fmla="*/ 352 w 704"/>
                    <a:gd name="T91" fmla="*/ 2 h 726"/>
                    <a:gd name="T92" fmla="*/ 238 w 704"/>
                    <a:gd name="T93" fmla="*/ 0 h 726"/>
                    <a:gd name="T94" fmla="*/ 164 w 704"/>
                    <a:gd name="T95" fmla="*/ 6 h 726"/>
                    <a:gd name="T96" fmla="*/ 108 w 704"/>
                    <a:gd name="T97" fmla="*/ 18 h 726"/>
                    <a:gd name="T98" fmla="*/ 90 w 704"/>
                    <a:gd name="T99" fmla="*/ 24 h 726"/>
                    <a:gd name="T100" fmla="*/ 50 w 704"/>
                    <a:gd name="T101" fmla="*/ 50 h 726"/>
                    <a:gd name="T102" fmla="*/ 22 w 704"/>
                    <a:gd name="T103" fmla="*/ 86 h 726"/>
                    <a:gd name="T104" fmla="*/ 6 w 704"/>
                    <a:gd name="T105" fmla="*/ 130 h 726"/>
                    <a:gd name="T106" fmla="*/ 2 w 704"/>
                    <a:gd name="T107" fmla="*/ 176 h 726"/>
                    <a:gd name="T108" fmla="*/ 0 w 704"/>
                    <a:gd name="T109" fmla="*/ 418 h 726"/>
                    <a:gd name="T110" fmla="*/ 2 w 704"/>
                    <a:gd name="T111" fmla="*/ 662 h 726"/>
                    <a:gd name="T112" fmla="*/ 4 w 704"/>
                    <a:gd name="T113" fmla="*/ 684 h 726"/>
                    <a:gd name="T114" fmla="*/ 14 w 704"/>
                    <a:gd name="T115" fmla="*/ 704 h 726"/>
                    <a:gd name="T116" fmla="*/ 30 w 704"/>
                    <a:gd name="T117" fmla="*/ 720 h 726"/>
                    <a:gd name="T118" fmla="*/ 52 w 704"/>
                    <a:gd name="T119" fmla="*/ 724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4" h="726">
                      <a:moveTo>
                        <a:pt x="52" y="724"/>
                      </a:moveTo>
                      <a:lnTo>
                        <a:pt x="52" y="724"/>
                      </a:lnTo>
                      <a:lnTo>
                        <a:pt x="60" y="726"/>
                      </a:lnTo>
                      <a:lnTo>
                        <a:pt x="70" y="724"/>
                      </a:lnTo>
                      <a:lnTo>
                        <a:pt x="78" y="724"/>
                      </a:lnTo>
                      <a:lnTo>
                        <a:pt x="86" y="720"/>
                      </a:lnTo>
                      <a:lnTo>
                        <a:pt x="92" y="716"/>
                      </a:lnTo>
                      <a:lnTo>
                        <a:pt x="98" y="710"/>
                      </a:lnTo>
                      <a:lnTo>
                        <a:pt x="108" y="696"/>
                      </a:lnTo>
                      <a:lnTo>
                        <a:pt x="116" y="680"/>
                      </a:lnTo>
                      <a:lnTo>
                        <a:pt x="122" y="662"/>
                      </a:lnTo>
                      <a:lnTo>
                        <a:pt x="124" y="646"/>
                      </a:lnTo>
                      <a:lnTo>
                        <a:pt x="126" y="628"/>
                      </a:lnTo>
                      <a:lnTo>
                        <a:pt x="126" y="628"/>
                      </a:lnTo>
                      <a:lnTo>
                        <a:pt x="126" y="436"/>
                      </a:lnTo>
                      <a:lnTo>
                        <a:pt x="126" y="340"/>
                      </a:lnTo>
                      <a:lnTo>
                        <a:pt x="126" y="244"/>
                      </a:lnTo>
                      <a:lnTo>
                        <a:pt x="126" y="244"/>
                      </a:lnTo>
                      <a:lnTo>
                        <a:pt x="162" y="244"/>
                      </a:lnTo>
                      <a:lnTo>
                        <a:pt x="162" y="244"/>
                      </a:lnTo>
                      <a:lnTo>
                        <a:pt x="164" y="652"/>
                      </a:lnTo>
                      <a:lnTo>
                        <a:pt x="164" y="652"/>
                      </a:lnTo>
                      <a:lnTo>
                        <a:pt x="182" y="632"/>
                      </a:lnTo>
                      <a:lnTo>
                        <a:pt x="202" y="614"/>
                      </a:lnTo>
                      <a:lnTo>
                        <a:pt x="224" y="600"/>
                      </a:lnTo>
                      <a:lnTo>
                        <a:pt x="248" y="588"/>
                      </a:lnTo>
                      <a:lnTo>
                        <a:pt x="272" y="578"/>
                      </a:lnTo>
                      <a:lnTo>
                        <a:pt x="296" y="570"/>
                      </a:lnTo>
                      <a:lnTo>
                        <a:pt x="322" y="566"/>
                      </a:lnTo>
                      <a:lnTo>
                        <a:pt x="348" y="564"/>
                      </a:lnTo>
                      <a:lnTo>
                        <a:pt x="348" y="564"/>
                      </a:lnTo>
                      <a:lnTo>
                        <a:pt x="372" y="566"/>
                      </a:lnTo>
                      <a:lnTo>
                        <a:pt x="396" y="570"/>
                      </a:lnTo>
                      <a:lnTo>
                        <a:pt x="396" y="570"/>
                      </a:lnTo>
                      <a:lnTo>
                        <a:pt x="416" y="576"/>
                      </a:lnTo>
                      <a:lnTo>
                        <a:pt x="436" y="582"/>
                      </a:lnTo>
                      <a:lnTo>
                        <a:pt x="454" y="592"/>
                      </a:lnTo>
                      <a:lnTo>
                        <a:pt x="472" y="602"/>
                      </a:lnTo>
                      <a:lnTo>
                        <a:pt x="490" y="614"/>
                      </a:lnTo>
                      <a:lnTo>
                        <a:pt x="506" y="628"/>
                      </a:lnTo>
                      <a:lnTo>
                        <a:pt x="520" y="642"/>
                      </a:lnTo>
                      <a:lnTo>
                        <a:pt x="534" y="658"/>
                      </a:lnTo>
                      <a:lnTo>
                        <a:pt x="534" y="658"/>
                      </a:lnTo>
                      <a:lnTo>
                        <a:pt x="534" y="242"/>
                      </a:lnTo>
                      <a:lnTo>
                        <a:pt x="534" y="242"/>
                      </a:lnTo>
                      <a:lnTo>
                        <a:pt x="580" y="242"/>
                      </a:lnTo>
                      <a:lnTo>
                        <a:pt x="580" y="242"/>
                      </a:lnTo>
                      <a:lnTo>
                        <a:pt x="580" y="646"/>
                      </a:lnTo>
                      <a:lnTo>
                        <a:pt x="580" y="646"/>
                      </a:lnTo>
                      <a:lnTo>
                        <a:pt x="582" y="662"/>
                      </a:lnTo>
                      <a:lnTo>
                        <a:pt x="584" y="676"/>
                      </a:lnTo>
                      <a:lnTo>
                        <a:pt x="592" y="692"/>
                      </a:lnTo>
                      <a:lnTo>
                        <a:pt x="600" y="704"/>
                      </a:lnTo>
                      <a:lnTo>
                        <a:pt x="610" y="714"/>
                      </a:lnTo>
                      <a:lnTo>
                        <a:pt x="624" y="722"/>
                      </a:lnTo>
                      <a:lnTo>
                        <a:pt x="630" y="724"/>
                      </a:lnTo>
                      <a:lnTo>
                        <a:pt x="638" y="726"/>
                      </a:lnTo>
                      <a:lnTo>
                        <a:pt x="646" y="726"/>
                      </a:lnTo>
                      <a:lnTo>
                        <a:pt x="654" y="724"/>
                      </a:lnTo>
                      <a:lnTo>
                        <a:pt x="654" y="724"/>
                      </a:lnTo>
                      <a:lnTo>
                        <a:pt x="668" y="722"/>
                      </a:lnTo>
                      <a:lnTo>
                        <a:pt x="678" y="716"/>
                      </a:lnTo>
                      <a:lnTo>
                        <a:pt x="688" y="708"/>
                      </a:lnTo>
                      <a:lnTo>
                        <a:pt x="694" y="698"/>
                      </a:lnTo>
                      <a:lnTo>
                        <a:pt x="700" y="684"/>
                      </a:lnTo>
                      <a:lnTo>
                        <a:pt x="702" y="672"/>
                      </a:lnTo>
                      <a:lnTo>
                        <a:pt x="704" y="658"/>
                      </a:lnTo>
                      <a:lnTo>
                        <a:pt x="704" y="646"/>
                      </a:lnTo>
                      <a:lnTo>
                        <a:pt x="704" y="646"/>
                      </a:lnTo>
                      <a:lnTo>
                        <a:pt x="704" y="438"/>
                      </a:lnTo>
                      <a:lnTo>
                        <a:pt x="704" y="230"/>
                      </a:lnTo>
                      <a:lnTo>
                        <a:pt x="704" y="230"/>
                      </a:lnTo>
                      <a:lnTo>
                        <a:pt x="704" y="182"/>
                      </a:lnTo>
                      <a:lnTo>
                        <a:pt x="700" y="156"/>
                      </a:lnTo>
                      <a:lnTo>
                        <a:pt x="696" y="132"/>
                      </a:lnTo>
                      <a:lnTo>
                        <a:pt x="690" y="108"/>
                      </a:lnTo>
                      <a:lnTo>
                        <a:pt x="680" y="86"/>
                      </a:lnTo>
                      <a:lnTo>
                        <a:pt x="666" y="66"/>
                      </a:lnTo>
                      <a:lnTo>
                        <a:pt x="658" y="58"/>
                      </a:lnTo>
                      <a:lnTo>
                        <a:pt x="648" y="50"/>
                      </a:lnTo>
                      <a:lnTo>
                        <a:pt x="648" y="50"/>
                      </a:lnTo>
                      <a:lnTo>
                        <a:pt x="634" y="38"/>
                      </a:lnTo>
                      <a:lnTo>
                        <a:pt x="620" y="30"/>
                      </a:lnTo>
                      <a:lnTo>
                        <a:pt x="606" y="22"/>
                      </a:lnTo>
                      <a:lnTo>
                        <a:pt x="590" y="16"/>
                      </a:lnTo>
                      <a:lnTo>
                        <a:pt x="558" y="8"/>
                      </a:lnTo>
                      <a:lnTo>
                        <a:pt x="524" y="2"/>
                      </a:lnTo>
                      <a:lnTo>
                        <a:pt x="492" y="0"/>
                      </a:lnTo>
                      <a:lnTo>
                        <a:pt x="458" y="0"/>
                      </a:lnTo>
                      <a:lnTo>
                        <a:pt x="390" y="0"/>
                      </a:lnTo>
                      <a:lnTo>
                        <a:pt x="390" y="0"/>
                      </a:lnTo>
                      <a:lnTo>
                        <a:pt x="352" y="2"/>
                      </a:lnTo>
                      <a:lnTo>
                        <a:pt x="314" y="0"/>
                      </a:lnTo>
                      <a:lnTo>
                        <a:pt x="238" y="0"/>
                      </a:lnTo>
                      <a:lnTo>
                        <a:pt x="200" y="2"/>
                      </a:lnTo>
                      <a:lnTo>
                        <a:pt x="164" y="6"/>
                      </a:lnTo>
                      <a:lnTo>
                        <a:pt x="126" y="12"/>
                      </a:lnTo>
                      <a:lnTo>
                        <a:pt x="108" y="18"/>
                      </a:lnTo>
                      <a:lnTo>
                        <a:pt x="90" y="24"/>
                      </a:lnTo>
                      <a:lnTo>
                        <a:pt x="90" y="24"/>
                      </a:lnTo>
                      <a:lnTo>
                        <a:pt x="70" y="36"/>
                      </a:lnTo>
                      <a:lnTo>
                        <a:pt x="50" y="50"/>
                      </a:lnTo>
                      <a:lnTo>
                        <a:pt x="36" y="66"/>
                      </a:lnTo>
                      <a:lnTo>
                        <a:pt x="22" y="86"/>
                      </a:lnTo>
                      <a:lnTo>
                        <a:pt x="12" y="106"/>
                      </a:lnTo>
                      <a:lnTo>
                        <a:pt x="6" y="130"/>
                      </a:lnTo>
                      <a:lnTo>
                        <a:pt x="2" y="152"/>
                      </a:lnTo>
                      <a:lnTo>
                        <a:pt x="2" y="176"/>
                      </a:lnTo>
                      <a:lnTo>
                        <a:pt x="2" y="176"/>
                      </a:lnTo>
                      <a:lnTo>
                        <a:pt x="0" y="418"/>
                      </a:lnTo>
                      <a:lnTo>
                        <a:pt x="2" y="662"/>
                      </a:lnTo>
                      <a:lnTo>
                        <a:pt x="2" y="662"/>
                      </a:lnTo>
                      <a:lnTo>
                        <a:pt x="2" y="672"/>
                      </a:lnTo>
                      <a:lnTo>
                        <a:pt x="4" y="684"/>
                      </a:lnTo>
                      <a:lnTo>
                        <a:pt x="8" y="694"/>
                      </a:lnTo>
                      <a:lnTo>
                        <a:pt x="14" y="704"/>
                      </a:lnTo>
                      <a:lnTo>
                        <a:pt x="20" y="712"/>
                      </a:lnTo>
                      <a:lnTo>
                        <a:pt x="30" y="720"/>
                      </a:lnTo>
                      <a:lnTo>
                        <a:pt x="40" y="722"/>
                      </a:lnTo>
                      <a:lnTo>
                        <a:pt x="52" y="724"/>
                      </a:lnTo>
                      <a:lnTo>
                        <a:pt x="52" y="7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nvGrpSpPr>
              <p:cNvPr id="99" name="Group 98"/>
              <p:cNvGrpSpPr/>
              <p:nvPr/>
            </p:nvGrpSpPr>
            <p:grpSpPr>
              <a:xfrm>
                <a:off x="14860588" y="6270625"/>
                <a:ext cx="1289050" cy="2889250"/>
                <a:chOff x="14860588" y="6270625"/>
                <a:chExt cx="1289050" cy="2889250"/>
              </a:xfrm>
              <a:grpFill/>
            </p:grpSpPr>
            <p:sp>
              <p:nvSpPr>
                <p:cNvPr id="100" name="Freeform 21"/>
                <p:cNvSpPr>
                  <a:spLocks/>
                </p:cNvSpPr>
                <p:nvPr/>
              </p:nvSpPr>
              <p:spPr bwMode="auto">
                <a:xfrm>
                  <a:off x="15270163" y="6270625"/>
                  <a:ext cx="473075" cy="466725"/>
                </a:xfrm>
                <a:custGeom>
                  <a:avLst/>
                  <a:gdLst>
                    <a:gd name="T0" fmla="*/ 178 w 298"/>
                    <a:gd name="T1" fmla="*/ 2 h 294"/>
                    <a:gd name="T2" fmla="*/ 178 w 298"/>
                    <a:gd name="T3" fmla="*/ 2 h 294"/>
                    <a:gd name="T4" fmla="*/ 160 w 298"/>
                    <a:gd name="T5" fmla="*/ 0 h 294"/>
                    <a:gd name="T6" fmla="*/ 142 w 298"/>
                    <a:gd name="T7" fmla="*/ 0 h 294"/>
                    <a:gd name="T8" fmla="*/ 124 w 298"/>
                    <a:gd name="T9" fmla="*/ 2 h 294"/>
                    <a:gd name="T10" fmla="*/ 108 w 298"/>
                    <a:gd name="T11" fmla="*/ 6 h 294"/>
                    <a:gd name="T12" fmla="*/ 90 w 298"/>
                    <a:gd name="T13" fmla="*/ 14 h 294"/>
                    <a:gd name="T14" fmla="*/ 74 w 298"/>
                    <a:gd name="T15" fmla="*/ 22 h 294"/>
                    <a:gd name="T16" fmla="*/ 60 w 298"/>
                    <a:gd name="T17" fmla="*/ 32 h 294"/>
                    <a:gd name="T18" fmla="*/ 46 w 298"/>
                    <a:gd name="T19" fmla="*/ 42 h 294"/>
                    <a:gd name="T20" fmla="*/ 34 w 298"/>
                    <a:gd name="T21" fmla="*/ 56 h 294"/>
                    <a:gd name="T22" fmla="*/ 24 w 298"/>
                    <a:gd name="T23" fmla="*/ 70 h 294"/>
                    <a:gd name="T24" fmla="*/ 14 w 298"/>
                    <a:gd name="T25" fmla="*/ 84 h 294"/>
                    <a:gd name="T26" fmla="*/ 8 w 298"/>
                    <a:gd name="T27" fmla="*/ 100 h 294"/>
                    <a:gd name="T28" fmla="*/ 2 w 298"/>
                    <a:gd name="T29" fmla="*/ 118 h 294"/>
                    <a:gd name="T30" fmla="*/ 0 w 298"/>
                    <a:gd name="T31" fmla="*/ 136 h 294"/>
                    <a:gd name="T32" fmla="*/ 0 w 298"/>
                    <a:gd name="T33" fmla="*/ 154 h 294"/>
                    <a:gd name="T34" fmla="*/ 2 w 298"/>
                    <a:gd name="T35" fmla="*/ 172 h 294"/>
                    <a:gd name="T36" fmla="*/ 2 w 298"/>
                    <a:gd name="T37" fmla="*/ 172 h 294"/>
                    <a:gd name="T38" fmla="*/ 6 w 298"/>
                    <a:gd name="T39" fmla="*/ 194 h 294"/>
                    <a:gd name="T40" fmla="*/ 14 w 298"/>
                    <a:gd name="T41" fmla="*/ 216 h 294"/>
                    <a:gd name="T42" fmla="*/ 24 w 298"/>
                    <a:gd name="T43" fmla="*/ 234 h 294"/>
                    <a:gd name="T44" fmla="*/ 38 w 298"/>
                    <a:gd name="T45" fmla="*/ 250 h 294"/>
                    <a:gd name="T46" fmla="*/ 54 w 298"/>
                    <a:gd name="T47" fmla="*/ 264 h 294"/>
                    <a:gd name="T48" fmla="*/ 72 w 298"/>
                    <a:gd name="T49" fmla="*/ 276 h 294"/>
                    <a:gd name="T50" fmla="*/ 92 w 298"/>
                    <a:gd name="T51" fmla="*/ 284 h 294"/>
                    <a:gd name="T52" fmla="*/ 112 w 298"/>
                    <a:gd name="T53" fmla="*/ 290 h 294"/>
                    <a:gd name="T54" fmla="*/ 134 w 298"/>
                    <a:gd name="T55" fmla="*/ 294 h 294"/>
                    <a:gd name="T56" fmla="*/ 156 w 298"/>
                    <a:gd name="T57" fmla="*/ 294 h 294"/>
                    <a:gd name="T58" fmla="*/ 178 w 298"/>
                    <a:gd name="T59" fmla="*/ 292 h 294"/>
                    <a:gd name="T60" fmla="*/ 198 w 298"/>
                    <a:gd name="T61" fmla="*/ 288 h 294"/>
                    <a:gd name="T62" fmla="*/ 218 w 298"/>
                    <a:gd name="T63" fmla="*/ 280 h 294"/>
                    <a:gd name="T64" fmla="*/ 236 w 298"/>
                    <a:gd name="T65" fmla="*/ 268 h 294"/>
                    <a:gd name="T66" fmla="*/ 254 w 298"/>
                    <a:gd name="T67" fmla="*/ 254 h 294"/>
                    <a:gd name="T68" fmla="*/ 268 w 298"/>
                    <a:gd name="T69" fmla="*/ 236 h 294"/>
                    <a:gd name="T70" fmla="*/ 268 w 298"/>
                    <a:gd name="T71" fmla="*/ 236 h 294"/>
                    <a:gd name="T72" fmla="*/ 280 w 298"/>
                    <a:gd name="T73" fmla="*/ 220 h 294"/>
                    <a:gd name="T74" fmla="*/ 288 w 298"/>
                    <a:gd name="T75" fmla="*/ 204 h 294"/>
                    <a:gd name="T76" fmla="*/ 294 w 298"/>
                    <a:gd name="T77" fmla="*/ 186 h 294"/>
                    <a:gd name="T78" fmla="*/ 298 w 298"/>
                    <a:gd name="T79" fmla="*/ 168 h 294"/>
                    <a:gd name="T80" fmla="*/ 298 w 298"/>
                    <a:gd name="T81" fmla="*/ 150 h 294"/>
                    <a:gd name="T82" fmla="*/ 296 w 298"/>
                    <a:gd name="T83" fmla="*/ 132 h 294"/>
                    <a:gd name="T84" fmla="*/ 292 w 298"/>
                    <a:gd name="T85" fmla="*/ 114 h 294"/>
                    <a:gd name="T86" fmla="*/ 286 w 298"/>
                    <a:gd name="T87" fmla="*/ 96 h 294"/>
                    <a:gd name="T88" fmla="*/ 278 w 298"/>
                    <a:gd name="T89" fmla="*/ 80 h 294"/>
                    <a:gd name="T90" fmla="*/ 268 w 298"/>
                    <a:gd name="T91" fmla="*/ 64 h 294"/>
                    <a:gd name="T92" fmla="*/ 258 w 298"/>
                    <a:gd name="T93" fmla="*/ 50 h 294"/>
                    <a:gd name="T94" fmla="*/ 244 w 298"/>
                    <a:gd name="T95" fmla="*/ 36 h 294"/>
                    <a:gd name="T96" fmla="*/ 230 w 298"/>
                    <a:gd name="T97" fmla="*/ 26 h 294"/>
                    <a:gd name="T98" fmla="*/ 214 w 298"/>
                    <a:gd name="T99" fmla="*/ 16 h 294"/>
                    <a:gd name="T100" fmla="*/ 196 w 298"/>
                    <a:gd name="T101" fmla="*/ 8 h 294"/>
                    <a:gd name="T102" fmla="*/ 178 w 298"/>
                    <a:gd name="T103" fmla="*/ 2 h 294"/>
                    <a:gd name="T104" fmla="*/ 178 w 298"/>
                    <a:gd name="T105" fmla="*/ 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8" h="294">
                      <a:moveTo>
                        <a:pt x="178" y="2"/>
                      </a:moveTo>
                      <a:lnTo>
                        <a:pt x="178" y="2"/>
                      </a:lnTo>
                      <a:lnTo>
                        <a:pt x="160" y="0"/>
                      </a:lnTo>
                      <a:lnTo>
                        <a:pt x="142" y="0"/>
                      </a:lnTo>
                      <a:lnTo>
                        <a:pt x="124" y="2"/>
                      </a:lnTo>
                      <a:lnTo>
                        <a:pt x="108" y="6"/>
                      </a:lnTo>
                      <a:lnTo>
                        <a:pt x="90" y="14"/>
                      </a:lnTo>
                      <a:lnTo>
                        <a:pt x="74" y="22"/>
                      </a:lnTo>
                      <a:lnTo>
                        <a:pt x="60" y="32"/>
                      </a:lnTo>
                      <a:lnTo>
                        <a:pt x="46" y="42"/>
                      </a:lnTo>
                      <a:lnTo>
                        <a:pt x="34" y="56"/>
                      </a:lnTo>
                      <a:lnTo>
                        <a:pt x="24" y="70"/>
                      </a:lnTo>
                      <a:lnTo>
                        <a:pt x="14" y="84"/>
                      </a:lnTo>
                      <a:lnTo>
                        <a:pt x="8" y="100"/>
                      </a:lnTo>
                      <a:lnTo>
                        <a:pt x="2" y="118"/>
                      </a:lnTo>
                      <a:lnTo>
                        <a:pt x="0" y="136"/>
                      </a:lnTo>
                      <a:lnTo>
                        <a:pt x="0" y="154"/>
                      </a:lnTo>
                      <a:lnTo>
                        <a:pt x="2" y="172"/>
                      </a:lnTo>
                      <a:lnTo>
                        <a:pt x="2" y="172"/>
                      </a:lnTo>
                      <a:lnTo>
                        <a:pt x="6" y="194"/>
                      </a:lnTo>
                      <a:lnTo>
                        <a:pt x="14" y="216"/>
                      </a:lnTo>
                      <a:lnTo>
                        <a:pt x="24" y="234"/>
                      </a:lnTo>
                      <a:lnTo>
                        <a:pt x="38" y="250"/>
                      </a:lnTo>
                      <a:lnTo>
                        <a:pt x="54" y="264"/>
                      </a:lnTo>
                      <a:lnTo>
                        <a:pt x="72" y="276"/>
                      </a:lnTo>
                      <a:lnTo>
                        <a:pt x="92" y="284"/>
                      </a:lnTo>
                      <a:lnTo>
                        <a:pt x="112" y="290"/>
                      </a:lnTo>
                      <a:lnTo>
                        <a:pt x="134" y="294"/>
                      </a:lnTo>
                      <a:lnTo>
                        <a:pt x="156" y="294"/>
                      </a:lnTo>
                      <a:lnTo>
                        <a:pt x="178" y="292"/>
                      </a:lnTo>
                      <a:lnTo>
                        <a:pt x="198" y="288"/>
                      </a:lnTo>
                      <a:lnTo>
                        <a:pt x="218" y="280"/>
                      </a:lnTo>
                      <a:lnTo>
                        <a:pt x="236" y="268"/>
                      </a:lnTo>
                      <a:lnTo>
                        <a:pt x="254" y="254"/>
                      </a:lnTo>
                      <a:lnTo>
                        <a:pt x="268" y="236"/>
                      </a:lnTo>
                      <a:lnTo>
                        <a:pt x="268" y="236"/>
                      </a:lnTo>
                      <a:lnTo>
                        <a:pt x="280" y="220"/>
                      </a:lnTo>
                      <a:lnTo>
                        <a:pt x="288" y="204"/>
                      </a:lnTo>
                      <a:lnTo>
                        <a:pt x="294" y="186"/>
                      </a:lnTo>
                      <a:lnTo>
                        <a:pt x="298" y="168"/>
                      </a:lnTo>
                      <a:lnTo>
                        <a:pt x="298" y="150"/>
                      </a:lnTo>
                      <a:lnTo>
                        <a:pt x="296" y="132"/>
                      </a:lnTo>
                      <a:lnTo>
                        <a:pt x="292" y="114"/>
                      </a:lnTo>
                      <a:lnTo>
                        <a:pt x="286" y="96"/>
                      </a:lnTo>
                      <a:lnTo>
                        <a:pt x="278" y="80"/>
                      </a:lnTo>
                      <a:lnTo>
                        <a:pt x="268" y="64"/>
                      </a:lnTo>
                      <a:lnTo>
                        <a:pt x="258" y="50"/>
                      </a:lnTo>
                      <a:lnTo>
                        <a:pt x="244" y="36"/>
                      </a:lnTo>
                      <a:lnTo>
                        <a:pt x="230" y="26"/>
                      </a:lnTo>
                      <a:lnTo>
                        <a:pt x="214" y="16"/>
                      </a:lnTo>
                      <a:lnTo>
                        <a:pt x="196" y="8"/>
                      </a:lnTo>
                      <a:lnTo>
                        <a:pt x="178" y="2"/>
                      </a:lnTo>
                      <a:lnTo>
                        <a:pt x="17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sp>
              <p:nvSpPr>
                <p:cNvPr id="101" name="Freeform 23"/>
                <p:cNvSpPr>
                  <a:spLocks/>
                </p:cNvSpPr>
                <p:nvPr/>
              </p:nvSpPr>
              <p:spPr bwMode="auto">
                <a:xfrm>
                  <a:off x="14860588" y="6810375"/>
                  <a:ext cx="1289050" cy="2349500"/>
                </a:xfrm>
                <a:custGeom>
                  <a:avLst/>
                  <a:gdLst>
                    <a:gd name="T0" fmla="*/ 624 w 812"/>
                    <a:gd name="T1" fmla="*/ 38 h 1480"/>
                    <a:gd name="T2" fmla="*/ 578 w 812"/>
                    <a:gd name="T3" fmla="*/ 14 h 1480"/>
                    <a:gd name="T4" fmla="*/ 508 w 812"/>
                    <a:gd name="T5" fmla="*/ 2 h 1480"/>
                    <a:gd name="T6" fmla="*/ 400 w 812"/>
                    <a:gd name="T7" fmla="*/ 2 h 1480"/>
                    <a:gd name="T8" fmla="*/ 336 w 812"/>
                    <a:gd name="T9" fmla="*/ 0 h 1480"/>
                    <a:gd name="T10" fmla="*/ 248 w 812"/>
                    <a:gd name="T11" fmla="*/ 12 h 1480"/>
                    <a:gd name="T12" fmla="*/ 196 w 812"/>
                    <a:gd name="T13" fmla="*/ 34 h 1480"/>
                    <a:gd name="T14" fmla="*/ 162 w 812"/>
                    <a:gd name="T15" fmla="*/ 64 h 1480"/>
                    <a:gd name="T16" fmla="*/ 136 w 812"/>
                    <a:gd name="T17" fmla="*/ 112 h 1480"/>
                    <a:gd name="T18" fmla="*/ 96 w 812"/>
                    <a:gd name="T19" fmla="*/ 222 h 1480"/>
                    <a:gd name="T20" fmla="*/ 52 w 812"/>
                    <a:gd name="T21" fmla="*/ 372 h 1480"/>
                    <a:gd name="T22" fmla="*/ 32 w 812"/>
                    <a:gd name="T23" fmla="*/ 434 h 1480"/>
                    <a:gd name="T24" fmla="*/ 6 w 812"/>
                    <a:gd name="T25" fmla="*/ 530 h 1480"/>
                    <a:gd name="T26" fmla="*/ 2 w 812"/>
                    <a:gd name="T27" fmla="*/ 612 h 1480"/>
                    <a:gd name="T28" fmla="*/ 20 w 812"/>
                    <a:gd name="T29" fmla="*/ 632 h 1480"/>
                    <a:gd name="T30" fmla="*/ 66 w 812"/>
                    <a:gd name="T31" fmla="*/ 634 h 1480"/>
                    <a:gd name="T32" fmla="*/ 102 w 812"/>
                    <a:gd name="T33" fmla="*/ 612 h 1480"/>
                    <a:gd name="T34" fmla="*/ 142 w 812"/>
                    <a:gd name="T35" fmla="*/ 508 h 1480"/>
                    <a:gd name="T36" fmla="*/ 226 w 812"/>
                    <a:gd name="T37" fmla="*/ 236 h 1480"/>
                    <a:gd name="T38" fmla="*/ 232 w 812"/>
                    <a:gd name="T39" fmla="*/ 222 h 1480"/>
                    <a:gd name="T40" fmla="*/ 262 w 812"/>
                    <a:gd name="T41" fmla="*/ 190 h 1480"/>
                    <a:gd name="T42" fmla="*/ 166 w 812"/>
                    <a:gd name="T43" fmla="*/ 542 h 1480"/>
                    <a:gd name="T44" fmla="*/ 64 w 812"/>
                    <a:gd name="T45" fmla="*/ 894 h 1480"/>
                    <a:gd name="T46" fmla="*/ 242 w 812"/>
                    <a:gd name="T47" fmla="*/ 1020 h 1480"/>
                    <a:gd name="T48" fmla="*/ 242 w 812"/>
                    <a:gd name="T49" fmla="*/ 1400 h 1480"/>
                    <a:gd name="T50" fmla="*/ 246 w 812"/>
                    <a:gd name="T51" fmla="*/ 1428 h 1480"/>
                    <a:gd name="T52" fmla="*/ 268 w 812"/>
                    <a:gd name="T53" fmla="*/ 1464 h 1480"/>
                    <a:gd name="T54" fmla="*/ 308 w 812"/>
                    <a:gd name="T55" fmla="*/ 1480 h 1480"/>
                    <a:gd name="T56" fmla="*/ 338 w 812"/>
                    <a:gd name="T57" fmla="*/ 1474 h 1480"/>
                    <a:gd name="T58" fmla="*/ 368 w 812"/>
                    <a:gd name="T59" fmla="*/ 1444 h 1480"/>
                    <a:gd name="T60" fmla="*/ 376 w 812"/>
                    <a:gd name="T61" fmla="*/ 1402 h 1480"/>
                    <a:gd name="T62" fmla="*/ 376 w 812"/>
                    <a:gd name="T63" fmla="*/ 1148 h 1480"/>
                    <a:gd name="T64" fmla="*/ 378 w 812"/>
                    <a:gd name="T65" fmla="*/ 894 h 1480"/>
                    <a:gd name="T66" fmla="*/ 420 w 812"/>
                    <a:gd name="T67" fmla="*/ 1026 h 1480"/>
                    <a:gd name="T68" fmla="*/ 422 w 812"/>
                    <a:gd name="T69" fmla="*/ 1420 h 1480"/>
                    <a:gd name="T70" fmla="*/ 428 w 812"/>
                    <a:gd name="T71" fmla="*/ 1446 h 1480"/>
                    <a:gd name="T72" fmla="*/ 454 w 812"/>
                    <a:gd name="T73" fmla="*/ 1470 h 1480"/>
                    <a:gd name="T74" fmla="*/ 488 w 812"/>
                    <a:gd name="T75" fmla="*/ 1478 h 1480"/>
                    <a:gd name="T76" fmla="*/ 520 w 812"/>
                    <a:gd name="T77" fmla="*/ 1470 h 1480"/>
                    <a:gd name="T78" fmla="*/ 546 w 812"/>
                    <a:gd name="T79" fmla="*/ 1444 h 1480"/>
                    <a:gd name="T80" fmla="*/ 554 w 812"/>
                    <a:gd name="T81" fmla="*/ 1420 h 1480"/>
                    <a:gd name="T82" fmla="*/ 554 w 812"/>
                    <a:gd name="T83" fmla="*/ 1026 h 1480"/>
                    <a:gd name="T84" fmla="*/ 732 w 812"/>
                    <a:gd name="T85" fmla="*/ 894 h 1480"/>
                    <a:gd name="T86" fmla="*/ 644 w 812"/>
                    <a:gd name="T87" fmla="*/ 548 h 1480"/>
                    <a:gd name="T88" fmla="*/ 556 w 812"/>
                    <a:gd name="T89" fmla="*/ 202 h 1480"/>
                    <a:gd name="T90" fmla="*/ 598 w 812"/>
                    <a:gd name="T91" fmla="*/ 266 h 1480"/>
                    <a:gd name="T92" fmla="*/ 666 w 812"/>
                    <a:gd name="T93" fmla="*/ 504 h 1480"/>
                    <a:gd name="T94" fmla="*/ 696 w 812"/>
                    <a:gd name="T95" fmla="*/ 598 h 1480"/>
                    <a:gd name="T96" fmla="*/ 712 w 812"/>
                    <a:gd name="T97" fmla="*/ 622 h 1480"/>
                    <a:gd name="T98" fmla="*/ 738 w 812"/>
                    <a:gd name="T99" fmla="*/ 636 h 1480"/>
                    <a:gd name="T100" fmla="*/ 768 w 812"/>
                    <a:gd name="T101" fmla="*/ 636 h 1480"/>
                    <a:gd name="T102" fmla="*/ 796 w 812"/>
                    <a:gd name="T103" fmla="*/ 624 h 1480"/>
                    <a:gd name="T104" fmla="*/ 810 w 812"/>
                    <a:gd name="T105" fmla="*/ 600 h 1480"/>
                    <a:gd name="T106" fmla="*/ 808 w 812"/>
                    <a:gd name="T107" fmla="*/ 552 h 1480"/>
                    <a:gd name="T108" fmla="*/ 782 w 812"/>
                    <a:gd name="T109" fmla="*/ 448 h 1480"/>
                    <a:gd name="T110" fmla="*/ 740 w 812"/>
                    <a:gd name="T111" fmla="*/ 310 h 1480"/>
                    <a:gd name="T112" fmla="*/ 702 w 812"/>
                    <a:gd name="T113" fmla="*/ 174 h 1480"/>
                    <a:gd name="T114" fmla="*/ 660 w 812"/>
                    <a:gd name="T115" fmla="*/ 78 h 1480"/>
                    <a:gd name="T116" fmla="*/ 638 w 812"/>
                    <a:gd name="T117" fmla="*/ 5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1480">
                      <a:moveTo>
                        <a:pt x="638" y="50"/>
                      </a:moveTo>
                      <a:lnTo>
                        <a:pt x="638" y="50"/>
                      </a:lnTo>
                      <a:lnTo>
                        <a:pt x="624" y="38"/>
                      </a:lnTo>
                      <a:lnTo>
                        <a:pt x="610" y="28"/>
                      </a:lnTo>
                      <a:lnTo>
                        <a:pt x="594" y="20"/>
                      </a:lnTo>
                      <a:lnTo>
                        <a:pt x="578" y="14"/>
                      </a:lnTo>
                      <a:lnTo>
                        <a:pt x="562" y="10"/>
                      </a:lnTo>
                      <a:lnTo>
                        <a:pt x="544" y="6"/>
                      </a:lnTo>
                      <a:lnTo>
                        <a:pt x="508" y="2"/>
                      </a:lnTo>
                      <a:lnTo>
                        <a:pt x="472" y="2"/>
                      </a:lnTo>
                      <a:lnTo>
                        <a:pt x="436" y="2"/>
                      </a:lnTo>
                      <a:lnTo>
                        <a:pt x="400" y="2"/>
                      </a:lnTo>
                      <a:lnTo>
                        <a:pt x="364" y="2"/>
                      </a:lnTo>
                      <a:lnTo>
                        <a:pt x="364" y="2"/>
                      </a:lnTo>
                      <a:lnTo>
                        <a:pt x="336" y="0"/>
                      </a:lnTo>
                      <a:lnTo>
                        <a:pt x="306" y="2"/>
                      </a:lnTo>
                      <a:lnTo>
                        <a:pt x="276" y="4"/>
                      </a:lnTo>
                      <a:lnTo>
                        <a:pt x="248" y="12"/>
                      </a:lnTo>
                      <a:lnTo>
                        <a:pt x="220" y="20"/>
                      </a:lnTo>
                      <a:lnTo>
                        <a:pt x="208" y="28"/>
                      </a:lnTo>
                      <a:lnTo>
                        <a:pt x="196" y="34"/>
                      </a:lnTo>
                      <a:lnTo>
                        <a:pt x="184" y="44"/>
                      </a:lnTo>
                      <a:lnTo>
                        <a:pt x="172" y="54"/>
                      </a:lnTo>
                      <a:lnTo>
                        <a:pt x="162" y="64"/>
                      </a:lnTo>
                      <a:lnTo>
                        <a:pt x="154" y="76"/>
                      </a:lnTo>
                      <a:lnTo>
                        <a:pt x="154" y="76"/>
                      </a:lnTo>
                      <a:lnTo>
                        <a:pt x="136" y="112"/>
                      </a:lnTo>
                      <a:lnTo>
                        <a:pt x="120" y="148"/>
                      </a:lnTo>
                      <a:lnTo>
                        <a:pt x="106" y="184"/>
                      </a:lnTo>
                      <a:lnTo>
                        <a:pt x="96" y="222"/>
                      </a:lnTo>
                      <a:lnTo>
                        <a:pt x="74" y="298"/>
                      </a:lnTo>
                      <a:lnTo>
                        <a:pt x="64" y="334"/>
                      </a:lnTo>
                      <a:lnTo>
                        <a:pt x="52" y="372"/>
                      </a:lnTo>
                      <a:lnTo>
                        <a:pt x="52" y="372"/>
                      </a:lnTo>
                      <a:lnTo>
                        <a:pt x="42" y="404"/>
                      </a:lnTo>
                      <a:lnTo>
                        <a:pt x="32" y="434"/>
                      </a:lnTo>
                      <a:lnTo>
                        <a:pt x="22" y="466"/>
                      </a:lnTo>
                      <a:lnTo>
                        <a:pt x="12" y="498"/>
                      </a:lnTo>
                      <a:lnTo>
                        <a:pt x="6" y="530"/>
                      </a:lnTo>
                      <a:lnTo>
                        <a:pt x="0" y="562"/>
                      </a:lnTo>
                      <a:lnTo>
                        <a:pt x="0" y="594"/>
                      </a:lnTo>
                      <a:lnTo>
                        <a:pt x="2" y="612"/>
                      </a:lnTo>
                      <a:lnTo>
                        <a:pt x="6" y="628"/>
                      </a:lnTo>
                      <a:lnTo>
                        <a:pt x="6" y="628"/>
                      </a:lnTo>
                      <a:lnTo>
                        <a:pt x="20" y="632"/>
                      </a:lnTo>
                      <a:lnTo>
                        <a:pt x="36" y="634"/>
                      </a:lnTo>
                      <a:lnTo>
                        <a:pt x="50" y="636"/>
                      </a:lnTo>
                      <a:lnTo>
                        <a:pt x="66" y="634"/>
                      </a:lnTo>
                      <a:lnTo>
                        <a:pt x="80" y="630"/>
                      </a:lnTo>
                      <a:lnTo>
                        <a:pt x="92" y="622"/>
                      </a:lnTo>
                      <a:lnTo>
                        <a:pt x="102" y="612"/>
                      </a:lnTo>
                      <a:lnTo>
                        <a:pt x="112" y="596"/>
                      </a:lnTo>
                      <a:lnTo>
                        <a:pt x="112" y="596"/>
                      </a:lnTo>
                      <a:lnTo>
                        <a:pt x="142" y="508"/>
                      </a:lnTo>
                      <a:lnTo>
                        <a:pt x="170" y="416"/>
                      </a:lnTo>
                      <a:lnTo>
                        <a:pt x="196" y="326"/>
                      </a:lnTo>
                      <a:lnTo>
                        <a:pt x="226" y="236"/>
                      </a:lnTo>
                      <a:lnTo>
                        <a:pt x="226" y="236"/>
                      </a:lnTo>
                      <a:lnTo>
                        <a:pt x="228" y="228"/>
                      </a:lnTo>
                      <a:lnTo>
                        <a:pt x="232" y="222"/>
                      </a:lnTo>
                      <a:lnTo>
                        <a:pt x="240" y="210"/>
                      </a:lnTo>
                      <a:lnTo>
                        <a:pt x="262" y="190"/>
                      </a:lnTo>
                      <a:lnTo>
                        <a:pt x="262" y="190"/>
                      </a:lnTo>
                      <a:lnTo>
                        <a:pt x="240" y="278"/>
                      </a:lnTo>
                      <a:lnTo>
                        <a:pt x="218" y="366"/>
                      </a:lnTo>
                      <a:lnTo>
                        <a:pt x="166" y="542"/>
                      </a:lnTo>
                      <a:lnTo>
                        <a:pt x="114" y="718"/>
                      </a:lnTo>
                      <a:lnTo>
                        <a:pt x="64" y="894"/>
                      </a:lnTo>
                      <a:lnTo>
                        <a:pt x="64" y="894"/>
                      </a:lnTo>
                      <a:lnTo>
                        <a:pt x="240" y="894"/>
                      </a:lnTo>
                      <a:lnTo>
                        <a:pt x="240" y="894"/>
                      </a:lnTo>
                      <a:lnTo>
                        <a:pt x="242" y="1020"/>
                      </a:lnTo>
                      <a:lnTo>
                        <a:pt x="240" y="1146"/>
                      </a:lnTo>
                      <a:lnTo>
                        <a:pt x="240" y="1272"/>
                      </a:lnTo>
                      <a:lnTo>
                        <a:pt x="242" y="1400"/>
                      </a:lnTo>
                      <a:lnTo>
                        <a:pt x="242" y="1400"/>
                      </a:lnTo>
                      <a:lnTo>
                        <a:pt x="244" y="1414"/>
                      </a:lnTo>
                      <a:lnTo>
                        <a:pt x="246" y="1428"/>
                      </a:lnTo>
                      <a:lnTo>
                        <a:pt x="252" y="1442"/>
                      </a:lnTo>
                      <a:lnTo>
                        <a:pt x="260" y="1454"/>
                      </a:lnTo>
                      <a:lnTo>
                        <a:pt x="268" y="1464"/>
                      </a:lnTo>
                      <a:lnTo>
                        <a:pt x="280" y="1472"/>
                      </a:lnTo>
                      <a:lnTo>
                        <a:pt x="294" y="1478"/>
                      </a:lnTo>
                      <a:lnTo>
                        <a:pt x="308" y="1480"/>
                      </a:lnTo>
                      <a:lnTo>
                        <a:pt x="308" y="1480"/>
                      </a:lnTo>
                      <a:lnTo>
                        <a:pt x="324" y="1478"/>
                      </a:lnTo>
                      <a:lnTo>
                        <a:pt x="338" y="1474"/>
                      </a:lnTo>
                      <a:lnTo>
                        <a:pt x="350" y="1466"/>
                      </a:lnTo>
                      <a:lnTo>
                        <a:pt x="360" y="1456"/>
                      </a:lnTo>
                      <a:lnTo>
                        <a:pt x="368" y="1444"/>
                      </a:lnTo>
                      <a:lnTo>
                        <a:pt x="374" y="1430"/>
                      </a:lnTo>
                      <a:lnTo>
                        <a:pt x="376" y="1416"/>
                      </a:lnTo>
                      <a:lnTo>
                        <a:pt x="376" y="1402"/>
                      </a:lnTo>
                      <a:lnTo>
                        <a:pt x="376" y="1402"/>
                      </a:lnTo>
                      <a:lnTo>
                        <a:pt x="378" y="1274"/>
                      </a:lnTo>
                      <a:lnTo>
                        <a:pt x="376" y="1148"/>
                      </a:lnTo>
                      <a:lnTo>
                        <a:pt x="376" y="1020"/>
                      </a:lnTo>
                      <a:lnTo>
                        <a:pt x="378" y="894"/>
                      </a:lnTo>
                      <a:lnTo>
                        <a:pt x="378" y="894"/>
                      </a:lnTo>
                      <a:lnTo>
                        <a:pt x="418" y="894"/>
                      </a:lnTo>
                      <a:lnTo>
                        <a:pt x="418" y="894"/>
                      </a:lnTo>
                      <a:lnTo>
                        <a:pt x="420" y="1026"/>
                      </a:lnTo>
                      <a:lnTo>
                        <a:pt x="420" y="1158"/>
                      </a:lnTo>
                      <a:lnTo>
                        <a:pt x="420" y="1288"/>
                      </a:lnTo>
                      <a:lnTo>
                        <a:pt x="422" y="1420"/>
                      </a:lnTo>
                      <a:lnTo>
                        <a:pt x="422" y="1420"/>
                      </a:lnTo>
                      <a:lnTo>
                        <a:pt x="424" y="1434"/>
                      </a:lnTo>
                      <a:lnTo>
                        <a:pt x="428" y="1446"/>
                      </a:lnTo>
                      <a:lnTo>
                        <a:pt x="436" y="1456"/>
                      </a:lnTo>
                      <a:lnTo>
                        <a:pt x="444" y="1464"/>
                      </a:lnTo>
                      <a:lnTo>
                        <a:pt x="454" y="1470"/>
                      </a:lnTo>
                      <a:lnTo>
                        <a:pt x="464" y="1474"/>
                      </a:lnTo>
                      <a:lnTo>
                        <a:pt x="476" y="1478"/>
                      </a:lnTo>
                      <a:lnTo>
                        <a:pt x="488" y="1478"/>
                      </a:lnTo>
                      <a:lnTo>
                        <a:pt x="498" y="1476"/>
                      </a:lnTo>
                      <a:lnTo>
                        <a:pt x="510" y="1474"/>
                      </a:lnTo>
                      <a:lnTo>
                        <a:pt x="520" y="1470"/>
                      </a:lnTo>
                      <a:lnTo>
                        <a:pt x="530" y="1464"/>
                      </a:lnTo>
                      <a:lnTo>
                        <a:pt x="540" y="1454"/>
                      </a:lnTo>
                      <a:lnTo>
                        <a:pt x="546" y="1444"/>
                      </a:lnTo>
                      <a:lnTo>
                        <a:pt x="550" y="1434"/>
                      </a:lnTo>
                      <a:lnTo>
                        <a:pt x="554" y="1420"/>
                      </a:lnTo>
                      <a:lnTo>
                        <a:pt x="554" y="1420"/>
                      </a:lnTo>
                      <a:lnTo>
                        <a:pt x="556" y="1288"/>
                      </a:lnTo>
                      <a:lnTo>
                        <a:pt x="556" y="1158"/>
                      </a:lnTo>
                      <a:lnTo>
                        <a:pt x="554" y="1026"/>
                      </a:lnTo>
                      <a:lnTo>
                        <a:pt x="556" y="894"/>
                      </a:lnTo>
                      <a:lnTo>
                        <a:pt x="556" y="894"/>
                      </a:lnTo>
                      <a:lnTo>
                        <a:pt x="732" y="894"/>
                      </a:lnTo>
                      <a:lnTo>
                        <a:pt x="732" y="894"/>
                      </a:lnTo>
                      <a:lnTo>
                        <a:pt x="688" y="720"/>
                      </a:lnTo>
                      <a:lnTo>
                        <a:pt x="644" y="548"/>
                      </a:lnTo>
                      <a:lnTo>
                        <a:pt x="600" y="376"/>
                      </a:lnTo>
                      <a:lnTo>
                        <a:pt x="556" y="202"/>
                      </a:lnTo>
                      <a:lnTo>
                        <a:pt x="556" y="202"/>
                      </a:lnTo>
                      <a:lnTo>
                        <a:pt x="584" y="220"/>
                      </a:lnTo>
                      <a:lnTo>
                        <a:pt x="584" y="220"/>
                      </a:lnTo>
                      <a:lnTo>
                        <a:pt x="598" y="266"/>
                      </a:lnTo>
                      <a:lnTo>
                        <a:pt x="614" y="314"/>
                      </a:lnTo>
                      <a:lnTo>
                        <a:pt x="640" y="408"/>
                      </a:lnTo>
                      <a:lnTo>
                        <a:pt x="666" y="504"/>
                      </a:lnTo>
                      <a:lnTo>
                        <a:pt x="680" y="550"/>
                      </a:lnTo>
                      <a:lnTo>
                        <a:pt x="696" y="598"/>
                      </a:lnTo>
                      <a:lnTo>
                        <a:pt x="696" y="598"/>
                      </a:lnTo>
                      <a:lnTo>
                        <a:pt x="700" y="608"/>
                      </a:lnTo>
                      <a:lnTo>
                        <a:pt x="704" y="616"/>
                      </a:lnTo>
                      <a:lnTo>
                        <a:pt x="712" y="622"/>
                      </a:lnTo>
                      <a:lnTo>
                        <a:pt x="720" y="628"/>
                      </a:lnTo>
                      <a:lnTo>
                        <a:pt x="728" y="632"/>
                      </a:lnTo>
                      <a:lnTo>
                        <a:pt x="738" y="636"/>
                      </a:lnTo>
                      <a:lnTo>
                        <a:pt x="748" y="638"/>
                      </a:lnTo>
                      <a:lnTo>
                        <a:pt x="758" y="638"/>
                      </a:lnTo>
                      <a:lnTo>
                        <a:pt x="768" y="636"/>
                      </a:lnTo>
                      <a:lnTo>
                        <a:pt x="778" y="634"/>
                      </a:lnTo>
                      <a:lnTo>
                        <a:pt x="788" y="630"/>
                      </a:lnTo>
                      <a:lnTo>
                        <a:pt x="796" y="624"/>
                      </a:lnTo>
                      <a:lnTo>
                        <a:pt x="802" y="618"/>
                      </a:lnTo>
                      <a:lnTo>
                        <a:pt x="808" y="608"/>
                      </a:lnTo>
                      <a:lnTo>
                        <a:pt x="810" y="600"/>
                      </a:lnTo>
                      <a:lnTo>
                        <a:pt x="812" y="588"/>
                      </a:lnTo>
                      <a:lnTo>
                        <a:pt x="812" y="588"/>
                      </a:lnTo>
                      <a:lnTo>
                        <a:pt x="808" y="552"/>
                      </a:lnTo>
                      <a:lnTo>
                        <a:pt x="800" y="518"/>
                      </a:lnTo>
                      <a:lnTo>
                        <a:pt x="792" y="482"/>
                      </a:lnTo>
                      <a:lnTo>
                        <a:pt x="782" y="448"/>
                      </a:lnTo>
                      <a:lnTo>
                        <a:pt x="760" y="380"/>
                      </a:lnTo>
                      <a:lnTo>
                        <a:pt x="740" y="310"/>
                      </a:lnTo>
                      <a:lnTo>
                        <a:pt x="740" y="310"/>
                      </a:lnTo>
                      <a:lnTo>
                        <a:pt x="730" y="276"/>
                      </a:lnTo>
                      <a:lnTo>
                        <a:pt x="720" y="242"/>
                      </a:lnTo>
                      <a:lnTo>
                        <a:pt x="702" y="174"/>
                      </a:lnTo>
                      <a:lnTo>
                        <a:pt x="690" y="142"/>
                      </a:lnTo>
                      <a:lnTo>
                        <a:pt x="678" y="110"/>
                      </a:lnTo>
                      <a:lnTo>
                        <a:pt x="660" y="78"/>
                      </a:lnTo>
                      <a:lnTo>
                        <a:pt x="650" y="64"/>
                      </a:lnTo>
                      <a:lnTo>
                        <a:pt x="638" y="50"/>
                      </a:lnTo>
                      <a:lnTo>
                        <a:pt x="638"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457200"/>
                  <a:endParaRPr lang="en-US" dirty="0">
                    <a:solidFill>
                      <a:srgbClr val="435153"/>
                    </a:solidFill>
                  </a:endParaRPr>
                </a:p>
              </p:txBody>
            </p:sp>
          </p:grpSp>
        </p:grpSp>
        <p:sp>
          <p:nvSpPr>
            <p:cNvPr id="87" name="Freeform 16"/>
            <p:cNvSpPr>
              <a:spLocks noEditPoints="1"/>
            </p:cNvSpPr>
            <p:nvPr/>
          </p:nvSpPr>
          <p:spPr bwMode="auto">
            <a:xfrm>
              <a:off x="4054191" y="173795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88" name="Freeform 16"/>
            <p:cNvSpPr>
              <a:spLocks noEditPoints="1"/>
            </p:cNvSpPr>
            <p:nvPr/>
          </p:nvSpPr>
          <p:spPr bwMode="auto">
            <a:xfrm>
              <a:off x="4121901" y="1357770"/>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89" name="Freeform 16"/>
            <p:cNvSpPr>
              <a:spLocks noEditPoints="1"/>
            </p:cNvSpPr>
            <p:nvPr/>
          </p:nvSpPr>
          <p:spPr bwMode="auto">
            <a:xfrm>
              <a:off x="4293162" y="1422688"/>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90" name="Freeform 16"/>
            <p:cNvSpPr>
              <a:spLocks noEditPoints="1"/>
            </p:cNvSpPr>
            <p:nvPr/>
          </p:nvSpPr>
          <p:spPr bwMode="auto">
            <a:xfrm>
              <a:off x="4464423" y="1357770"/>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91" name="Freeform 16"/>
            <p:cNvSpPr>
              <a:spLocks noEditPoints="1"/>
            </p:cNvSpPr>
            <p:nvPr/>
          </p:nvSpPr>
          <p:spPr bwMode="auto">
            <a:xfrm>
              <a:off x="4635684" y="1422688"/>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92" name="Freeform 16"/>
            <p:cNvSpPr>
              <a:spLocks noEditPoints="1"/>
            </p:cNvSpPr>
            <p:nvPr/>
          </p:nvSpPr>
          <p:spPr bwMode="auto">
            <a:xfrm>
              <a:off x="4806945" y="1357770"/>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93" name="Freeform 16"/>
            <p:cNvSpPr>
              <a:spLocks noEditPoints="1"/>
            </p:cNvSpPr>
            <p:nvPr/>
          </p:nvSpPr>
          <p:spPr bwMode="auto">
            <a:xfrm>
              <a:off x="4901912" y="173795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grpSp>
      <p:sp>
        <p:nvSpPr>
          <p:cNvPr id="112" name="Freeform 16"/>
          <p:cNvSpPr>
            <a:spLocks noEditPoints="1"/>
          </p:cNvSpPr>
          <p:nvPr/>
        </p:nvSpPr>
        <p:spPr bwMode="auto">
          <a:xfrm>
            <a:off x="8729544" y="2256029"/>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3" name="Freeform 16"/>
          <p:cNvSpPr>
            <a:spLocks noEditPoints="1"/>
          </p:cNvSpPr>
          <p:nvPr/>
        </p:nvSpPr>
        <p:spPr bwMode="auto">
          <a:xfrm>
            <a:off x="8577795" y="1845526"/>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4" name="Freeform 16"/>
          <p:cNvSpPr>
            <a:spLocks noEditPoints="1"/>
          </p:cNvSpPr>
          <p:nvPr/>
        </p:nvSpPr>
        <p:spPr bwMode="auto">
          <a:xfrm>
            <a:off x="8387249" y="1902376"/>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5" name="Freeform 16"/>
          <p:cNvSpPr>
            <a:spLocks noEditPoints="1"/>
          </p:cNvSpPr>
          <p:nvPr/>
        </p:nvSpPr>
        <p:spPr bwMode="auto">
          <a:xfrm>
            <a:off x="8196704" y="1845526"/>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6" name="Freeform 16"/>
          <p:cNvSpPr>
            <a:spLocks noEditPoints="1"/>
          </p:cNvSpPr>
          <p:nvPr/>
        </p:nvSpPr>
        <p:spPr bwMode="auto">
          <a:xfrm>
            <a:off x="8006159" y="1902376"/>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7" name="Freeform 16"/>
          <p:cNvSpPr>
            <a:spLocks noEditPoints="1"/>
          </p:cNvSpPr>
          <p:nvPr/>
        </p:nvSpPr>
        <p:spPr bwMode="auto">
          <a:xfrm>
            <a:off x="7815614" y="1845526"/>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8" name="Freeform 16"/>
          <p:cNvSpPr>
            <a:spLocks noEditPoints="1"/>
          </p:cNvSpPr>
          <p:nvPr/>
        </p:nvSpPr>
        <p:spPr bwMode="auto">
          <a:xfrm>
            <a:off x="7701980" y="2256029"/>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19" name="Freeform 16"/>
          <p:cNvSpPr>
            <a:spLocks noEditPoints="1"/>
          </p:cNvSpPr>
          <p:nvPr/>
        </p:nvSpPr>
        <p:spPr bwMode="auto">
          <a:xfrm>
            <a:off x="8385113" y="151390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20" name="Freeform 16"/>
          <p:cNvSpPr>
            <a:spLocks noEditPoints="1"/>
          </p:cNvSpPr>
          <p:nvPr/>
        </p:nvSpPr>
        <p:spPr bwMode="auto">
          <a:xfrm>
            <a:off x="8194568" y="1457048"/>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sp>
        <p:nvSpPr>
          <p:cNvPr id="121" name="Freeform 16"/>
          <p:cNvSpPr>
            <a:spLocks noEditPoints="1"/>
          </p:cNvSpPr>
          <p:nvPr/>
        </p:nvSpPr>
        <p:spPr bwMode="auto">
          <a:xfrm>
            <a:off x="8004023" y="1513902"/>
            <a:ext cx="140498" cy="326796"/>
          </a:xfrm>
          <a:custGeom>
            <a:avLst/>
            <a:gdLst/>
            <a:ahLst/>
            <a:cxnLst>
              <a:cxn ang="0">
                <a:pos x="77" y="62"/>
              </a:cxn>
              <a:cxn ang="0">
                <a:pos x="108" y="31"/>
              </a:cxn>
              <a:cxn ang="0">
                <a:pos x="77" y="0"/>
              </a:cxn>
              <a:cxn ang="0">
                <a:pos x="46" y="31"/>
              </a:cxn>
              <a:cxn ang="0">
                <a:pos x="77" y="62"/>
              </a:cxn>
              <a:cxn ang="0">
                <a:pos x="111" y="72"/>
              </a:cxn>
              <a:cxn ang="0">
                <a:pos x="44" y="72"/>
              </a:cxn>
              <a:cxn ang="0">
                <a:pos x="0" y="118"/>
              </a:cxn>
              <a:cxn ang="0">
                <a:pos x="0" y="215"/>
              </a:cxn>
              <a:cxn ang="0">
                <a:pos x="0" y="224"/>
              </a:cxn>
              <a:cxn ang="0">
                <a:pos x="0" y="227"/>
              </a:cxn>
              <a:cxn ang="0">
                <a:pos x="0" y="227"/>
              </a:cxn>
              <a:cxn ang="0">
                <a:pos x="1" y="230"/>
              </a:cxn>
              <a:cxn ang="0">
                <a:pos x="2" y="232"/>
              </a:cxn>
              <a:cxn ang="0">
                <a:pos x="3" y="233"/>
              </a:cxn>
              <a:cxn ang="0">
                <a:pos x="3" y="233"/>
              </a:cxn>
              <a:cxn ang="0">
                <a:pos x="3" y="233"/>
              </a:cxn>
              <a:cxn ang="0">
                <a:pos x="15" y="239"/>
              </a:cxn>
              <a:cxn ang="0">
                <a:pos x="26" y="233"/>
              </a:cxn>
              <a:cxn ang="0">
                <a:pos x="26" y="233"/>
              </a:cxn>
              <a:cxn ang="0">
                <a:pos x="26" y="233"/>
              </a:cxn>
              <a:cxn ang="0">
                <a:pos x="28" y="231"/>
              </a:cxn>
              <a:cxn ang="0">
                <a:pos x="28" y="231"/>
              </a:cxn>
              <a:cxn ang="0">
                <a:pos x="29" y="229"/>
              </a:cxn>
              <a:cxn ang="0">
                <a:pos x="29" y="228"/>
              </a:cxn>
              <a:cxn ang="0">
                <a:pos x="30" y="227"/>
              </a:cxn>
              <a:cxn ang="0">
                <a:pos x="30" y="224"/>
              </a:cxn>
              <a:cxn ang="0">
                <a:pos x="30" y="222"/>
              </a:cxn>
              <a:cxn ang="0">
                <a:pos x="30" y="122"/>
              </a:cxn>
              <a:cxn ang="0">
                <a:pos x="36" y="122"/>
              </a:cxn>
              <a:cxn ang="0">
                <a:pos x="36" y="220"/>
              </a:cxn>
              <a:cxn ang="0">
                <a:pos x="36" y="233"/>
              </a:cxn>
              <a:cxn ang="0">
                <a:pos x="36" y="238"/>
              </a:cxn>
              <a:cxn ang="0">
                <a:pos x="36" y="401"/>
              </a:cxn>
              <a:cxn ang="0">
                <a:pos x="55" y="420"/>
              </a:cxn>
              <a:cxn ang="0">
                <a:pos x="74" y="401"/>
              </a:cxn>
              <a:cxn ang="0">
                <a:pos x="74" y="243"/>
              </a:cxn>
              <a:cxn ang="0">
                <a:pos x="81" y="243"/>
              </a:cxn>
              <a:cxn ang="0">
                <a:pos x="81" y="401"/>
              </a:cxn>
              <a:cxn ang="0">
                <a:pos x="100" y="420"/>
              </a:cxn>
              <a:cxn ang="0">
                <a:pos x="119" y="401"/>
              </a:cxn>
              <a:cxn ang="0">
                <a:pos x="119" y="217"/>
              </a:cxn>
              <a:cxn ang="0">
                <a:pos x="119" y="202"/>
              </a:cxn>
              <a:cxn ang="0">
                <a:pos x="119" y="185"/>
              </a:cxn>
              <a:cxn ang="0">
                <a:pos x="119" y="122"/>
              </a:cxn>
              <a:cxn ang="0">
                <a:pos x="125" y="122"/>
              </a:cxn>
              <a:cxn ang="0">
                <a:pos x="125" y="183"/>
              </a:cxn>
              <a:cxn ang="0">
                <a:pos x="125" y="200"/>
              </a:cxn>
              <a:cxn ang="0">
                <a:pos x="125" y="215"/>
              </a:cxn>
              <a:cxn ang="0">
                <a:pos x="125" y="224"/>
              </a:cxn>
              <a:cxn ang="0">
                <a:pos x="140" y="239"/>
              </a:cxn>
              <a:cxn ang="0">
                <a:pos x="155" y="224"/>
              </a:cxn>
              <a:cxn ang="0">
                <a:pos x="155" y="201"/>
              </a:cxn>
              <a:cxn ang="0">
                <a:pos x="155" y="192"/>
              </a:cxn>
              <a:cxn ang="0">
                <a:pos x="155" y="176"/>
              </a:cxn>
              <a:cxn ang="0">
                <a:pos x="155" y="118"/>
              </a:cxn>
              <a:cxn ang="0">
                <a:pos x="111" y="72"/>
              </a:cxn>
            </a:cxnLst>
            <a:rect l="0" t="0" r="r" b="b"/>
            <a:pathLst>
              <a:path w="155" h="420">
                <a:moveTo>
                  <a:pt x="77" y="62"/>
                </a:moveTo>
                <a:cubicBezTo>
                  <a:pt x="95" y="62"/>
                  <a:pt x="108" y="48"/>
                  <a:pt x="108" y="31"/>
                </a:cubicBezTo>
                <a:cubicBezTo>
                  <a:pt x="108" y="14"/>
                  <a:pt x="95" y="0"/>
                  <a:pt x="77" y="0"/>
                </a:cubicBezTo>
                <a:cubicBezTo>
                  <a:pt x="60" y="0"/>
                  <a:pt x="46" y="14"/>
                  <a:pt x="46" y="31"/>
                </a:cubicBezTo>
                <a:cubicBezTo>
                  <a:pt x="46" y="48"/>
                  <a:pt x="60" y="62"/>
                  <a:pt x="77" y="62"/>
                </a:cubicBezTo>
                <a:close/>
                <a:moveTo>
                  <a:pt x="111" y="72"/>
                </a:moveTo>
                <a:cubicBezTo>
                  <a:pt x="44" y="72"/>
                  <a:pt x="44" y="72"/>
                  <a:pt x="44" y="72"/>
                </a:cubicBezTo>
                <a:cubicBezTo>
                  <a:pt x="20" y="72"/>
                  <a:pt x="0" y="92"/>
                  <a:pt x="0" y="118"/>
                </a:cubicBezTo>
                <a:cubicBezTo>
                  <a:pt x="0" y="215"/>
                  <a:pt x="0" y="215"/>
                  <a:pt x="0" y="215"/>
                </a:cubicBezTo>
                <a:cubicBezTo>
                  <a:pt x="0" y="224"/>
                  <a:pt x="0" y="224"/>
                  <a:pt x="0" y="224"/>
                </a:cubicBezTo>
                <a:cubicBezTo>
                  <a:pt x="0" y="225"/>
                  <a:pt x="0" y="226"/>
                  <a:pt x="0" y="227"/>
                </a:cubicBezTo>
                <a:cubicBezTo>
                  <a:pt x="0" y="227"/>
                  <a:pt x="0" y="227"/>
                  <a:pt x="0" y="227"/>
                </a:cubicBezTo>
                <a:cubicBezTo>
                  <a:pt x="0" y="228"/>
                  <a:pt x="1" y="229"/>
                  <a:pt x="1" y="230"/>
                </a:cubicBezTo>
                <a:cubicBezTo>
                  <a:pt x="1" y="231"/>
                  <a:pt x="2" y="231"/>
                  <a:pt x="2" y="232"/>
                </a:cubicBezTo>
                <a:cubicBezTo>
                  <a:pt x="2" y="232"/>
                  <a:pt x="3" y="232"/>
                  <a:pt x="3" y="233"/>
                </a:cubicBezTo>
                <a:cubicBezTo>
                  <a:pt x="3" y="233"/>
                  <a:pt x="3" y="233"/>
                  <a:pt x="3" y="233"/>
                </a:cubicBezTo>
                <a:cubicBezTo>
                  <a:pt x="3" y="233"/>
                  <a:pt x="3" y="233"/>
                  <a:pt x="3" y="233"/>
                </a:cubicBezTo>
                <a:cubicBezTo>
                  <a:pt x="6" y="237"/>
                  <a:pt x="10" y="239"/>
                  <a:pt x="15" y="239"/>
                </a:cubicBezTo>
                <a:cubicBezTo>
                  <a:pt x="19" y="239"/>
                  <a:pt x="23" y="237"/>
                  <a:pt x="26" y="233"/>
                </a:cubicBezTo>
                <a:cubicBezTo>
                  <a:pt x="26" y="233"/>
                  <a:pt x="26" y="233"/>
                  <a:pt x="26" y="233"/>
                </a:cubicBezTo>
                <a:cubicBezTo>
                  <a:pt x="26" y="233"/>
                  <a:pt x="26" y="233"/>
                  <a:pt x="26" y="233"/>
                </a:cubicBezTo>
                <a:cubicBezTo>
                  <a:pt x="27" y="233"/>
                  <a:pt x="27" y="232"/>
                  <a:pt x="28" y="231"/>
                </a:cubicBezTo>
                <a:cubicBezTo>
                  <a:pt x="28" y="231"/>
                  <a:pt x="28" y="231"/>
                  <a:pt x="28" y="231"/>
                </a:cubicBezTo>
                <a:cubicBezTo>
                  <a:pt x="28" y="230"/>
                  <a:pt x="29" y="230"/>
                  <a:pt x="29" y="229"/>
                </a:cubicBezTo>
                <a:cubicBezTo>
                  <a:pt x="29" y="229"/>
                  <a:pt x="29" y="228"/>
                  <a:pt x="29" y="228"/>
                </a:cubicBezTo>
                <a:cubicBezTo>
                  <a:pt x="29" y="227"/>
                  <a:pt x="30" y="227"/>
                  <a:pt x="30" y="227"/>
                </a:cubicBezTo>
                <a:cubicBezTo>
                  <a:pt x="30" y="226"/>
                  <a:pt x="30" y="225"/>
                  <a:pt x="30" y="224"/>
                </a:cubicBezTo>
                <a:cubicBezTo>
                  <a:pt x="30" y="222"/>
                  <a:pt x="30" y="222"/>
                  <a:pt x="30" y="222"/>
                </a:cubicBezTo>
                <a:cubicBezTo>
                  <a:pt x="30" y="122"/>
                  <a:pt x="30" y="122"/>
                  <a:pt x="30" y="122"/>
                </a:cubicBezTo>
                <a:cubicBezTo>
                  <a:pt x="36" y="122"/>
                  <a:pt x="36" y="122"/>
                  <a:pt x="36" y="122"/>
                </a:cubicBezTo>
                <a:cubicBezTo>
                  <a:pt x="36" y="220"/>
                  <a:pt x="36" y="220"/>
                  <a:pt x="36" y="220"/>
                </a:cubicBezTo>
                <a:cubicBezTo>
                  <a:pt x="36" y="233"/>
                  <a:pt x="36" y="233"/>
                  <a:pt x="36" y="233"/>
                </a:cubicBezTo>
                <a:cubicBezTo>
                  <a:pt x="36" y="238"/>
                  <a:pt x="36" y="238"/>
                  <a:pt x="36" y="238"/>
                </a:cubicBezTo>
                <a:cubicBezTo>
                  <a:pt x="36" y="401"/>
                  <a:pt x="36" y="401"/>
                  <a:pt x="36" y="401"/>
                </a:cubicBezTo>
                <a:cubicBezTo>
                  <a:pt x="36" y="412"/>
                  <a:pt x="44" y="420"/>
                  <a:pt x="55" y="420"/>
                </a:cubicBezTo>
                <a:cubicBezTo>
                  <a:pt x="65" y="420"/>
                  <a:pt x="74" y="412"/>
                  <a:pt x="74" y="401"/>
                </a:cubicBezTo>
                <a:cubicBezTo>
                  <a:pt x="74" y="243"/>
                  <a:pt x="74" y="243"/>
                  <a:pt x="74" y="243"/>
                </a:cubicBezTo>
                <a:cubicBezTo>
                  <a:pt x="81" y="243"/>
                  <a:pt x="81" y="243"/>
                  <a:pt x="81" y="243"/>
                </a:cubicBezTo>
                <a:cubicBezTo>
                  <a:pt x="81" y="401"/>
                  <a:pt x="81" y="401"/>
                  <a:pt x="81" y="401"/>
                </a:cubicBezTo>
                <a:cubicBezTo>
                  <a:pt x="81" y="412"/>
                  <a:pt x="90" y="420"/>
                  <a:pt x="100" y="420"/>
                </a:cubicBezTo>
                <a:cubicBezTo>
                  <a:pt x="111" y="420"/>
                  <a:pt x="119" y="412"/>
                  <a:pt x="119" y="401"/>
                </a:cubicBezTo>
                <a:cubicBezTo>
                  <a:pt x="119" y="217"/>
                  <a:pt x="119" y="217"/>
                  <a:pt x="119" y="217"/>
                </a:cubicBezTo>
                <a:cubicBezTo>
                  <a:pt x="119" y="202"/>
                  <a:pt x="119" y="202"/>
                  <a:pt x="119" y="202"/>
                </a:cubicBezTo>
                <a:cubicBezTo>
                  <a:pt x="119" y="185"/>
                  <a:pt x="119" y="185"/>
                  <a:pt x="119" y="185"/>
                </a:cubicBezTo>
                <a:cubicBezTo>
                  <a:pt x="119" y="122"/>
                  <a:pt x="119" y="122"/>
                  <a:pt x="119" y="122"/>
                </a:cubicBezTo>
                <a:cubicBezTo>
                  <a:pt x="125" y="122"/>
                  <a:pt x="125" y="122"/>
                  <a:pt x="125" y="122"/>
                </a:cubicBezTo>
                <a:cubicBezTo>
                  <a:pt x="125" y="183"/>
                  <a:pt x="125" y="183"/>
                  <a:pt x="125" y="183"/>
                </a:cubicBezTo>
                <a:cubicBezTo>
                  <a:pt x="125" y="200"/>
                  <a:pt x="125" y="200"/>
                  <a:pt x="125" y="200"/>
                </a:cubicBezTo>
                <a:cubicBezTo>
                  <a:pt x="125" y="215"/>
                  <a:pt x="125" y="215"/>
                  <a:pt x="125" y="215"/>
                </a:cubicBezTo>
                <a:cubicBezTo>
                  <a:pt x="125" y="224"/>
                  <a:pt x="125" y="224"/>
                  <a:pt x="125" y="224"/>
                </a:cubicBezTo>
                <a:cubicBezTo>
                  <a:pt x="125" y="232"/>
                  <a:pt x="132" y="239"/>
                  <a:pt x="140" y="239"/>
                </a:cubicBezTo>
                <a:cubicBezTo>
                  <a:pt x="148" y="239"/>
                  <a:pt x="155" y="232"/>
                  <a:pt x="155" y="224"/>
                </a:cubicBezTo>
                <a:cubicBezTo>
                  <a:pt x="155" y="201"/>
                  <a:pt x="155" y="201"/>
                  <a:pt x="155" y="201"/>
                </a:cubicBezTo>
                <a:cubicBezTo>
                  <a:pt x="155" y="192"/>
                  <a:pt x="155" y="192"/>
                  <a:pt x="155" y="192"/>
                </a:cubicBezTo>
                <a:cubicBezTo>
                  <a:pt x="155" y="176"/>
                  <a:pt x="155" y="176"/>
                  <a:pt x="155" y="176"/>
                </a:cubicBezTo>
                <a:cubicBezTo>
                  <a:pt x="155" y="118"/>
                  <a:pt x="155" y="118"/>
                  <a:pt x="155" y="118"/>
                </a:cubicBezTo>
                <a:cubicBezTo>
                  <a:pt x="155" y="92"/>
                  <a:pt x="135" y="72"/>
                  <a:pt x="111" y="72"/>
                </a:cubicBezTo>
                <a:close/>
              </a:path>
            </a:pathLst>
          </a:custGeom>
          <a:solidFill>
            <a:schemeClr val="accent6">
              <a:lumMod val="75000"/>
            </a:schemeClr>
          </a:solidFill>
          <a:ln w="9525">
            <a:noFill/>
            <a:round/>
            <a:headEnd/>
            <a:tailEnd/>
          </a:ln>
        </p:spPr>
        <p:txBody>
          <a:bodyPr vert="horz" wrap="square" lIns="91440" tIns="45720" rIns="91440" bIns="45720" numCol="1" anchor="t" anchorCtr="0" compatLnSpc="1">
            <a:prstTxWarp prst="textNoShape">
              <a:avLst/>
            </a:prstTxWarp>
          </a:bodyPr>
          <a:lstStyle/>
          <a:p>
            <a:pPr defTabSz="457200"/>
            <a:endParaRPr lang="en-US" dirty="0">
              <a:solidFill>
                <a:srgbClr val="FFFFFF"/>
              </a:solidFill>
            </a:endParaRPr>
          </a:p>
        </p:txBody>
      </p:sp>
      <p:pic>
        <p:nvPicPr>
          <p:cNvPr id="122" name="Picture 121" descr="KO71106.jpg"/>
          <p:cNvPicPr>
            <a:picLocks noChangeAspect="1"/>
          </p:cNvPicPr>
          <p:nvPr/>
        </p:nvPicPr>
        <p:blipFill rotWithShape="1">
          <a:blip r:embed="rId3" cstate="print">
            <a:extLst>
              <a:ext uri="{28A0092B-C50C-407E-A947-70E740481C1C}">
                <a14:useLocalDpi xmlns:a14="http://schemas.microsoft.com/office/drawing/2010/main"/>
              </a:ext>
            </a:extLst>
          </a:blip>
          <a:srcRect l="-17"/>
          <a:stretch/>
        </p:blipFill>
        <p:spPr>
          <a:xfrm>
            <a:off x="4961695" y="3619810"/>
            <a:ext cx="1357709" cy="271541"/>
          </a:xfrm>
          <a:prstGeom prst="rect">
            <a:avLst/>
          </a:prstGeom>
        </p:spPr>
      </p:pic>
      <p:pic>
        <p:nvPicPr>
          <p:cNvPr id="123" name="Picture 122" descr="KO71110.jpg"/>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576381" y="3472716"/>
            <a:ext cx="1376872" cy="423308"/>
          </a:xfrm>
          <a:prstGeom prst="rect">
            <a:avLst/>
          </a:prstGeom>
        </p:spPr>
      </p:pic>
      <p:cxnSp>
        <p:nvCxnSpPr>
          <p:cNvPr id="133" name="Straight Arrow Connector 132"/>
          <p:cNvCxnSpPr/>
          <p:nvPr/>
        </p:nvCxnSpPr>
        <p:spPr>
          <a:xfrm flipV="1">
            <a:off x="2075380" y="1902376"/>
            <a:ext cx="904126" cy="5170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p:nvPr/>
        </p:nvCxnSpPr>
        <p:spPr>
          <a:xfrm>
            <a:off x="2121561" y="2650284"/>
            <a:ext cx="8654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p:cNvCxnSpPr/>
          <p:nvPr/>
        </p:nvCxnSpPr>
        <p:spPr>
          <a:xfrm>
            <a:off x="2075380" y="2898089"/>
            <a:ext cx="904126" cy="4624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3340058" y="1677051"/>
            <a:ext cx="843345" cy="369332"/>
          </a:xfrm>
          <a:prstGeom prst="rect">
            <a:avLst/>
          </a:prstGeom>
          <a:noFill/>
        </p:spPr>
        <p:txBody>
          <a:bodyPr wrap="square" rtlCol="0">
            <a:spAutoFit/>
          </a:bodyPr>
          <a:lstStyle/>
          <a:p>
            <a:r>
              <a:rPr lang="en-US" dirty="0" smtClean="0"/>
              <a:t>CPU’s</a:t>
            </a:r>
            <a:endParaRPr lang="en-US" dirty="0"/>
          </a:p>
        </p:txBody>
      </p:sp>
      <p:sp>
        <p:nvSpPr>
          <p:cNvPr id="139" name="TextBox 138"/>
          <p:cNvSpPr txBox="1"/>
          <p:nvPr/>
        </p:nvSpPr>
        <p:spPr>
          <a:xfrm>
            <a:off x="3340059" y="2436275"/>
            <a:ext cx="1029297" cy="369332"/>
          </a:xfrm>
          <a:prstGeom prst="rect">
            <a:avLst/>
          </a:prstGeom>
          <a:noFill/>
        </p:spPr>
        <p:txBody>
          <a:bodyPr wrap="square" rtlCol="0">
            <a:spAutoFit/>
          </a:bodyPr>
          <a:lstStyle/>
          <a:p>
            <a:r>
              <a:rPr lang="en-US" dirty="0" smtClean="0"/>
              <a:t>Memory </a:t>
            </a:r>
            <a:endParaRPr lang="en-US" dirty="0"/>
          </a:p>
        </p:txBody>
      </p:sp>
      <p:sp>
        <p:nvSpPr>
          <p:cNvPr id="140" name="TextBox 139"/>
          <p:cNvSpPr txBox="1"/>
          <p:nvPr/>
        </p:nvSpPr>
        <p:spPr>
          <a:xfrm>
            <a:off x="3340054" y="3145119"/>
            <a:ext cx="1449040" cy="369332"/>
          </a:xfrm>
          <a:prstGeom prst="rect">
            <a:avLst/>
          </a:prstGeom>
          <a:noFill/>
        </p:spPr>
        <p:txBody>
          <a:bodyPr wrap="square" rtlCol="0">
            <a:spAutoFit/>
          </a:bodyPr>
          <a:lstStyle/>
          <a:p>
            <a:r>
              <a:rPr lang="en-US" dirty="0" smtClean="0"/>
              <a:t>Disk Space </a:t>
            </a:r>
            <a:endParaRPr lang="en-US" dirty="0"/>
          </a:p>
        </p:txBody>
      </p:sp>
      <p:pic>
        <p:nvPicPr>
          <p:cNvPr id="1034" name="Picture 10" descr="rrow Up vector toolbar icon for software design. Style is gradien"/>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020634" y="1704172"/>
            <a:ext cx="341313" cy="341313"/>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10" descr="rrow Up vector toolbar icon for software design. Style is gradien"/>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018772" y="2514201"/>
            <a:ext cx="341313" cy="341313"/>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10" descr="rrow Up vector toolbar icon for software design. Style is gradien"/>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020633" y="3189855"/>
            <a:ext cx="341313" cy="341313"/>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5523312" y="3984784"/>
            <a:ext cx="1415316" cy="307777"/>
          </a:xfrm>
          <a:prstGeom prst="rect">
            <a:avLst/>
          </a:prstGeom>
          <a:noFill/>
        </p:spPr>
        <p:txBody>
          <a:bodyPr wrap="square" rtlCol="0">
            <a:spAutoFit/>
          </a:bodyPr>
          <a:lstStyle/>
          <a:p>
            <a:r>
              <a:rPr lang="is-IS" sz="1400" dirty="0"/>
              <a:t>UCS </a:t>
            </a:r>
            <a:r>
              <a:rPr lang="is-IS" sz="1400" dirty="0" smtClean="0"/>
              <a:t>C220-M4</a:t>
            </a:r>
            <a:endParaRPr lang="en-US" sz="1400" dirty="0"/>
          </a:p>
        </p:txBody>
      </p:sp>
      <p:pic>
        <p:nvPicPr>
          <p:cNvPr id="126" name="Picture 125" descr="KO71106.jpg"/>
          <p:cNvPicPr>
            <a:picLocks noChangeAspect="1"/>
          </p:cNvPicPr>
          <p:nvPr/>
        </p:nvPicPr>
        <p:blipFill rotWithShape="1">
          <a:blip r:embed="rId3" cstate="print">
            <a:extLst>
              <a:ext uri="{28A0092B-C50C-407E-A947-70E740481C1C}">
                <a14:useLocalDpi xmlns:a14="http://schemas.microsoft.com/office/drawing/2010/main"/>
              </a:ext>
            </a:extLst>
          </a:blip>
          <a:srcRect l="-17"/>
          <a:stretch/>
        </p:blipFill>
        <p:spPr>
          <a:xfrm>
            <a:off x="6226008" y="3624345"/>
            <a:ext cx="1357709" cy="271541"/>
          </a:xfrm>
          <a:prstGeom prst="rect">
            <a:avLst/>
          </a:prstGeom>
        </p:spPr>
      </p:pic>
      <p:sp>
        <p:nvSpPr>
          <p:cNvPr id="12" name="TextBox 11"/>
          <p:cNvSpPr txBox="1"/>
          <p:nvPr/>
        </p:nvSpPr>
        <p:spPr>
          <a:xfrm>
            <a:off x="7556525" y="3969830"/>
            <a:ext cx="1386451" cy="307777"/>
          </a:xfrm>
          <a:prstGeom prst="rect">
            <a:avLst/>
          </a:prstGeom>
          <a:noFill/>
        </p:spPr>
        <p:txBody>
          <a:bodyPr wrap="square" rtlCol="0">
            <a:spAutoFit/>
          </a:bodyPr>
          <a:lstStyle/>
          <a:p>
            <a:r>
              <a:rPr lang="is-IS" sz="1400" dirty="0"/>
              <a:t>UCS C240-M4</a:t>
            </a:r>
            <a:endParaRPr lang="en-US" sz="1400" dirty="0"/>
          </a:p>
        </p:txBody>
      </p:sp>
      <p:sp>
        <p:nvSpPr>
          <p:cNvPr id="14" name="Left-Right Arrow 13"/>
          <p:cNvSpPr/>
          <p:nvPr/>
        </p:nvSpPr>
        <p:spPr>
          <a:xfrm>
            <a:off x="4920424" y="3894092"/>
            <a:ext cx="2572834" cy="483957"/>
          </a:xfrm>
          <a:prstGeom prst="leftRightArrow">
            <a:avLst/>
          </a:prstGeom>
          <a:noFill/>
          <a:ln>
            <a:solidFill>
              <a:srgbClr val="90BDD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8" name="Left-Right Arrow 127"/>
          <p:cNvSpPr/>
          <p:nvPr/>
        </p:nvSpPr>
        <p:spPr>
          <a:xfrm>
            <a:off x="7530993" y="3902777"/>
            <a:ext cx="1369540" cy="483957"/>
          </a:xfrm>
          <a:prstGeom prst="leftRightArrow">
            <a:avLst/>
          </a:prstGeom>
          <a:noFill/>
          <a:ln>
            <a:solidFill>
              <a:srgbClr val="90BDDB"/>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3182890782"/>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2" name="Straight Connector 111"/>
          <p:cNvCxnSpPr/>
          <p:nvPr/>
        </p:nvCxnSpPr>
        <p:spPr bwMode="auto">
          <a:xfrm>
            <a:off x="4565364" y="1203155"/>
            <a:ext cx="17962" cy="3159631"/>
          </a:xfrm>
          <a:prstGeom prst="line">
            <a:avLst/>
          </a:prstGeom>
          <a:solidFill>
            <a:srgbClr val="F37821"/>
          </a:solidFill>
          <a:ln w="12700" cap="rnd" cmpd="sng" algn="ctr">
            <a:solidFill>
              <a:srgbClr val="4E4E62"/>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13" name="Group 112"/>
          <p:cNvGrpSpPr/>
          <p:nvPr/>
        </p:nvGrpSpPr>
        <p:grpSpPr>
          <a:xfrm>
            <a:off x="1416676" y="976192"/>
            <a:ext cx="1906501" cy="1071268"/>
            <a:chOff x="1888866" y="1161664"/>
            <a:chExt cx="2542001" cy="1424397"/>
          </a:xfrm>
        </p:grpSpPr>
        <p:grpSp>
          <p:nvGrpSpPr>
            <p:cNvPr id="114" name="Group 113"/>
            <p:cNvGrpSpPr/>
            <p:nvPr/>
          </p:nvGrpSpPr>
          <p:grpSpPr>
            <a:xfrm>
              <a:off x="1888866" y="1161664"/>
              <a:ext cx="2542001" cy="1424397"/>
              <a:chOff x="2919314" y="0"/>
              <a:chExt cx="4242816" cy="2377440"/>
            </a:xfrm>
          </p:grpSpPr>
          <p:pic>
            <p:nvPicPr>
              <p:cNvPr id="116" name="Picture 115" descr="icons-04.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19314" y="0"/>
                <a:ext cx="4242816" cy="2377440"/>
              </a:xfrm>
              <a:prstGeom prst="rect">
                <a:avLst/>
              </a:prstGeom>
            </p:spPr>
          </p:pic>
          <p:sp>
            <p:nvSpPr>
              <p:cNvPr id="117" name="Rounded Rectangle 116"/>
              <p:cNvSpPr/>
              <p:nvPr/>
            </p:nvSpPr>
            <p:spPr bwMode="auto">
              <a:xfrm>
                <a:off x="4252628" y="433164"/>
                <a:ext cx="1447720" cy="1621623"/>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sp>
          <p:nvSpPr>
            <p:cNvPr id="115" name="Rectangle 114"/>
            <p:cNvSpPr/>
            <p:nvPr/>
          </p:nvSpPr>
          <p:spPr>
            <a:xfrm>
              <a:off x="2325062" y="1559118"/>
              <a:ext cx="1675672" cy="262590"/>
            </a:xfrm>
            <a:prstGeom prst="rect">
              <a:avLst/>
            </a:prstGeom>
          </p:spPr>
          <p:txBody>
            <a:bodyPr wrap="none" lIns="0" tIns="0" rIns="0" bIns="0">
              <a:spAutoFit/>
            </a:bodyPr>
            <a:lstStyle/>
            <a:p>
              <a:pPr algn="ctr" defTabSz="457073" fontAlgn="auto">
                <a:lnSpc>
                  <a:spcPct val="90000"/>
                </a:lnSpc>
                <a:spcBef>
                  <a:spcPts val="0"/>
                </a:spcBef>
                <a:spcAft>
                  <a:spcPts val="0"/>
                </a:spcAft>
                <a:defRPr/>
              </a:pPr>
              <a:r>
                <a:rPr kumimoji="0" lang="ja-JP" altLang="en-US" sz="1400" kern="0" dirty="0" smtClean="0">
                  <a:solidFill>
                    <a:srgbClr val="4E4E62"/>
                  </a:solidFill>
                  <a:latin typeface="ヒラギノ角ゴ Pro W3"/>
                  <a:ea typeface="ヒラギノ角ゴ Pro W3"/>
                  <a:cs typeface="ヒラギノ角ゴ Pro W3"/>
                </a:rPr>
                <a:t>インターネット</a:t>
              </a:r>
              <a:endParaRPr kumimoji="0" lang="en-US" sz="1400" kern="0" dirty="0">
                <a:solidFill>
                  <a:srgbClr val="4E4E62"/>
                </a:solidFill>
                <a:latin typeface="ヒラギノ角ゴ Pro W3"/>
                <a:ea typeface="ヒラギノ角ゴ Pro W3"/>
                <a:cs typeface="ヒラギノ角ゴ Pro W3"/>
              </a:endParaRPr>
            </a:p>
          </p:txBody>
        </p:sp>
      </p:grpSp>
      <p:grpSp>
        <p:nvGrpSpPr>
          <p:cNvPr id="118" name="Group 117"/>
          <p:cNvGrpSpPr/>
          <p:nvPr/>
        </p:nvGrpSpPr>
        <p:grpSpPr>
          <a:xfrm>
            <a:off x="1404433" y="3997931"/>
            <a:ext cx="1951151" cy="932951"/>
            <a:chOff x="1872571" y="5179474"/>
            <a:chExt cx="2601535" cy="1240486"/>
          </a:xfrm>
        </p:grpSpPr>
        <p:sp>
          <p:nvSpPr>
            <p:cNvPr id="119" name="TextBox 118"/>
            <p:cNvSpPr txBox="1"/>
            <p:nvPr/>
          </p:nvSpPr>
          <p:spPr>
            <a:xfrm>
              <a:off x="1872571" y="5804223"/>
              <a:ext cx="2601535" cy="615737"/>
            </a:xfrm>
            <a:prstGeom prst="rect">
              <a:avLst/>
            </a:prstGeom>
          </p:spPr>
          <p:txBody>
            <a:bodyPr wrap="none" lIns="0" tIns="0" rIns="0" bIns="0" rtlCol="0" anchor="ctr">
              <a:noAutofit/>
            </a:bodyPr>
            <a:lstStyle/>
            <a:p>
              <a:pPr algn="ctr" defTabSz="457073" fontAlgn="auto">
                <a:spcBef>
                  <a:spcPts val="0"/>
                </a:spcBef>
                <a:spcAft>
                  <a:spcPts val="0"/>
                </a:spcAft>
                <a:defRPr/>
              </a:pPr>
              <a:r>
                <a:rPr kumimoji="0" lang="en-US" altLang="ja-JP" sz="1500" kern="0" dirty="0" smtClean="0">
                  <a:solidFill>
                    <a:srgbClr val="4E4E62"/>
                  </a:solidFill>
                  <a:latin typeface="Arial"/>
                  <a:ea typeface="新細明體"/>
                  <a:cs typeface="Arial"/>
                </a:rPr>
                <a:t>LAN</a:t>
              </a:r>
              <a:endParaRPr kumimoji="0" lang="en-US" sz="1500" kern="0" dirty="0">
                <a:solidFill>
                  <a:srgbClr val="4E4E62"/>
                </a:solidFill>
                <a:latin typeface="Arial"/>
                <a:ea typeface="新細明體"/>
                <a:cs typeface="Arial"/>
              </a:endParaRPr>
            </a:p>
          </p:txBody>
        </p:sp>
        <p:grpSp>
          <p:nvGrpSpPr>
            <p:cNvPr id="121" name="Group 120"/>
            <p:cNvGrpSpPr/>
            <p:nvPr/>
          </p:nvGrpSpPr>
          <p:grpSpPr>
            <a:xfrm>
              <a:off x="2204982" y="5179474"/>
              <a:ext cx="1882306" cy="697757"/>
              <a:chOff x="2204982" y="5179474"/>
              <a:chExt cx="1882306" cy="697757"/>
            </a:xfrm>
          </p:grpSpPr>
          <p:pic>
            <p:nvPicPr>
              <p:cNvPr id="122" name="Picture 121" descr="icons-01.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850644" y="5462539"/>
                <a:ext cx="614358" cy="414692"/>
              </a:xfrm>
              <a:prstGeom prst="rect">
                <a:avLst/>
              </a:prstGeom>
            </p:spPr>
          </p:pic>
          <p:pic>
            <p:nvPicPr>
              <p:cNvPr id="123" name="Picture 122" descr="icons-01.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72929" y="5462539"/>
                <a:ext cx="614359" cy="414692"/>
              </a:xfrm>
              <a:prstGeom prst="rect">
                <a:avLst/>
              </a:prstGeom>
            </p:spPr>
          </p:pic>
          <p:pic>
            <p:nvPicPr>
              <p:cNvPr id="124" name="Picture 123" descr="icons-01.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204982" y="5462539"/>
                <a:ext cx="614358" cy="414692"/>
              </a:xfrm>
              <a:prstGeom prst="rect">
                <a:avLst/>
              </a:prstGeom>
            </p:spPr>
          </p:pic>
          <p:grpSp>
            <p:nvGrpSpPr>
              <p:cNvPr id="125" name="Group 124"/>
              <p:cNvGrpSpPr/>
              <p:nvPr/>
            </p:nvGrpSpPr>
            <p:grpSpPr>
              <a:xfrm>
                <a:off x="2654904" y="5179474"/>
                <a:ext cx="1016617" cy="268892"/>
                <a:chOff x="2654904" y="5179474"/>
                <a:chExt cx="1016617" cy="268892"/>
              </a:xfrm>
            </p:grpSpPr>
            <p:cxnSp>
              <p:nvCxnSpPr>
                <p:cNvPr id="126" name="Straight Connector 125"/>
                <p:cNvCxnSpPr/>
                <p:nvPr/>
              </p:nvCxnSpPr>
              <p:spPr bwMode="auto">
                <a:xfrm>
                  <a:off x="3157773" y="5179474"/>
                  <a:ext cx="0" cy="268891"/>
                </a:xfrm>
                <a:prstGeom prst="line">
                  <a:avLst/>
                </a:prstGeom>
                <a:solidFill>
                  <a:srgbClr val="F37821"/>
                </a:solidFill>
                <a:ln w="12700" cap="rnd" cmpd="sng" algn="ctr">
                  <a:solidFill>
                    <a:srgbClr val="7F7F7F"/>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7" name="Straight Connector 126"/>
                <p:cNvCxnSpPr/>
                <p:nvPr/>
              </p:nvCxnSpPr>
              <p:spPr bwMode="auto">
                <a:xfrm flipV="1">
                  <a:off x="2666693" y="5325440"/>
                  <a:ext cx="1004828" cy="2541"/>
                </a:xfrm>
                <a:prstGeom prst="line">
                  <a:avLst/>
                </a:prstGeom>
                <a:solidFill>
                  <a:srgbClr val="F37821"/>
                </a:solidFill>
                <a:ln w="12700" cap="rnd" cmpd="sng" algn="ctr">
                  <a:solidFill>
                    <a:srgbClr val="7F7F7F"/>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8" name="Straight Connector 127"/>
                <p:cNvCxnSpPr/>
                <p:nvPr/>
              </p:nvCxnSpPr>
              <p:spPr bwMode="auto">
                <a:xfrm>
                  <a:off x="3671521" y="5327981"/>
                  <a:ext cx="0" cy="120385"/>
                </a:xfrm>
                <a:prstGeom prst="line">
                  <a:avLst/>
                </a:prstGeom>
                <a:solidFill>
                  <a:srgbClr val="F37821"/>
                </a:solidFill>
                <a:ln w="12700" cap="rnd" cmpd="sng" algn="ctr">
                  <a:solidFill>
                    <a:srgbClr val="7F7F7F"/>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9" name="Straight Connector 128"/>
                <p:cNvCxnSpPr/>
                <p:nvPr/>
              </p:nvCxnSpPr>
              <p:spPr bwMode="auto">
                <a:xfrm>
                  <a:off x="2654904" y="5327981"/>
                  <a:ext cx="0" cy="120385"/>
                </a:xfrm>
                <a:prstGeom prst="line">
                  <a:avLst/>
                </a:prstGeom>
                <a:solidFill>
                  <a:srgbClr val="F37821"/>
                </a:solidFill>
                <a:ln w="12700" cap="rnd" cmpd="sng" algn="ctr">
                  <a:solidFill>
                    <a:srgbClr val="7F7F7F"/>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grpSp>
        <p:nvGrpSpPr>
          <p:cNvPr id="130" name="Group 129"/>
          <p:cNvGrpSpPr/>
          <p:nvPr/>
        </p:nvGrpSpPr>
        <p:grpSpPr>
          <a:xfrm>
            <a:off x="2106463" y="1614498"/>
            <a:ext cx="538609" cy="1992005"/>
            <a:chOff x="2808573" y="2010391"/>
            <a:chExt cx="718145" cy="2648644"/>
          </a:xfrm>
        </p:grpSpPr>
        <p:sp>
          <p:nvSpPr>
            <p:cNvPr id="131" name="Rectangle 130"/>
            <p:cNvSpPr/>
            <p:nvPr/>
          </p:nvSpPr>
          <p:spPr>
            <a:xfrm>
              <a:off x="2808573" y="2010391"/>
              <a:ext cx="718145" cy="389110"/>
            </a:xfrm>
            <a:prstGeom prst="rect">
              <a:avLst/>
            </a:prstGeom>
          </p:spPr>
          <p:txBody>
            <a:bodyPr wrap="none" lIns="0" tIns="0" rIns="0" bIns="0">
              <a:spAutoFit/>
            </a:bodyPr>
            <a:lstStyle/>
            <a:p>
              <a:pPr marL="0" marR="0" lvl="0" indent="0" algn="ctr" defTabSz="457073" eaLnBrk="1" fontAlgn="auto" latinLnBrk="0" hangingPunct="1">
                <a:lnSpc>
                  <a:spcPct val="90000"/>
                </a:lnSpc>
                <a:spcBef>
                  <a:spcPts val="0"/>
                </a:spcBef>
                <a:spcAft>
                  <a:spcPts val="0"/>
                </a:spcAft>
                <a:buClrTx/>
                <a:buSzTx/>
                <a:buFontTx/>
                <a:buNone/>
                <a:tabLst/>
                <a:defRPr/>
              </a:pPr>
              <a:r>
                <a:rPr kumimoji="0" lang="ja-JP" altLang="en-US"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その他</a:t>
              </a:r>
              <a: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
              </a:r>
              <a:b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br>
              <a:r>
                <a:rPr kumimoji="0" lang="ja-JP" altLang="en-US"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全ての</a:t>
              </a:r>
              <a: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
              </a:r>
              <a:b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br>
              <a:r>
                <a:rPr kumimoji="0" lang="ja-JP" altLang="en-US"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トラフィック</a:t>
              </a:r>
              <a:endParaRPr kumimoji="0" lang="en-US" sz="700" b="0" i="0" u="none" strike="noStrike" kern="0" cap="none" spc="0" normalizeH="0" baseline="0" noProof="0" dirty="0">
                <a:ln>
                  <a:noFill/>
                </a:ln>
                <a:solidFill>
                  <a:srgbClr val="7CBA2B"/>
                </a:solidFill>
                <a:effectLst/>
                <a:uLnTx/>
                <a:uFillTx/>
                <a:latin typeface="ヒラギノ角ゴ Pro W3"/>
                <a:ea typeface="ヒラギノ角ゴ Pro W3"/>
                <a:cs typeface="ヒラギノ角ゴ Pro W3"/>
              </a:endParaRPr>
            </a:p>
          </p:txBody>
        </p:sp>
        <p:cxnSp>
          <p:nvCxnSpPr>
            <p:cNvPr id="132" name="Straight Arrow Connector 131"/>
            <p:cNvCxnSpPr/>
            <p:nvPr/>
          </p:nvCxnSpPr>
          <p:spPr bwMode="auto">
            <a:xfrm flipV="1">
              <a:off x="3157773" y="2586061"/>
              <a:ext cx="2094" cy="2072974"/>
            </a:xfrm>
            <a:prstGeom prst="straightConnector1">
              <a:avLst/>
            </a:prstGeom>
            <a:solidFill>
              <a:srgbClr val="F37821"/>
            </a:solidFill>
            <a:ln w="76200" cap="rnd" cmpd="sng" algn="ctr">
              <a:solidFill>
                <a:srgbClr val="7CBA2B"/>
              </a:solidFill>
              <a:prstDash val="solid"/>
              <a:round/>
              <a:headEnd type="none" w="med" len="med"/>
              <a:tailEnd type="arrow"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38" name="Group 137"/>
          <p:cNvGrpSpPr/>
          <p:nvPr/>
        </p:nvGrpSpPr>
        <p:grpSpPr>
          <a:xfrm>
            <a:off x="1545334" y="1699644"/>
            <a:ext cx="630993" cy="2021353"/>
            <a:chOff x="2060435" y="2123587"/>
            <a:chExt cx="841324" cy="2687665"/>
          </a:xfrm>
        </p:grpSpPr>
        <p:sp>
          <p:nvSpPr>
            <p:cNvPr id="139" name="Rectangle 138"/>
            <p:cNvSpPr/>
            <p:nvPr/>
          </p:nvSpPr>
          <p:spPr>
            <a:xfrm>
              <a:off x="2060435" y="2123587"/>
              <a:ext cx="718145" cy="260203"/>
            </a:xfrm>
            <a:prstGeom prst="rect">
              <a:avLst/>
            </a:prstGeom>
          </p:spPr>
          <p:txBody>
            <a:bodyPr wrap="none" lIns="0" tIns="0" rIns="0" bIns="0">
              <a:spAutoFit/>
            </a:bodyPr>
            <a:lstStyle/>
            <a:p>
              <a:pPr marL="0" marR="0" lvl="0" indent="0" algn="ctr" defTabSz="457073" eaLnBrk="1" fontAlgn="auto" latinLnBrk="0" hangingPunct="1">
                <a:lnSpc>
                  <a:spcPct val="9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7CBA2B">
                      <a:lumMod val="75000"/>
                    </a:srgbClr>
                  </a:solidFill>
                  <a:effectLst/>
                  <a:uLnTx/>
                  <a:uFillTx/>
                  <a:latin typeface="Arial"/>
                  <a:ea typeface="新細明體"/>
                  <a:cs typeface="Arial"/>
                </a:rPr>
                <a:t>WEB</a:t>
              </a:r>
            </a:p>
            <a:p>
              <a:pPr marL="0" marR="0" lvl="0" indent="0" algn="ctr" defTabSz="457073" eaLnBrk="1" fontAlgn="auto" latinLnBrk="0" hangingPunct="1">
                <a:lnSpc>
                  <a:spcPct val="90000"/>
                </a:lnSpc>
                <a:spcBef>
                  <a:spcPts val="0"/>
                </a:spcBef>
                <a:spcAft>
                  <a:spcPts val="0"/>
                </a:spcAft>
                <a:buClrTx/>
                <a:buSzTx/>
                <a:buFontTx/>
                <a:buNone/>
                <a:tabLst/>
                <a:defRPr/>
              </a:pPr>
              <a:r>
                <a:rPr kumimoji="0" lang="ja-JP" altLang="en-US" sz="700" b="0" i="0" u="none" strike="noStrike" kern="0" cap="none" spc="0" normalizeH="0" baseline="0" noProof="0" dirty="0" smtClean="0">
                  <a:ln>
                    <a:noFill/>
                  </a:ln>
                  <a:solidFill>
                    <a:srgbClr val="7CBA2B">
                      <a:lumMod val="75000"/>
                    </a:srgbClr>
                  </a:solidFill>
                  <a:effectLst/>
                  <a:uLnTx/>
                  <a:uFillTx/>
                  <a:latin typeface="ヒラギノ角ゴ Pro W3"/>
                  <a:ea typeface="ヒラギノ角ゴ Pro W3"/>
                  <a:cs typeface="ヒラギノ角ゴ Pro W3"/>
                </a:rPr>
                <a:t>トラフィック</a:t>
              </a:r>
              <a:endParaRPr kumimoji="0" lang="en-US" sz="700" b="0" i="0" u="none" strike="noStrike" kern="0" cap="none" spc="0" normalizeH="0" baseline="0" noProof="0" dirty="0">
                <a:ln>
                  <a:noFill/>
                </a:ln>
                <a:solidFill>
                  <a:srgbClr val="7CBA2B">
                    <a:lumMod val="75000"/>
                  </a:srgbClr>
                </a:solidFill>
                <a:effectLst/>
                <a:uLnTx/>
                <a:uFillTx/>
                <a:latin typeface="ヒラギノ角ゴ Pro W3"/>
                <a:ea typeface="ヒラギノ角ゴ Pro W3"/>
                <a:cs typeface="ヒラギノ角ゴ Pro W3"/>
              </a:endParaRPr>
            </a:p>
          </p:txBody>
        </p:sp>
        <p:grpSp>
          <p:nvGrpSpPr>
            <p:cNvPr id="140" name="Group 139"/>
            <p:cNvGrpSpPr/>
            <p:nvPr/>
          </p:nvGrpSpPr>
          <p:grpSpPr>
            <a:xfrm>
              <a:off x="2420168" y="2586061"/>
              <a:ext cx="481591" cy="2225191"/>
              <a:chOff x="2416308" y="2586061"/>
              <a:chExt cx="481591" cy="2225191"/>
            </a:xfrm>
          </p:grpSpPr>
          <p:cxnSp>
            <p:nvCxnSpPr>
              <p:cNvPr id="141" name="Straight Arrow Connector 140"/>
              <p:cNvCxnSpPr/>
              <p:nvPr/>
            </p:nvCxnSpPr>
            <p:spPr bwMode="auto">
              <a:xfrm flipV="1">
                <a:off x="2416308" y="2586061"/>
                <a:ext cx="2094" cy="1885427"/>
              </a:xfrm>
              <a:prstGeom prst="straightConnector1">
                <a:avLst/>
              </a:prstGeom>
              <a:solidFill>
                <a:srgbClr val="F37821"/>
              </a:solidFill>
              <a:ln w="76200" cap="rnd" cmpd="sng" algn="ctr">
                <a:solidFill>
                  <a:srgbClr val="7CBA2B">
                    <a:lumMod val="75000"/>
                  </a:srgbClr>
                </a:solidFill>
                <a:prstDash val="solid"/>
                <a:round/>
                <a:headEnd type="none" w="med" len="med"/>
                <a:tailEnd type="arrow"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2" name="Straight Arrow Connector 141"/>
              <p:cNvCxnSpPr/>
              <p:nvPr/>
            </p:nvCxnSpPr>
            <p:spPr bwMode="auto">
              <a:xfrm flipH="1" flipV="1">
                <a:off x="2416308" y="4471488"/>
                <a:ext cx="481591" cy="339764"/>
              </a:xfrm>
              <a:prstGeom prst="straightConnector1">
                <a:avLst/>
              </a:prstGeom>
              <a:solidFill>
                <a:srgbClr val="F37821"/>
              </a:solidFill>
              <a:ln w="76200" cap="rnd" cmpd="sng" algn="ctr">
                <a:solidFill>
                  <a:srgbClr val="7CBA2B">
                    <a:lumMod val="75000"/>
                  </a:srgbClr>
                </a:solidFill>
                <a:prstDash val="solid"/>
                <a:round/>
                <a:headEnd type="none" w="med" len="med"/>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43" name="Group 142"/>
          <p:cNvGrpSpPr/>
          <p:nvPr/>
        </p:nvGrpSpPr>
        <p:grpSpPr>
          <a:xfrm>
            <a:off x="2560234" y="1699644"/>
            <a:ext cx="632695" cy="2021353"/>
            <a:chOff x="3413638" y="2123587"/>
            <a:chExt cx="843593" cy="2687665"/>
          </a:xfrm>
        </p:grpSpPr>
        <p:sp>
          <p:nvSpPr>
            <p:cNvPr id="144" name="Rectangle 143"/>
            <p:cNvSpPr/>
            <p:nvPr/>
          </p:nvSpPr>
          <p:spPr>
            <a:xfrm>
              <a:off x="3539086" y="2123587"/>
              <a:ext cx="718145" cy="260203"/>
            </a:xfrm>
            <a:prstGeom prst="rect">
              <a:avLst/>
            </a:prstGeom>
          </p:spPr>
          <p:txBody>
            <a:bodyPr wrap="none" lIns="0" tIns="0" rIns="0" bIns="0">
              <a:spAutoFit/>
            </a:bodyPr>
            <a:lstStyle/>
            <a:p>
              <a:pPr marL="0" marR="0" lvl="0" indent="0" algn="ctr" defTabSz="457073" eaLnBrk="1" fontAlgn="auto" latinLnBrk="0" hangingPunct="1">
                <a:lnSpc>
                  <a:spcPct val="90000"/>
                </a:lnSpc>
                <a:spcBef>
                  <a:spcPts val="0"/>
                </a:spcBef>
                <a:spcAft>
                  <a:spcPts val="0"/>
                </a:spcAft>
                <a:buClrTx/>
                <a:buSzTx/>
                <a:buFontTx/>
                <a:buNone/>
                <a:tabLst/>
                <a:defRPr/>
              </a:pPr>
              <a:r>
                <a:rPr kumimoji="0" lang="ja-JP" altLang="en-US"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t>メール</a:t>
              </a:r>
              <a:r>
                <a:rPr kumimoji="0" lang="en-US" altLang="ja-JP"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t/>
              </a:r>
              <a:br>
                <a:rPr kumimoji="0" lang="en-US" altLang="ja-JP"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br>
              <a:r>
                <a:rPr kumimoji="0" lang="ja-JP" altLang="en-US"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t>トラフィック</a:t>
              </a:r>
              <a:endParaRPr kumimoji="0" lang="en-US" sz="700" b="0" i="0" u="none" strike="noStrike" kern="0" cap="none" spc="0" normalizeH="0" baseline="0" noProof="0" dirty="0">
                <a:ln>
                  <a:noFill/>
                </a:ln>
                <a:solidFill>
                  <a:srgbClr val="7CBA2B">
                    <a:lumMod val="60000"/>
                    <a:lumOff val="40000"/>
                  </a:srgbClr>
                </a:solidFill>
                <a:effectLst/>
                <a:uLnTx/>
                <a:uFillTx/>
                <a:latin typeface="ヒラギノ角ゴ Pro W3"/>
                <a:ea typeface="ヒラギノ角ゴ Pro W3"/>
                <a:cs typeface="ヒラギノ角ゴ Pro W3"/>
              </a:endParaRPr>
            </a:p>
          </p:txBody>
        </p:sp>
        <p:grpSp>
          <p:nvGrpSpPr>
            <p:cNvPr id="151" name="Group 150"/>
            <p:cNvGrpSpPr/>
            <p:nvPr/>
          </p:nvGrpSpPr>
          <p:grpSpPr>
            <a:xfrm>
              <a:off x="3413638" y="2586061"/>
              <a:ext cx="483685" cy="2225191"/>
              <a:chOff x="3367318" y="2586061"/>
              <a:chExt cx="483685" cy="2225191"/>
            </a:xfrm>
          </p:grpSpPr>
          <p:cxnSp>
            <p:nvCxnSpPr>
              <p:cNvPr id="152" name="Straight Arrow Connector 151"/>
              <p:cNvCxnSpPr/>
              <p:nvPr/>
            </p:nvCxnSpPr>
            <p:spPr bwMode="auto">
              <a:xfrm flipV="1">
                <a:off x="3848909" y="2586061"/>
                <a:ext cx="2094" cy="1885427"/>
              </a:xfrm>
              <a:prstGeom prst="straightConnector1">
                <a:avLst/>
              </a:prstGeom>
              <a:solidFill>
                <a:srgbClr val="F37821"/>
              </a:solidFill>
              <a:ln w="76200" cap="rnd" cmpd="sng" algn="ctr">
                <a:solidFill>
                  <a:srgbClr val="7CBA2B">
                    <a:lumMod val="60000"/>
                    <a:lumOff val="40000"/>
                  </a:srgbClr>
                </a:solidFill>
                <a:prstDash val="solid"/>
                <a:round/>
                <a:headEnd type="none" w="med" len="med"/>
                <a:tailEnd type="arrow"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2" name="Straight Arrow Connector 161"/>
              <p:cNvCxnSpPr/>
              <p:nvPr/>
            </p:nvCxnSpPr>
            <p:spPr bwMode="auto">
              <a:xfrm flipV="1">
                <a:off x="3367318" y="4471488"/>
                <a:ext cx="481591" cy="339764"/>
              </a:xfrm>
              <a:prstGeom prst="straightConnector1">
                <a:avLst/>
              </a:prstGeom>
              <a:solidFill>
                <a:srgbClr val="F37821"/>
              </a:solidFill>
              <a:ln w="76200" cap="rnd" cmpd="sng" algn="ctr">
                <a:solidFill>
                  <a:srgbClr val="7CBA2B">
                    <a:lumMod val="60000"/>
                    <a:lumOff val="40000"/>
                  </a:srgbClr>
                </a:solidFill>
                <a:prstDash val="solid"/>
                <a:round/>
                <a:headEnd type="none" w="med" len="med"/>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64" name="Group 163"/>
          <p:cNvGrpSpPr/>
          <p:nvPr/>
        </p:nvGrpSpPr>
        <p:grpSpPr>
          <a:xfrm>
            <a:off x="5970266" y="976192"/>
            <a:ext cx="1906501" cy="1071268"/>
            <a:chOff x="7960337" y="1161664"/>
            <a:chExt cx="2542001" cy="1424397"/>
          </a:xfrm>
        </p:grpSpPr>
        <p:grpSp>
          <p:nvGrpSpPr>
            <p:cNvPr id="165" name="Group 164"/>
            <p:cNvGrpSpPr/>
            <p:nvPr/>
          </p:nvGrpSpPr>
          <p:grpSpPr>
            <a:xfrm>
              <a:off x="7960337" y="1161664"/>
              <a:ext cx="2542001" cy="1424397"/>
              <a:chOff x="2919314" y="0"/>
              <a:chExt cx="4242816" cy="2377440"/>
            </a:xfrm>
          </p:grpSpPr>
          <p:pic>
            <p:nvPicPr>
              <p:cNvPr id="167" name="Picture 166" descr="icons-04.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19314" y="0"/>
                <a:ext cx="4242816" cy="2377440"/>
              </a:xfrm>
              <a:prstGeom prst="rect">
                <a:avLst/>
              </a:prstGeom>
            </p:spPr>
          </p:pic>
          <p:sp>
            <p:nvSpPr>
              <p:cNvPr id="168" name="Rounded Rectangle 167"/>
              <p:cNvSpPr/>
              <p:nvPr/>
            </p:nvSpPr>
            <p:spPr bwMode="auto">
              <a:xfrm>
                <a:off x="4252628" y="433164"/>
                <a:ext cx="1447720" cy="1621623"/>
              </a:xfrm>
              <a:prstGeom prst="round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sp>
          <p:nvSpPr>
            <p:cNvPr id="166" name="Rectangle 165"/>
            <p:cNvSpPr/>
            <p:nvPr/>
          </p:nvSpPr>
          <p:spPr>
            <a:xfrm>
              <a:off x="8396533" y="1559118"/>
              <a:ext cx="1675672" cy="262590"/>
            </a:xfrm>
            <a:prstGeom prst="rect">
              <a:avLst/>
            </a:prstGeom>
          </p:spPr>
          <p:txBody>
            <a:bodyPr wrap="none" lIns="0" tIns="0" rIns="0" bIns="0">
              <a:spAutoFit/>
            </a:bodyPr>
            <a:lstStyle/>
            <a:p>
              <a:pPr algn="ctr" defTabSz="457073" fontAlgn="auto">
                <a:lnSpc>
                  <a:spcPct val="90000"/>
                </a:lnSpc>
                <a:spcBef>
                  <a:spcPts val="0"/>
                </a:spcBef>
                <a:spcAft>
                  <a:spcPts val="0"/>
                </a:spcAft>
                <a:defRPr/>
              </a:pPr>
              <a:r>
                <a:rPr kumimoji="0" lang="ja-JP" altLang="en-US" sz="1400" kern="0" dirty="0" smtClean="0">
                  <a:solidFill>
                    <a:srgbClr val="4E4E62"/>
                  </a:solidFill>
                  <a:latin typeface="ヒラギノ角ゴ Pro W3"/>
                  <a:ea typeface="ヒラギノ角ゴ Pro W3"/>
                  <a:cs typeface="ヒラギノ角ゴ Pro W3"/>
                </a:rPr>
                <a:t>インターネット</a:t>
              </a:r>
              <a:endParaRPr kumimoji="0" lang="en-US" sz="1400" kern="0" dirty="0">
                <a:solidFill>
                  <a:srgbClr val="4E4E62"/>
                </a:solidFill>
                <a:latin typeface="ヒラギノ角ゴ Pro W3"/>
                <a:ea typeface="ヒラギノ角ゴ Pro W3"/>
                <a:cs typeface="ヒラギノ角ゴ Pro W3"/>
              </a:endParaRPr>
            </a:p>
          </p:txBody>
        </p:sp>
      </p:grpSp>
      <p:grpSp>
        <p:nvGrpSpPr>
          <p:cNvPr id="169" name="Group 168"/>
          <p:cNvGrpSpPr/>
          <p:nvPr/>
        </p:nvGrpSpPr>
        <p:grpSpPr>
          <a:xfrm>
            <a:off x="6660056" y="1603112"/>
            <a:ext cx="538609" cy="2255924"/>
            <a:chOff x="2808573" y="2131543"/>
            <a:chExt cx="718145" cy="2999558"/>
          </a:xfrm>
        </p:grpSpPr>
        <p:sp>
          <p:nvSpPr>
            <p:cNvPr id="179" name="Rectangle 178"/>
            <p:cNvSpPr/>
            <p:nvPr/>
          </p:nvSpPr>
          <p:spPr>
            <a:xfrm>
              <a:off x="2808573" y="2131543"/>
              <a:ext cx="718145" cy="389110"/>
            </a:xfrm>
            <a:prstGeom prst="rect">
              <a:avLst/>
            </a:prstGeom>
          </p:spPr>
          <p:txBody>
            <a:bodyPr wrap="none" lIns="0" tIns="0" rIns="0" bIns="0">
              <a:spAutoFit/>
            </a:bodyPr>
            <a:lstStyle/>
            <a:p>
              <a:pPr marL="0" marR="0" lvl="0" indent="0" algn="ctr" defTabSz="457073" eaLnBrk="1" fontAlgn="auto" latinLnBrk="0" hangingPunct="1">
                <a:lnSpc>
                  <a:spcPct val="90000"/>
                </a:lnSpc>
                <a:spcBef>
                  <a:spcPts val="0"/>
                </a:spcBef>
                <a:spcAft>
                  <a:spcPts val="0"/>
                </a:spcAft>
                <a:buClrTx/>
                <a:buSzTx/>
                <a:buFontTx/>
                <a:buNone/>
                <a:tabLst/>
                <a:defRPr/>
              </a:pPr>
              <a:r>
                <a:rPr kumimoji="0" lang="ja-JP" altLang="en-US"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その他</a:t>
              </a:r>
              <a: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
              </a:r>
              <a:b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br>
              <a:r>
                <a:rPr kumimoji="0" lang="ja-JP" altLang="en-US"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全ての</a:t>
              </a:r>
              <a: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
              </a:r>
              <a:br>
                <a:rPr kumimoji="0" lang="en-US" altLang="ja-JP"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br>
              <a:r>
                <a:rPr kumimoji="0" lang="ja-JP" altLang="en-US" sz="700" b="0" i="0" u="none" strike="noStrike" kern="0" cap="none" spc="0" normalizeH="0" baseline="0" noProof="0" dirty="0" smtClean="0">
                  <a:ln>
                    <a:noFill/>
                  </a:ln>
                  <a:solidFill>
                    <a:srgbClr val="7CBA2B"/>
                  </a:solidFill>
                  <a:effectLst/>
                  <a:uLnTx/>
                  <a:uFillTx/>
                  <a:latin typeface="ヒラギノ角ゴ Pro W3"/>
                  <a:ea typeface="ヒラギノ角ゴ Pro W3"/>
                  <a:cs typeface="ヒラギノ角ゴ Pro W3"/>
                </a:rPr>
                <a:t>トラフィック</a:t>
              </a:r>
              <a:endParaRPr kumimoji="0" lang="en-US" sz="700" b="0" i="0" u="none" strike="noStrike" kern="0" cap="none" spc="0" normalizeH="0" baseline="0" noProof="0" dirty="0">
                <a:ln>
                  <a:noFill/>
                </a:ln>
                <a:solidFill>
                  <a:srgbClr val="7CBA2B"/>
                </a:solidFill>
                <a:effectLst/>
                <a:uLnTx/>
                <a:uFillTx/>
                <a:latin typeface="ヒラギノ角ゴ Pro W3"/>
                <a:ea typeface="ヒラギノ角ゴ Pro W3"/>
                <a:cs typeface="ヒラギノ角ゴ Pro W3"/>
              </a:endParaRPr>
            </a:p>
          </p:txBody>
        </p:sp>
        <p:cxnSp>
          <p:nvCxnSpPr>
            <p:cNvPr id="180" name="Straight Arrow Connector 179"/>
            <p:cNvCxnSpPr>
              <a:stCxn id="194" idx="0"/>
            </p:cNvCxnSpPr>
            <p:nvPr/>
          </p:nvCxnSpPr>
          <p:spPr bwMode="auto">
            <a:xfrm flipV="1">
              <a:off x="3150125" y="2722361"/>
              <a:ext cx="9743" cy="2408740"/>
            </a:xfrm>
            <a:prstGeom prst="straightConnector1">
              <a:avLst/>
            </a:prstGeom>
            <a:solidFill>
              <a:srgbClr val="F37821"/>
            </a:solidFill>
            <a:ln w="76200" cap="rnd" cmpd="sng" algn="ctr">
              <a:solidFill>
                <a:srgbClr val="7CBA2B"/>
              </a:solidFill>
              <a:prstDash val="solid"/>
              <a:round/>
              <a:headEnd type="none" w="med" len="med"/>
              <a:tailEnd type="arrow"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81" name="Group 180"/>
          <p:cNvGrpSpPr/>
          <p:nvPr/>
        </p:nvGrpSpPr>
        <p:grpSpPr>
          <a:xfrm>
            <a:off x="6098939" y="1699631"/>
            <a:ext cx="630993" cy="2169664"/>
            <a:chOff x="2060435" y="2123587"/>
            <a:chExt cx="841324" cy="2884865"/>
          </a:xfrm>
        </p:grpSpPr>
        <p:sp>
          <p:nvSpPr>
            <p:cNvPr id="182" name="Rectangle 181"/>
            <p:cNvSpPr/>
            <p:nvPr/>
          </p:nvSpPr>
          <p:spPr>
            <a:xfrm>
              <a:off x="2060435" y="2123587"/>
              <a:ext cx="718145" cy="260203"/>
            </a:xfrm>
            <a:prstGeom prst="rect">
              <a:avLst/>
            </a:prstGeom>
          </p:spPr>
          <p:txBody>
            <a:bodyPr wrap="none" lIns="0" tIns="0" rIns="0" bIns="0">
              <a:spAutoFit/>
            </a:bodyPr>
            <a:lstStyle/>
            <a:p>
              <a:pPr marL="0" marR="0" lvl="0" indent="0" algn="ctr" defTabSz="457073" eaLnBrk="1" fontAlgn="auto" latinLnBrk="0" hangingPunct="1">
                <a:lnSpc>
                  <a:spcPct val="9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srgbClr val="7CBA2B">
                      <a:lumMod val="75000"/>
                    </a:srgbClr>
                  </a:solidFill>
                  <a:effectLst/>
                  <a:uLnTx/>
                  <a:uFillTx/>
                  <a:latin typeface="ヒラギノ角ゴ Pro W3"/>
                  <a:ea typeface="ヒラギノ角ゴ Pro W3"/>
                  <a:cs typeface="ヒラギノ角ゴ Pro W3"/>
                </a:rPr>
                <a:t>WEB</a:t>
              </a:r>
            </a:p>
            <a:p>
              <a:pPr marL="0" marR="0" lvl="0" indent="0" algn="ctr" defTabSz="457073" eaLnBrk="1" fontAlgn="auto" latinLnBrk="0" hangingPunct="1">
                <a:lnSpc>
                  <a:spcPct val="90000"/>
                </a:lnSpc>
                <a:spcBef>
                  <a:spcPts val="0"/>
                </a:spcBef>
                <a:spcAft>
                  <a:spcPts val="0"/>
                </a:spcAft>
                <a:buClrTx/>
                <a:buSzTx/>
                <a:buFontTx/>
                <a:buNone/>
                <a:tabLst/>
                <a:defRPr/>
              </a:pPr>
              <a:r>
                <a:rPr kumimoji="0" lang="ja-JP" altLang="en-US" sz="700" b="0" i="0" u="none" strike="noStrike" kern="0" cap="none" spc="0" normalizeH="0" baseline="0" noProof="0" dirty="0" smtClean="0">
                  <a:ln>
                    <a:noFill/>
                  </a:ln>
                  <a:solidFill>
                    <a:srgbClr val="7CBA2B">
                      <a:lumMod val="75000"/>
                    </a:srgbClr>
                  </a:solidFill>
                  <a:effectLst/>
                  <a:uLnTx/>
                  <a:uFillTx/>
                  <a:latin typeface="ヒラギノ角ゴ Pro W3"/>
                  <a:ea typeface="ヒラギノ角ゴ Pro W3"/>
                  <a:cs typeface="ヒラギノ角ゴ Pro W3"/>
                </a:rPr>
                <a:t>トラフィック</a:t>
              </a:r>
              <a:endParaRPr kumimoji="0" lang="en-US" sz="700" b="0" i="0" u="none" strike="noStrike" kern="0" cap="none" spc="0" normalizeH="0" baseline="0" noProof="0" dirty="0">
                <a:ln>
                  <a:noFill/>
                </a:ln>
                <a:solidFill>
                  <a:srgbClr val="7CBA2B">
                    <a:lumMod val="75000"/>
                  </a:srgbClr>
                </a:solidFill>
                <a:effectLst/>
                <a:uLnTx/>
                <a:uFillTx/>
                <a:latin typeface="ヒラギノ角ゴ Pro W3"/>
                <a:ea typeface="ヒラギノ角ゴ Pro W3"/>
                <a:cs typeface="ヒラギノ角ゴ Pro W3"/>
              </a:endParaRPr>
            </a:p>
          </p:txBody>
        </p:sp>
        <p:grpSp>
          <p:nvGrpSpPr>
            <p:cNvPr id="183" name="Group 182"/>
            <p:cNvGrpSpPr/>
            <p:nvPr/>
          </p:nvGrpSpPr>
          <p:grpSpPr>
            <a:xfrm>
              <a:off x="2420168" y="2586062"/>
              <a:ext cx="481591" cy="2422390"/>
              <a:chOff x="2416308" y="2586062"/>
              <a:chExt cx="481591" cy="2422390"/>
            </a:xfrm>
          </p:grpSpPr>
          <p:cxnSp>
            <p:nvCxnSpPr>
              <p:cNvPr id="184" name="Straight Arrow Connector 183"/>
              <p:cNvCxnSpPr/>
              <p:nvPr/>
            </p:nvCxnSpPr>
            <p:spPr bwMode="auto">
              <a:xfrm flipV="1">
                <a:off x="2418402" y="2586062"/>
                <a:ext cx="0" cy="2082626"/>
              </a:xfrm>
              <a:prstGeom prst="straightConnector1">
                <a:avLst/>
              </a:prstGeom>
              <a:solidFill>
                <a:srgbClr val="F37821"/>
              </a:solidFill>
              <a:ln w="76200" cap="rnd" cmpd="sng" algn="ctr">
                <a:solidFill>
                  <a:srgbClr val="7CBA2B">
                    <a:lumMod val="75000"/>
                  </a:srgbClr>
                </a:solidFill>
                <a:prstDash val="solid"/>
                <a:round/>
                <a:headEnd type="none" w="med" len="med"/>
                <a:tailEnd type="arrow"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 name="Straight Arrow Connector 184"/>
              <p:cNvCxnSpPr/>
              <p:nvPr/>
            </p:nvCxnSpPr>
            <p:spPr bwMode="auto">
              <a:xfrm flipH="1" flipV="1">
                <a:off x="2416308" y="4668688"/>
                <a:ext cx="481591" cy="339764"/>
              </a:xfrm>
              <a:prstGeom prst="straightConnector1">
                <a:avLst/>
              </a:prstGeom>
              <a:solidFill>
                <a:srgbClr val="F37821"/>
              </a:solidFill>
              <a:ln w="76200" cap="rnd" cmpd="sng" algn="ctr">
                <a:solidFill>
                  <a:srgbClr val="7CBA2B">
                    <a:lumMod val="75000"/>
                  </a:srgbClr>
                </a:solidFill>
                <a:prstDash val="solid"/>
                <a:round/>
                <a:headEnd type="none" w="med" len="med"/>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86" name="Group 185"/>
          <p:cNvGrpSpPr/>
          <p:nvPr/>
        </p:nvGrpSpPr>
        <p:grpSpPr>
          <a:xfrm>
            <a:off x="7113836" y="1699631"/>
            <a:ext cx="632695" cy="2169664"/>
            <a:chOff x="3413638" y="2123587"/>
            <a:chExt cx="843593" cy="2884865"/>
          </a:xfrm>
        </p:grpSpPr>
        <p:sp>
          <p:nvSpPr>
            <p:cNvPr id="187" name="Rectangle 186"/>
            <p:cNvSpPr/>
            <p:nvPr/>
          </p:nvSpPr>
          <p:spPr>
            <a:xfrm>
              <a:off x="3539086" y="2123587"/>
              <a:ext cx="718145" cy="260203"/>
            </a:xfrm>
            <a:prstGeom prst="rect">
              <a:avLst/>
            </a:prstGeom>
          </p:spPr>
          <p:txBody>
            <a:bodyPr wrap="none" lIns="0" tIns="0" rIns="0" bIns="0">
              <a:spAutoFit/>
            </a:bodyPr>
            <a:lstStyle/>
            <a:p>
              <a:pPr marL="0" marR="0" lvl="0" indent="0" algn="ctr" defTabSz="457073" eaLnBrk="1" fontAlgn="auto" latinLnBrk="0" hangingPunct="1">
                <a:lnSpc>
                  <a:spcPct val="90000"/>
                </a:lnSpc>
                <a:spcBef>
                  <a:spcPts val="0"/>
                </a:spcBef>
                <a:spcAft>
                  <a:spcPts val="0"/>
                </a:spcAft>
                <a:buClrTx/>
                <a:buSzTx/>
                <a:buFontTx/>
                <a:buNone/>
                <a:tabLst/>
                <a:defRPr/>
              </a:pPr>
              <a:r>
                <a:rPr kumimoji="0" lang="ja-JP" altLang="en-US"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t>メール</a:t>
              </a:r>
              <a:r>
                <a:rPr kumimoji="0" lang="en-US" altLang="ja-JP"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t/>
              </a:r>
              <a:br>
                <a:rPr kumimoji="0" lang="en-US" altLang="ja-JP"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br>
              <a:r>
                <a:rPr kumimoji="0" lang="ja-JP" altLang="en-US" sz="700" b="0" i="0" u="none" strike="noStrike" kern="0" cap="none" spc="0" normalizeH="0" baseline="0" noProof="0" dirty="0" smtClean="0">
                  <a:ln>
                    <a:noFill/>
                  </a:ln>
                  <a:solidFill>
                    <a:srgbClr val="7CBA2B">
                      <a:lumMod val="60000"/>
                      <a:lumOff val="40000"/>
                    </a:srgbClr>
                  </a:solidFill>
                  <a:effectLst/>
                  <a:uLnTx/>
                  <a:uFillTx/>
                  <a:latin typeface="ヒラギノ角ゴ Pro W3"/>
                  <a:ea typeface="ヒラギノ角ゴ Pro W3"/>
                  <a:cs typeface="ヒラギノ角ゴ Pro W3"/>
                </a:rPr>
                <a:t>トラフィック</a:t>
              </a:r>
              <a:endParaRPr kumimoji="0" lang="en-US" sz="700" b="0" i="0" u="none" strike="noStrike" kern="0" cap="none" spc="0" normalizeH="0" baseline="0" noProof="0" dirty="0">
                <a:ln>
                  <a:noFill/>
                </a:ln>
                <a:solidFill>
                  <a:srgbClr val="7CBA2B">
                    <a:lumMod val="60000"/>
                    <a:lumOff val="40000"/>
                  </a:srgbClr>
                </a:solidFill>
                <a:effectLst/>
                <a:uLnTx/>
                <a:uFillTx/>
                <a:latin typeface="ヒラギノ角ゴ Pro W3"/>
                <a:ea typeface="ヒラギノ角ゴ Pro W3"/>
                <a:cs typeface="ヒラギノ角ゴ Pro W3"/>
              </a:endParaRPr>
            </a:p>
          </p:txBody>
        </p:sp>
        <p:grpSp>
          <p:nvGrpSpPr>
            <p:cNvPr id="188" name="Group 187"/>
            <p:cNvGrpSpPr/>
            <p:nvPr/>
          </p:nvGrpSpPr>
          <p:grpSpPr>
            <a:xfrm>
              <a:off x="3413638" y="2586062"/>
              <a:ext cx="483685" cy="2422390"/>
              <a:chOff x="3367318" y="2586062"/>
              <a:chExt cx="483685" cy="2422390"/>
            </a:xfrm>
          </p:grpSpPr>
          <p:cxnSp>
            <p:nvCxnSpPr>
              <p:cNvPr id="189" name="Straight Arrow Connector 188"/>
              <p:cNvCxnSpPr/>
              <p:nvPr/>
            </p:nvCxnSpPr>
            <p:spPr bwMode="auto">
              <a:xfrm flipV="1">
                <a:off x="3851003" y="2586062"/>
                <a:ext cx="0" cy="2082626"/>
              </a:xfrm>
              <a:prstGeom prst="straightConnector1">
                <a:avLst/>
              </a:prstGeom>
              <a:solidFill>
                <a:srgbClr val="F37821"/>
              </a:solidFill>
              <a:ln w="76200" cap="rnd" cmpd="sng" algn="ctr">
                <a:solidFill>
                  <a:srgbClr val="7CBA2B">
                    <a:lumMod val="60000"/>
                    <a:lumOff val="40000"/>
                  </a:srgbClr>
                </a:solidFill>
                <a:prstDash val="solid"/>
                <a:round/>
                <a:headEnd type="none" w="med" len="med"/>
                <a:tailEnd type="arrow"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90" name="Straight Arrow Connector 189"/>
              <p:cNvCxnSpPr/>
              <p:nvPr/>
            </p:nvCxnSpPr>
            <p:spPr bwMode="auto">
              <a:xfrm flipV="1">
                <a:off x="3367318" y="4668688"/>
                <a:ext cx="481591" cy="339764"/>
              </a:xfrm>
              <a:prstGeom prst="straightConnector1">
                <a:avLst/>
              </a:prstGeom>
              <a:solidFill>
                <a:srgbClr val="F37821"/>
              </a:solidFill>
              <a:ln w="76200" cap="rnd" cmpd="sng" algn="ctr">
                <a:solidFill>
                  <a:srgbClr val="7CBA2B">
                    <a:lumMod val="60000"/>
                    <a:lumOff val="40000"/>
                  </a:srgbClr>
                </a:solidFill>
                <a:prstDash val="solid"/>
                <a:round/>
                <a:headEnd type="none" w="med" len="med"/>
                <a:tailEnd type="none" w="med" len="sm"/>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sp>
        <p:nvSpPr>
          <p:cNvPr id="191" name="Rectangle 190"/>
          <p:cNvSpPr/>
          <p:nvPr/>
        </p:nvSpPr>
        <p:spPr bwMode="auto">
          <a:xfrm>
            <a:off x="6667392" y="3869309"/>
            <a:ext cx="490138" cy="34385"/>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68589" tIns="34295" rIns="68589" bIns="34295"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nvGrpSpPr>
          <p:cNvPr id="192" name="Group 191"/>
          <p:cNvGrpSpPr/>
          <p:nvPr/>
        </p:nvGrpSpPr>
        <p:grpSpPr>
          <a:xfrm>
            <a:off x="5952533" y="3859027"/>
            <a:ext cx="1951151" cy="1071844"/>
            <a:chOff x="7936673" y="4994799"/>
            <a:chExt cx="2601535" cy="1425161"/>
          </a:xfrm>
        </p:grpSpPr>
        <p:sp>
          <p:nvSpPr>
            <p:cNvPr id="193" name="TextBox 192"/>
            <p:cNvSpPr txBox="1"/>
            <p:nvPr/>
          </p:nvSpPr>
          <p:spPr>
            <a:xfrm>
              <a:off x="7936673" y="5804223"/>
              <a:ext cx="2601535" cy="615737"/>
            </a:xfrm>
            <a:prstGeom prst="rect">
              <a:avLst/>
            </a:prstGeom>
          </p:spPr>
          <p:txBody>
            <a:bodyPr wrap="none" lIns="0" tIns="0" rIns="0" bIns="0" rtlCol="0" anchor="ctr">
              <a:noAutofit/>
            </a:bodyPr>
            <a:lstStyle/>
            <a:p>
              <a:pPr algn="ctr" defTabSz="457073" fontAlgn="auto">
                <a:spcBef>
                  <a:spcPts val="0"/>
                </a:spcBef>
                <a:spcAft>
                  <a:spcPts val="0"/>
                </a:spcAft>
              </a:pPr>
              <a:r>
                <a:rPr kumimoji="0" lang="ja-JP" altLang="en-US" sz="1500" dirty="0" smtClean="0">
                  <a:solidFill>
                    <a:srgbClr val="4E4E62"/>
                  </a:solidFill>
                  <a:latin typeface="ヒラギノ角ゴ Pro W3"/>
                  <a:ea typeface="ヒラギノ角ゴ Pro W3"/>
                  <a:cs typeface="ヒラギノ角ゴ Pro W3"/>
                </a:rPr>
                <a:t>リモートアクセス</a:t>
              </a:r>
              <a:endParaRPr kumimoji="0" lang="en-US" sz="1500" dirty="0">
                <a:solidFill>
                  <a:srgbClr val="4E4E62"/>
                </a:solidFill>
                <a:latin typeface="ヒラギノ角ゴ Pro W3"/>
                <a:ea typeface="ヒラギノ角ゴ Pro W3"/>
                <a:cs typeface="ヒラギノ角ゴ Pro W3"/>
              </a:endParaRPr>
            </a:p>
          </p:txBody>
        </p:sp>
        <p:pic>
          <p:nvPicPr>
            <p:cNvPr id="194" name="Picture 193" descr="icons-01.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564230" y="4994799"/>
              <a:ext cx="1314731" cy="887444"/>
            </a:xfrm>
            <a:prstGeom prst="rect">
              <a:avLst/>
            </a:prstGeom>
          </p:spPr>
        </p:pic>
      </p:grpSp>
      <p:grpSp>
        <p:nvGrpSpPr>
          <p:cNvPr id="195" name="Group 194"/>
          <p:cNvGrpSpPr/>
          <p:nvPr/>
        </p:nvGrpSpPr>
        <p:grpSpPr>
          <a:xfrm>
            <a:off x="479086" y="2373246"/>
            <a:ext cx="2154160" cy="514572"/>
            <a:chOff x="738387" y="3019248"/>
            <a:chExt cx="2751980" cy="684193"/>
          </a:xfrm>
        </p:grpSpPr>
        <p:grpSp>
          <p:nvGrpSpPr>
            <p:cNvPr id="196" name="Group 195"/>
            <p:cNvGrpSpPr/>
            <p:nvPr/>
          </p:nvGrpSpPr>
          <p:grpSpPr>
            <a:xfrm>
              <a:off x="738387" y="3019248"/>
              <a:ext cx="2751980" cy="629552"/>
              <a:chOff x="738387" y="3019248"/>
              <a:chExt cx="2751980" cy="629552"/>
            </a:xfrm>
          </p:grpSpPr>
          <p:cxnSp>
            <p:nvCxnSpPr>
              <p:cNvPr id="199" name="Straight Connector 198"/>
              <p:cNvCxnSpPr/>
              <p:nvPr/>
            </p:nvCxnSpPr>
            <p:spPr bwMode="auto">
              <a:xfrm flipH="1">
                <a:off x="738387" y="3648800"/>
                <a:ext cx="2751980" cy="0"/>
              </a:xfrm>
              <a:prstGeom prst="line">
                <a:avLst/>
              </a:prstGeom>
              <a:solidFill>
                <a:srgbClr val="F37821"/>
              </a:solidFill>
              <a:ln w="28575" cap="rnd" cmpd="sng" algn="ctr">
                <a:solidFill>
                  <a:srgbClr val="7F7F7F"/>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00" name="TextBox 199"/>
              <p:cNvSpPr txBox="1"/>
              <p:nvPr/>
            </p:nvSpPr>
            <p:spPr>
              <a:xfrm>
                <a:off x="817021" y="3019248"/>
                <a:ext cx="1469120" cy="629552"/>
              </a:xfrm>
              <a:prstGeom prst="rect">
                <a:avLst/>
              </a:prstGeom>
            </p:spPr>
            <p:txBody>
              <a:bodyPr wrap="none" lIns="0" tIns="0" rIns="0" bIns="0" rtlCol="0">
                <a:noAutofit/>
              </a:bodyPr>
              <a:lstStyle/>
              <a:p>
                <a:pPr defTabSz="457073" fontAlgn="auto">
                  <a:lnSpc>
                    <a:spcPct val="90000"/>
                  </a:lnSpc>
                  <a:spcBef>
                    <a:spcPts val="0"/>
                  </a:spcBef>
                  <a:spcAft>
                    <a:spcPts val="0"/>
                  </a:spcAft>
                  <a:defRPr/>
                </a:pPr>
                <a:r>
                  <a:rPr kumimoji="0" lang="en-US" sz="1400" kern="0" dirty="0" smtClean="0">
                    <a:solidFill>
                      <a:srgbClr val="000000"/>
                    </a:solidFill>
                    <a:latin typeface="Arial"/>
                    <a:ea typeface="新細明體"/>
                    <a:cs typeface="Arial"/>
                  </a:rPr>
                  <a:t>ASA</a:t>
                </a:r>
              </a:p>
              <a:p>
                <a:pPr defTabSz="457073" fontAlgn="auto">
                  <a:lnSpc>
                    <a:spcPct val="90000"/>
                  </a:lnSpc>
                  <a:spcBef>
                    <a:spcPts val="0"/>
                  </a:spcBef>
                  <a:spcAft>
                    <a:spcPts val="0"/>
                  </a:spcAft>
                  <a:defRPr/>
                </a:pPr>
                <a:r>
                  <a:rPr kumimoji="0" lang="en-US" altLang="ja-JP" sz="800" kern="0" dirty="0" smtClean="0">
                    <a:solidFill>
                      <a:srgbClr val="7F7F7F"/>
                    </a:solidFill>
                    <a:latin typeface="ヒラギノ角ゴ Pro W3"/>
                    <a:ea typeface="ヒラギノ角ゴ Pro W3"/>
                    <a:cs typeface="ヒラギノ角ゴ Pro W3"/>
                  </a:rPr>
                  <a:t>IP</a:t>
                </a:r>
                <a:r>
                  <a:rPr kumimoji="0" lang="ja-JP" altLang="en-US" sz="800" kern="0" dirty="0" smtClean="0">
                    <a:solidFill>
                      <a:srgbClr val="7F7F7F"/>
                    </a:solidFill>
                    <a:latin typeface="ヒラギノ角ゴ Pro W3"/>
                    <a:ea typeface="ヒラギノ角ゴ Pro W3"/>
                    <a:cs typeface="ヒラギノ角ゴ Pro W3"/>
                  </a:rPr>
                  <a:t>・</a:t>
                </a:r>
                <a:r>
                  <a:rPr kumimoji="0" lang="en-US" altLang="ja-JP" sz="800" kern="0" dirty="0" smtClean="0">
                    <a:solidFill>
                      <a:srgbClr val="7F7F7F"/>
                    </a:solidFill>
                    <a:latin typeface="ヒラギノ角ゴ Pro W3"/>
                    <a:ea typeface="ヒラギノ角ゴ Pro W3"/>
                    <a:cs typeface="ヒラギノ角ゴ Pro W3"/>
                  </a:rPr>
                  <a:t>URL</a:t>
                </a:r>
                <a:r>
                  <a:rPr kumimoji="0" lang="ja-JP" altLang="en-US" sz="800" kern="0" dirty="0" smtClean="0">
                    <a:solidFill>
                      <a:srgbClr val="7F7F7F"/>
                    </a:solidFill>
                    <a:latin typeface="ヒラギノ角ゴ Pro W3"/>
                    <a:ea typeface="ヒラギノ角ゴ Pro W3"/>
                    <a:cs typeface="ヒラギノ角ゴ Pro W3"/>
                  </a:rPr>
                  <a:t>・パケット</a:t>
                </a:r>
                <a:r>
                  <a:rPr kumimoji="0" lang="en-US" altLang="ja-JP" sz="800" kern="0" dirty="0" smtClean="0">
                    <a:solidFill>
                      <a:srgbClr val="7F7F7F"/>
                    </a:solidFill>
                    <a:latin typeface="ヒラギノ角ゴ Pro W3"/>
                    <a:ea typeface="ヒラギノ角ゴ Pro W3"/>
                    <a:cs typeface="ヒラギノ角ゴ Pro W3"/>
                  </a:rPr>
                  <a:t/>
                </a:r>
                <a:br>
                  <a:rPr kumimoji="0" lang="en-US" altLang="ja-JP" sz="800" kern="0" dirty="0" smtClean="0">
                    <a:solidFill>
                      <a:srgbClr val="7F7F7F"/>
                    </a:solidFill>
                    <a:latin typeface="ヒラギノ角ゴ Pro W3"/>
                    <a:ea typeface="ヒラギノ角ゴ Pro W3"/>
                    <a:cs typeface="ヒラギノ角ゴ Pro W3"/>
                  </a:rPr>
                </a:br>
                <a:r>
                  <a:rPr kumimoji="0" lang="ja-JP" altLang="en-US" sz="800" kern="0" dirty="0" smtClean="0">
                    <a:solidFill>
                      <a:srgbClr val="7F7F7F"/>
                    </a:solidFill>
                    <a:latin typeface="ヒラギノ角ゴ Pro W3"/>
                    <a:ea typeface="ヒラギノ角ゴ Pro W3"/>
                    <a:cs typeface="ヒラギノ角ゴ Pro W3"/>
                  </a:rPr>
                  <a:t>ごとにインラインブロック</a:t>
                </a:r>
                <a:endParaRPr kumimoji="0" lang="en-US" sz="800" kern="0" dirty="0" smtClean="0">
                  <a:solidFill>
                    <a:srgbClr val="7F7F7F"/>
                  </a:solidFill>
                  <a:latin typeface="ヒラギノ角ゴ Pro W3"/>
                  <a:ea typeface="ヒラギノ角ゴ Pro W3"/>
                  <a:cs typeface="ヒラギノ角ゴ Pro W3"/>
                </a:endParaRPr>
              </a:p>
            </p:txBody>
          </p:sp>
        </p:grpSp>
        <p:sp>
          <p:nvSpPr>
            <p:cNvPr id="197" name="Oval 196"/>
            <p:cNvSpPr/>
            <p:nvPr/>
          </p:nvSpPr>
          <p:spPr bwMode="auto">
            <a:xfrm>
              <a:off x="2380298" y="3579245"/>
              <a:ext cx="124197" cy="124196"/>
            </a:xfrm>
            <a:prstGeom prst="ellipse">
              <a:avLst/>
            </a:prstGeom>
            <a:solidFill>
              <a:srgbClr val="7F7F7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sp>
          <p:nvSpPr>
            <p:cNvPr id="198" name="Oval 197"/>
            <p:cNvSpPr/>
            <p:nvPr/>
          </p:nvSpPr>
          <p:spPr bwMode="auto">
            <a:xfrm>
              <a:off x="3095675" y="3579245"/>
              <a:ext cx="124196" cy="124196"/>
            </a:xfrm>
            <a:prstGeom prst="ellipse">
              <a:avLst/>
            </a:prstGeom>
            <a:solidFill>
              <a:srgbClr val="7F7F7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grpSp>
        <p:nvGrpSpPr>
          <p:cNvPr id="201" name="Group 200"/>
          <p:cNvGrpSpPr/>
          <p:nvPr/>
        </p:nvGrpSpPr>
        <p:grpSpPr>
          <a:xfrm>
            <a:off x="7178492" y="1861637"/>
            <a:ext cx="1501739" cy="518513"/>
            <a:chOff x="9571310" y="3726610"/>
            <a:chExt cx="2002319" cy="689433"/>
          </a:xfrm>
        </p:grpSpPr>
        <p:grpSp>
          <p:nvGrpSpPr>
            <p:cNvPr id="202" name="Group 201"/>
            <p:cNvGrpSpPr/>
            <p:nvPr/>
          </p:nvGrpSpPr>
          <p:grpSpPr>
            <a:xfrm>
              <a:off x="9571310" y="3726610"/>
              <a:ext cx="2002319" cy="632708"/>
              <a:chOff x="9571310" y="3726610"/>
              <a:chExt cx="2002319" cy="632708"/>
            </a:xfrm>
          </p:grpSpPr>
          <p:sp>
            <p:nvSpPr>
              <p:cNvPr id="204" name="TextBox 203"/>
              <p:cNvSpPr txBox="1"/>
              <p:nvPr/>
            </p:nvSpPr>
            <p:spPr>
              <a:xfrm>
                <a:off x="10305631" y="3726610"/>
                <a:ext cx="1267998" cy="632708"/>
              </a:xfrm>
              <a:prstGeom prst="rect">
                <a:avLst/>
              </a:prstGeom>
            </p:spPr>
            <p:txBody>
              <a:bodyPr wrap="none" lIns="0" tIns="0" rIns="0" bIns="0" rtlCol="0">
                <a:noAutofit/>
              </a:bodyPr>
              <a:lstStyle/>
              <a:p>
                <a:pPr algn="r" defTabSz="457073" fontAlgn="auto">
                  <a:lnSpc>
                    <a:spcPct val="90000"/>
                  </a:lnSpc>
                  <a:spcBef>
                    <a:spcPts val="0"/>
                  </a:spcBef>
                  <a:spcAft>
                    <a:spcPts val="0"/>
                  </a:spcAft>
                  <a:defRPr/>
                </a:pPr>
                <a:r>
                  <a:rPr kumimoji="0" lang="en-US" sz="1400" kern="0" dirty="0" smtClean="0">
                    <a:solidFill>
                      <a:srgbClr val="000000"/>
                    </a:solidFill>
                    <a:latin typeface="Arial"/>
                    <a:ea typeface="新細明體"/>
                    <a:cs typeface="Arial"/>
                  </a:rPr>
                  <a:t>ESA/CES</a:t>
                </a:r>
                <a:endParaRPr kumimoji="0" lang="en-US" sz="1400" kern="0" dirty="0">
                  <a:solidFill>
                    <a:srgbClr val="000000"/>
                  </a:solidFill>
                  <a:latin typeface="Arial"/>
                  <a:ea typeface="新細明體"/>
                  <a:cs typeface="Arial"/>
                </a:endParaRPr>
              </a:p>
              <a:p>
                <a:pPr algn="r" defTabSz="457073" fontAlgn="auto">
                  <a:lnSpc>
                    <a:spcPct val="90000"/>
                  </a:lnSpc>
                  <a:spcBef>
                    <a:spcPts val="0"/>
                  </a:spcBef>
                  <a:spcAft>
                    <a:spcPts val="0"/>
                  </a:spcAft>
                  <a:defRPr/>
                </a:pPr>
                <a:r>
                  <a:rPr lang="ja-JP" altLang="en-US" sz="800" kern="0" dirty="0">
                    <a:solidFill>
                      <a:srgbClr val="7F7F7F"/>
                    </a:solidFill>
                    <a:latin typeface="ヒラギノ角ゴ Pro W3"/>
                    <a:ea typeface="ヒラギノ角ゴ Pro W3"/>
                    <a:cs typeface="ヒラギノ角ゴ Pro W3"/>
                  </a:rPr>
                  <a:t>送信者・コンテンツを</a:t>
                </a:r>
                <a:r>
                  <a:rPr lang="en-US" altLang="ja-JP" sz="800" kern="0" dirty="0">
                    <a:solidFill>
                      <a:srgbClr val="7F7F7F"/>
                    </a:solidFill>
                    <a:latin typeface="ヒラギノ角ゴ Pro W3"/>
                    <a:ea typeface="ヒラギノ角ゴ Pro W3"/>
                    <a:cs typeface="ヒラギノ角ゴ Pro W3"/>
                  </a:rPr>
                  <a:t/>
                </a:r>
                <a:br>
                  <a:rPr lang="en-US" altLang="ja-JP" sz="800" kern="0" dirty="0">
                    <a:solidFill>
                      <a:srgbClr val="7F7F7F"/>
                    </a:solidFill>
                    <a:latin typeface="ヒラギノ角ゴ Pro W3"/>
                    <a:ea typeface="ヒラギノ角ゴ Pro W3"/>
                    <a:cs typeface="ヒラギノ角ゴ Pro W3"/>
                  </a:rPr>
                </a:br>
                <a:r>
                  <a:rPr lang="ja-JP" altLang="en-US" sz="800" kern="0" dirty="0">
                    <a:solidFill>
                      <a:srgbClr val="7F7F7F"/>
                    </a:solidFill>
                    <a:latin typeface="ヒラギノ角ゴ Pro W3"/>
                    <a:ea typeface="ヒラギノ角ゴ Pro W3"/>
                    <a:cs typeface="ヒラギノ角ゴ Pro W3"/>
                  </a:rPr>
                  <a:t>ブロック</a:t>
                </a:r>
                <a:endParaRPr lang="en-US" sz="800" kern="0" dirty="0">
                  <a:solidFill>
                    <a:srgbClr val="7F7F7F"/>
                  </a:solidFill>
                  <a:latin typeface="ヒラギノ角ゴ Pro W3"/>
                  <a:ea typeface="ヒラギノ角ゴ Pro W3"/>
                  <a:cs typeface="ヒラギノ角ゴ Pro W3"/>
                </a:endParaRPr>
              </a:p>
            </p:txBody>
          </p:sp>
          <p:cxnSp>
            <p:nvCxnSpPr>
              <p:cNvPr id="205" name="Straight Connector 204"/>
              <p:cNvCxnSpPr/>
              <p:nvPr/>
            </p:nvCxnSpPr>
            <p:spPr bwMode="auto">
              <a:xfrm flipH="1" flipV="1">
                <a:off x="9571310" y="4358846"/>
                <a:ext cx="2002319" cy="472"/>
              </a:xfrm>
              <a:prstGeom prst="line">
                <a:avLst/>
              </a:prstGeom>
              <a:solidFill>
                <a:srgbClr val="F37821"/>
              </a:solidFill>
              <a:ln w="28575" cap="rnd" cmpd="sng" algn="ctr">
                <a:solidFill>
                  <a:srgbClr val="7F7F7F"/>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203" name="Oval 202"/>
            <p:cNvSpPr/>
            <p:nvPr/>
          </p:nvSpPr>
          <p:spPr bwMode="auto">
            <a:xfrm>
              <a:off x="9908476" y="4291847"/>
              <a:ext cx="124196" cy="124196"/>
            </a:xfrm>
            <a:prstGeom prst="ellipse">
              <a:avLst/>
            </a:prstGeom>
            <a:solidFill>
              <a:srgbClr val="7F7F7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grpSp>
        <p:nvGrpSpPr>
          <p:cNvPr id="206" name="Group 205"/>
          <p:cNvGrpSpPr/>
          <p:nvPr/>
        </p:nvGrpSpPr>
        <p:grpSpPr>
          <a:xfrm>
            <a:off x="479096" y="1857584"/>
            <a:ext cx="1628903" cy="522552"/>
            <a:chOff x="738387" y="3721238"/>
            <a:chExt cx="2080954" cy="694805"/>
          </a:xfrm>
        </p:grpSpPr>
        <p:grpSp>
          <p:nvGrpSpPr>
            <p:cNvPr id="207" name="Group 206"/>
            <p:cNvGrpSpPr/>
            <p:nvPr/>
          </p:nvGrpSpPr>
          <p:grpSpPr>
            <a:xfrm>
              <a:off x="738387" y="3721238"/>
              <a:ext cx="2080954" cy="632236"/>
              <a:chOff x="738387" y="3721238"/>
              <a:chExt cx="2080954" cy="632236"/>
            </a:xfrm>
          </p:grpSpPr>
          <p:cxnSp>
            <p:nvCxnSpPr>
              <p:cNvPr id="209" name="Straight Connector 208"/>
              <p:cNvCxnSpPr/>
              <p:nvPr/>
            </p:nvCxnSpPr>
            <p:spPr bwMode="auto">
              <a:xfrm flipH="1">
                <a:off x="738387" y="4353474"/>
                <a:ext cx="2080954" cy="0"/>
              </a:xfrm>
              <a:prstGeom prst="line">
                <a:avLst/>
              </a:prstGeom>
              <a:solidFill>
                <a:srgbClr val="F37821"/>
              </a:solidFill>
              <a:ln w="28575" cap="rnd" cmpd="sng" algn="ctr">
                <a:solidFill>
                  <a:srgbClr val="7F7F7F"/>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10" name="TextBox 209"/>
              <p:cNvSpPr txBox="1"/>
              <p:nvPr/>
            </p:nvSpPr>
            <p:spPr>
              <a:xfrm>
                <a:off x="817022" y="3721238"/>
                <a:ext cx="1469120" cy="631764"/>
              </a:xfrm>
              <a:prstGeom prst="rect">
                <a:avLst/>
              </a:prstGeom>
            </p:spPr>
            <p:txBody>
              <a:bodyPr wrap="none" lIns="0" tIns="0" rIns="0" bIns="0" rtlCol="0">
                <a:noAutofit/>
              </a:bodyPr>
              <a:lstStyle/>
              <a:p>
                <a:pPr defTabSz="457073" fontAlgn="auto">
                  <a:lnSpc>
                    <a:spcPct val="90000"/>
                  </a:lnSpc>
                  <a:spcBef>
                    <a:spcPts val="0"/>
                  </a:spcBef>
                  <a:spcAft>
                    <a:spcPts val="0"/>
                  </a:spcAft>
                  <a:defRPr/>
                </a:pPr>
                <a:r>
                  <a:rPr kumimoji="0" lang="en-US" sz="1400" kern="0" dirty="0" smtClean="0">
                    <a:solidFill>
                      <a:srgbClr val="000000"/>
                    </a:solidFill>
                    <a:latin typeface="Arial"/>
                    <a:ea typeface="新細明體"/>
                    <a:cs typeface="Arial"/>
                  </a:rPr>
                  <a:t>WSA/CWS</a:t>
                </a:r>
                <a:endParaRPr kumimoji="0" lang="en-US" sz="1400" kern="0" dirty="0">
                  <a:solidFill>
                    <a:srgbClr val="000000"/>
                  </a:solidFill>
                  <a:latin typeface="Arial"/>
                  <a:ea typeface="新細明體"/>
                  <a:cs typeface="Arial"/>
                </a:endParaRPr>
              </a:p>
              <a:p>
                <a:pPr defTabSz="457073" fontAlgn="auto">
                  <a:lnSpc>
                    <a:spcPct val="90000"/>
                  </a:lnSpc>
                  <a:spcBef>
                    <a:spcPts val="0"/>
                  </a:spcBef>
                  <a:spcAft>
                    <a:spcPts val="0"/>
                  </a:spcAft>
                  <a:defRPr/>
                </a:pPr>
                <a:r>
                  <a:rPr lang="en-US" altLang="ja-JP" sz="800" kern="0" dirty="0" smtClean="0">
                    <a:solidFill>
                      <a:srgbClr val="7F7F7F"/>
                    </a:solidFill>
                    <a:latin typeface="ヒラギノ角ゴ Pro W3"/>
                    <a:ea typeface="ヒラギノ角ゴ Pro W3"/>
                    <a:cs typeface="ヒラギノ角ゴ Pro W3"/>
                  </a:rPr>
                  <a:t>URL</a:t>
                </a:r>
                <a:r>
                  <a:rPr lang="ja-JP" altLang="en-US" sz="800" kern="0" dirty="0" smtClean="0">
                    <a:solidFill>
                      <a:srgbClr val="7F7F7F"/>
                    </a:solidFill>
                    <a:latin typeface="ヒラギノ角ゴ Pro W3"/>
                    <a:ea typeface="ヒラギノ角ゴ Pro W3"/>
                    <a:cs typeface="ヒラギノ角ゴ Pro W3"/>
                  </a:rPr>
                  <a:t>・コンテンツを</a:t>
                </a:r>
                <a:r>
                  <a:rPr lang="en-US" altLang="ja-JP" sz="800" kern="0" dirty="0" smtClean="0">
                    <a:solidFill>
                      <a:srgbClr val="7F7F7F"/>
                    </a:solidFill>
                    <a:latin typeface="ヒラギノ角ゴ Pro W3"/>
                    <a:ea typeface="ヒラギノ角ゴ Pro W3"/>
                    <a:cs typeface="ヒラギノ角ゴ Pro W3"/>
                  </a:rPr>
                  <a:t/>
                </a:r>
                <a:br>
                  <a:rPr lang="en-US" altLang="ja-JP" sz="800" kern="0" dirty="0" smtClean="0">
                    <a:solidFill>
                      <a:srgbClr val="7F7F7F"/>
                    </a:solidFill>
                    <a:latin typeface="ヒラギノ角ゴ Pro W3"/>
                    <a:ea typeface="ヒラギノ角ゴ Pro W3"/>
                    <a:cs typeface="ヒラギノ角ゴ Pro W3"/>
                  </a:rPr>
                </a:br>
                <a:r>
                  <a:rPr lang="ja-JP" altLang="en-US" sz="800" kern="0" dirty="0" smtClean="0">
                    <a:solidFill>
                      <a:srgbClr val="7F7F7F"/>
                    </a:solidFill>
                    <a:latin typeface="ヒラギノ角ゴ Pro W3"/>
                    <a:ea typeface="ヒラギノ角ゴ Pro W3"/>
                    <a:cs typeface="ヒラギノ角ゴ Pro W3"/>
                  </a:rPr>
                  <a:t>プロキシ経由でブロック</a:t>
                </a:r>
                <a:endParaRPr lang="ja-JP" altLang="en-US" sz="800" kern="0" dirty="0">
                  <a:solidFill>
                    <a:srgbClr val="7F7F7F"/>
                  </a:solidFill>
                  <a:latin typeface="ヒラギノ角ゴ Pro W3"/>
                  <a:ea typeface="ヒラギノ角ゴ Pro W3"/>
                  <a:cs typeface="ヒラギノ角ゴ Pro W3"/>
                </a:endParaRPr>
              </a:p>
            </p:txBody>
          </p:sp>
        </p:grpSp>
        <p:sp>
          <p:nvSpPr>
            <p:cNvPr id="208" name="Oval 207"/>
            <p:cNvSpPr/>
            <p:nvPr/>
          </p:nvSpPr>
          <p:spPr bwMode="auto">
            <a:xfrm>
              <a:off x="2380297" y="4291847"/>
              <a:ext cx="124197" cy="124196"/>
            </a:xfrm>
            <a:prstGeom prst="ellipse">
              <a:avLst/>
            </a:prstGeom>
            <a:solidFill>
              <a:srgbClr val="7F7F7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grpSp>
        <p:nvGrpSpPr>
          <p:cNvPr id="211" name="Group 210"/>
          <p:cNvGrpSpPr/>
          <p:nvPr/>
        </p:nvGrpSpPr>
        <p:grpSpPr>
          <a:xfrm>
            <a:off x="2638736" y="1857594"/>
            <a:ext cx="1501739" cy="522553"/>
            <a:chOff x="3518305" y="3721237"/>
            <a:chExt cx="2002319" cy="694806"/>
          </a:xfrm>
        </p:grpSpPr>
        <p:grpSp>
          <p:nvGrpSpPr>
            <p:cNvPr id="212" name="Group 211"/>
            <p:cNvGrpSpPr/>
            <p:nvPr/>
          </p:nvGrpSpPr>
          <p:grpSpPr>
            <a:xfrm>
              <a:off x="3518305" y="3721237"/>
              <a:ext cx="2002319" cy="638080"/>
              <a:chOff x="3518305" y="3721237"/>
              <a:chExt cx="2002319" cy="638080"/>
            </a:xfrm>
          </p:grpSpPr>
          <p:sp>
            <p:nvSpPr>
              <p:cNvPr id="214" name="TextBox 213"/>
              <p:cNvSpPr txBox="1"/>
              <p:nvPr/>
            </p:nvSpPr>
            <p:spPr>
              <a:xfrm>
                <a:off x="4252626" y="3721237"/>
                <a:ext cx="1267998" cy="638080"/>
              </a:xfrm>
              <a:prstGeom prst="rect">
                <a:avLst/>
              </a:prstGeom>
            </p:spPr>
            <p:txBody>
              <a:bodyPr wrap="none" lIns="0" tIns="0" rIns="0" bIns="0" rtlCol="0">
                <a:noAutofit/>
              </a:bodyPr>
              <a:lstStyle/>
              <a:p>
                <a:pPr algn="r" defTabSz="457073" fontAlgn="auto">
                  <a:lnSpc>
                    <a:spcPct val="90000"/>
                  </a:lnSpc>
                  <a:spcBef>
                    <a:spcPts val="0"/>
                  </a:spcBef>
                  <a:spcAft>
                    <a:spcPts val="0"/>
                  </a:spcAft>
                  <a:defRPr/>
                </a:pPr>
                <a:r>
                  <a:rPr kumimoji="0" lang="en-US" sz="1400" kern="0" dirty="0" smtClean="0">
                    <a:solidFill>
                      <a:srgbClr val="000000"/>
                    </a:solidFill>
                    <a:latin typeface="Arial"/>
                    <a:ea typeface="新細明體"/>
                    <a:cs typeface="Arial"/>
                  </a:rPr>
                  <a:t>ESA/CES</a:t>
                </a:r>
                <a:endParaRPr kumimoji="0" lang="en-US" sz="1400" kern="0" dirty="0">
                  <a:solidFill>
                    <a:srgbClr val="000000"/>
                  </a:solidFill>
                  <a:latin typeface="Arial"/>
                  <a:ea typeface="新細明體"/>
                  <a:cs typeface="Arial"/>
                </a:endParaRPr>
              </a:p>
              <a:p>
                <a:pPr algn="r" defTabSz="457073" fontAlgn="auto">
                  <a:lnSpc>
                    <a:spcPct val="90000"/>
                  </a:lnSpc>
                  <a:spcBef>
                    <a:spcPts val="0"/>
                  </a:spcBef>
                  <a:spcAft>
                    <a:spcPts val="0"/>
                  </a:spcAft>
                  <a:defRPr/>
                </a:pPr>
                <a:r>
                  <a:rPr kumimoji="0" lang="ja-JP" altLang="en-US" sz="800" kern="0" dirty="0" smtClean="0">
                    <a:solidFill>
                      <a:srgbClr val="7F7F7F"/>
                    </a:solidFill>
                    <a:latin typeface="ヒラギノ角ゴ Pro W3"/>
                    <a:ea typeface="ヒラギノ角ゴ Pro W3"/>
                    <a:cs typeface="ヒラギノ角ゴ Pro W3"/>
                  </a:rPr>
                  <a:t>送信者・コンテンツを</a:t>
                </a:r>
                <a:r>
                  <a:rPr kumimoji="0" lang="en-US" altLang="ja-JP" sz="800" kern="0" dirty="0" smtClean="0">
                    <a:solidFill>
                      <a:srgbClr val="7F7F7F"/>
                    </a:solidFill>
                    <a:latin typeface="ヒラギノ角ゴ Pro W3"/>
                    <a:ea typeface="ヒラギノ角ゴ Pro W3"/>
                    <a:cs typeface="ヒラギノ角ゴ Pro W3"/>
                  </a:rPr>
                  <a:t/>
                </a:r>
                <a:br>
                  <a:rPr kumimoji="0" lang="en-US" altLang="ja-JP" sz="800" kern="0" dirty="0" smtClean="0">
                    <a:solidFill>
                      <a:srgbClr val="7F7F7F"/>
                    </a:solidFill>
                    <a:latin typeface="ヒラギノ角ゴ Pro W3"/>
                    <a:ea typeface="ヒラギノ角ゴ Pro W3"/>
                    <a:cs typeface="ヒラギノ角ゴ Pro W3"/>
                  </a:rPr>
                </a:br>
                <a:r>
                  <a:rPr kumimoji="0" lang="ja-JP" altLang="en-US" sz="800" kern="0" dirty="0" smtClean="0">
                    <a:solidFill>
                      <a:srgbClr val="7F7F7F"/>
                    </a:solidFill>
                    <a:latin typeface="ヒラギノ角ゴ Pro W3"/>
                    <a:ea typeface="ヒラギノ角ゴ Pro W3"/>
                    <a:cs typeface="ヒラギノ角ゴ Pro W3"/>
                  </a:rPr>
                  <a:t>ブロック</a:t>
                </a:r>
                <a:endParaRPr kumimoji="0" lang="en-US" sz="800" kern="0" dirty="0">
                  <a:solidFill>
                    <a:srgbClr val="7F7F7F"/>
                  </a:solidFill>
                  <a:latin typeface="ヒラギノ角ゴ Pro W3"/>
                  <a:ea typeface="ヒラギノ角ゴ Pro W3"/>
                  <a:cs typeface="ヒラギノ角ゴ Pro W3"/>
                </a:endParaRPr>
              </a:p>
            </p:txBody>
          </p:sp>
          <p:cxnSp>
            <p:nvCxnSpPr>
              <p:cNvPr id="215" name="Straight Connector 214"/>
              <p:cNvCxnSpPr/>
              <p:nvPr/>
            </p:nvCxnSpPr>
            <p:spPr bwMode="auto">
              <a:xfrm flipH="1" flipV="1">
                <a:off x="3518305" y="4353473"/>
                <a:ext cx="2002319" cy="472"/>
              </a:xfrm>
              <a:prstGeom prst="line">
                <a:avLst/>
              </a:prstGeom>
              <a:solidFill>
                <a:srgbClr val="F37821"/>
              </a:solidFill>
              <a:ln w="28575" cap="rnd" cmpd="sng" algn="ctr">
                <a:solidFill>
                  <a:srgbClr val="7F7F7F"/>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213" name="Oval 212"/>
            <p:cNvSpPr/>
            <p:nvPr/>
          </p:nvSpPr>
          <p:spPr bwMode="auto">
            <a:xfrm>
              <a:off x="3835225" y="4291847"/>
              <a:ext cx="124196" cy="124196"/>
            </a:xfrm>
            <a:prstGeom prst="ellipse">
              <a:avLst/>
            </a:prstGeom>
            <a:solidFill>
              <a:srgbClr val="7F7F7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grpSp>
        <p:nvGrpSpPr>
          <p:cNvPr id="216" name="Group 215"/>
          <p:cNvGrpSpPr>
            <a:grpSpLocks noChangeAspect="1"/>
          </p:cNvGrpSpPr>
          <p:nvPr/>
        </p:nvGrpSpPr>
        <p:grpSpPr>
          <a:xfrm>
            <a:off x="2059132" y="3472754"/>
            <a:ext cx="636663" cy="529675"/>
            <a:chOff x="661833" y="3520924"/>
            <a:chExt cx="738063" cy="612899"/>
          </a:xfrm>
        </p:grpSpPr>
        <p:sp>
          <p:nvSpPr>
            <p:cNvPr id="217" name="Rectangle 216"/>
            <p:cNvSpPr/>
            <p:nvPr/>
          </p:nvSpPr>
          <p:spPr bwMode="auto">
            <a:xfrm>
              <a:off x="679735" y="3702724"/>
              <a:ext cx="232541" cy="348808"/>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278" fontAlgn="auto">
                <a:spcBef>
                  <a:spcPts val="0"/>
                </a:spcBef>
                <a:spcAft>
                  <a:spcPts val="0"/>
                </a:spcAft>
                <a:defRPr/>
              </a:pPr>
              <a:endParaRPr kumimoji="0" lang="en-US" kern="0" dirty="0" err="1">
                <a:solidFill>
                  <a:sysClr val="windowText" lastClr="000000"/>
                </a:solidFill>
                <a:latin typeface="Arial"/>
                <a:ea typeface="新細明體" charset="0"/>
                <a:cs typeface="Arial"/>
              </a:endParaRPr>
            </a:p>
          </p:txBody>
        </p:sp>
        <p:sp>
          <p:nvSpPr>
            <p:cNvPr id="218" name="Rectangle 217"/>
            <p:cNvSpPr/>
            <p:nvPr/>
          </p:nvSpPr>
          <p:spPr bwMode="auto">
            <a:xfrm>
              <a:off x="930518" y="3551035"/>
              <a:ext cx="232541" cy="518384"/>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278" fontAlgn="auto">
                <a:spcBef>
                  <a:spcPts val="0"/>
                </a:spcBef>
                <a:spcAft>
                  <a:spcPts val="0"/>
                </a:spcAft>
                <a:defRPr/>
              </a:pPr>
              <a:endParaRPr kumimoji="0" lang="en-US" kern="0" dirty="0" err="1">
                <a:solidFill>
                  <a:sysClr val="windowText" lastClr="000000"/>
                </a:solidFill>
                <a:latin typeface="Arial"/>
                <a:ea typeface="新細明體" charset="0"/>
                <a:cs typeface="Arial"/>
              </a:endParaRPr>
            </a:p>
          </p:txBody>
        </p:sp>
        <p:sp>
          <p:nvSpPr>
            <p:cNvPr id="219" name="Rectangle 218"/>
            <p:cNvSpPr/>
            <p:nvPr/>
          </p:nvSpPr>
          <p:spPr bwMode="auto">
            <a:xfrm>
              <a:off x="1145171" y="3774630"/>
              <a:ext cx="232541" cy="348808"/>
            </a:xfrm>
            <a:prstGeom prst="rect">
              <a:avLst/>
            </a:prstGeom>
            <a:solidFill>
              <a:srgbClr val="FFFFF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914278" fontAlgn="auto">
                <a:spcBef>
                  <a:spcPts val="0"/>
                </a:spcBef>
                <a:spcAft>
                  <a:spcPts val="0"/>
                </a:spcAft>
                <a:defRPr/>
              </a:pPr>
              <a:endParaRPr kumimoji="0" lang="en-US" kern="0" dirty="0" err="1">
                <a:solidFill>
                  <a:sysClr val="windowText" lastClr="000000"/>
                </a:solidFill>
                <a:latin typeface="Arial"/>
                <a:ea typeface="新細明體" charset="0"/>
                <a:cs typeface="Arial"/>
              </a:endParaRPr>
            </a:p>
          </p:txBody>
        </p:sp>
        <p:sp>
          <p:nvSpPr>
            <p:cNvPr id="220" name="Freeform 11"/>
            <p:cNvSpPr>
              <a:spLocks noEditPoints="1"/>
            </p:cNvSpPr>
            <p:nvPr/>
          </p:nvSpPr>
          <p:spPr bwMode="auto">
            <a:xfrm>
              <a:off x="661833" y="3520924"/>
              <a:ext cx="738063" cy="612899"/>
            </a:xfrm>
            <a:custGeom>
              <a:avLst/>
              <a:gdLst>
                <a:gd name="T0" fmla="*/ 1001 w 1379"/>
                <a:gd name="T1" fmla="*/ 66 h 1148"/>
                <a:gd name="T2" fmla="*/ 418 w 1379"/>
                <a:gd name="T3" fmla="*/ 66 h 1148"/>
                <a:gd name="T4" fmla="*/ 0 w 1379"/>
                <a:gd name="T5" fmla="*/ 311 h 1148"/>
                <a:gd name="T6" fmla="*/ 14 w 1379"/>
                <a:gd name="T7" fmla="*/ 1148 h 1148"/>
                <a:gd name="T8" fmla="*/ 978 w 1379"/>
                <a:gd name="T9" fmla="*/ 1148 h 1148"/>
                <a:gd name="T10" fmla="*/ 1363 w 1379"/>
                <a:gd name="T11" fmla="*/ 484 h 1148"/>
                <a:gd name="T12" fmla="*/ 982 w 1379"/>
                <a:gd name="T13" fmla="*/ 437 h 1148"/>
                <a:gd name="T14" fmla="*/ 104 w 1379"/>
                <a:gd name="T15" fmla="*/ 786 h 1148"/>
                <a:gd name="T16" fmla="*/ 196 w 1379"/>
                <a:gd name="T17" fmla="*/ 751 h 1148"/>
                <a:gd name="T18" fmla="*/ 196 w 1379"/>
                <a:gd name="T19" fmla="*/ 659 h 1148"/>
                <a:gd name="T20" fmla="*/ 104 w 1379"/>
                <a:gd name="T21" fmla="*/ 619 h 1148"/>
                <a:gd name="T22" fmla="*/ 196 w 1379"/>
                <a:gd name="T23" fmla="*/ 619 h 1148"/>
                <a:gd name="T24" fmla="*/ 104 w 1379"/>
                <a:gd name="T25" fmla="*/ 394 h 1148"/>
                <a:gd name="T26" fmla="*/ 371 w 1379"/>
                <a:gd name="T27" fmla="*/ 878 h 1148"/>
                <a:gd name="T28" fmla="*/ 371 w 1379"/>
                <a:gd name="T29" fmla="*/ 786 h 1148"/>
                <a:gd name="T30" fmla="*/ 281 w 1379"/>
                <a:gd name="T31" fmla="*/ 751 h 1148"/>
                <a:gd name="T32" fmla="*/ 371 w 1379"/>
                <a:gd name="T33" fmla="*/ 751 h 1148"/>
                <a:gd name="T34" fmla="*/ 281 w 1379"/>
                <a:gd name="T35" fmla="*/ 526 h 1148"/>
                <a:gd name="T36" fmla="*/ 371 w 1379"/>
                <a:gd name="T37" fmla="*/ 486 h 1148"/>
                <a:gd name="T38" fmla="*/ 371 w 1379"/>
                <a:gd name="T39" fmla="*/ 394 h 1148"/>
                <a:gd name="T40" fmla="*/ 543 w 1379"/>
                <a:gd name="T41" fmla="*/ 982 h 1148"/>
                <a:gd name="T42" fmla="*/ 654 w 1379"/>
                <a:gd name="T43" fmla="*/ 982 h 1148"/>
                <a:gd name="T44" fmla="*/ 543 w 1379"/>
                <a:gd name="T45" fmla="*/ 723 h 1148"/>
                <a:gd name="T46" fmla="*/ 654 w 1379"/>
                <a:gd name="T47" fmla="*/ 685 h 1148"/>
                <a:gd name="T48" fmla="*/ 654 w 1379"/>
                <a:gd name="T49" fmla="*/ 574 h 1148"/>
                <a:gd name="T50" fmla="*/ 543 w 1379"/>
                <a:gd name="T51" fmla="*/ 529 h 1148"/>
                <a:gd name="T52" fmla="*/ 654 w 1379"/>
                <a:gd name="T53" fmla="*/ 529 h 1148"/>
                <a:gd name="T54" fmla="*/ 543 w 1379"/>
                <a:gd name="T55" fmla="*/ 260 h 1148"/>
                <a:gd name="T56" fmla="*/ 654 w 1379"/>
                <a:gd name="T57" fmla="*/ 210 h 1148"/>
                <a:gd name="T58" fmla="*/ 654 w 1379"/>
                <a:gd name="T59" fmla="*/ 99 h 1148"/>
                <a:gd name="T60" fmla="*/ 758 w 1379"/>
                <a:gd name="T61" fmla="*/ 982 h 1148"/>
                <a:gd name="T62" fmla="*/ 867 w 1379"/>
                <a:gd name="T63" fmla="*/ 982 h 1148"/>
                <a:gd name="T64" fmla="*/ 758 w 1379"/>
                <a:gd name="T65" fmla="*/ 723 h 1148"/>
                <a:gd name="T66" fmla="*/ 867 w 1379"/>
                <a:gd name="T67" fmla="*/ 685 h 1148"/>
                <a:gd name="T68" fmla="*/ 867 w 1379"/>
                <a:gd name="T69" fmla="*/ 574 h 1148"/>
                <a:gd name="T70" fmla="*/ 758 w 1379"/>
                <a:gd name="T71" fmla="*/ 529 h 1148"/>
                <a:gd name="T72" fmla="*/ 867 w 1379"/>
                <a:gd name="T73" fmla="*/ 529 h 1148"/>
                <a:gd name="T74" fmla="*/ 758 w 1379"/>
                <a:gd name="T75" fmla="*/ 260 h 1148"/>
                <a:gd name="T76" fmla="*/ 867 w 1379"/>
                <a:gd name="T77" fmla="*/ 210 h 1148"/>
                <a:gd name="T78" fmla="*/ 867 w 1379"/>
                <a:gd name="T79" fmla="*/ 99 h 1148"/>
                <a:gd name="T80" fmla="*/ 1053 w 1379"/>
                <a:gd name="T81" fmla="*/ 919 h 1148"/>
                <a:gd name="T82" fmla="*/ 1131 w 1379"/>
                <a:gd name="T83" fmla="*/ 919 h 1148"/>
                <a:gd name="T84" fmla="*/ 1053 w 1379"/>
                <a:gd name="T85" fmla="*/ 732 h 1148"/>
                <a:gd name="T86" fmla="*/ 1131 w 1379"/>
                <a:gd name="T87" fmla="*/ 697 h 1148"/>
                <a:gd name="T88" fmla="*/ 1131 w 1379"/>
                <a:gd name="T89" fmla="*/ 619 h 1148"/>
                <a:gd name="T90" fmla="*/ 1053 w 1379"/>
                <a:gd name="T91" fmla="*/ 583 h 1148"/>
                <a:gd name="T92" fmla="*/ 1131 w 1379"/>
                <a:gd name="T93" fmla="*/ 583 h 1148"/>
                <a:gd name="T94" fmla="*/ 1204 w 1379"/>
                <a:gd name="T95" fmla="*/ 841 h 1148"/>
                <a:gd name="T96" fmla="*/ 1282 w 1379"/>
                <a:gd name="T97" fmla="*/ 810 h 1148"/>
                <a:gd name="T98" fmla="*/ 1282 w 1379"/>
                <a:gd name="T99" fmla="*/ 732 h 1148"/>
                <a:gd name="T100" fmla="*/ 1204 w 1379"/>
                <a:gd name="T101" fmla="*/ 697 h 1148"/>
                <a:gd name="T102" fmla="*/ 1282 w 1379"/>
                <a:gd name="T103" fmla="*/ 697 h 1148"/>
                <a:gd name="T104" fmla="*/ 1204 w 1379"/>
                <a:gd name="T105" fmla="*/ 505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9" h="1148">
                  <a:moveTo>
                    <a:pt x="982" y="437"/>
                  </a:moveTo>
                  <a:lnTo>
                    <a:pt x="982" y="66"/>
                  </a:lnTo>
                  <a:lnTo>
                    <a:pt x="1001" y="66"/>
                  </a:lnTo>
                  <a:lnTo>
                    <a:pt x="1001" y="0"/>
                  </a:lnTo>
                  <a:lnTo>
                    <a:pt x="418" y="0"/>
                  </a:lnTo>
                  <a:lnTo>
                    <a:pt x="418" y="66"/>
                  </a:lnTo>
                  <a:lnTo>
                    <a:pt x="437" y="66"/>
                  </a:lnTo>
                  <a:lnTo>
                    <a:pt x="437" y="311"/>
                  </a:lnTo>
                  <a:lnTo>
                    <a:pt x="0" y="311"/>
                  </a:lnTo>
                  <a:lnTo>
                    <a:pt x="0" y="368"/>
                  </a:lnTo>
                  <a:lnTo>
                    <a:pt x="14" y="368"/>
                  </a:lnTo>
                  <a:lnTo>
                    <a:pt x="14" y="1148"/>
                  </a:lnTo>
                  <a:lnTo>
                    <a:pt x="467" y="1148"/>
                  </a:lnTo>
                  <a:lnTo>
                    <a:pt x="467" y="1148"/>
                  </a:lnTo>
                  <a:lnTo>
                    <a:pt x="978" y="1148"/>
                  </a:lnTo>
                  <a:lnTo>
                    <a:pt x="978" y="1148"/>
                  </a:lnTo>
                  <a:lnTo>
                    <a:pt x="1363" y="1148"/>
                  </a:lnTo>
                  <a:lnTo>
                    <a:pt x="1363" y="484"/>
                  </a:lnTo>
                  <a:lnTo>
                    <a:pt x="1379" y="484"/>
                  </a:lnTo>
                  <a:lnTo>
                    <a:pt x="1379" y="437"/>
                  </a:lnTo>
                  <a:lnTo>
                    <a:pt x="982" y="437"/>
                  </a:lnTo>
                  <a:close/>
                  <a:moveTo>
                    <a:pt x="196" y="878"/>
                  </a:moveTo>
                  <a:lnTo>
                    <a:pt x="104" y="878"/>
                  </a:lnTo>
                  <a:lnTo>
                    <a:pt x="104" y="786"/>
                  </a:lnTo>
                  <a:lnTo>
                    <a:pt x="196" y="786"/>
                  </a:lnTo>
                  <a:lnTo>
                    <a:pt x="196" y="878"/>
                  </a:lnTo>
                  <a:close/>
                  <a:moveTo>
                    <a:pt x="196" y="751"/>
                  </a:moveTo>
                  <a:lnTo>
                    <a:pt x="104" y="751"/>
                  </a:lnTo>
                  <a:lnTo>
                    <a:pt x="104" y="659"/>
                  </a:lnTo>
                  <a:lnTo>
                    <a:pt x="196" y="659"/>
                  </a:lnTo>
                  <a:lnTo>
                    <a:pt x="196" y="751"/>
                  </a:lnTo>
                  <a:close/>
                  <a:moveTo>
                    <a:pt x="196" y="619"/>
                  </a:moveTo>
                  <a:lnTo>
                    <a:pt x="104" y="619"/>
                  </a:lnTo>
                  <a:lnTo>
                    <a:pt x="104" y="526"/>
                  </a:lnTo>
                  <a:lnTo>
                    <a:pt x="196" y="526"/>
                  </a:lnTo>
                  <a:lnTo>
                    <a:pt x="196" y="619"/>
                  </a:lnTo>
                  <a:close/>
                  <a:moveTo>
                    <a:pt x="196" y="486"/>
                  </a:moveTo>
                  <a:lnTo>
                    <a:pt x="104" y="486"/>
                  </a:lnTo>
                  <a:lnTo>
                    <a:pt x="104" y="394"/>
                  </a:lnTo>
                  <a:lnTo>
                    <a:pt x="196" y="394"/>
                  </a:lnTo>
                  <a:lnTo>
                    <a:pt x="196" y="486"/>
                  </a:lnTo>
                  <a:close/>
                  <a:moveTo>
                    <a:pt x="371" y="878"/>
                  </a:moveTo>
                  <a:lnTo>
                    <a:pt x="281" y="878"/>
                  </a:lnTo>
                  <a:lnTo>
                    <a:pt x="281" y="786"/>
                  </a:lnTo>
                  <a:lnTo>
                    <a:pt x="371" y="786"/>
                  </a:lnTo>
                  <a:lnTo>
                    <a:pt x="371" y="878"/>
                  </a:lnTo>
                  <a:close/>
                  <a:moveTo>
                    <a:pt x="371" y="751"/>
                  </a:moveTo>
                  <a:lnTo>
                    <a:pt x="281" y="751"/>
                  </a:lnTo>
                  <a:lnTo>
                    <a:pt x="281" y="659"/>
                  </a:lnTo>
                  <a:lnTo>
                    <a:pt x="371" y="659"/>
                  </a:lnTo>
                  <a:lnTo>
                    <a:pt x="371" y="751"/>
                  </a:lnTo>
                  <a:close/>
                  <a:moveTo>
                    <a:pt x="371" y="619"/>
                  </a:moveTo>
                  <a:lnTo>
                    <a:pt x="281" y="619"/>
                  </a:lnTo>
                  <a:lnTo>
                    <a:pt x="281" y="526"/>
                  </a:lnTo>
                  <a:lnTo>
                    <a:pt x="371" y="526"/>
                  </a:lnTo>
                  <a:lnTo>
                    <a:pt x="371" y="619"/>
                  </a:lnTo>
                  <a:close/>
                  <a:moveTo>
                    <a:pt x="371" y="486"/>
                  </a:moveTo>
                  <a:lnTo>
                    <a:pt x="281" y="486"/>
                  </a:lnTo>
                  <a:lnTo>
                    <a:pt x="281" y="394"/>
                  </a:lnTo>
                  <a:lnTo>
                    <a:pt x="371" y="394"/>
                  </a:lnTo>
                  <a:lnTo>
                    <a:pt x="371" y="486"/>
                  </a:lnTo>
                  <a:close/>
                  <a:moveTo>
                    <a:pt x="654" y="982"/>
                  </a:moveTo>
                  <a:lnTo>
                    <a:pt x="543" y="982"/>
                  </a:lnTo>
                  <a:lnTo>
                    <a:pt x="543" y="871"/>
                  </a:lnTo>
                  <a:lnTo>
                    <a:pt x="654" y="871"/>
                  </a:lnTo>
                  <a:lnTo>
                    <a:pt x="654" y="982"/>
                  </a:lnTo>
                  <a:close/>
                  <a:moveTo>
                    <a:pt x="654" y="834"/>
                  </a:moveTo>
                  <a:lnTo>
                    <a:pt x="543" y="834"/>
                  </a:lnTo>
                  <a:lnTo>
                    <a:pt x="543" y="723"/>
                  </a:lnTo>
                  <a:lnTo>
                    <a:pt x="654" y="723"/>
                  </a:lnTo>
                  <a:lnTo>
                    <a:pt x="654" y="834"/>
                  </a:lnTo>
                  <a:close/>
                  <a:moveTo>
                    <a:pt x="654" y="685"/>
                  </a:moveTo>
                  <a:lnTo>
                    <a:pt x="543" y="685"/>
                  </a:lnTo>
                  <a:lnTo>
                    <a:pt x="543" y="574"/>
                  </a:lnTo>
                  <a:lnTo>
                    <a:pt x="654" y="574"/>
                  </a:lnTo>
                  <a:lnTo>
                    <a:pt x="654" y="685"/>
                  </a:lnTo>
                  <a:close/>
                  <a:moveTo>
                    <a:pt x="654" y="529"/>
                  </a:moveTo>
                  <a:lnTo>
                    <a:pt x="543" y="529"/>
                  </a:lnTo>
                  <a:lnTo>
                    <a:pt x="543" y="418"/>
                  </a:lnTo>
                  <a:lnTo>
                    <a:pt x="654" y="418"/>
                  </a:lnTo>
                  <a:lnTo>
                    <a:pt x="654" y="529"/>
                  </a:lnTo>
                  <a:close/>
                  <a:moveTo>
                    <a:pt x="654" y="371"/>
                  </a:moveTo>
                  <a:lnTo>
                    <a:pt x="543" y="371"/>
                  </a:lnTo>
                  <a:lnTo>
                    <a:pt x="543" y="260"/>
                  </a:lnTo>
                  <a:lnTo>
                    <a:pt x="654" y="260"/>
                  </a:lnTo>
                  <a:lnTo>
                    <a:pt x="654" y="371"/>
                  </a:lnTo>
                  <a:close/>
                  <a:moveTo>
                    <a:pt x="654" y="210"/>
                  </a:moveTo>
                  <a:lnTo>
                    <a:pt x="543" y="210"/>
                  </a:lnTo>
                  <a:lnTo>
                    <a:pt x="543" y="99"/>
                  </a:lnTo>
                  <a:lnTo>
                    <a:pt x="654" y="99"/>
                  </a:lnTo>
                  <a:lnTo>
                    <a:pt x="654" y="210"/>
                  </a:lnTo>
                  <a:close/>
                  <a:moveTo>
                    <a:pt x="867" y="982"/>
                  </a:moveTo>
                  <a:lnTo>
                    <a:pt x="758" y="982"/>
                  </a:lnTo>
                  <a:lnTo>
                    <a:pt x="758" y="871"/>
                  </a:lnTo>
                  <a:lnTo>
                    <a:pt x="867" y="871"/>
                  </a:lnTo>
                  <a:lnTo>
                    <a:pt x="867" y="982"/>
                  </a:lnTo>
                  <a:close/>
                  <a:moveTo>
                    <a:pt x="867" y="834"/>
                  </a:moveTo>
                  <a:lnTo>
                    <a:pt x="758" y="834"/>
                  </a:lnTo>
                  <a:lnTo>
                    <a:pt x="758" y="723"/>
                  </a:lnTo>
                  <a:lnTo>
                    <a:pt x="867" y="723"/>
                  </a:lnTo>
                  <a:lnTo>
                    <a:pt x="867" y="834"/>
                  </a:lnTo>
                  <a:close/>
                  <a:moveTo>
                    <a:pt x="867" y="685"/>
                  </a:moveTo>
                  <a:lnTo>
                    <a:pt x="758" y="685"/>
                  </a:lnTo>
                  <a:lnTo>
                    <a:pt x="758" y="574"/>
                  </a:lnTo>
                  <a:lnTo>
                    <a:pt x="867" y="574"/>
                  </a:lnTo>
                  <a:lnTo>
                    <a:pt x="867" y="685"/>
                  </a:lnTo>
                  <a:close/>
                  <a:moveTo>
                    <a:pt x="867" y="529"/>
                  </a:moveTo>
                  <a:lnTo>
                    <a:pt x="758" y="529"/>
                  </a:lnTo>
                  <a:lnTo>
                    <a:pt x="758" y="418"/>
                  </a:lnTo>
                  <a:lnTo>
                    <a:pt x="867" y="418"/>
                  </a:lnTo>
                  <a:lnTo>
                    <a:pt x="867" y="529"/>
                  </a:lnTo>
                  <a:close/>
                  <a:moveTo>
                    <a:pt x="867" y="371"/>
                  </a:moveTo>
                  <a:lnTo>
                    <a:pt x="758" y="371"/>
                  </a:lnTo>
                  <a:lnTo>
                    <a:pt x="758" y="260"/>
                  </a:lnTo>
                  <a:lnTo>
                    <a:pt x="867" y="260"/>
                  </a:lnTo>
                  <a:lnTo>
                    <a:pt x="867" y="371"/>
                  </a:lnTo>
                  <a:close/>
                  <a:moveTo>
                    <a:pt x="867" y="210"/>
                  </a:moveTo>
                  <a:lnTo>
                    <a:pt x="758" y="210"/>
                  </a:lnTo>
                  <a:lnTo>
                    <a:pt x="758" y="99"/>
                  </a:lnTo>
                  <a:lnTo>
                    <a:pt x="867" y="99"/>
                  </a:lnTo>
                  <a:lnTo>
                    <a:pt x="867" y="210"/>
                  </a:lnTo>
                  <a:close/>
                  <a:moveTo>
                    <a:pt x="1131" y="919"/>
                  </a:moveTo>
                  <a:lnTo>
                    <a:pt x="1053" y="919"/>
                  </a:lnTo>
                  <a:lnTo>
                    <a:pt x="1053" y="841"/>
                  </a:lnTo>
                  <a:lnTo>
                    <a:pt x="1131" y="841"/>
                  </a:lnTo>
                  <a:lnTo>
                    <a:pt x="1131" y="919"/>
                  </a:lnTo>
                  <a:close/>
                  <a:moveTo>
                    <a:pt x="1131" y="810"/>
                  </a:moveTo>
                  <a:lnTo>
                    <a:pt x="1053" y="810"/>
                  </a:lnTo>
                  <a:lnTo>
                    <a:pt x="1053" y="732"/>
                  </a:lnTo>
                  <a:lnTo>
                    <a:pt x="1131" y="732"/>
                  </a:lnTo>
                  <a:lnTo>
                    <a:pt x="1131" y="810"/>
                  </a:lnTo>
                  <a:close/>
                  <a:moveTo>
                    <a:pt x="1131" y="697"/>
                  </a:moveTo>
                  <a:lnTo>
                    <a:pt x="1053" y="697"/>
                  </a:lnTo>
                  <a:lnTo>
                    <a:pt x="1053" y="619"/>
                  </a:lnTo>
                  <a:lnTo>
                    <a:pt x="1131" y="619"/>
                  </a:lnTo>
                  <a:lnTo>
                    <a:pt x="1131" y="697"/>
                  </a:lnTo>
                  <a:close/>
                  <a:moveTo>
                    <a:pt x="1131" y="583"/>
                  </a:moveTo>
                  <a:lnTo>
                    <a:pt x="1053" y="583"/>
                  </a:lnTo>
                  <a:lnTo>
                    <a:pt x="1053" y="505"/>
                  </a:lnTo>
                  <a:lnTo>
                    <a:pt x="1131" y="505"/>
                  </a:lnTo>
                  <a:lnTo>
                    <a:pt x="1131" y="583"/>
                  </a:lnTo>
                  <a:close/>
                  <a:moveTo>
                    <a:pt x="1282" y="919"/>
                  </a:moveTo>
                  <a:lnTo>
                    <a:pt x="1204" y="919"/>
                  </a:lnTo>
                  <a:lnTo>
                    <a:pt x="1204" y="841"/>
                  </a:lnTo>
                  <a:lnTo>
                    <a:pt x="1282" y="841"/>
                  </a:lnTo>
                  <a:lnTo>
                    <a:pt x="1282" y="919"/>
                  </a:lnTo>
                  <a:close/>
                  <a:moveTo>
                    <a:pt x="1282" y="810"/>
                  </a:moveTo>
                  <a:lnTo>
                    <a:pt x="1204" y="810"/>
                  </a:lnTo>
                  <a:lnTo>
                    <a:pt x="1204" y="732"/>
                  </a:lnTo>
                  <a:lnTo>
                    <a:pt x="1282" y="732"/>
                  </a:lnTo>
                  <a:lnTo>
                    <a:pt x="1282" y="810"/>
                  </a:lnTo>
                  <a:close/>
                  <a:moveTo>
                    <a:pt x="1282" y="697"/>
                  </a:moveTo>
                  <a:lnTo>
                    <a:pt x="1204" y="697"/>
                  </a:lnTo>
                  <a:lnTo>
                    <a:pt x="1204" y="619"/>
                  </a:lnTo>
                  <a:lnTo>
                    <a:pt x="1282" y="619"/>
                  </a:lnTo>
                  <a:lnTo>
                    <a:pt x="1282" y="697"/>
                  </a:lnTo>
                  <a:close/>
                  <a:moveTo>
                    <a:pt x="1282" y="583"/>
                  </a:moveTo>
                  <a:lnTo>
                    <a:pt x="1204" y="583"/>
                  </a:lnTo>
                  <a:lnTo>
                    <a:pt x="1204" y="505"/>
                  </a:lnTo>
                  <a:lnTo>
                    <a:pt x="1282" y="505"/>
                  </a:lnTo>
                  <a:lnTo>
                    <a:pt x="1282" y="583"/>
                  </a:lnTo>
                  <a:close/>
                </a:path>
              </a:pathLst>
            </a:custGeom>
            <a:solidFill>
              <a:srgbClr val="7F7F7F"/>
            </a:solidFill>
            <a:ln>
              <a:noFill/>
            </a:ln>
            <a:extLst/>
          </p:spPr>
          <p:txBody>
            <a:bodyPr vert="horz" wrap="square" lIns="91440" tIns="45720" rIns="91440" bIns="45720" numCol="1" anchor="t" anchorCtr="0" compatLnSpc="1">
              <a:prstTxWarp prst="textNoShape">
                <a:avLst/>
              </a:prstTxWarp>
            </a:bodyPr>
            <a:lstStyle/>
            <a:p>
              <a:pPr fontAlgn="auto">
                <a:spcBef>
                  <a:spcPts val="0"/>
                </a:spcBef>
                <a:spcAft>
                  <a:spcPts val="0"/>
                </a:spcAft>
                <a:defRPr/>
              </a:pPr>
              <a:endParaRPr kumimoji="0" lang="en-US" kern="0">
                <a:solidFill>
                  <a:sysClr val="windowText" lastClr="000000"/>
                </a:solidFill>
                <a:latin typeface="Arial"/>
                <a:ea typeface="ＭＳ Ｐゴシック" charset="0"/>
                <a:cs typeface="Arial"/>
              </a:endParaRPr>
            </a:p>
          </p:txBody>
        </p:sp>
      </p:grpSp>
      <p:grpSp>
        <p:nvGrpSpPr>
          <p:cNvPr id="221" name="Group 220"/>
          <p:cNvGrpSpPr/>
          <p:nvPr/>
        </p:nvGrpSpPr>
        <p:grpSpPr>
          <a:xfrm>
            <a:off x="4903377" y="1861625"/>
            <a:ext cx="1805630" cy="522552"/>
            <a:chOff x="512625" y="3721238"/>
            <a:chExt cx="2306716" cy="694805"/>
          </a:xfrm>
        </p:grpSpPr>
        <p:grpSp>
          <p:nvGrpSpPr>
            <p:cNvPr id="222" name="Group 221"/>
            <p:cNvGrpSpPr/>
            <p:nvPr/>
          </p:nvGrpSpPr>
          <p:grpSpPr>
            <a:xfrm>
              <a:off x="512625" y="3721238"/>
              <a:ext cx="2306716" cy="632236"/>
              <a:chOff x="512625" y="3721238"/>
              <a:chExt cx="2306716" cy="632236"/>
            </a:xfrm>
          </p:grpSpPr>
          <p:cxnSp>
            <p:nvCxnSpPr>
              <p:cNvPr id="224" name="Straight Connector 223"/>
              <p:cNvCxnSpPr/>
              <p:nvPr/>
            </p:nvCxnSpPr>
            <p:spPr bwMode="auto">
              <a:xfrm flipH="1" flipV="1">
                <a:off x="512625" y="4347629"/>
                <a:ext cx="2306716" cy="5845"/>
              </a:xfrm>
              <a:prstGeom prst="line">
                <a:avLst/>
              </a:prstGeom>
              <a:solidFill>
                <a:srgbClr val="F37821"/>
              </a:solidFill>
              <a:ln w="28575" cap="rnd" cmpd="sng" algn="ctr">
                <a:solidFill>
                  <a:srgbClr val="7F7F7F"/>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5" name="TextBox 224"/>
              <p:cNvSpPr txBox="1"/>
              <p:nvPr/>
            </p:nvSpPr>
            <p:spPr>
              <a:xfrm>
                <a:off x="584217" y="3721238"/>
                <a:ext cx="1469126" cy="631764"/>
              </a:xfrm>
              <a:prstGeom prst="rect">
                <a:avLst/>
              </a:prstGeom>
            </p:spPr>
            <p:txBody>
              <a:bodyPr wrap="none" lIns="0" tIns="0" rIns="0" bIns="0" rtlCol="0">
                <a:noAutofit/>
              </a:bodyPr>
              <a:lstStyle/>
              <a:p>
                <a:pPr defTabSz="457073" fontAlgn="auto">
                  <a:lnSpc>
                    <a:spcPct val="90000"/>
                  </a:lnSpc>
                  <a:spcBef>
                    <a:spcPts val="0"/>
                  </a:spcBef>
                  <a:spcAft>
                    <a:spcPts val="0"/>
                  </a:spcAft>
                  <a:defRPr/>
                </a:pPr>
                <a:r>
                  <a:rPr kumimoji="0" lang="en-US" sz="1400" kern="0" dirty="0" smtClean="0">
                    <a:solidFill>
                      <a:srgbClr val="000000"/>
                    </a:solidFill>
                    <a:latin typeface="Arial"/>
                    <a:ea typeface="新細明體"/>
                    <a:cs typeface="Arial"/>
                  </a:rPr>
                  <a:t>CWS</a:t>
                </a:r>
                <a:endParaRPr kumimoji="0" lang="en-US" sz="1400" kern="0" dirty="0">
                  <a:solidFill>
                    <a:srgbClr val="000000"/>
                  </a:solidFill>
                  <a:latin typeface="Arial"/>
                  <a:ea typeface="新細明體"/>
                  <a:cs typeface="Arial"/>
                </a:endParaRPr>
              </a:p>
              <a:p>
                <a:pPr defTabSz="457073" fontAlgn="auto">
                  <a:lnSpc>
                    <a:spcPct val="90000"/>
                  </a:lnSpc>
                  <a:spcBef>
                    <a:spcPts val="0"/>
                  </a:spcBef>
                  <a:spcAft>
                    <a:spcPts val="0"/>
                  </a:spcAft>
                  <a:defRPr/>
                </a:pPr>
                <a:r>
                  <a:rPr lang="en-US" altLang="ja-JP" sz="800" kern="0" dirty="0" smtClean="0">
                    <a:solidFill>
                      <a:srgbClr val="7F7F7F"/>
                    </a:solidFill>
                    <a:latin typeface="ヒラギノ角ゴ Pro W3"/>
                    <a:ea typeface="ヒラギノ角ゴ Pro W3"/>
                    <a:cs typeface="ヒラギノ角ゴ Pro W3"/>
                  </a:rPr>
                  <a:t>URL</a:t>
                </a:r>
                <a:r>
                  <a:rPr lang="ja-JP" altLang="en-US" sz="800" kern="0" dirty="0">
                    <a:solidFill>
                      <a:srgbClr val="7F7F7F"/>
                    </a:solidFill>
                    <a:latin typeface="ヒラギノ角ゴ Pro W3"/>
                    <a:ea typeface="ヒラギノ角ゴ Pro W3"/>
                    <a:cs typeface="ヒラギノ角ゴ Pro W3"/>
                  </a:rPr>
                  <a:t>・コンテンツを</a:t>
                </a:r>
                <a:r>
                  <a:rPr lang="en-US" altLang="ja-JP" sz="800" kern="0" dirty="0">
                    <a:solidFill>
                      <a:srgbClr val="7F7F7F"/>
                    </a:solidFill>
                    <a:latin typeface="ヒラギノ角ゴ Pro W3"/>
                    <a:ea typeface="ヒラギノ角ゴ Pro W3"/>
                    <a:cs typeface="ヒラギノ角ゴ Pro W3"/>
                  </a:rPr>
                  <a:t/>
                </a:r>
                <a:br>
                  <a:rPr lang="en-US" altLang="ja-JP" sz="800" kern="0" dirty="0">
                    <a:solidFill>
                      <a:srgbClr val="7F7F7F"/>
                    </a:solidFill>
                    <a:latin typeface="ヒラギノ角ゴ Pro W3"/>
                    <a:ea typeface="ヒラギノ角ゴ Pro W3"/>
                    <a:cs typeface="ヒラギノ角ゴ Pro W3"/>
                  </a:rPr>
                </a:br>
                <a:r>
                  <a:rPr lang="ja-JP" altLang="en-US" sz="800" kern="0" dirty="0">
                    <a:solidFill>
                      <a:srgbClr val="7F7F7F"/>
                    </a:solidFill>
                    <a:latin typeface="ヒラギノ角ゴ Pro W3"/>
                    <a:ea typeface="ヒラギノ角ゴ Pro W3"/>
                    <a:cs typeface="ヒラギノ角ゴ Pro W3"/>
                  </a:rPr>
                  <a:t>プロキシ経由でブロック</a:t>
                </a:r>
              </a:p>
            </p:txBody>
          </p:sp>
        </p:grpSp>
        <p:sp>
          <p:nvSpPr>
            <p:cNvPr id="223" name="Oval 222"/>
            <p:cNvSpPr/>
            <p:nvPr/>
          </p:nvSpPr>
          <p:spPr bwMode="auto">
            <a:xfrm>
              <a:off x="2336739" y="4291847"/>
              <a:ext cx="124197" cy="124196"/>
            </a:xfrm>
            <a:prstGeom prst="ellipse">
              <a:avLst/>
            </a:prstGeom>
            <a:solidFill>
              <a:srgbClr val="7F7F7F"/>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defTabSz="685891" fontAlgn="auto">
                <a:spcBef>
                  <a:spcPts val="0"/>
                </a:spcBef>
                <a:spcAft>
                  <a:spcPts val="0"/>
                </a:spcAft>
                <a:defRPr/>
              </a:pPr>
              <a:endParaRPr kumimoji="0" lang="en-US" sz="1400" kern="0" dirty="0" err="1">
                <a:solidFill>
                  <a:srgbClr val="000000"/>
                </a:solidFill>
                <a:latin typeface="Arial"/>
                <a:ea typeface="新細明體" charset="0"/>
                <a:cs typeface="Arial"/>
              </a:endParaRPr>
            </a:p>
          </p:txBody>
        </p:sp>
      </p:grpSp>
      <p:grpSp>
        <p:nvGrpSpPr>
          <p:cNvPr id="226" name="Group 225"/>
          <p:cNvGrpSpPr/>
          <p:nvPr/>
        </p:nvGrpSpPr>
        <p:grpSpPr>
          <a:xfrm>
            <a:off x="479101" y="2890010"/>
            <a:ext cx="2154161" cy="533753"/>
            <a:chOff x="738387" y="2293775"/>
            <a:chExt cx="2751981" cy="709697"/>
          </a:xfrm>
        </p:grpSpPr>
        <p:grpSp>
          <p:nvGrpSpPr>
            <p:cNvPr id="227" name="Group 226"/>
            <p:cNvGrpSpPr/>
            <p:nvPr/>
          </p:nvGrpSpPr>
          <p:grpSpPr>
            <a:xfrm>
              <a:off x="738387" y="2293775"/>
              <a:ext cx="2751981" cy="653140"/>
              <a:chOff x="738387" y="2293775"/>
              <a:chExt cx="2751981" cy="653140"/>
            </a:xfrm>
          </p:grpSpPr>
          <p:cxnSp>
            <p:nvCxnSpPr>
              <p:cNvPr id="230" name="Straight Connector 229"/>
              <p:cNvCxnSpPr/>
              <p:nvPr/>
            </p:nvCxnSpPr>
            <p:spPr bwMode="auto">
              <a:xfrm flipH="1">
                <a:off x="738387" y="2946915"/>
                <a:ext cx="2751981" cy="0"/>
              </a:xfrm>
              <a:prstGeom prst="line">
                <a:avLst/>
              </a:prstGeom>
              <a:solidFill>
                <a:srgbClr val="F37821"/>
              </a:solidFill>
              <a:ln w="28575" cap="rnd" cmpd="sng" algn="ctr">
                <a:solidFill>
                  <a:srgbClr val="5E81D3"/>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31" name="TextBox 230"/>
              <p:cNvSpPr txBox="1"/>
              <p:nvPr/>
            </p:nvSpPr>
            <p:spPr>
              <a:xfrm>
                <a:off x="817003" y="2293775"/>
                <a:ext cx="1555044" cy="649339"/>
              </a:xfrm>
              <a:prstGeom prst="rect">
                <a:avLst/>
              </a:prstGeom>
            </p:spPr>
            <p:txBody>
              <a:bodyPr wrap="none" lIns="0" tIns="0" rIns="0" bIns="0" rtlCol="0">
                <a:noAutofit/>
              </a:bodyPr>
              <a:lstStyle/>
              <a:p>
                <a:pPr marL="0" marR="0" lvl="0" indent="0" defTabSz="457073" eaLnBrk="1" fontAlgn="auto" latinLnBrk="0" hangingPunct="1">
                  <a:lnSpc>
                    <a:spcPct val="90000"/>
                  </a:lnSpc>
                  <a:spcBef>
                    <a:spcPts val="0"/>
                  </a:spcBef>
                  <a:spcAft>
                    <a:spcPts val="0"/>
                  </a:spcAft>
                  <a:buClrTx/>
                  <a:buSzTx/>
                  <a:buFontTx/>
                  <a:buNone/>
                  <a:tabLst/>
                  <a:defRPr/>
                </a:pPr>
                <a:r>
                  <a:rPr kumimoji="0" lang="en-US" altLang="ja-JP" sz="1400" b="0" i="0" u="none" strike="noStrike" kern="0" cap="none" spc="0" normalizeH="0" baseline="0" noProof="0" dirty="0" smtClean="0">
                    <a:ln>
                      <a:noFill/>
                    </a:ln>
                    <a:solidFill>
                      <a:srgbClr val="5E81D3"/>
                    </a:solidFill>
                    <a:effectLst/>
                    <a:uLnTx/>
                    <a:uFillTx/>
                    <a:latin typeface="Arial"/>
                    <a:ea typeface="新細明體"/>
                    <a:cs typeface="Arial"/>
                  </a:rPr>
                  <a:t>Open</a:t>
                </a:r>
                <a:r>
                  <a:rPr kumimoji="0" lang="en-US" sz="1400" b="0" i="0" u="none" strike="noStrike" kern="0" cap="none" spc="0" normalizeH="0" baseline="0" noProof="0" dirty="0" smtClean="0">
                    <a:ln>
                      <a:noFill/>
                    </a:ln>
                    <a:solidFill>
                      <a:srgbClr val="5E81D3"/>
                    </a:solidFill>
                    <a:effectLst/>
                    <a:uLnTx/>
                    <a:uFillTx/>
                    <a:latin typeface="Arial"/>
                    <a:ea typeface="新細明體"/>
                    <a:cs typeface="Arial"/>
                  </a:rPr>
                  <a:t>DNS</a:t>
                </a:r>
                <a:endParaRPr kumimoji="0" lang="en-US" sz="1400" b="0" i="0" u="none" strike="noStrike" kern="0" cap="none" spc="0" normalizeH="0" baseline="0" noProof="0" dirty="0">
                  <a:ln>
                    <a:noFill/>
                  </a:ln>
                  <a:solidFill>
                    <a:srgbClr val="5E81D3"/>
                  </a:solidFill>
                  <a:effectLst/>
                  <a:uLnTx/>
                  <a:uFillTx/>
                  <a:latin typeface="Arial"/>
                  <a:ea typeface="新細明體"/>
                  <a:cs typeface="Arial"/>
                </a:endParaRPr>
              </a:p>
              <a:p>
                <a:pPr defTabSz="457073" fontAlgn="auto">
                  <a:lnSpc>
                    <a:spcPct val="90000"/>
                  </a:lnSpc>
                  <a:spcBef>
                    <a:spcPts val="0"/>
                  </a:spcBef>
                  <a:spcAft>
                    <a:spcPts val="0"/>
                  </a:spcAft>
                  <a:defRPr/>
                </a:pPr>
                <a:r>
                  <a:rPr lang="en-US" sz="900" kern="0" dirty="0" smtClean="0">
                    <a:solidFill>
                      <a:srgbClr val="000000"/>
                    </a:solidFill>
                    <a:latin typeface="ヒラギノ角ゴ Pro W3"/>
                    <a:ea typeface="ヒラギノ角ゴ Pro W3"/>
                    <a:cs typeface="ヒラギノ角ゴ Pro W3"/>
                  </a:rPr>
                  <a:t>IP</a:t>
                </a:r>
                <a:r>
                  <a:rPr lang="ja-JP" altLang="en-US" sz="900" kern="0" dirty="0">
                    <a:solidFill>
                      <a:srgbClr val="000000"/>
                    </a:solidFill>
                    <a:latin typeface="ヒラギノ角ゴ Pro W3"/>
                    <a:ea typeface="ヒラギノ角ゴ Pro W3"/>
                    <a:cs typeface="ヒラギノ角ゴ Pro W3"/>
                  </a:rPr>
                  <a:t>・</a:t>
                </a:r>
                <a:r>
                  <a:rPr lang="en-US" altLang="ja-JP" sz="900" kern="0" dirty="0">
                    <a:solidFill>
                      <a:srgbClr val="000000"/>
                    </a:solidFill>
                    <a:latin typeface="ヒラギノ角ゴ Pro W3"/>
                    <a:ea typeface="ヒラギノ角ゴ Pro W3"/>
                    <a:cs typeface="ヒラギノ角ゴ Pro W3"/>
                  </a:rPr>
                  <a:t>URL</a:t>
                </a:r>
                <a:r>
                  <a:rPr lang="ja-JP" altLang="en-US" sz="900" kern="0" dirty="0">
                    <a:solidFill>
                      <a:srgbClr val="000000"/>
                    </a:solidFill>
                    <a:latin typeface="ヒラギノ角ゴ Pro W3"/>
                    <a:ea typeface="ヒラギノ角ゴ Pro W3"/>
                    <a:cs typeface="ヒラギノ角ゴ Pro W3"/>
                  </a:rPr>
                  <a:t>・ドメイン</a:t>
                </a:r>
                <a:r>
                  <a:rPr lang="en-US" altLang="ja-JP" sz="900" kern="0" dirty="0">
                    <a:solidFill>
                      <a:srgbClr val="000000"/>
                    </a:solidFill>
                    <a:latin typeface="ヒラギノ角ゴ Pro W3"/>
                    <a:ea typeface="ヒラギノ角ゴ Pro W3"/>
                    <a:cs typeface="ヒラギノ角ゴ Pro W3"/>
                  </a:rPr>
                  <a:t/>
                </a:r>
                <a:br>
                  <a:rPr lang="en-US" altLang="ja-JP" sz="900" kern="0" dirty="0">
                    <a:solidFill>
                      <a:srgbClr val="000000"/>
                    </a:solidFill>
                    <a:latin typeface="ヒラギノ角ゴ Pro W3"/>
                    <a:ea typeface="ヒラギノ角ゴ Pro W3"/>
                    <a:cs typeface="ヒラギノ角ゴ Pro W3"/>
                  </a:rPr>
                </a:br>
                <a:r>
                  <a:rPr lang="ja-JP" altLang="en-US" sz="900" kern="0" dirty="0">
                    <a:solidFill>
                      <a:srgbClr val="000000"/>
                    </a:solidFill>
                    <a:latin typeface="ヒラギノ角ゴ Pro W3"/>
                    <a:ea typeface="ヒラギノ角ゴ Pro W3"/>
                    <a:cs typeface="ヒラギノ角ゴ Pro W3"/>
                  </a:rPr>
                  <a:t>ごとに</a:t>
                </a:r>
                <a:r>
                  <a:rPr lang="ja-JP" altLang="en-US" sz="900" kern="0" dirty="0" smtClean="0">
                    <a:solidFill>
                      <a:srgbClr val="000000"/>
                    </a:solidFill>
                    <a:latin typeface="ヒラギノ角ゴ Pro W3"/>
                    <a:ea typeface="ヒラギノ角ゴ Pro W3"/>
                    <a:cs typeface="ヒラギノ角ゴ Pro W3"/>
                  </a:rPr>
                  <a:t>ブロック</a:t>
                </a:r>
                <a:endParaRPr lang="en-US" sz="900" kern="0" dirty="0">
                  <a:solidFill>
                    <a:srgbClr val="000000"/>
                  </a:solidFill>
                  <a:latin typeface="ヒラギノ角ゴ Pro W3"/>
                  <a:ea typeface="ヒラギノ角ゴ Pro W3"/>
                  <a:cs typeface="ヒラギノ角ゴ Pro W3"/>
                </a:endParaRPr>
              </a:p>
            </p:txBody>
          </p:sp>
        </p:grpSp>
        <p:sp>
          <p:nvSpPr>
            <p:cNvPr id="228" name="Oval 227"/>
            <p:cNvSpPr/>
            <p:nvPr/>
          </p:nvSpPr>
          <p:spPr bwMode="auto">
            <a:xfrm>
              <a:off x="2382391" y="2879276"/>
              <a:ext cx="124197" cy="124196"/>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Arial"/>
                <a:ea typeface="新細明體" charset="0"/>
                <a:cs typeface="Arial"/>
              </a:endParaRPr>
            </a:p>
          </p:txBody>
        </p:sp>
        <p:sp>
          <p:nvSpPr>
            <p:cNvPr id="229" name="Oval 228"/>
            <p:cNvSpPr/>
            <p:nvPr/>
          </p:nvSpPr>
          <p:spPr bwMode="auto">
            <a:xfrm>
              <a:off x="3097769" y="2879276"/>
              <a:ext cx="124196" cy="124196"/>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Arial"/>
                <a:ea typeface="新細明體" charset="0"/>
                <a:cs typeface="Arial"/>
              </a:endParaRPr>
            </a:p>
          </p:txBody>
        </p:sp>
      </p:grpSp>
      <p:grpSp>
        <p:nvGrpSpPr>
          <p:cNvPr id="232" name="Group 231"/>
          <p:cNvGrpSpPr/>
          <p:nvPr/>
        </p:nvGrpSpPr>
        <p:grpSpPr>
          <a:xfrm>
            <a:off x="5080109" y="2894047"/>
            <a:ext cx="2077427" cy="529713"/>
            <a:chOff x="6773470" y="2299147"/>
            <a:chExt cx="2769903" cy="704325"/>
          </a:xfrm>
        </p:grpSpPr>
        <p:grpSp>
          <p:nvGrpSpPr>
            <p:cNvPr id="233" name="Group 232"/>
            <p:cNvGrpSpPr/>
            <p:nvPr/>
          </p:nvGrpSpPr>
          <p:grpSpPr>
            <a:xfrm>
              <a:off x="6773470" y="2299147"/>
              <a:ext cx="2769903" cy="653140"/>
              <a:chOff x="6773470" y="2299147"/>
              <a:chExt cx="2769903" cy="653140"/>
            </a:xfrm>
          </p:grpSpPr>
          <p:cxnSp>
            <p:nvCxnSpPr>
              <p:cNvPr id="236" name="Straight Connector 235"/>
              <p:cNvCxnSpPr/>
              <p:nvPr/>
            </p:nvCxnSpPr>
            <p:spPr bwMode="auto">
              <a:xfrm flipH="1">
                <a:off x="6773470" y="2952287"/>
                <a:ext cx="2769903" cy="0"/>
              </a:xfrm>
              <a:prstGeom prst="line">
                <a:avLst/>
              </a:prstGeom>
              <a:solidFill>
                <a:srgbClr val="F37821"/>
              </a:solidFill>
              <a:ln w="28575" cap="rnd" cmpd="sng" algn="ctr">
                <a:solidFill>
                  <a:srgbClr val="5E81D3"/>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37" name="TextBox 236"/>
              <p:cNvSpPr txBox="1"/>
              <p:nvPr/>
            </p:nvSpPr>
            <p:spPr>
              <a:xfrm>
                <a:off x="6855534" y="2299147"/>
                <a:ext cx="1517995" cy="649339"/>
              </a:xfrm>
              <a:prstGeom prst="rect">
                <a:avLst/>
              </a:prstGeom>
            </p:spPr>
            <p:txBody>
              <a:bodyPr wrap="none" lIns="0" tIns="0" rIns="0" bIns="0" rtlCol="0">
                <a:noAutofit/>
              </a:bodyPr>
              <a:lstStyle/>
              <a:p>
                <a:pPr marL="0" marR="0" lvl="0" indent="0" defTabSz="457073"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5E81D3"/>
                    </a:solidFill>
                    <a:effectLst/>
                    <a:uLnTx/>
                    <a:uFillTx/>
                    <a:latin typeface="Arial"/>
                    <a:ea typeface="新細明體"/>
                    <a:cs typeface="Arial"/>
                  </a:rPr>
                  <a:t>OpenDNS</a:t>
                </a:r>
              </a:p>
              <a:p>
                <a:pPr marL="0" marR="0" lvl="0" indent="0" defTabSz="457073" eaLnBrk="1" fontAlgn="auto" latinLnBrk="0" hangingPunct="1">
                  <a:lnSpc>
                    <a:spcPct val="90000"/>
                  </a:lnSpc>
                  <a:spcBef>
                    <a:spcPts val="0"/>
                  </a:spcBef>
                  <a:spcAft>
                    <a:spcPts val="0"/>
                  </a:spcAft>
                  <a:buClrTx/>
                  <a:buSzTx/>
                  <a:buFontTx/>
                  <a:buNone/>
                  <a:tabLst/>
                  <a:defRPr/>
                </a:pPr>
                <a:r>
                  <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rPr>
                  <a:t>IP</a:t>
                </a:r>
                <a:r>
                  <a:rPr lang="ja-JP" altLang="en-US" sz="900" kern="0" dirty="0" smtClean="0">
                    <a:solidFill>
                      <a:srgbClr val="000000"/>
                    </a:solidFill>
                    <a:latin typeface="ヒラギノ角ゴ Pro W3"/>
                    <a:ea typeface="ヒラギノ角ゴ Pro W3"/>
                    <a:cs typeface="ヒラギノ角ゴ Pro W3"/>
                  </a:rPr>
                  <a:t>・</a:t>
                </a:r>
                <a:r>
                  <a:rPr lang="en-US" altLang="ja-JP" sz="900" kern="0" dirty="0" smtClean="0">
                    <a:solidFill>
                      <a:srgbClr val="000000"/>
                    </a:solidFill>
                    <a:latin typeface="ヒラギノ角ゴ Pro W3"/>
                    <a:ea typeface="ヒラギノ角ゴ Pro W3"/>
                    <a:cs typeface="ヒラギノ角ゴ Pro W3"/>
                  </a:rPr>
                  <a:t>URL</a:t>
                </a:r>
                <a:r>
                  <a:rPr lang="ja-JP" altLang="en-US" sz="900" kern="0" dirty="0" smtClean="0">
                    <a:solidFill>
                      <a:srgbClr val="000000"/>
                    </a:solidFill>
                    <a:latin typeface="ヒラギノ角ゴ Pro W3"/>
                    <a:ea typeface="ヒラギノ角ゴ Pro W3"/>
                    <a:cs typeface="ヒラギノ角ゴ Pro W3"/>
                  </a:rPr>
                  <a:t>・ドメイン</a:t>
                </a:r>
                <a:r>
                  <a:rPr lang="en-US" altLang="ja-JP" sz="900" kern="0" dirty="0" smtClean="0">
                    <a:solidFill>
                      <a:srgbClr val="000000"/>
                    </a:solidFill>
                    <a:latin typeface="ヒラギノ角ゴ Pro W3"/>
                    <a:ea typeface="ヒラギノ角ゴ Pro W3"/>
                    <a:cs typeface="ヒラギノ角ゴ Pro W3"/>
                  </a:rPr>
                  <a:t/>
                </a:r>
                <a:br>
                  <a:rPr lang="en-US" altLang="ja-JP" sz="900" kern="0" dirty="0" smtClean="0">
                    <a:solidFill>
                      <a:srgbClr val="000000"/>
                    </a:solidFill>
                    <a:latin typeface="ヒラギノ角ゴ Pro W3"/>
                    <a:ea typeface="ヒラギノ角ゴ Pro W3"/>
                    <a:cs typeface="ヒラギノ角ゴ Pro W3"/>
                  </a:rPr>
                </a:br>
                <a:r>
                  <a:rPr lang="ja-JP" altLang="en-US" sz="900" kern="0" dirty="0" smtClean="0">
                    <a:solidFill>
                      <a:srgbClr val="000000"/>
                    </a:solidFill>
                    <a:latin typeface="ヒラギノ角ゴ Pro W3"/>
                    <a:ea typeface="ヒラギノ角ゴ Pro W3"/>
                    <a:cs typeface="ヒラギノ角ゴ Pro W3"/>
                  </a:rPr>
                  <a:t>ごとにブロック</a:t>
                </a:r>
                <a:endParaRPr kumimoji="0" lang="en-US" sz="900" b="0" i="0" u="none" strike="noStrike" kern="0" cap="none" spc="0" normalizeH="0" baseline="0" noProof="0" dirty="0" smtClean="0">
                  <a:ln>
                    <a:noFill/>
                  </a:ln>
                  <a:solidFill>
                    <a:srgbClr val="000000"/>
                  </a:solidFill>
                  <a:effectLst/>
                  <a:uLnTx/>
                  <a:uFillTx/>
                  <a:latin typeface="ヒラギノ角ゴ Pro W3"/>
                  <a:ea typeface="ヒラギノ角ゴ Pro W3"/>
                  <a:cs typeface="ヒラギノ角ゴ Pro W3"/>
                </a:endParaRPr>
              </a:p>
            </p:txBody>
          </p:sp>
        </p:grpSp>
        <p:sp>
          <p:nvSpPr>
            <p:cNvPr id="234" name="Oval 233"/>
            <p:cNvSpPr/>
            <p:nvPr/>
          </p:nvSpPr>
          <p:spPr bwMode="auto">
            <a:xfrm>
              <a:off x="8430004" y="2879276"/>
              <a:ext cx="124196" cy="124196"/>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Arial"/>
                <a:ea typeface="新細明體" charset="0"/>
                <a:cs typeface="Arial"/>
              </a:endParaRPr>
            </a:p>
          </p:txBody>
        </p:sp>
        <p:sp>
          <p:nvSpPr>
            <p:cNvPr id="235" name="Oval 234"/>
            <p:cNvSpPr/>
            <p:nvPr/>
          </p:nvSpPr>
          <p:spPr bwMode="auto">
            <a:xfrm>
              <a:off x="9169240" y="2879276"/>
              <a:ext cx="124196" cy="124196"/>
            </a:xfrm>
            <a:prstGeom prst="ellipse">
              <a:avLst/>
            </a:prstGeom>
            <a:solidFill>
              <a:srgbClr val="5E81D3"/>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000000"/>
                </a:solidFill>
                <a:effectLst/>
                <a:uLnTx/>
                <a:uFillTx/>
                <a:latin typeface="Arial"/>
                <a:ea typeface="新細明體" charset="0"/>
                <a:cs typeface="Arial"/>
              </a:endParaRPr>
            </a:p>
          </p:txBody>
        </p:sp>
      </p:grpSp>
      <p:sp>
        <p:nvSpPr>
          <p:cNvPr id="99" name="Freeform 98"/>
          <p:cNvSpPr>
            <a:spLocks noChangeAspect="1"/>
          </p:cNvSpPr>
          <p:nvPr/>
        </p:nvSpPr>
        <p:spPr bwMode="auto">
          <a:xfrm flipH="1">
            <a:off x="8377711" y="210009"/>
            <a:ext cx="554533" cy="331889"/>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bg1"/>
          </a:solidFill>
          <a:ln w="25400" cap="flat" cmpd="sng" algn="ctr">
            <a:noFill/>
            <a:prstDash val="solid"/>
          </a:ln>
          <a:effectLst/>
        </p:spPr>
        <p:txBody>
          <a:bodyPr lIns="162504" tIns="81251" rIns="162504" bIns="81251" rtlCol="0" anchor="ctr"/>
          <a:lstStyle/>
          <a:p>
            <a:pPr algn="ctr" defTabSz="685640">
              <a:defRPr/>
            </a:pPr>
            <a:endParaRPr lang="en-US" sz="1400" kern="0" dirty="0">
              <a:solidFill>
                <a:srgbClr val="3366FF"/>
              </a:solidFill>
              <a:latin typeface="Arial" panose="020B0604020202020204" pitchFamily="34" charset="0"/>
            </a:endParaRPr>
          </a:p>
        </p:txBody>
      </p:sp>
      <p:sp>
        <p:nvSpPr>
          <p:cNvPr id="4" name="Title 3"/>
          <p:cNvSpPr>
            <a:spLocks noGrp="1"/>
          </p:cNvSpPr>
          <p:nvPr>
            <p:ph type="title"/>
          </p:nvPr>
        </p:nvSpPr>
        <p:spPr/>
        <p:txBody>
          <a:bodyPr/>
          <a:lstStyle/>
          <a:p>
            <a:r>
              <a:rPr lang="en-US" altLang="ja-JP" dirty="0" smtClean="0"/>
              <a:t>Web</a:t>
            </a:r>
            <a:r>
              <a:rPr lang="ja-JP" altLang="en-US" dirty="0" smtClean="0"/>
              <a:t>セキュリティや他の全ての通信の前に</a:t>
            </a:r>
            <a:endParaRPr lang="en-US" dirty="0"/>
          </a:p>
        </p:txBody>
      </p:sp>
      <p:pic>
        <p:nvPicPr>
          <p:cNvPr id="100" name="Picture 6" descr="AnyConnect Icon 256.png"/>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6987390" y="4042221"/>
            <a:ext cx="340291" cy="337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505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38"/>
                                        </p:tgtEl>
                                        <p:attrNameLst>
                                          <p:attrName>style.visibility</p:attrName>
                                        </p:attrNameLst>
                                      </p:cBhvr>
                                      <p:to>
                                        <p:strVal val="visible"/>
                                      </p:to>
                                    </p:set>
                                    <p:animEffect transition="in" filter="wipe(down)">
                                      <p:cBhvr>
                                        <p:cTn id="7" dur="1000"/>
                                        <p:tgtEl>
                                          <p:spTgt spid="138"/>
                                        </p:tgtEl>
                                      </p:cBhvr>
                                    </p:animEffect>
                                  </p:childTnLst>
                                </p:cTn>
                              </p:par>
                              <p:par>
                                <p:cTn id="8" presetID="22" presetClass="entr" presetSubtype="4" fill="hold" nodeType="withEffect">
                                  <p:stCondLst>
                                    <p:cond delay="0"/>
                                  </p:stCondLst>
                                  <p:childTnLst>
                                    <p:set>
                                      <p:cBhvr>
                                        <p:cTn id="9" dur="1" fill="hold">
                                          <p:stCondLst>
                                            <p:cond delay="0"/>
                                          </p:stCondLst>
                                        </p:cTn>
                                        <p:tgtEl>
                                          <p:spTgt spid="181"/>
                                        </p:tgtEl>
                                        <p:attrNameLst>
                                          <p:attrName>style.visibility</p:attrName>
                                        </p:attrNameLst>
                                      </p:cBhvr>
                                      <p:to>
                                        <p:strVal val="visible"/>
                                      </p:to>
                                    </p:set>
                                    <p:animEffect transition="in" filter="wipe(down)">
                                      <p:cBhvr>
                                        <p:cTn id="10" dur="1000"/>
                                        <p:tgtEl>
                                          <p:spTgt spid="181"/>
                                        </p:tgtEl>
                                      </p:cBhvr>
                                    </p:animEffect>
                                  </p:childTnLst>
                                </p:cTn>
                              </p:par>
                            </p:childTnLst>
                          </p:cTn>
                        </p:par>
                        <p:par>
                          <p:cTn id="11" fill="hold">
                            <p:stCondLst>
                              <p:cond delay="1000"/>
                            </p:stCondLst>
                            <p:childTnLst>
                              <p:par>
                                <p:cTn id="12" presetID="22" presetClass="entr" presetSubtype="4" fill="hold" nodeType="afterEffect">
                                  <p:stCondLst>
                                    <p:cond delay="0"/>
                                  </p:stCondLst>
                                  <p:childTnLst>
                                    <p:set>
                                      <p:cBhvr>
                                        <p:cTn id="13" dur="1" fill="hold">
                                          <p:stCondLst>
                                            <p:cond delay="0"/>
                                          </p:stCondLst>
                                        </p:cTn>
                                        <p:tgtEl>
                                          <p:spTgt spid="143"/>
                                        </p:tgtEl>
                                        <p:attrNameLst>
                                          <p:attrName>style.visibility</p:attrName>
                                        </p:attrNameLst>
                                      </p:cBhvr>
                                      <p:to>
                                        <p:strVal val="visible"/>
                                      </p:to>
                                    </p:set>
                                    <p:animEffect transition="in" filter="wipe(down)">
                                      <p:cBhvr>
                                        <p:cTn id="14" dur="1000"/>
                                        <p:tgtEl>
                                          <p:spTgt spid="143"/>
                                        </p:tgtEl>
                                      </p:cBhvr>
                                    </p:animEffect>
                                  </p:childTnLst>
                                </p:cTn>
                              </p:par>
                              <p:par>
                                <p:cTn id="15" presetID="22" presetClass="entr" presetSubtype="4" fill="hold" nodeType="withEffect">
                                  <p:stCondLst>
                                    <p:cond delay="0"/>
                                  </p:stCondLst>
                                  <p:childTnLst>
                                    <p:set>
                                      <p:cBhvr>
                                        <p:cTn id="16" dur="1" fill="hold">
                                          <p:stCondLst>
                                            <p:cond delay="0"/>
                                          </p:stCondLst>
                                        </p:cTn>
                                        <p:tgtEl>
                                          <p:spTgt spid="186"/>
                                        </p:tgtEl>
                                        <p:attrNameLst>
                                          <p:attrName>style.visibility</p:attrName>
                                        </p:attrNameLst>
                                      </p:cBhvr>
                                      <p:to>
                                        <p:strVal val="visible"/>
                                      </p:to>
                                    </p:set>
                                    <p:animEffect transition="in" filter="wipe(down)">
                                      <p:cBhvr>
                                        <p:cTn id="17" dur="1000"/>
                                        <p:tgtEl>
                                          <p:spTgt spid="186"/>
                                        </p:tgtEl>
                                      </p:cBhvr>
                                    </p:animEffect>
                                  </p:childTnLst>
                                </p:cTn>
                              </p:par>
                            </p:childTnLst>
                          </p:cTn>
                        </p:par>
                        <p:par>
                          <p:cTn id="18" fill="hold">
                            <p:stCondLst>
                              <p:cond delay="2000"/>
                            </p:stCondLst>
                            <p:childTnLst>
                              <p:par>
                                <p:cTn id="19" presetID="22" presetClass="entr" presetSubtype="4" fill="hold" nodeType="afterEffect">
                                  <p:stCondLst>
                                    <p:cond delay="0"/>
                                  </p:stCondLst>
                                  <p:childTnLst>
                                    <p:set>
                                      <p:cBhvr>
                                        <p:cTn id="20" dur="1" fill="hold">
                                          <p:stCondLst>
                                            <p:cond delay="0"/>
                                          </p:stCondLst>
                                        </p:cTn>
                                        <p:tgtEl>
                                          <p:spTgt spid="130"/>
                                        </p:tgtEl>
                                        <p:attrNameLst>
                                          <p:attrName>style.visibility</p:attrName>
                                        </p:attrNameLst>
                                      </p:cBhvr>
                                      <p:to>
                                        <p:strVal val="visible"/>
                                      </p:to>
                                    </p:set>
                                    <p:animEffect transition="in" filter="wipe(down)">
                                      <p:cBhvr>
                                        <p:cTn id="21" dur="1000"/>
                                        <p:tgtEl>
                                          <p:spTgt spid="130"/>
                                        </p:tgtEl>
                                      </p:cBhvr>
                                    </p:animEffect>
                                  </p:childTnLst>
                                </p:cTn>
                              </p:par>
                              <p:par>
                                <p:cTn id="22" presetID="22" presetClass="entr" presetSubtype="4" fill="hold" nodeType="withEffect">
                                  <p:stCondLst>
                                    <p:cond delay="0"/>
                                  </p:stCondLst>
                                  <p:childTnLst>
                                    <p:set>
                                      <p:cBhvr>
                                        <p:cTn id="23" dur="1" fill="hold">
                                          <p:stCondLst>
                                            <p:cond delay="0"/>
                                          </p:stCondLst>
                                        </p:cTn>
                                        <p:tgtEl>
                                          <p:spTgt spid="169"/>
                                        </p:tgtEl>
                                        <p:attrNameLst>
                                          <p:attrName>style.visibility</p:attrName>
                                        </p:attrNameLst>
                                      </p:cBhvr>
                                      <p:to>
                                        <p:strVal val="visible"/>
                                      </p:to>
                                    </p:set>
                                    <p:animEffect transition="in" filter="wipe(down)">
                                      <p:cBhvr>
                                        <p:cTn id="24" dur="1000"/>
                                        <p:tgtEl>
                                          <p:spTgt spid="169"/>
                                        </p:tgtEl>
                                      </p:cBhvr>
                                    </p:animEffect>
                                  </p:childTnLst>
                                </p:cTn>
                              </p:par>
                            </p:childTnLst>
                          </p:cTn>
                        </p:par>
                        <p:par>
                          <p:cTn id="25" fill="hold">
                            <p:stCondLst>
                              <p:cond delay="3000"/>
                            </p:stCondLst>
                            <p:childTnLst>
                              <p:par>
                                <p:cTn id="26" presetID="22" presetClass="entr" presetSubtype="8" fill="hold" nodeType="afterEffect">
                                  <p:stCondLst>
                                    <p:cond delay="1000"/>
                                  </p:stCondLst>
                                  <p:childTnLst>
                                    <p:set>
                                      <p:cBhvr>
                                        <p:cTn id="27" dur="1" fill="hold">
                                          <p:stCondLst>
                                            <p:cond delay="0"/>
                                          </p:stCondLst>
                                        </p:cTn>
                                        <p:tgtEl>
                                          <p:spTgt spid="195"/>
                                        </p:tgtEl>
                                        <p:attrNameLst>
                                          <p:attrName>style.visibility</p:attrName>
                                        </p:attrNameLst>
                                      </p:cBhvr>
                                      <p:to>
                                        <p:strVal val="visible"/>
                                      </p:to>
                                    </p:set>
                                    <p:animEffect transition="in" filter="wipe(left)">
                                      <p:cBhvr>
                                        <p:cTn id="28" dur="1000"/>
                                        <p:tgtEl>
                                          <p:spTgt spid="195"/>
                                        </p:tgtEl>
                                      </p:cBhvr>
                                    </p:animEffect>
                                  </p:childTnLst>
                                </p:cTn>
                              </p:par>
                            </p:childTnLst>
                          </p:cTn>
                        </p:par>
                        <p:par>
                          <p:cTn id="29" fill="hold">
                            <p:stCondLst>
                              <p:cond delay="5000"/>
                            </p:stCondLst>
                            <p:childTnLst>
                              <p:par>
                                <p:cTn id="30" presetID="22" presetClass="entr" presetSubtype="2" fill="hold" nodeType="afterEffect">
                                  <p:stCondLst>
                                    <p:cond delay="0"/>
                                  </p:stCondLst>
                                  <p:childTnLst>
                                    <p:set>
                                      <p:cBhvr>
                                        <p:cTn id="31" dur="1" fill="hold">
                                          <p:stCondLst>
                                            <p:cond delay="0"/>
                                          </p:stCondLst>
                                        </p:cTn>
                                        <p:tgtEl>
                                          <p:spTgt spid="201"/>
                                        </p:tgtEl>
                                        <p:attrNameLst>
                                          <p:attrName>style.visibility</p:attrName>
                                        </p:attrNameLst>
                                      </p:cBhvr>
                                      <p:to>
                                        <p:strVal val="visible"/>
                                      </p:to>
                                    </p:set>
                                    <p:animEffect transition="in" filter="wipe(right)">
                                      <p:cBhvr>
                                        <p:cTn id="32" dur="1000"/>
                                        <p:tgtEl>
                                          <p:spTgt spid="201"/>
                                        </p:tgtEl>
                                      </p:cBhvr>
                                    </p:animEffect>
                                  </p:childTnLst>
                                </p:cTn>
                              </p:par>
                              <p:par>
                                <p:cTn id="33" presetID="22" presetClass="entr" presetSubtype="2" fill="hold" nodeType="withEffect">
                                  <p:stCondLst>
                                    <p:cond delay="0"/>
                                  </p:stCondLst>
                                  <p:childTnLst>
                                    <p:set>
                                      <p:cBhvr>
                                        <p:cTn id="34" dur="1" fill="hold">
                                          <p:stCondLst>
                                            <p:cond delay="0"/>
                                          </p:stCondLst>
                                        </p:cTn>
                                        <p:tgtEl>
                                          <p:spTgt spid="211"/>
                                        </p:tgtEl>
                                        <p:attrNameLst>
                                          <p:attrName>style.visibility</p:attrName>
                                        </p:attrNameLst>
                                      </p:cBhvr>
                                      <p:to>
                                        <p:strVal val="visible"/>
                                      </p:to>
                                    </p:set>
                                    <p:animEffect transition="in" filter="wipe(right)">
                                      <p:cBhvr>
                                        <p:cTn id="35" dur="1000"/>
                                        <p:tgtEl>
                                          <p:spTgt spid="211"/>
                                        </p:tgtEl>
                                      </p:cBhvr>
                                    </p:animEffect>
                                  </p:childTnLst>
                                </p:cTn>
                              </p:par>
                            </p:childTnLst>
                          </p:cTn>
                        </p:par>
                        <p:par>
                          <p:cTn id="36" fill="hold">
                            <p:stCondLst>
                              <p:cond delay="6000"/>
                            </p:stCondLst>
                            <p:childTnLst>
                              <p:par>
                                <p:cTn id="37" presetID="22" presetClass="entr" presetSubtype="8" fill="hold" nodeType="afterEffect">
                                  <p:stCondLst>
                                    <p:cond delay="0"/>
                                  </p:stCondLst>
                                  <p:childTnLst>
                                    <p:set>
                                      <p:cBhvr>
                                        <p:cTn id="38" dur="1" fill="hold">
                                          <p:stCondLst>
                                            <p:cond delay="0"/>
                                          </p:stCondLst>
                                        </p:cTn>
                                        <p:tgtEl>
                                          <p:spTgt spid="221"/>
                                        </p:tgtEl>
                                        <p:attrNameLst>
                                          <p:attrName>style.visibility</p:attrName>
                                        </p:attrNameLst>
                                      </p:cBhvr>
                                      <p:to>
                                        <p:strVal val="visible"/>
                                      </p:to>
                                    </p:set>
                                    <p:animEffect transition="in" filter="wipe(left)">
                                      <p:cBhvr>
                                        <p:cTn id="39" dur="1000"/>
                                        <p:tgtEl>
                                          <p:spTgt spid="221"/>
                                        </p:tgtEl>
                                      </p:cBhvr>
                                    </p:animEffect>
                                  </p:childTnLst>
                                </p:cTn>
                              </p:par>
                              <p:par>
                                <p:cTn id="40" presetID="22" presetClass="entr" presetSubtype="8" fill="hold" nodeType="withEffect">
                                  <p:stCondLst>
                                    <p:cond delay="0"/>
                                  </p:stCondLst>
                                  <p:childTnLst>
                                    <p:set>
                                      <p:cBhvr>
                                        <p:cTn id="41" dur="1" fill="hold">
                                          <p:stCondLst>
                                            <p:cond delay="0"/>
                                          </p:stCondLst>
                                        </p:cTn>
                                        <p:tgtEl>
                                          <p:spTgt spid="206"/>
                                        </p:tgtEl>
                                        <p:attrNameLst>
                                          <p:attrName>style.visibility</p:attrName>
                                        </p:attrNameLst>
                                      </p:cBhvr>
                                      <p:to>
                                        <p:strVal val="visible"/>
                                      </p:to>
                                    </p:set>
                                    <p:animEffect transition="in" filter="wipe(left)">
                                      <p:cBhvr>
                                        <p:cTn id="42" dur="1000"/>
                                        <p:tgtEl>
                                          <p:spTgt spid="206"/>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226"/>
                                        </p:tgtEl>
                                        <p:attrNameLst>
                                          <p:attrName>style.visibility</p:attrName>
                                        </p:attrNameLst>
                                      </p:cBhvr>
                                      <p:to>
                                        <p:strVal val="visible"/>
                                      </p:to>
                                    </p:set>
                                    <p:animEffect transition="in" filter="wipe(left)">
                                      <p:cBhvr>
                                        <p:cTn id="47" dur="1000"/>
                                        <p:tgtEl>
                                          <p:spTgt spid="226"/>
                                        </p:tgtEl>
                                      </p:cBhvr>
                                    </p:animEffect>
                                  </p:childTnLst>
                                </p:cTn>
                              </p:par>
                              <p:par>
                                <p:cTn id="48" presetID="22" presetClass="entr" presetSubtype="8" fill="hold" nodeType="withEffect">
                                  <p:stCondLst>
                                    <p:cond delay="0"/>
                                  </p:stCondLst>
                                  <p:childTnLst>
                                    <p:set>
                                      <p:cBhvr>
                                        <p:cTn id="49" dur="1" fill="hold">
                                          <p:stCondLst>
                                            <p:cond delay="0"/>
                                          </p:stCondLst>
                                        </p:cTn>
                                        <p:tgtEl>
                                          <p:spTgt spid="232"/>
                                        </p:tgtEl>
                                        <p:attrNameLst>
                                          <p:attrName>style.visibility</p:attrName>
                                        </p:attrNameLst>
                                      </p:cBhvr>
                                      <p:to>
                                        <p:strVal val="visible"/>
                                      </p:to>
                                    </p:set>
                                    <p:animEffect transition="in" filter="wipe(left)">
                                      <p:cBhvr>
                                        <p:cTn id="50" dur="1000"/>
                                        <p:tgtEl>
                                          <p:spTgt spid="2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60419730"/>
      </p:ext>
    </p:extLst>
  </p:cSld>
  <p:clrMapOvr>
    <a:masterClrMapping/>
  </p:clrMapOvr>
  <p:transition xmlns:p14="http://schemas.microsoft.com/office/powerpoint/2010/main" spd="slow">
    <p:wip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7971" y="341315"/>
            <a:ext cx="6868886" cy="731837"/>
          </a:xfrm>
        </p:spPr>
        <p:txBody>
          <a:bodyPr/>
          <a:lstStyle/>
          <a:p>
            <a:r>
              <a:rPr lang="en-US" dirty="0" smtClean="0"/>
              <a:t> S690X &amp; 1G/10G Interfaces </a:t>
            </a:r>
            <a:br>
              <a:rPr lang="en-US" dirty="0" smtClean="0"/>
            </a:br>
            <a:r>
              <a:rPr lang="en-US" dirty="0" smtClean="0"/>
              <a:t>	</a:t>
            </a:r>
            <a:endParaRPr lang="en-US" dirty="0"/>
          </a:p>
        </p:txBody>
      </p:sp>
      <p:sp>
        <p:nvSpPr>
          <p:cNvPr id="5" name="AutoShape 4" descr="data:image/png;base64,iVBORw0KGgoAAAANSUhEUgAAAOEAAADhCAMAAAAJbSJIAAAAyVBMVEXdLAD////dJwDcIAD99PLcIwD++fjcGQDaAADbDgD++Pf88O387er//fz98vD76ub64tzqhnX539r30sn20cz42dLeMQDiWETiTS3qiHT1wrf0xL7ofWvyurDjYE72zcXfORHiUzzrk4XgRy/fPR3iUjXsnpXmcV/oiH/kaFvupZztmo3wrqTkX0Toe2ngPxrqkIb1xbnwqZjskoDvrKPnc1vysqLgRSPwuLPlaVXlcWPlYkfhTzrlcGLfQSvogXXoemHqlY3woo/mVSz0AAAWH0lEQVR4nOWdaUPbOBOAo8NWfMhS7NiAQ3A4Sinh2ACltNu3u8v//1HvjOSAE5wDmpTEzIddmsTH4xnNJVtukbWLr4vew92w8/Vy93rQarUG17uXXzvDu4deof31H761xn37cbe/9/PXSYsJIZjjUNqyQqnjmM9aJ79+7vW78TpB10Toqu7wy07mCUafuOoEvmXCy3a+DLvKXc+prIOQ52cHwhPOPLQpUAd+f3CW8zWczcoJk9NPbTDJpeGeBQy3/ek0WfUJrZSQ9zow5pZXXY0yYWx2eitV5eoIeXf/GM7v94WJ4/3u6iBXRRgeHXrsd7RXFcq8w6NwRWe2GsL8c3tleGPI9ud8Jee2AsLgXHhv8SyLxPHEebABhHFnINaAZ0UMOvE7E+qr7Ld85yKhIrvS70ioOitxnvOFiY56J8Kg462fzzB6nd8Yj28m5MM/oL8nRjF8c4B8I6HsH6/Pv9SJOO7LP0moD9bqX+qEioO3uZw3EZ6KdcS/ReKI0z9EWKwxAM4XMSj+AKF/tuL87DVC2dmr2wGvJUwP30uBVsRhul7CG+c9RmBVHOdmjYT+gffOfCjewass9TWE3cGfi/HzhA266yG8eEVrab1CnYt1EHbe0YdOC2WdlRO6O+/rQ6dF7CzbXl2SUJ9sxhB8FnayZBK3HGFx8t5B4qU4J8slOEsR5q3NGYLPQltLtaqWIXxobyIgILYfVkN40X5vlJnSXiJqLCY834Q8ZpZ4579PeL5ZUWJaxELERYQXm6xBFG+RoS4gfNjcMTiWRe5mPmG++YCAOD9ozCUsNjIOTgttzQ398wj1yTYAAuLcBG4OobuBqVq9OCdz0vA5hDublmzPFrbzFsLOZgfCSRGz68WZhBfbo0EUNjMsziLsbkzLYjmhzqzezQxCf7BdgIA4mNGBm0F4sF02isIOXkN4s+nZaJ149a3iWsJ0WwLhpDi1Df86Qv9wSwkP64ZiHeHZNkXCqoiz5QiL7fMyY2E1OXgN4dYFimehg2UIT7fVRlFqJsJfEOptBgTEF4XUNKE82E4/OhbnYPqmlGnC/narEJTYn0/Ij7fXzVihx3wu4XDbVQhKHM4jDLYfEBCDOYSd7Q32zzI1PzxBqLaxpHgpnppJ2AgVTiuxSrjlwf5ZJsJ+lfCqGSoEJV7VE8bZe5/ZyiSLawm3qkE6X6rt02fCYIurpmmhg6CGcMMne18nlanhZ8ImAQLiS8K8GdF+LF7+gvDzdteF0+J8niYMt2E++zXSDqcIj5oS7cfCjiYJ+WFzQoUVesgnCLvN8jMoXneCcL9pRgpmul8l3P72zEsZN2wsYa9Z4d6K6FUIG1L6TkpZCFvC9z6ZNckzYdJEFYISkyfCrZ6MmS12msYQfmqeJ0Whn8aEvGk56VjavCTMm2mkYKZ5SXjWTEcDrubMErpbPmU4W5wD1xCqphopmKkyhA2sK8aC9QUQDps6DGEgDg3hl6YOQxiIX5DQ32lmvEehOz4QNmi64qVkMRDOcTSOYIxV18CgrZlPYLz8vO6X9VtTXF2w8hX+TecvRzh7ZxMCrqY1+/4SJq7O87x//rlVuiIqMsYyhwrBhPe0uInn4EqPWSaE9/yhQzMno60MThM+pLgDh2XMMVs7YnLhMzZoZYNB9uTwRAY/y66/DVrMe1pjiyGzU3WKInNaeAyHOqI8xgsRfSDcq3elVNwqkuokjvXoyNz0TY/Js8Sn5QI17Pn+aq7PyzUlnM/lfTvl/0JRadGCpMOT5+s6vgMm9Sb/jeIWV3YVBxoSl4TV9Kss4ceHqA8JbA8If9Yqm9IekTejQt8XCUnSb3Scqj/z2JrLi0PuSl5oiU91uBfGtsBLT9yalGYt52pi6+DoaXC0zbQ7bF5Ofk3dYKh+ImKmYI+B/1+FMJi8++m2jpD+BMJftYSiH4AGb2/3bu+TJNEp/voQzkNWrtpfuE8RkzwexakKbZO58CxhUL3CekCRUFav+Y+x/QmzT9cnfzt1hEQZcg11QmgPWaon9P2qEh/rRhv9RVp+7cNNOE+soqQX33T3Rv/u3RRgA0jou2RExjcdudihA0IVpSTQKSfmiHjTEUZaMsJDW+zQMTqMiF88bc3Ho/uS+BEBhfDy9MH8AjevPJCGnoLaHf1T0SF8EuJ9z5F9JKj2Zid64rd0nQZbbc1VgVsmJM5v9guu2oaQ6HI6QKI2+6AvpskojvF8JDeHkmDRbCjlXfH8MBIvrTTmY83Kp84CfMFJGMpo7PNYV6apvRB2Dy5E7CzgT2ZTKkG5cV5ZC/Si3mPqVv0dwZRIP1Yk+HxyWKQ3j/m9v0uNp5E+6X+97cEJBjDyrynoUAdFqIKHHijRLQeE87XfVwnhRa/b7fYeunfw0Q88V0kuvh6hbwrlOBCLCyLzPCBRkJY6LEgqic9vhw++NUJsBdorW5lecR6LXi6JNofIe936CokVrdpWqfMddhynpONR9i28vblNgyEDQjgaJ7uCte/AiOGEvzvgaYAaTrwtvEN7ybtIeJ8+BiRseyAQRoRJoFzcOoNI0zNbl21oVvBI5woGorbjRfT8VMaygO2+w+6A8h62V3KKMHvsF/dgnOUxZixdJXqth1rCfTJScSgxocuSUf+2H58iobGUQwjQu+54WFDt+2HfWFj5SG4MZ32ep/d+lFaGOOgwwm9B7c6ltasD87WjOOyi8IH5yZeqKJAFnHIb/FVkzDdTPNWyGhJo2h+lkVvrQiuED627OkK2T3LwhgFe5cFjcpMXGghPfKlgaO9i5PAl3pUD5iM0SUkhkZDZW+X1CQUbIKHmUfWiQTWKWxvTJC5GCGtXlPj9POFARb479rLjyCVI6BVERgHpwXhXxjtXx2FOuFLkZn51K+5atYHS2Xd5eM9DnHPLdJTfPEJiAPHQV+BgkNDjxg1YQhnnAY5z9pchjA4pG4LiXa2qOgSHglsjoWeHlwGiu3BN0CLSorRBUYBflTxBR31vYgEmlsoN3XTCYXZHyUiFCzqhbNjq1Nkv6yTK9/sadZjdxPf3KbkT4Es5mikStvl44EO0IFpbwv8IB4cQ/QRCktzLRFX2DYQBOo4Mt7ZW+i9+zW7BqSCgVqH1CWClbhoRQ5ibAASEWcgx1HSqvtS/gQMvmNp1Oq2vdYTOlbpXrtXh4F4Gqq/6Asahgrg8JtTKEIKnCSBMGMKOUWx4TOG0EzDEuLrLH0Sj10AdAmEaloTiAdwOKEopH32U0SGJk9AQeiNzKSCLyAJfx/7EOARnFBB3EeHX1mVtwO/gKdxr42kewX6K/AEJYx9GEm7h2HTi1lip1qlxd+VUCBCKcxicSRxWjg6EKoiNp2k5VofGSp2ufxNEPFUQUiPjXYVZjN4fexqC6Qq9Bj3nk23BIAzd3F/QoaCXrd06QpMm526AOWsWJ6lS4R36UhcCH3bI6bUrfetLvTiCqz/WYQDJFZTUbOgHGhyLMK6clYQSnA8mn8434rqlp6EnKoxH5P6UpGATphhHX1oUYeGJdsemZFdQRCSSQ7YxrOY0MdE+32t7UNR4M4u63dZ13edsHwC4jiyhToMkvUFCLUMlr+HQDxi8TR9SaI2er196Gsh1wNOIU0gItC9zN4yVaxyg8z9XSTBFLLx6Jr8zGqM7AKGi8/+MssxUNOalfeDt3+ckRkJIDeh1AOmVrHoayOMUV0QnLiSMauaD9detQS1hJ1BJIW2Do0iSUSRNxAdnGrvpRb98DE6ZnAaGESdPvtRX6hvoMAXNxC58V4TEhFxsmfhay+5FXt44mBrVHhAVR/Kvf54zL9GLRuBsXNeP/NiFKPoduLMgDOBCVqNFnJDRiCtOErgkMyexa/mQUPr3o4SjDge3QazDuC9MbRGBxuT4LmOMU14M9vhEmLrg1WEcPmJo8H0ZBPDbc6NDrC04bO2Pb6ozN9JBAacgqn3eNcWXKUwwa+NkBBmxGymwa1yDy96Kp6qERoc+92F7TuRrp+nhdDC1NhEffFYSJP0jo8M0xNQbTEcGUE/gGBZdAPaNlZYPHSHhKdhAYsuaMLA6/B9szePoaWsbSrwu4W4svzGTgpoACkbMU5fkULJEuAv7VDkcVk+UuVQH4WhsDrN1OJNQYvwxhKL7qEda7zuYtQX91FchfKm4dM2DmBAtsKbo23gIJZuCGCOGROnClDUuccdWCkmEAgfog+P3SWhHDpQmaSy5Z8vgECtt1oXonxSFKVbQXgCRnkQSc+/hhA4Lpcdl6BzCQd2H4BV9cHeh0WExKqCA++pATqOKHE9ZBqDgcNfmWDFxeUkIrg8MBjwwEEZBqEnR7/V6fZOdgVkoKHZ8AsMLLDK1S1LQa12MIrDOMvLh3XVOl/S5SmWvQD8T2OQng9CnJvPSUMYQdcPeRdG7uKjFsHz1vhQjG2ShOHVKuykEvOTUZG19iPMqJJj7l09DC/uCETMOT4lMrZU+Ej+H7dtCjLN+IPTvYVRq7sfwq72yODwIeKj8vsAayqaBmLVB9SR7ba/9Fc4C6iy4fCw0/ndSh2kKOUAbO2CzU7fr+nhY3m2jMaehI5/rojA5DQlhVH/bAa8fuZGdV/XiMICTeBxHfG3zUiKLkVaVXeI4DGBrHADgPlK7dZms37Yh9HGIq5g4QMRXYJ2Y07SxKZVK5SEhgVFZifjwSZoUwYLMG+JhbU5jHN8IM0wMyRC64wLyUuxE8RE5ZHZ8X1pXAaZCnqwUszp+iMsahli5s6ldhgkZtMzQ4XZmnR3BDyF3LxLuptyViWc8jQuOFHMa87WPN2hnxpfyarTAPkCwaNYFcpravNRoIzCErQEEAy3lhSEMlSaXnm333ZW9NlPZ5zZaYG8DoihYqQ6gIJrM2ogOFbn2bKPJnqvog3NSvi40Sfr3IddGh3DqaZw4Nl3XJOTfHCTkU+OQJGDYi/PSGbWFKdHKnIbEEHhBhz+hzIFC9VL8a87R3qPiGYXKMh66kssAowUUDK5bnT7HzBvCI7kW9rbIvhnGXgAlEZx5mGjQb0JcbPJA1gaK6zHbd43wmjnAE/pkKh5CsaKu5s8rQW1R30i1ObQhbEH6J9GVYMRHj33JfqHFlP1NJAzK2mKfwFDSCghvCFTIvpqyUowI1wxbE0q69ju0ajcofKieRqUzZaYfJ7GB5PwwMZUfOlmITqxKmBlmvsBKoT6sr/EtYYCDBew9Mc6SIhjkq5cOTUkcBdJkkVBb+L5rany8QR5qptKXQtkeVivgL8Y9Q20BZp9GkYvdUedvabiBMxjFqLlThlYa8siOw7KmBs2GFdu2hBCMYNsFT0xCjV/bp8EqQYFzg0gGJ6QiHz02+FJfw+jcpeKORPCnKVhBh9hVMoQ4PiVWhahDHsuwWgH/D/YHW2cUPEnoajOMgQD7MzJJ05SbZBCcKWbeoDAkxKclYZQHGc1e9NpgZKJvXkT4MLPXZgbiedvxvtjk6xQJIcZiFwOKKxeMK/xlOsJhCP7lBnttxPRSugIJlZRuSAWlQsDQcpBQatPFAAcJ1uVqx3YSoR6DMjOjHRPwYg90GClIfwuMcrFJ8sIWxY5waKIfChOGEDv9p4K1mGBQAtQT9mb2S20H/+L7hbZt0MOnfilEUGy0wJDDEhZ06AcjEhwd4UuMpO30gqfB1iHXaQzagf8cUGulLhDifiQMY0jbvASyc2X245SLrwBhTxZpStzT4V2Z4kNCbmZmchl0jaS9FtotmjhPzTHiuH4OjRUzet7mcYWndTS4uZcfPI3JhGFwQo7lghljdSDAz5KE276NeSoOUj2Tg6fatA9RB1Aqo+PHf4J7gmHMwcj3mKnhAyJNYvHTNiivKYxDEqXVVwVBpgM5Wkiip6fu+DejVR2YOg5bAnLGnV16xrzF82PtAfanAxd83Hh2DXIEHD+oRmbyUhieUflraeeAwNNg7lluD5oFwh+kJECPhFt3wamYYl+jU8bMAuVvZ3pmRmJ5ayO+a48TSBiZFHMBhR9gmgGGVEeI8xYz5p5Yp5x1kFGg7JSCmbcgJpehuxJPHWt8KA5IED0vm2JiIHqIiYfGr5zx7BoQUjtgo2N2aboUqT2kLavPhZgmPHTK+lDaqS/we5DloA6rx6h9xBfnnmbMH7acvafpOR72TWezJEQ379mLiUNOk3LSDedb/H6rnD+cENdYqRHTbbV/7perjxbjFpv9xxQhN9lhNvmANgeHPvXKK1Wrw5+z54BbYscWNDxQXzx7PSwz1nDCrlgEvl08zwFLdVq+2YP9M3l0/dkp7d41Na6dOht6NuzaJmh5VXpMPC9MFujizK5CbXNhPlYalM9ickUhOaoNe3vz5vEdj33/6/x0/1u7DGvUE2zc1gKX7TFmLLIlmAOOPaNe+2l6BH8HVY0DHp95jnnjFf4Nn5qvPQYfoZvHXlybPW2DhRDsET5r41bw36cZf2zatVE801wzn+BfeEoMKjSvFsPM48+76cuBSLNlC7dNirkXo/n30zT/nqjm39f2Ae5NbP79pc2/R7j593k3/179D/C8RfOfmWn+c08f4Nm15j9/2PxnSD/Ac8DNf5a7+c/jN39NhSbWF1PrYjR/bZPmr0/zAdYYav46UR9gra/mr9f2Adbca/66ic1f+7JJExgz1i9t/hq0H2Ad4aYUwrPXgv4A63k3Q4nz1mT/AOvqN//dCA1o2Cx6v0Xz31HyAd4zs+1hf/G7grZ8mmaZ9z19gHd2fYD3rjX/3Xkf4P2HzX+H5Qd4D+kHeJfsB3gfcPPf6fwB3su9Ze3Tt7xbnZCd7dEi25mNMYfQPdmWsOicuLMx5hDickjvfe5LCT15UTItSUiKZZaXfHehrZp8e0lCkm/D3Hc7n8swn5A8bD5i+2E+wgJCcrHpGao3MxAuSbjpU8OVyd63EpLzTdaitxBwCUJysbljsb3IRJcjBHezmUGDLnIySxOSfCPjIm3NDxOvISTFBiZwzsncQP9KQkjgNi0NZ3NTtdcTEndns6KG2JmTbL+JEOeHN2cwUja7Hnw7IbnYmMYGdZaIEm8gJN3BZgxGNpjVk/ldQuIfbEJ+4x3M6KqtgJCQG+e9w4bj1Dd+V0VI0sP39anisLZ1v0JC4p+9o0+l7OxVFvomQkhwBu+lRjFYLo35XUKcCH+P0ejUTGGvi5DoA/GnTZWKgyXTtJUQEtk//rOmKo7707eRrJeQED4Ufy7+MzHki09pxYSEBB3vzzAyrxMsPp01EBKiOn9Aj0x01OJTWRMhuJyrbK0+h4rs6m0OZlWEhMSdNYZHMejEi09hzYQwHs+Ft4746Hji/DfG3woJQfLP7RXncpS1Py/VaFooqyEkJDw69FYGSZl3eBQuPuhSsipCCJDd/eOVuFYmjve7bw5/L2R1hCC814Hz+x1NUrhGnd7q8MiKCVGS009twd7ieRwm2p9Ok8WHeJ2snBCE52cHwhOvaFxRB35/cJavVHmlrIOQ4ILJ3eGXncwTbP6LGuFbJrxs58uwq5ZtgL5S1kRoxI+7/b2fv05gbAowXOeJlVLHMZ+1Tn793Ot341cX7q+QdRKW4uui93A37Hy93L0eAN/gevfya2d499Azr8xZt/wf7Y1++4GYEpQAAAAASUVORK5CYII="/>
          <p:cNvSpPr>
            <a:spLocks noChangeAspect="1" noChangeArrowheads="1"/>
          </p:cNvSpPr>
          <p:nvPr/>
        </p:nvSpPr>
        <p:spPr bwMode="auto">
          <a:xfrm>
            <a:off x="0" y="0"/>
            <a:ext cx="1150706" cy="115070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p:cNvPicPr>
            <a:picLocks noChangeAspect="1"/>
          </p:cNvPicPr>
          <p:nvPr/>
        </p:nvPicPr>
        <p:blipFill>
          <a:blip r:embed="rId3"/>
          <a:stretch>
            <a:fillRect/>
          </a:stretch>
        </p:blipFill>
        <p:spPr>
          <a:xfrm>
            <a:off x="5474249" y="163726"/>
            <a:ext cx="2298152" cy="1577124"/>
          </a:xfrm>
          <a:prstGeom prst="rect">
            <a:avLst/>
          </a:prstGeom>
        </p:spPr>
      </p:pic>
      <p:graphicFrame>
        <p:nvGraphicFramePr>
          <p:cNvPr id="8" name="Diagram 7"/>
          <p:cNvGraphicFramePr/>
          <p:nvPr>
            <p:extLst/>
          </p:nvPr>
        </p:nvGraphicFramePr>
        <p:xfrm>
          <a:off x="566060" y="1904917"/>
          <a:ext cx="8033657" cy="19652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8" name="Picture 4" descr="https://cdn2.iconfinder.com/data/icons/snipicons/500/hdd-512.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897289" y="1534233"/>
            <a:ext cx="533399" cy="53339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430688" y="1616265"/>
            <a:ext cx="5509549" cy="369332"/>
          </a:xfrm>
          <a:prstGeom prst="rect">
            <a:avLst/>
          </a:prstGeom>
          <a:noFill/>
        </p:spPr>
        <p:txBody>
          <a:bodyPr wrap="square" rtlCol="0">
            <a:spAutoFit/>
          </a:bodyPr>
          <a:lstStyle/>
          <a:p>
            <a:r>
              <a:rPr lang="en-US" dirty="0" smtClean="0"/>
              <a:t>The HDD on all these Appliances is 9.6TB </a:t>
            </a:r>
            <a:endParaRPr lang="en-US" dirty="0"/>
          </a:p>
        </p:txBody>
      </p:sp>
    </p:spTree>
    <p:extLst>
      <p:ext uri="{BB962C8B-B14F-4D97-AF65-F5344CB8AC3E}">
        <p14:creationId xmlns:p14="http://schemas.microsoft.com/office/powerpoint/2010/main" val="4065388149"/>
      </p:ext>
    </p:extLst>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USERHIDDEN" val="1"/>
</p:tagLst>
</file>

<file path=ppt/tags/tag2.xml><?xml version="1.0" encoding="utf-8"?>
<p:tagLst xmlns:a="http://schemas.openxmlformats.org/drawingml/2006/main" xmlns:r="http://schemas.openxmlformats.org/officeDocument/2006/relationships" xmlns:p="http://schemas.openxmlformats.org/presentationml/2006/main">
  <p:tag name="USERHIDDEN" val="1"/>
</p:tagLst>
</file>

<file path=ppt/tags/tag3.xml><?xml version="1.0" encoding="utf-8"?>
<p:tagLst xmlns:a="http://schemas.openxmlformats.org/drawingml/2006/main" xmlns:r="http://schemas.openxmlformats.org/officeDocument/2006/relationships" xmlns:p="http://schemas.openxmlformats.org/presentationml/2006/main">
  <p:tag name="USERHIDDEN" val="1"/>
</p:tagLst>
</file>

<file path=ppt/tags/tag4.xml><?xml version="1.0" encoding="utf-8"?>
<p:tagLst xmlns:a="http://schemas.openxmlformats.org/drawingml/2006/main" xmlns:r="http://schemas.openxmlformats.org/officeDocument/2006/relationships" xmlns:p="http://schemas.openxmlformats.org/presentationml/2006/main">
  <p:tag name="USERHIDDEN"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4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4 16x9</Template>
  <TotalTime>98740</TotalTime>
  <Words>4029</Words>
  <Application>Microsoft Macintosh PowerPoint</Application>
  <PresentationFormat>On-screen Show (16:9)</PresentationFormat>
  <Paragraphs>1263</Paragraphs>
  <Slides>81</Slides>
  <Notes>4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1</vt:i4>
      </vt:variant>
    </vt:vector>
  </HeadingPairs>
  <TitlesOfParts>
    <vt:vector size="83" baseType="lpstr">
      <vt:lpstr>Blue theme 2014 16x9</vt:lpstr>
      <vt:lpstr>think-cell Slide</vt:lpstr>
      <vt:lpstr> Web/DNS security updates</vt:lpstr>
      <vt:lpstr>Today’s Agenda</vt:lpstr>
      <vt:lpstr>Threat-Centric Cisco Security Products &amp; Solutions</vt:lpstr>
      <vt:lpstr>Threat-Centric Cisco Security Products &amp; Solutions</vt:lpstr>
      <vt:lpstr>PowerPoint Presentation</vt:lpstr>
      <vt:lpstr>WSA Agenda</vt:lpstr>
      <vt:lpstr>New x90 Hardware Platform New Performance License</vt:lpstr>
      <vt:lpstr>新しいハイパフォーマンスなハードウェア</vt:lpstr>
      <vt:lpstr> S690X &amp; 1G/10G Interfaces   </vt:lpstr>
      <vt:lpstr>Comparison between x90 with x80 Platform </vt:lpstr>
      <vt:lpstr>Comparison between 190 with 170 Platform </vt:lpstr>
      <vt:lpstr>Comparison between Different Software  Release </vt:lpstr>
      <vt:lpstr>WSA sizing portal updated with -  AsyncOS v9.0 &amp; v9.1</vt:lpstr>
      <vt:lpstr>PowerPoint Presentation</vt:lpstr>
      <vt:lpstr>PowerPoint Presentation</vt:lpstr>
      <vt:lpstr>   データ連携</vt:lpstr>
      <vt:lpstr>Stealthwatchと WSAの統合</vt:lpstr>
      <vt:lpstr>ISR Router UCS-E BladeとWSAの統合 </vt:lpstr>
      <vt:lpstr>WSA と AMP Thread Gridの統合</vt:lpstr>
      <vt:lpstr>PowerPoint Presentation</vt:lpstr>
      <vt:lpstr>Web Security Appliance AsyncOS v10.x </vt:lpstr>
      <vt:lpstr>Referer Bypass とは?</vt:lpstr>
      <vt:lpstr>HTTPS: Intermediate Cert Support</vt:lpstr>
      <vt:lpstr>HTTPS: Intermediate Cert Support</vt:lpstr>
      <vt:lpstr>外部フィードの利用</vt:lpstr>
      <vt:lpstr>外部フィードがどう動くか？</vt:lpstr>
      <vt:lpstr>AMPレポーティングの強化</vt:lpstr>
      <vt:lpstr>ユーザーエージェントリストのアップデート</vt:lpstr>
      <vt:lpstr>AMP Private Cloud サポート</vt:lpstr>
      <vt:lpstr>PowerPoint Presentation</vt:lpstr>
      <vt:lpstr>Web Security Update Web Security Appliance (オンプレミス型ウェブプロキシ) Cloud Web Security (クラウド型ウェブプロキシ) Cognitive Threat Analytics (振る舞い型の脅威検出システム) </vt:lpstr>
      <vt:lpstr>ウェブセキュリティ実装に関連する選択とトレードオフ</vt:lpstr>
      <vt:lpstr>CWS Agenda</vt:lpstr>
      <vt:lpstr> Hybrid Web  Security</vt:lpstr>
      <vt:lpstr>社内だけのウェブセキュリティ境界を超える</vt:lpstr>
      <vt:lpstr>ハイブリッドウェブセキュリティ</vt:lpstr>
      <vt:lpstr>WSA と CWSアカウントのリンク</vt:lpstr>
      <vt:lpstr>ハイブリッドフェーズ2</vt:lpstr>
      <vt:lpstr>Infrastructure</vt:lpstr>
      <vt:lpstr>Cloud Web Security DC マップ</vt:lpstr>
      <vt:lpstr>サービス確認ツールの強化</vt:lpstr>
      <vt:lpstr>PowerPoint Presentation</vt:lpstr>
      <vt:lpstr>サービス確認ツールの強化</vt:lpstr>
      <vt:lpstr>現在発生中の事象について通知</vt:lpstr>
      <vt:lpstr>Mobility</vt:lpstr>
      <vt:lpstr>CWS モバイル  - CWSモバイルブラウザ</vt:lpstr>
      <vt:lpstr>CWS モバイル - フェーズ2 Chromebooks</vt:lpstr>
      <vt:lpstr> CWS &amp;  Office 365</vt:lpstr>
      <vt:lpstr>CWS とOffice 365相互利用 　</vt:lpstr>
      <vt:lpstr>Roadmap</vt:lpstr>
      <vt:lpstr>クラウドと連動する DLP-  Secure ICAP</vt:lpstr>
      <vt:lpstr>Cloud Access Security Broker Strategy</vt:lpstr>
      <vt:lpstr>ISR-4K Connector</vt:lpstr>
      <vt:lpstr>AMP on CWS</vt:lpstr>
      <vt:lpstr>Cloud Web Security Roadmap</vt:lpstr>
      <vt:lpstr>Web Security Update Web Security Appliance (オンプレミス型ウェブプロキシ) Cloud Web Security (クラウド型ウェブプロキシ) Cognitive Threat Analytics (振る舞い型の脅威検出システム) </vt:lpstr>
      <vt:lpstr>PowerPoint Presentation</vt:lpstr>
      <vt:lpstr>PowerPoint Presentation</vt:lpstr>
      <vt:lpstr>AMP＆CTA の差別ポイント</vt:lpstr>
      <vt:lpstr>CTA = 振る舞い分析型の脅威検知システム</vt:lpstr>
      <vt:lpstr>CTA サイト</vt:lpstr>
      <vt:lpstr>CTA 諸々</vt:lpstr>
      <vt:lpstr>CTAはビックデータ＆学習型の検知ロジック</vt:lpstr>
      <vt:lpstr>異常検知により不正なトラフィックを特定</vt:lpstr>
      <vt:lpstr>AMP For Endpoints Integration with CTA</vt:lpstr>
      <vt:lpstr>CTA とAMP For Endpoint の統合</vt:lpstr>
      <vt:lpstr>Firepower/FMC – CTAの統合</vt:lpstr>
      <vt:lpstr>CTA Incident Showing Shortcuts to AMP</vt:lpstr>
      <vt:lpstr>CTA Incident Showing Shortcuts to AMP</vt:lpstr>
      <vt:lpstr>DNS Security Updates  OpenDNS (セキュリティ特化型の再帰DNSサービス)     </vt:lpstr>
      <vt:lpstr>脅威のトレンド DNS の盲点：DNS を使う攻撃</vt:lpstr>
      <vt:lpstr>DNS is Used by Every Device on your Network</vt:lpstr>
      <vt:lpstr>だれが貴方のDNSリクエストを解決しますか？</vt:lpstr>
      <vt:lpstr>単一のグローバルなリカーシブDNSサービスを活用する</vt:lpstr>
      <vt:lpstr>DNSレイヤで情報を集め、セキュリティを強化する</vt:lpstr>
      <vt:lpstr>PowerPoint Presentation</vt:lpstr>
      <vt:lpstr>PowerPoint Presentation</vt:lpstr>
      <vt:lpstr>PowerPoint Presentation</vt:lpstr>
      <vt:lpstr>AnyConnect – Way more than VPN</vt:lpstr>
      <vt:lpstr>Webセキュリティや他の全ての通信の前に</vt:lpstr>
      <vt:lpstr>PowerPoint Presentation</vt:lpstr>
    </vt:vector>
  </TitlesOfParts>
  <Company>Cisco System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Kirsten Lemmons</dc:creator>
  <cp:lastModifiedBy>Yuichi Sakamoto</cp:lastModifiedBy>
  <cp:revision>689</cp:revision>
  <cp:lastPrinted>2016-01-05T16:55:54Z</cp:lastPrinted>
  <dcterms:created xsi:type="dcterms:W3CDTF">2014-12-11T18:27:23Z</dcterms:created>
  <dcterms:modified xsi:type="dcterms:W3CDTF">2016-07-01T10:29:03Z</dcterms:modified>
</cp:coreProperties>
</file>